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omments/modernComment_7BBF5A45_D5BFC36A.xml" ContentType="application/vnd.ms-powerpoint.comments+xml"/>
  <Override PartName="/ppt/comments/modernComment_7BBF5A3D_5D4810B4.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43" r:id="rId5"/>
  </p:sldMasterIdLst>
  <p:notesMasterIdLst>
    <p:notesMasterId r:id="rId41"/>
  </p:notesMasterIdLst>
  <p:handoutMasterIdLst>
    <p:handoutMasterId r:id="rId42"/>
  </p:handoutMasterIdLst>
  <p:sldIdLst>
    <p:sldId id="1806" r:id="rId6"/>
    <p:sldId id="2076137426" r:id="rId7"/>
    <p:sldId id="2076137442" r:id="rId8"/>
    <p:sldId id="407" r:id="rId9"/>
    <p:sldId id="2076137440" r:id="rId10"/>
    <p:sldId id="281" r:id="rId11"/>
    <p:sldId id="2076138026" r:id="rId12"/>
    <p:sldId id="2076137254" r:id="rId13"/>
    <p:sldId id="2076138025" r:id="rId14"/>
    <p:sldId id="2076138027" r:id="rId15"/>
    <p:sldId id="2076138028" r:id="rId16"/>
    <p:sldId id="2076138029" r:id="rId17"/>
    <p:sldId id="2076138030" r:id="rId18"/>
    <p:sldId id="2076138050" r:id="rId19"/>
    <p:sldId id="2076138033" r:id="rId20"/>
    <p:sldId id="2076138052" r:id="rId21"/>
    <p:sldId id="2076138049" r:id="rId22"/>
    <p:sldId id="2076138053" r:id="rId23"/>
    <p:sldId id="2076138032" r:id="rId24"/>
    <p:sldId id="2076138051" r:id="rId25"/>
    <p:sldId id="2076138031" r:id="rId26"/>
    <p:sldId id="2076138035" r:id="rId27"/>
    <p:sldId id="2076138045" r:id="rId28"/>
    <p:sldId id="2076138047" r:id="rId29"/>
    <p:sldId id="2076138041" r:id="rId30"/>
    <p:sldId id="2076138042" r:id="rId31"/>
    <p:sldId id="2076138046" r:id="rId32"/>
    <p:sldId id="2076138040" r:id="rId33"/>
    <p:sldId id="2076138044" r:id="rId34"/>
    <p:sldId id="2076138043" r:id="rId35"/>
    <p:sldId id="2076138048" r:id="rId36"/>
    <p:sldId id="2076138034" r:id="rId37"/>
    <p:sldId id="2076138037" r:id="rId38"/>
    <p:sldId id="2076138038" r:id="rId39"/>
    <p:sldId id="2076138039"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dicting Risk of Type 2 Diabetes" id="{2575BF53-30A2-4440-94BA-EB7AD2FC584B}">
          <p14:sldIdLst>
            <p14:sldId id="1806"/>
            <p14:sldId id="2076137426"/>
          </p14:sldIdLst>
        </p14:section>
        <p14:section name="UC Irvine Relationship" id="{9D1DBE37-0B84-4C4D-906D-B33A3E6D3F51}">
          <p14:sldIdLst>
            <p14:sldId id="2076137442"/>
            <p14:sldId id="407"/>
            <p14:sldId id="2076137440"/>
            <p14:sldId id="281"/>
          </p14:sldIdLst>
        </p14:section>
        <p14:section name="Context" id="{6B8E315B-D23D-475B-80E8-C44611A0B4DD}">
          <p14:sldIdLst>
            <p14:sldId id="2076138026"/>
            <p14:sldId id="2076137254"/>
            <p14:sldId id="2076138025"/>
          </p14:sldIdLst>
        </p14:section>
        <p14:section name="Framework &amp; Approach" id="{FBE282C8-7E46-45BD-B7CF-AC74107FC857}">
          <p14:sldIdLst>
            <p14:sldId id="2076138027"/>
            <p14:sldId id="2076138028"/>
            <p14:sldId id="2076138029"/>
          </p14:sldIdLst>
        </p14:section>
        <p14:section name="Output &amp; Recommendation" id="{5589E9A7-6939-4F98-9FC4-7C8E2CBB1AFC}">
          <p14:sldIdLst>
            <p14:sldId id="2076138030"/>
            <p14:sldId id="2076138050"/>
            <p14:sldId id="2076138033"/>
            <p14:sldId id="2076138052"/>
            <p14:sldId id="2076138049"/>
            <p14:sldId id="2076138053"/>
          </p14:sldIdLst>
        </p14:section>
        <p14:section name="Enhancement Opportunities" id="{B4AD9167-DC5E-4B4C-B81A-F078D39E4DC6}">
          <p14:sldIdLst>
            <p14:sldId id="2076138032"/>
            <p14:sldId id="2076138051"/>
          </p14:sldIdLst>
        </p14:section>
        <p14:section name="Appendix" id="{20DEB010-A6E5-482E-882E-E70C1813B79C}">
          <p14:sldIdLst>
            <p14:sldId id="2076138031"/>
            <p14:sldId id="2076138035"/>
            <p14:sldId id="2076138045"/>
            <p14:sldId id="2076138047"/>
            <p14:sldId id="2076138041"/>
            <p14:sldId id="2076138042"/>
            <p14:sldId id="2076138046"/>
            <p14:sldId id="2076138040"/>
            <p14:sldId id="2076138044"/>
            <p14:sldId id="2076138043"/>
            <p14:sldId id="2076138048"/>
            <p14:sldId id="2076138034"/>
            <p14:sldId id="2076138037"/>
            <p14:sldId id="2076138038"/>
            <p14:sldId id="207613803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E81C14-DA76-58A0-D2FE-B03C20CF6739}" name="Tuli, Shawna" initials="TS" userId="S::shawna.tuli@accenture.com::d4e24efe-590a-45d1-b299-df5d0f216dfc" providerId="AD"/>
  <p188:author id="{363B4E76-0AE2-1557-A5EC-82DA99945196}" name="Deacon, Nicole" initials="DN" userId="S::nicole.deacon@accenture.com::b9ccaae2-7e76-4489-8ce6-4468b4bccd7d" providerId="AD"/>
  <p188:author id="{51A18EE8-0A17-3ACC-8B41-BDC7A836DF58}" name="Chokshi, Vishrut" initials="CV" userId="S::vishrut.chokshi@accenture.com::3820d7b7-768b-4885-a994-3be8bc4ebd4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upta, Varsha B." initials="GVB" lastIdx="6" clrIdx="0">
    <p:extLst>
      <p:ext uri="{19B8F6BF-5375-455C-9EA6-DF929625EA0E}">
        <p15:presenceInfo xmlns:p15="http://schemas.microsoft.com/office/powerpoint/2012/main" userId="S::varsha.b.gupta@accenture.com::6ef8fd76-67e5-4c8e-9c98-7c531510a366" providerId="AD"/>
      </p:ext>
    </p:extLst>
  </p:cmAuthor>
  <p:cmAuthor id="2" name="Santani, Sneha" initials="SS" lastIdx="2" clrIdx="1">
    <p:extLst>
      <p:ext uri="{19B8F6BF-5375-455C-9EA6-DF929625EA0E}">
        <p15:presenceInfo xmlns:p15="http://schemas.microsoft.com/office/powerpoint/2012/main" userId="S::sneha.santani@accenture.com::e2aa6ae3-f2c6-4ef7-88c4-a4c0ee9ef61b" providerId="AD"/>
      </p:ext>
    </p:extLst>
  </p:cmAuthor>
  <p:cmAuthor id="3" name="Leung, Chloe C." initials="LCC" lastIdx="11" clrIdx="2">
    <p:extLst>
      <p:ext uri="{19B8F6BF-5375-455C-9EA6-DF929625EA0E}">
        <p15:presenceInfo xmlns:p15="http://schemas.microsoft.com/office/powerpoint/2012/main" userId="S::chloe.c.leung@accenture.com::2407ae5e-0a0a-42d3-8040-4dc4a71617d6" providerId="AD"/>
      </p:ext>
    </p:extLst>
  </p:cmAuthor>
  <p:cmAuthor id="4" name="Holalkere, Prakash L." initials="HPL" lastIdx="4" clrIdx="3">
    <p:extLst>
      <p:ext uri="{19B8F6BF-5375-455C-9EA6-DF929625EA0E}">
        <p15:presenceInfo xmlns:p15="http://schemas.microsoft.com/office/powerpoint/2012/main" userId="S::prakash.l.holalkere@accenture.com::4afea661-2d37-459d-ab53-2713678ce657" providerId="AD"/>
      </p:ext>
    </p:extLst>
  </p:cmAuthor>
  <p:cmAuthor id="5" name="Truong, Linda" initials="TL" lastIdx="5" clrIdx="4">
    <p:extLst>
      <p:ext uri="{19B8F6BF-5375-455C-9EA6-DF929625EA0E}">
        <p15:presenceInfo xmlns:p15="http://schemas.microsoft.com/office/powerpoint/2012/main" userId="S::linda.truong@accenture.com::ccf1549b-a28c-4fe3-8c7c-7b7ef78110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00C0"/>
    <a:srgbClr val="E0CBFF"/>
    <a:srgbClr val="C665FF"/>
    <a:srgbClr val="A100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2C5E6E-9AC5-439C-98B1-CFFA0F437CDA}" v="1045" vWet="1047" dt="2022-07-14T23:27:44.938"/>
    <p1510:client id="{8E04E6F5-1675-50CA-421E-2513CE55D06E}" v="87" dt="2022-07-14T23:29:03.411"/>
  </p1510:revLst>
</p1510:revInfo>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s>
</file>

<file path=ppt/comments/modernComment_7BBF5A3D_5D4810B4.xml><?xml version="1.0" encoding="utf-8"?>
<p188:cmLst xmlns:a="http://schemas.openxmlformats.org/drawingml/2006/main" xmlns:r="http://schemas.openxmlformats.org/officeDocument/2006/relationships" xmlns:p188="http://schemas.microsoft.com/office/powerpoint/2018/8/main">
  <p188:cm id="{BD78818E-142E-4E0F-8002-453445FA34FD}" authorId="{51A18EE8-0A17-3ACC-8B41-BDC7A836DF58}" created="2022-06-30T15:27:25.479">
    <ac:txMkLst xmlns:ac="http://schemas.microsoft.com/office/drawing/2013/main/command">
      <pc:docMk xmlns:pc="http://schemas.microsoft.com/office/powerpoint/2013/main/command"/>
      <pc:sldMk xmlns:pc="http://schemas.microsoft.com/office/powerpoint/2013/main/command" cId="1565003956" sldId="2076138045"/>
      <ac:spMk id="6" creationId="{0C1CCB6E-D4E6-D34A-2EB8-6DDB29914029}"/>
      <ac:txMk cp="115" len="31">
        <ac:context len="251" hash="2825652348"/>
      </ac:txMk>
    </ac:txMkLst>
    <p188:pos x="3888806" y="890992"/>
    <p188:txBody>
      <a:bodyPr/>
      <a:lstStyle/>
      <a:p>
        <a:r>
          <a:rPr lang="en-US"/>
          <a:t>[@Tuli, Shawna] - Could you please add Top 5 or Top 10 features as opposed just 3? Wondering if there is something that will catch our audience's attention. </a:t>
        </a:r>
      </a:p>
    </p188:txBody>
  </p188:cm>
</p188:cmLst>
</file>

<file path=ppt/comments/modernComment_7BBF5A45_D5BFC36A.xml><?xml version="1.0" encoding="utf-8"?>
<p188:cmLst xmlns:a="http://schemas.openxmlformats.org/drawingml/2006/main" xmlns:r="http://schemas.openxmlformats.org/officeDocument/2006/relationships" xmlns:p188="http://schemas.microsoft.com/office/powerpoint/2018/8/main">
  <p188:cm id="{BD4A36E9-F8E0-4592-B5B6-01C5239D2A64}" authorId="{363B4E76-0AE2-1557-A5EC-82DA99945196}" status="resolved" created="2022-07-06T17:48:35.460" complete="100000">
    <pc:sldMkLst xmlns:pc="http://schemas.microsoft.com/office/powerpoint/2013/main/command">
      <pc:docMk/>
      <pc:sldMk cId="3586114410" sldId="2076138053"/>
    </pc:sldMkLst>
    <p188:replyLst>
      <p188:reply id="{4427ADE9-03B5-420B-90C4-F3A47347B744}" authorId="{72E81C14-DA76-58A0-D2FE-B03C20CF6739}" created="2022-07-06T22:30:26.735">
        <p188:txBody>
          <a:bodyPr/>
          <a:lstStyle/>
          <a:p>
            <a:r>
              <a:rPr lang="en-US"/>
              <a:t>Yes!</a:t>
            </a:r>
          </a:p>
        </p188:txBody>
      </p188:reply>
    </p188:replyLst>
    <p188:txBody>
      <a:bodyPr/>
      <a:lstStyle/>
      <a:p>
        <a:r>
          <a:rPr lang="en-US"/>
          <a:t>[@Tuli, Shawna] [@Liang, Ella] can you add more content to this slid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480F9A-E25F-467D-AD5D-AA688C666EB8}" type="doc">
      <dgm:prSet loTypeId="urn:microsoft.com/office/officeart/2005/8/layout/list1" loCatId="list" qsTypeId="urn:microsoft.com/office/officeart/2005/8/quickstyle/simple1" qsCatId="simple" csTypeId="urn:microsoft.com/office/officeart/2005/8/colors/accent1_2" csCatId="accent1" phldr="1"/>
      <dgm:spPr/>
    </dgm:pt>
    <dgm:pt modelId="{53A23603-D0B5-40B7-80C0-5EB207B4BE48}">
      <dgm:prSet phldrT="[Text]"/>
      <dgm:spPr/>
      <dgm:t>
        <a:bodyPr/>
        <a:lstStyle/>
        <a:p>
          <a:r>
            <a:rPr lang="en-US"/>
            <a:t>Data Collection</a:t>
          </a:r>
        </a:p>
      </dgm:t>
    </dgm:pt>
    <dgm:pt modelId="{4D98580D-1823-43B9-AD0A-D4AE42E60D53}" type="parTrans" cxnId="{02EB7DD3-E2D0-46BF-9D1A-2083AB987194}">
      <dgm:prSet/>
      <dgm:spPr/>
      <dgm:t>
        <a:bodyPr/>
        <a:lstStyle/>
        <a:p>
          <a:endParaRPr lang="en-US"/>
        </a:p>
      </dgm:t>
    </dgm:pt>
    <dgm:pt modelId="{ECDE3DE0-BFE4-46D1-8033-528F08F8203D}" type="sibTrans" cxnId="{02EB7DD3-E2D0-46BF-9D1A-2083AB987194}">
      <dgm:prSet/>
      <dgm:spPr/>
      <dgm:t>
        <a:bodyPr/>
        <a:lstStyle/>
        <a:p>
          <a:endParaRPr lang="en-US"/>
        </a:p>
      </dgm:t>
    </dgm:pt>
    <dgm:pt modelId="{1D5467F1-3799-42AF-A366-6CC340BAE281}">
      <dgm:prSet phldrT="[Text]"/>
      <dgm:spPr/>
      <dgm:t>
        <a:bodyPr/>
        <a:lstStyle/>
        <a:p>
          <a:r>
            <a:rPr lang="en-US"/>
            <a:t>Data Preprocessing</a:t>
          </a:r>
        </a:p>
      </dgm:t>
    </dgm:pt>
    <dgm:pt modelId="{5B415F33-42F2-43C4-B556-05CCECD85623}" type="parTrans" cxnId="{4B4D3B4D-98D9-4E91-9AEC-8912D79C3F9D}">
      <dgm:prSet/>
      <dgm:spPr/>
      <dgm:t>
        <a:bodyPr/>
        <a:lstStyle/>
        <a:p>
          <a:endParaRPr lang="en-US"/>
        </a:p>
      </dgm:t>
    </dgm:pt>
    <dgm:pt modelId="{FC8B365A-3BF1-4771-85A7-6C0C7082848C}" type="sibTrans" cxnId="{4B4D3B4D-98D9-4E91-9AEC-8912D79C3F9D}">
      <dgm:prSet/>
      <dgm:spPr/>
      <dgm:t>
        <a:bodyPr/>
        <a:lstStyle/>
        <a:p>
          <a:endParaRPr lang="en-US"/>
        </a:p>
      </dgm:t>
    </dgm:pt>
    <dgm:pt modelId="{04B4031A-D33A-40AE-9842-5FB00A6AE98E}">
      <dgm:prSet phldrT="[Text]"/>
      <dgm:spPr/>
      <dgm:t>
        <a:bodyPr/>
        <a:lstStyle/>
        <a:p>
          <a:r>
            <a:rPr lang="en-US"/>
            <a:t>Data Normalization</a:t>
          </a:r>
        </a:p>
      </dgm:t>
    </dgm:pt>
    <dgm:pt modelId="{B679A880-806D-42BA-A1EC-4BFC8929D0D1}" type="parTrans" cxnId="{66140051-D8AC-41F6-9850-3F59560599E7}">
      <dgm:prSet/>
      <dgm:spPr/>
      <dgm:t>
        <a:bodyPr/>
        <a:lstStyle/>
        <a:p>
          <a:endParaRPr lang="en-US"/>
        </a:p>
      </dgm:t>
    </dgm:pt>
    <dgm:pt modelId="{ACE3DB75-0207-4528-8DD4-8FF8713561C8}" type="sibTrans" cxnId="{66140051-D8AC-41F6-9850-3F59560599E7}">
      <dgm:prSet/>
      <dgm:spPr/>
      <dgm:t>
        <a:bodyPr/>
        <a:lstStyle/>
        <a:p>
          <a:endParaRPr lang="en-US"/>
        </a:p>
      </dgm:t>
    </dgm:pt>
    <dgm:pt modelId="{9CA587CE-F350-4884-98FC-6802C2770872}">
      <dgm:prSet phldrT="[Text]" custT="1"/>
      <dgm:spPr/>
      <dgm:t>
        <a:bodyPr/>
        <a:lstStyle/>
        <a:p>
          <a:r>
            <a:rPr lang="en-US" sz="1400"/>
            <a:t>Gathering and Combining Data Together</a:t>
          </a:r>
        </a:p>
      </dgm:t>
    </dgm:pt>
    <dgm:pt modelId="{0A0B40B9-4718-4655-9E1A-0E2471E7F42A}" type="parTrans" cxnId="{06453253-1F83-40B8-A78E-8548551DE292}">
      <dgm:prSet/>
      <dgm:spPr/>
      <dgm:t>
        <a:bodyPr/>
        <a:lstStyle/>
        <a:p>
          <a:endParaRPr lang="en-US"/>
        </a:p>
      </dgm:t>
    </dgm:pt>
    <dgm:pt modelId="{F7E10423-9229-4E0A-84C9-CB5CA79A05C0}" type="sibTrans" cxnId="{06453253-1F83-40B8-A78E-8548551DE292}">
      <dgm:prSet/>
      <dgm:spPr/>
      <dgm:t>
        <a:bodyPr/>
        <a:lstStyle/>
        <a:p>
          <a:endParaRPr lang="en-US"/>
        </a:p>
      </dgm:t>
    </dgm:pt>
    <dgm:pt modelId="{3BBE80CC-507D-4D6C-90D5-A7070E8156FB}">
      <dgm:prSet phldrT="[Text]" custT="1"/>
      <dgm:spPr/>
      <dgm:t>
        <a:bodyPr/>
        <a:lstStyle/>
        <a:p>
          <a:r>
            <a:rPr lang="en-US" sz="1400"/>
            <a:t>Formatting </a:t>
          </a:r>
        </a:p>
      </dgm:t>
    </dgm:pt>
    <dgm:pt modelId="{74BCB8BA-1DB0-41D5-A9C3-B5EB2AFABBB3}" type="parTrans" cxnId="{BD78C024-7EB1-4272-8B7C-429F8FF95852}">
      <dgm:prSet/>
      <dgm:spPr/>
      <dgm:t>
        <a:bodyPr/>
        <a:lstStyle/>
        <a:p>
          <a:endParaRPr lang="en-US"/>
        </a:p>
      </dgm:t>
    </dgm:pt>
    <dgm:pt modelId="{89CB81FA-1835-4865-BEEB-C180EBD2E29A}" type="sibTrans" cxnId="{BD78C024-7EB1-4272-8B7C-429F8FF95852}">
      <dgm:prSet/>
      <dgm:spPr/>
      <dgm:t>
        <a:bodyPr/>
        <a:lstStyle/>
        <a:p>
          <a:endParaRPr lang="en-US"/>
        </a:p>
      </dgm:t>
    </dgm:pt>
    <dgm:pt modelId="{F422B47F-45FB-4DF7-802F-FA6C622FD50D}">
      <dgm:prSet phldrT="[Text]" custT="1"/>
      <dgm:spPr/>
      <dgm:t>
        <a:bodyPr/>
        <a:lstStyle/>
        <a:p>
          <a:r>
            <a:rPr lang="en-US" sz="1400"/>
            <a:t>Cleansing</a:t>
          </a:r>
        </a:p>
      </dgm:t>
    </dgm:pt>
    <dgm:pt modelId="{964093A1-BA9B-4515-AF97-01C60018DA4E}" type="parTrans" cxnId="{A73DE862-4C33-462D-BD32-5630047E8751}">
      <dgm:prSet/>
      <dgm:spPr/>
      <dgm:t>
        <a:bodyPr/>
        <a:lstStyle/>
        <a:p>
          <a:endParaRPr lang="en-US"/>
        </a:p>
      </dgm:t>
    </dgm:pt>
    <dgm:pt modelId="{2F84D03C-35C7-499E-9681-4529C2419A22}" type="sibTrans" cxnId="{A73DE862-4C33-462D-BD32-5630047E8751}">
      <dgm:prSet/>
      <dgm:spPr/>
      <dgm:t>
        <a:bodyPr/>
        <a:lstStyle/>
        <a:p>
          <a:endParaRPr lang="en-US"/>
        </a:p>
      </dgm:t>
    </dgm:pt>
    <dgm:pt modelId="{418DD294-BFB8-49D4-A47A-D9F6F090C4EC}">
      <dgm:prSet phldrT="[Text]" custT="1"/>
      <dgm:spPr/>
      <dgm:t>
        <a:bodyPr/>
        <a:lstStyle/>
        <a:p>
          <a:r>
            <a:rPr lang="en-US" sz="1400"/>
            <a:t>Scaling and normalizing</a:t>
          </a:r>
        </a:p>
      </dgm:t>
    </dgm:pt>
    <dgm:pt modelId="{6B73DABA-69FC-4976-A0C9-46CCEFC9DBB1}" type="parTrans" cxnId="{E39594C4-E411-4CD0-AF66-378D5685919B}">
      <dgm:prSet/>
      <dgm:spPr/>
      <dgm:t>
        <a:bodyPr/>
        <a:lstStyle/>
        <a:p>
          <a:endParaRPr lang="en-US"/>
        </a:p>
      </dgm:t>
    </dgm:pt>
    <dgm:pt modelId="{13BCBA18-5403-4E21-9FEE-ACCD0B442D04}" type="sibTrans" cxnId="{E39594C4-E411-4CD0-AF66-378D5685919B}">
      <dgm:prSet/>
      <dgm:spPr/>
      <dgm:t>
        <a:bodyPr/>
        <a:lstStyle/>
        <a:p>
          <a:endParaRPr lang="en-US"/>
        </a:p>
      </dgm:t>
    </dgm:pt>
    <dgm:pt modelId="{2358B9A1-8C00-41FB-A1E0-4B0C407FE96D}" type="pres">
      <dgm:prSet presAssocID="{73480F9A-E25F-467D-AD5D-AA688C666EB8}" presName="linear" presStyleCnt="0">
        <dgm:presLayoutVars>
          <dgm:dir/>
          <dgm:animLvl val="lvl"/>
          <dgm:resizeHandles val="exact"/>
        </dgm:presLayoutVars>
      </dgm:prSet>
      <dgm:spPr/>
    </dgm:pt>
    <dgm:pt modelId="{71A4F1C7-9FC1-4112-890C-511812843DEA}" type="pres">
      <dgm:prSet presAssocID="{53A23603-D0B5-40B7-80C0-5EB207B4BE48}" presName="parentLin" presStyleCnt="0"/>
      <dgm:spPr/>
    </dgm:pt>
    <dgm:pt modelId="{C65D42AE-4B2D-4114-9728-2098B636E867}" type="pres">
      <dgm:prSet presAssocID="{53A23603-D0B5-40B7-80C0-5EB207B4BE48}" presName="parentLeftMargin" presStyleLbl="node1" presStyleIdx="0" presStyleCnt="3"/>
      <dgm:spPr/>
    </dgm:pt>
    <dgm:pt modelId="{8E4C826C-B889-4E2A-AA5D-9EA82E167E2B}" type="pres">
      <dgm:prSet presAssocID="{53A23603-D0B5-40B7-80C0-5EB207B4BE48}" presName="parentText" presStyleLbl="node1" presStyleIdx="0" presStyleCnt="3">
        <dgm:presLayoutVars>
          <dgm:chMax val="0"/>
          <dgm:bulletEnabled val="1"/>
        </dgm:presLayoutVars>
      </dgm:prSet>
      <dgm:spPr/>
    </dgm:pt>
    <dgm:pt modelId="{FF77EAF5-DAB2-4559-A0BB-D85A7D980AF8}" type="pres">
      <dgm:prSet presAssocID="{53A23603-D0B5-40B7-80C0-5EB207B4BE48}" presName="negativeSpace" presStyleCnt="0"/>
      <dgm:spPr/>
    </dgm:pt>
    <dgm:pt modelId="{79D7A3C9-463A-4737-A4C4-7E96B75DE8DF}" type="pres">
      <dgm:prSet presAssocID="{53A23603-D0B5-40B7-80C0-5EB207B4BE48}" presName="childText" presStyleLbl="conFgAcc1" presStyleIdx="0" presStyleCnt="3">
        <dgm:presLayoutVars>
          <dgm:bulletEnabled val="1"/>
        </dgm:presLayoutVars>
      </dgm:prSet>
      <dgm:spPr/>
    </dgm:pt>
    <dgm:pt modelId="{BA71ADE8-2EA4-40CF-9850-FE1224BEC943}" type="pres">
      <dgm:prSet presAssocID="{ECDE3DE0-BFE4-46D1-8033-528F08F8203D}" presName="spaceBetweenRectangles" presStyleCnt="0"/>
      <dgm:spPr/>
    </dgm:pt>
    <dgm:pt modelId="{A2B78CB0-25BB-44FE-92D5-AD6B0CBFD9A7}" type="pres">
      <dgm:prSet presAssocID="{1D5467F1-3799-42AF-A366-6CC340BAE281}" presName="parentLin" presStyleCnt="0"/>
      <dgm:spPr/>
    </dgm:pt>
    <dgm:pt modelId="{4F7CAEC9-FC28-4B51-92E7-18F8BC245F85}" type="pres">
      <dgm:prSet presAssocID="{1D5467F1-3799-42AF-A366-6CC340BAE281}" presName="parentLeftMargin" presStyleLbl="node1" presStyleIdx="0" presStyleCnt="3"/>
      <dgm:spPr/>
    </dgm:pt>
    <dgm:pt modelId="{02FC9A57-7A86-4327-B171-462DFA7AAE2B}" type="pres">
      <dgm:prSet presAssocID="{1D5467F1-3799-42AF-A366-6CC340BAE281}" presName="parentText" presStyleLbl="node1" presStyleIdx="1" presStyleCnt="3">
        <dgm:presLayoutVars>
          <dgm:chMax val="0"/>
          <dgm:bulletEnabled val="1"/>
        </dgm:presLayoutVars>
      </dgm:prSet>
      <dgm:spPr/>
    </dgm:pt>
    <dgm:pt modelId="{C9C13C75-AA97-4A92-8593-82BE61006BA5}" type="pres">
      <dgm:prSet presAssocID="{1D5467F1-3799-42AF-A366-6CC340BAE281}" presName="negativeSpace" presStyleCnt="0"/>
      <dgm:spPr/>
    </dgm:pt>
    <dgm:pt modelId="{DF15A775-30D9-4BF6-8406-6B97916C2EC4}" type="pres">
      <dgm:prSet presAssocID="{1D5467F1-3799-42AF-A366-6CC340BAE281}" presName="childText" presStyleLbl="conFgAcc1" presStyleIdx="1" presStyleCnt="3">
        <dgm:presLayoutVars>
          <dgm:bulletEnabled val="1"/>
        </dgm:presLayoutVars>
      </dgm:prSet>
      <dgm:spPr/>
    </dgm:pt>
    <dgm:pt modelId="{9EC2622D-DFE6-4DB5-A740-5A7885AEF2C9}" type="pres">
      <dgm:prSet presAssocID="{FC8B365A-3BF1-4771-85A7-6C0C7082848C}" presName="spaceBetweenRectangles" presStyleCnt="0"/>
      <dgm:spPr/>
    </dgm:pt>
    <dgm:pt modelId="{7EF24921-EF95-4FA8-866A-8291B00367B8}" type="pres">
      <dgm:prSet presAssocID="{04B4031A-D33A-40AE-9842-5FB00A6AE98E}" presName="parentLin" presStyleCnt="0"/>
      <dgm:spPr/>
    </dgm:pt>
    <dgm:pt modelId="{8FB67231-CF08-439A-92D8-C3873A83C924}" type="pres">
      <dgm:prSet presAssocID="{04B4031A-D33A-40AE-9842-5FB00A6AE98E}" presName="parentLeftMargin" presStyleLbl="node1" presStyleIdx="1" presStyleCnt="3"/>
      <dgm:spPr/>
    </dgm:pt>
    <dgm:pt modelId="{F09649B9-16A2-4C47-B36A-BFD68539080C}" type="pres">
      <dgm:prSet presAssocID="{04B4031A-D33A-40AE-9842-5FB00A6AE98E}" presName="parentText" presStyleLbl="node1" presStyleIdx="2" presStyleCnt="3">
        <dgm:presLayoutVars>
          <dgm:chMax val="0"/>
          <dgm:bulletEnabled val="1"/>
        </dgm:presLayoutVars>
      </dgm:prSet>
      <dgm:spPr/>
    </dgm:pt>
    <dgm:pt modelId="{B89FF19E-78BA-4FC4-81BF-61B8C3077715}" type="pres">
      <dgm:prSet presAssocID="{04B4031A-D33A-40AE-9842-5FB00A6AE98E}" presName="negativeSpace" presStyleCnt="0"/>
      <dgm:spPr/>
    </dgm:pt>
    <dgm:pt modelId="{48C5628F-75B4-4519-9011-380FF992BA8E}" type="pres">
      <dgm:prSet presAssocID="{04B4031A-D33A-40AE-9842-5FB00A6AE98E}" presName="childText" presStyleLbl="conFgAcc1" presStyleIdx="2" presStyleCnt="3">
        <dgm:presLayoutVars>
          <dgm:bulletEnabled val="1"/>
        </dgm:presLayoutVars>
      </dgm:prSet>
      <dgm:spPr/>
    </dgm:pt>
  </dgm:ptLst>
  <dgm:cxnLst>
    <dgm:cxn modelId="{A493B70A-C1A7-4DA2-818D-08D12879F900}" type="presOf" srcId="{53A23603-D0B5-40B7-80C0-5EB207B4BE48}" destId="{8E4C826C-B889-4E2A-AA5D-9EA82E167E2B}" srcOrd="1" destOrd="0" presId="urn:microsoft.com/office/officeart/2005/8/layout/list1"/>
    <dgm:cxn modelId="{BD78C024-7EB1-4272-8B7C-429F8FF95852}" srcId="{1D5467F1-3799-42AF-A366-6CC340BAE281}" destId="{3BBE80CC-507D-4D6C-90D5-A7070E8156FB}" srcOrd="0" destOrd="0" parTransId="{74BCB8BA-1DB0-41D5-A9C3-B5EB2AFABBB3}" sibTransId="{89CB81FA-1835-4865-BEEB-C180EBD2E29A}"/>
    <dgm:cxn modelId="{91C8C028-65F8-4AE8-BDAD-33BF63290D60}" type="presOf" srcId="{53A23603-D0B5-40B7-80C0-5EB207B4BE48}" destId="{C65D42AE-4B2D-4114-9728-2098B636E867}" srcOrd="0" destOrd="0" presId="urn:microsoft.com/office/officeart/2005/8/layout/list1"/>
    <dgm:cxn modelId="{A73DE862-4C33-462D-BD32-5630047E8751}" srcId="{1D5467F1-3799-42AF-A366-6CC340BAE281}" destId="{F422B47F-45FB-4DF7-802F-FA6C622FD50D}" srcOrd="1" destOrd="0" parTransId="{964093A1-BA9B-4515-AF97-01C60018DA4E}" sibTransId="{2F84D03C-35C7-499E-9681-4529C2419A22}"/>
    <dgm:cxn modelId="{4B4D3B4D-98D9-4E91-9AEC-8912D79C3F9D}" srcId="{73480F9A-E25F-467D-AD5D-AA688C666EB8}" destId="{1D5467F1-3799-42AF-A366-6CC340BAE281}" srcOrd="1" destOrd="0" parTransId="{5B415F33-42F2-43C4-B556-05CCECD85623}" sibTransId="{FC8B365A-3BF1-4771-85A7-6C0C7082848C}"/>
    <dgm:cxn modelId="{070C8A4D-B8F2-4052-A8FA-605F5A99BB6E}" type="presOf" srcId="{3BBE80CC-507D-4D6C-90D5-A7070E8156FB}" destId="{DF15A775-30D9-4BF6-8406-6B97916C2EC4}" srcOrd="0" destOrd="0" presId="urn:microsoft.com/office/officeart/2005/8/layout/list1"/>
    <dgm:cxn modelId="{66140051-D8AC-41F6-9850-3F59560599E7}" srcId="{73480F9A-E25F-467D-AD5D-AA688C666EB8}" destId="{04B4031A-D33A-40AE-9842-5FB00A6AE98E}" srcOrd="2" destOrd="0" parTransId="{B679A880-806D-42BA-A1EC-4BFC8929D0D1}" sibTransId="{ACE3DB75-0207-4528-8DD4-8FF8713561C8}"/>
    <dgm:cxn modelId="{06453253-1F83-40B8-A78E-8548551DE292}" srcId="{53A23603-D0B5-40B7-80C0-5EB207B4BE48}" destId="{9CA587CE-F350-4884-98FC-6802C2770872}" srcOrd="0" destOrd="0" parTransId="{0A0B40B9-4718-4655-9E1A-0E2471E7F42A}" sibTransId="{F7E10423-9229-4E0A-84C9-CB5CA79A05C0}"/>
    <dgm:cxn modelId="{D379ACB4-160E-42E9-BB9F-AC108E4C1C56}" type="presOf" srcId="{F422B47F-45FB-4DF7-802F-FA6C622FD50D}" destId="{DF15A775-30D9-4BF6-8406-6B97916C2EC4}" srcOrd="0" destOrd="1" presId="urn:microsoft.com/office/officeart/2005/8/layout/list1"/>
    <dgm:cxn modelId="{D385A3B6-3A71-4BFE-B624-87A615C8035D}" type="presOf" srcId="{418DD294-BFB8-49D4-A47A-D9F6F090C4EC}" destId="{48C5628F-75B4-4519-9011-380FF992BA8E}" srcOrd="0" destOrd="0" presId="urn:microsoft.com/office/officeart/2005/8/layout/list1"/>
    <dgm:cxn modelId="{E39594C4-E411-4CD0-AF66-378D5685919B}" srcId="{04B4031A-D33A-40AE-9842-5FB00A6AE98E}" destId="{418DD294-BFB8-49D4-A47A-D9F6F090C4EC}" srcOrd="0" destOrd="0" parTransId="{6B73DABA-69FC-4976-A0C9-46CCEFC9DBB1}" sibTransId="{13BCBA18-5403-4E21-9FEE-ACCD0B442D04}"/>
    <dgm:cxn modelId="{113D99C4-C364-4AF8-8680-E927981F1B7E}" type="presOf" srcId="{9CA587CE-F350-4884-98FC-6802C2770872}" destId="{79D7A3C9-463A-4737-A4C4-7E96B75DE8DF}" srcOrd="0" destOrd="0" presId="urn:microsoft.com/office/officeart/2005/8/layout/list1"/>
    <dgm:cxn modelId="{7DC3D1CE-42AA-42F9-A335-F584F8BE36DA}" type="presOf" srcId="{04B4031A-D33A-40AE-9842-5FB00A6AE98E}" destId="{F09649B9-16A2-4C47-B36A-BFD68539080C}" srcOrd="1" destOrd="0" presId="urn:microsoft.com/office/officeart/2005/8/layout/list1"/>
    <dgm:cxn modelId="{02EB7DD3-E2D0-46BF-9D1A-2083AB987194}" srcId="{73480F9A-E25F-467D-AD5D-AA688C666EB8}" destId="{53A23603-D0B5-40B7-80C0-5EB207B4BE48}" srcOrd="0" destOrd="0" parTransId="{4D98580D-1823-43B9-AD0A-D4AE42E60D53}" sibTransId="{ECDE3DE0-BFE4-46D1-8033-528F08F8203D}"/>
    <dgm:cxn modelId="{BCF4CDD7-2A06-478C-92E6-06B63E373813}" type="presOf" srcId="{1D5467F1-3799-42AF-A366-6CC340BAE281}" destId="{4F7CAEC9-FC28-4B51-92E7-18F8BC245F85}" srcOrd="0" destOrd="0" presId="urn:microsoft.com/office/officeart/2005/8/layout/list1"/>
    <dgm:cxn modelId="{8997BADE-8CF5-4105-B55E-DC97E7C94D17}" type="presOf" srcId="{73480F9A-E25F-467D-AD5D-AA688C666EB8}" destId="{2358B9A1-8C00-41FB-A1E0-4B0C407FE96D}" srcOrd="0" destOrd="0" presId="urn:microsoft.com/office/officeart/2005/8/layout/list1"/>
    <dgm:cxn modelId="{884C6CEC-CB2A-4FFA-B066-B0489E651783}" type="presOf" srcId="{1D5467F1-3799-42AF-A366-6CC340BAE281}" destId="{02FC9A57-7A86-4327-B171-462DFA7AAE2B}" srcOrd="1" destOrd="0" presId="urn:microsoft.com/office/officeart/2005/8/layout/list1"/>
    <dgm:cxn modelId="{7DF149F7-F134-410B-BFAA-7686308C8B6D}" type="presOf" srcId="{04B4031A-D33A-40AE-9842-5FB00A6AE98E}" destId="{8FB67231-CF08-439A-92D8-C3873A83C924}" srcOrd="0" destOrd="0" presId="urn:microsoft.com/office/officeart/2005/8/layout/list1"/>
    <dgm:cxn modelId="{2B83DE64-E658-44BC-BB96-A28F31CC9E66}" type="presParOf" srcId="{2358B9A1-8C00-41FB-A1E0-4B0C407FE96D}" destId="{71A4F1C7-9FC1-4112-890C-511812843DEA}" srcOrd="0" destOrd="0" presId="urn:microsoft.com/office/officeart/2005/8/layout/list1"/>
    <dgm:cxn modelId="{1E7C0744-CE75-404D-976D-07F978CA9259}" type="presParOf" srcId="{71A4F1C7-9FC1-4112-890C-511812843DEA}" destId="{C65D42AE-4B2D-4114-9728-2098B636E867}" srcOrd="0" destOrd="0" presId="urn:microsoft.com/office/officeart/2005/8/layout/list1"/>
    <dgm:cxn modelId="{762B815E-B843-45C4-A35E-FF4A177EFCE2}" type="presParOf" srcId="{71A4F1C7-9FC1-4112-890C-511812843DEA}" destId="{8E4C826C-B889-4E2A-AA5D-9EA82E167E2B}" srcOrd="1" destOrd="0" presId="urn:microsoft.com/office/officeart/2005/8/layout/list1"/>
    <dgm:cxn modelId="{325DE9D3-6AF2-43E9-9ED0-242D7A78828C}" type="presParOf" srcId="{2358B9A1-8C00-41FB-A1E0-4B0C407FE96D}" destId="{FF77EAF5-DAB2-4559-A0BB-D85A7D980AF8}" srcOrd="1" destOrd="0" presId="urn:microsoft.com/office/officeart/2005/8/layout/list1"/>
    <dgm:cxn modelId="{B5DB3661-284A-416E-826F-3284E2276798}" type="presParOf" srcId="{2358B9A1-8C00-41FB-A1E0-4B0C407FE96D}" destId="{79D7A3C9-463A-4737-A4C4-7E96B75DE8DF}" srcOrd="2" destOrd="0" presId="urn:microsoft.com/office/officeart/2005/8/layout/list1"/>
    <dgm:cxn modelId="{B343110F-F4A5-448C-B082-305F50514D2B}" type="presParOf" srcId="{2358B9A1-8C00-41FB-A1E0-4B0C407FE96D}" destId="{BA71ADE8-2EA4-40CF-9850-FE1224BEC943}" srcOrd="3" destOrd="0" presId="urn:microsoft.com/office/officeart/2005/8/layout/list1"/>
    <dgm:cxn modelId="{EC7B37CF-32FD-4EDE-B6B7-241C095285E2}" type="presParOf" srcId="{2358B9A1-8C00-41FB-A1E0-4B0C407FE96D}" destId="{A2B78CB0-25BB-44FE-92D5-AD6B0CBFD9A7}" srcOrd="4" destOrd="0" presId="urn:microsoft.com/office/officeart/2005/8/layout/list1"/>
    <dgm:cxn modelId="{C7272EF1-9CC4-46B7-8457-6E3C66E648A1}" type="presParOf" srcId="{A2B78CB0-25BB-44FE-92D5-AD6B0CBFD9A7}" destId="{4F7CAEC9-FC28-4B51-92E7-18F8BC245F85}" srcOrd="0" destOrd="0" presId="urn:microsoft.com/office/officeart/2005/8/layout/list1"/>
    <dgm:cxn modelId="{73B8E510-9849-4CE1-8CC0-B082A2F415B5}" type="presParOf" srcId="{A2B78CB0-25BB-44FE-92D5-AD6B0CBFD9A7}" destId="{02FC9A57-7A86-4327-B171-462DFA7AAE2B}" srcOrd="1" destOrd="0" presId="urn:microsoft.com/office/officeart/2005/8/layout/list1"/>
    <dgm:cxn modelId="{DFC161E4-178C-4B63-97CE-B9EF9E340D3D}" type="presParOf" srcId="{2358B9A1-8C00-41FB-A1E0-4B0C407FE96D}" destId="{C9C13C75-AA97-4A92-8593-82BE61006BA5}" srcOrd="5" destOrd="0" presId="urn:microsoft.com/office/officeart/2005/8/layout/list1"/>
    <dgm:cxn modelId="{E6A4AA83-0A0B-45E7-8003-95A58BF35C91}" type="presParOf" srcId="{2358B9A1-8C00-41FB-A1E0-4B0C407FE96D}" destId="{DF15A775-30D9-4BF6-8406-6B97916C2EC4}" srcOrd="6" destOrd="0" presId="urn:microsoft.com/office/officeart/2005/8/layout/list1"/>
    <dgm:cxn modelId="{247665DE-3282-4CD5-9173-9093F84E866B}" type="presParOf" srcId="{2358B9A1-8C00-41FB-A1E0-4B0C407FE96D}" destId="{9EC2622D-DFE6-4DB5-A740-5A7885AEF2C9}" srcOrd="7" destOrd="0" presId="urn:microsoft.com/office/officeart/2005/8/layout/list1"/>
    <dgm:cxn modelId="{4E2D8167-1FCD-43FA-87A7-176C568CBDEE}" type="presParOf" srcId="{2358B9A1-8C00-41FB-A1E0-4B0C407FE96D}" destId="{7EF24921-EF95-4FA8-866A-8291B00367B8}" srcOrd="8" destOrd="0" presId="urn:microsoft.com/office/officeart/2005/8/layout/list1"/>
    <dgm:cxn modelId="{90ECA6A5-C603-4F08-8858-BB91A67F5736}" type="presParOf" srcId="{7EF24921-EF95-4FA8-866A-8291B00367B8}" destId="{8FB67231-CF08-439A-92D8-C3873A83C924}" srcOrd="0" destOrd="0" presId="urn:microsoft.com/office/officeart/2005/8/layout/list1"/>
    <dgm:cxn modelId="{0F9F4B67-9548-4EC8-A26A-C3B572627250}" type="presParOf" srcId="{7EF24921-EF95-4FA8-866A-8291B00367B8}" destId="{F09649B9-16A2-4C47-B36A-BFD68539080C}" srcOrd="1" destOrd="0" presId="urn:microsoft.com/office/officeart/2005/8/layout/list1"/>
    <dgm:cxn modelId="{B966D173-7EE9-4094-886C-0232AD08C634}" type="presParOf" srcId="{2358B9A1-8C00-41FB-A1E0-4B0C407FE96D}" destId="{B89FF19E-78BA-4FC4-81BF-61B8C3077715}" srcOrd="9" destOrd="0" presId="urn:microsoft.com/office/officeart/2005/8/layout/list1"/>
    <dgm:cxn modelId="{3E1DBB6E-3F1C-45D3-AADC-2C2F874EFBA7}" type="presParOf" srcId="{2358B9A1-8C00-41FB-A1E0-4B0C407FE96D}" destId="{48C5628F-75B4-4519-9011-380FF992BA8E}"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D7A3C9-463A-4737-A4C4-7E96B75DE8DF}">
      <dsp:nvSpPr>
        <dsp:cNvPr id="0" name=""/>
        <dsp:cNvSpPr/>
      </dsp:nvSpPr>
      <dsp:spPr>
        <a:xfrm>
          <a:off x="0" y="1264501"/>
          <a:ext cx="2913320" cy="8788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6106" tIns="374904" rIns="226106"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Gathering and Combining Data Together</a:t>
          </a:r>
        </a:p>
      </dsp:txBody>
      <dsp:txXfrm>
        <a:off x="0" y="1264501"/>
        <a:ext cx="2913320" cy="878850"/>
      </dsp:txXfrm>
    </dsp:sp>
    <dsp:sp modelId="{8E4C826C-B889-4E2A-AA5D-9EA82E167E2B}">
      <dsp:nvSpPr>
        <dsp:cNvPr id="0" name=""/>
        <dsp:cNvSpPr/>
      </dsp:nvSpPr>
      <dsp:spPr>
        <a:xfrm>
          <a:off x="145666" y="998821"/>
          <a:ext cx="2039324"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7082" tIns="0" rIns="77082" bIns="0" numCol="1" spcCol="1270" anchor="ctr" anchorCtr="0">
          <a:noAutofit/>
        </a:bodyPr>
        <a:lstStyle/>
        <a:p>
          <a:pPr marL="0" lvl="0" indent="0" algn="l" defTabSz="800100">
            <a:lnSpc>
              <a:spcPct val="90000"/>
            </a:lnSpc>
            <a:spcBef>
              <a:spcPct val="0"/>
            </a:spcBef>
            <a:spcAft>
              <a:spcPct val="35000"/>
            </a:spcAft>
            <a:buNone/>
          </a:pPr>
          <a:r>
            <a:rPr lang="en-US" sz="1800" kern="1200"/>
            <a:t>Data Collection</a:t>
          </a:r>
        </a:p>
      </dsp:txBody>
      <dsp:txXfrm>
        <a:off x="171605" y="1024760"/>
        <a:ext cx="1987446" cy="479482"/>
      </dsp:txXfrm>
    </dsp:sp>
    <dsp:sp modelId="{DF15A775-30D9-4BF6-8406-6B97916C2EC4}">
      <dsp:nvSpPr>
        <dsp:cNvPr id="0" name=""/>
        <dsp:cNvSpPr/>
      </dsp:nvSpPr>
      <dsp:spPr>
        <a:xfrm>
          <a:off x="0" y="2506232"/>
          <a:ext cx="2913320" cy="907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6106" tIns="374904" rIns="226106"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Formatting </a:t>
          </a:r>
        </a:p>
        <a:p>
          <a:pPr marL="114300" lvl="1" indent="-114300" algn="l" defTabSz="622300">
            <a:lnSpc>
              <a:spcPct val="90000"/>
            </a:lnSpc>
            <a:spcBef>
              <a:spcPct val="0"/>
            </a:spcBef>
            <a:spcAft>
              <a:spcPct val="15000"/>
            </a:spcAft>
            <a:buChar char="•"/>
          </a:pPr>
          <a:r>
            <a:rPr lang="en-US" sz="1400" kern="1200"/>
            <a:t>Cleansing</a:t>
          </a:r>
        </a:p>
      </dsp:txBody>
      <dsp:txXfrm>
        <a:off x="0" y="2506232"/>
        <a:ext cx="2913320" cy="907200"/>
      </dsp:txXfrm>
    </dsp:sp>
    <dsp:sp modelId="{02FC9A57-7A86-4327-B171-462DFA7AAE2B}">
      <dsp:nvSpPr>
        <dsp:cNvPr id="0" name=""/>
        <dsp:cNvSpPr/>
      </dsp:nvSpPr>
      <dsp:spPr>
        <a:xfrm>
          <a:off x="145666" y="2240551"/>
          <a:ext cx="2039324"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7082" tIns="0" rIns="77082" bIns="0" numCol="1" spcCol="1270" anchor="ctr" anchorCtr="0">
          <a:noAutofit/>
        </a:bodyPr>
        <a:lstStyle/>
        <a:p>
          <a:pPr marL="0" lvl="0" indent="0" algn="l" defTabSz="800100">
            <a:lnSpc>
              <a:spcPct val="90000"/>
            </a:lnSpc>
            <a:spcBef>
              <a:spcPct val="0"/>
            </a:spcBef>
            <a:spcAft>
              <a:spcPct val="35000"/>
            </a:spcAft>
            <a:buNone/>
          </a:pPr>
          <a:r>
            <a:rPr lang="en-US" sz="1800" kern="1200"/>
            <a:t>Data Preprocessing</a:t>
          </a:r>
        </a:p>
      </dsp:txBody>
      <dsp:txXfrm>
        <a:off x="171605" y="2266490"/>
        <a:ext cx="1987446" cy="479482"/>
      </dsp:txXfrm>
    </dsp:sp>
    <dsp:sp modelId="{48C5628F-75B4-4519-9011-380FF992BA8E}">
      <dsp:nvSpPr>
        <dsp:cNvPr id="0" name=""/>
        <dsp:cNvSpPr/>
      </dsp:nvSpPr>
      <dsp:spPr>
        <a:xfrm>
          <a:off x="0" y="3776312"/>
          <a:ext cx="2913320" cy="680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6106" tIns="374904" rIns="226106"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Scaling and normalizing</a:t>
          </a:r>
        </a:p>
      </dsp:txBody>
      <dsp:txXfrm>
        <a:off x="0" y="3776312"/>
        <a:ext cx="2913320" cy="680400"/>
      </dsp:txXfrm>
    </dsp:sp>
    <dsp:sp modelId="{F09649B9-16A2-4C47-B36A-BFD68539080C}">
      <dsp:nvSpPr>
        <dsp:cNvPr id="0" name=""/>
        <dsp:cNvSpPr/>
      </dsp:nvSpPr>
      <dsp:spPr>
        <a:xfrm>
          <a:off x="145666" y="3510632"/>
          <a:ext cx="2039324"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7082" tIns="0" rIns="77082" bIns="0" numCol="1" spcCol="1270" anchor="ctr" anchorCtr="0">
          <a:noAutofit/>
        </a:bodyPr>
        <a:lstStyle/>
        <a:p>
          <a:pPr marL="0" lvl="0" indent="0" algn="l" defTabSz="800100">
            <a:lnSpc>
              <a:spcPct val="90000"/>
            </a:lnSpc>
            <a:spcBef>
              <a:spcPct val="0"/>
            </a:spcBef>
            <a:spcAft>
              <a:spcPct val="35000"/>
            </a:spcAft>
            <a:buNone/>
          </a:pPr>
          <a:r>
            <a:rPr lang="en-US" sz="1800" kern="1200"/>
            <a:t>Data Normalization</a:t>
          </a:r>
        </a:p>
      </dsp:txBody>
      <dsp:txXfrm>
        <a:off x="171605" y="3536571"/>
        <a:ext cx="1987446"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E88D58-C033-4CEE-A569-E5B944AE0D9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BBC7ABF-4BD7-4144-87E2-2DBB71C513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A7C54D-8066-49B7-B7E6-E2678424EEFF}" type="datetimeFigureOut">
              <a:rPr lang="en-US" smtClean="0"/>
              <a:t>2/22/2023</a:t>
            </a:fld>
            <a:endParaRPr lang="en-US"/>
          </a:p>
        </p:txBody>
      </p:sp>
      <p:sp>
        <p:nvSpPr>
          <p:cNvPr id="4" name="Footer Placeholder 3">
            <a:extLst>
              <a:ext uri="{FF2B5EF4-FFF2-40B4-BE49-F238E27FC236}">
                <a16:creationId xmlns:a16="http://schemas.microsoft.com/office/drawing/2014/main" id="{89AF221A-648A-4C93-9B9A-1D23E78280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D787B2D-5AED-4B04-BEC1-7B2D6CA6C3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1C4F4-48B7-41DD-B821-48E48634DF23}" type="slidenum">
              <a:rPr lang="en-US" smtClean="0"/>
              <a:t>‹#›</a:t>
            </a:fld>
            <a:endParaRPr lang="en-US"/>
          </a:p>
        </p:txBody>
      </p:sp>
    </p:spTree>
    <p:extLst>
      <p:ext uri="{BB962C8B-B14F-4D97-AF65-F5344CB8AC3E}">
        <p14:creationId xmlns:p14="http://schemas.microsoft.com/office/powerpoint/2010/main" val="12420561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F7E1AE-40FB-4A9A-ABE4-345DB4BF9F9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E8897-398A-4957-B9E7-09D1A7A6BE48}" type="slidenum">
              <a:rPr lang="en-US" smtClean="0"/>
              <a:t>‹#›</a:t>
            </a:fld>
            <a:endParaRPr lang="en-US"/>
          </a:p>
        </p:txBody>
      </p:sp>
    </p:spTree>
    <p:extLst>
      <p:ext uri="{BB962C8B-B14F-4D97-AF65-F5344CB8AC3E}">
        <p14:creationId xmlns:p14="http://schemas.microsoft.com/office/powerpoint/2010/main" val="32797825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DC3F81-B22C-408D-92FC-90EFEDC94D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8046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8E8897-398A-4957-B9E7-09D1A7A6BE48}" type="slidenum">
              <a:rPr lang="en-US" smtClean="0"/>
              <a:t>8</a:t>
            </a:fld>
            <a:endParaRPr lang="en-US"/>
          </a:p>
        </p:txBody>
      </p:sp>
    </p:spTree>
    <p:extLst>
      <p:ext uri="{BB962C8B-B14F-4D97-AF65-F5344CB8AC3E}">
        <p14:creationId xmlns:p14="http://schemas.microsoft.com/office/powerpoint/2010/main" val="1730235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research explores data-driven approaches which utilize supervised machine learning models to identify patients with such diseases. Using the California Health Interview Survey (CHIS) dataset, we conduct an exhaustive search of all available feature variables within the data to develop models for diabetes detection. Using 9-year time-frames from 2012 to 2020 of 190K individual surveyors and feature sets for the data, multiple machine learning models (logistic regression, support vector machines, random forest, and gradient boosting) were evaluated on their classification performance. </a:t>
            </a:r>
            <a:r>
              <a:rPr lang="en-US" b="0" i="0">
                <a:solidFill>
                  <a:srgbClr val="333333"/>
                </a:solidFill>
                <a:effectLst/>
                <a:latin typeface="Georgia" panose="02040502050405020303" pitchFamily="18" charset="0"/>
              </a:rPr>
              <a:t>Information gain of tree-based models was used to identify the key variables within the patient data that contributed to the detection of at-risk diabetes patients by the data-learned models.</a:t>
            </a:r>
            <a:endParaRPr lang="en-US"/>
          </a:p>
        </p:txBody>
      </p:sp>
      <p:sp>
        <p:nvSpPr>
          <p:cNvPr id="4" name="Slide Number Placeholder 3"/>
          <p:cNvSpPr>
            <a:spLocks noGrp="1"/>
          </p:cNvSpPr>
          <p:nvPr>
            <p:ph type="sldNum" sz="quarter" idx="5"/>
          </p:nvPr>
        </p:nvSpPr>
        <p:spPr/>
        <p:txBody>
          <a:bodyPr/>
          <a:lstStyle/>
          <a:p>
            <a:fld id="{EA8E8897-398A-4957-B9E7-09D1A7A6BE48}" type="slidenum">
              <a:rPr lang="en-US" smtClean="0"/>
              <a:t>12</a:t>
            </a:fld>
            <a:endParaRPr lang="en-US"/>
          </a:p>
        </p:txBody>
      </p:sp>
    </p:spTree>
    <p:extLst>
      <p:ext uri="{BB962C8B-B14F-4D97-AF65-F5344CB8AC3E}">
        <p14:creationId xmlns:p14="http://schemas.microsoft.com/office/powerpoint/2010/main" val="352174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reasons that it's easy to get confused between scaling and normalization is because the terms are sometimes used interchangeably and, to make it even more confusing, they are very similar! In both cases, you're transforming the values of numeric variables so that the transformed data points have specific helpful properties. The difference is that, in scaling, you're changing the range of your data while in normalization you're changing the shape of the distribution of your data. </a:t>
            </a:r>
          </a:p>
        </p:txBody>
      </p:sp>
      <p:sp>
        <p:nvSpPr>
          <p:cNvPr id="4" name="Slide Number Placeholder 3"/>
          <p:cNvSpPr>
            <a:spLocks noGrp="1"/>
          </p:cNvSpPr>
          <p:nvPr>
            <p:ph type="sldNum" sz="quarter" idx="5"/>
          </p:nvPr>
        </p:nvSpPr>
        <p:spPr/>
        <p:txBody>
          <a:bodyPr/>
          <a:lstStyle/>
          <a:p>
            <a:fld id="{EA8E8897-398A-4957-B9E7-09D1A7A6BE48}" type="slidenum">
              <a:rPr lang="en-US" smtClean="0"/>
              <a:t>14</a:t>
            </a:fld>
            <a:endParaRPr lang="en-US"/>
          </a:p>
        </p:txBody>
      </p:sp>
    </p:spTree>
    <p:extLst>
      <p:ext uri="{BB962C8B-B14F-4D97-AF65-F5344CB8AC3E}">
        <p14:creationId xmlns:p14="http://schemas.microsoft.com/office/powerpoint/2010/main" val="3560445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8E8897-398A-4957-B9E7-09D1A7A6BE48}" type="slidenum">
              <a:rPr lang="en-US" smtClean="0"/>
              <a:t>15</a:t>
            </a:fld>
            <a:endParaRPr lang="en-US"/>
          </a:p>
        </p:txBody>
      </p:sp>
    </p:spTree>
    <p:extLst>
      <p:ext uri="{BB962C8B-B14F-4D97-AF65-F5344CB8AC3E}">
        <p14:creationId xmlns:p14="http://schemas.microsoft.com/office/powerpoint/2010/main" val="38555292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12"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12"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12" Type="http://schemas.openxmlformats.org/officeDocument/2006/relationships/image" Target="../media/image9.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12"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png"/><Relationship Id="rId7"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image" Target="../media/image7.png"/><Relationship Id="rId4" Type="http://schemas.openxmlformats.org/officeDocument/2006/relationships/image" Target="../media/image2.png"/><Relationship Id="rId9"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4.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9.pn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3.png"/><Relationship Id="rId9" Type="http://schemas.openxmlformats.org/officeDocument/2006/relationships/image" Target="../media/image7.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AAI">
    <p:spTree>
      <p:nvGrpSpPr>
        <p:cNvPr id="1" name=""/>
        <p:cNvGrpSpPr/>
        <p:nvPr/>
      </p:nvGrpSpPr>
      <p:grpSpPr>
        <a:xfrm>
          <a:off x="0" y="0"/>
          <a:ext cx="0" cy="0"/>
          <a:chOff x="0" y="0"/>
          <a:chExt cx="0" cy="0"/>
        </a:xfrm>
      </p:grpSpPr>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2"/>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3"/>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4"/>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5"/>
          <a:stretch>
            <a:fillRect/>
          </a:stretch>
        </p:blipFill>
        <p:spPr>
          <a:xfrm>
            <a:off x="6962313" y="536683"/>
            <a:ext cx="4885200" cy="340009"/>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6"/>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7"/>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9"/>
          <a:stretch>
            <a:fillRect/>
          </a:stretch>
        </p:blipFill>
        <p:spPr>
          <a:xfrm>
            <a:off x="7751739" y="374650"/>
            <a:ext cx="1663200" cy="445737"/>
          </a:xfrm>
          <a:prstGeom prst="rect">
            <a:avLst/>
          </a:prstGeom>
        </p:spPr>
      </p:pic>
      <p:pic>
        <p:nvPicPr>
          <p:cNvPr id="304" name="Acc_CoreBrand_Logo_Black_Purple" hidden="1">
            <a:extLst>
              <a:ext uri="{FF2B5EF4-FFF2-40B4-BE49-F238E27FC236}">
                <a16:creationId xmlns:a16="http://schemas.microsoft.com/office/drawing/2014/main" id="{079A257B-549F-4450-95A9-7265440209B9}"/>
              </a:ext>
            </a:extLst>
          </p:cNvPr>
          <p:cNvPicPr>
            <a:picLocks noChangeAspect="1"/>
          </p:cNvPicPr>
          <p:nvPr/>
        </p:nvPicPr>
        <p:blipFill>
          <a:blip r:embed="rId10"/>
          <a:stretch>
            <a:fillRect/>
          </a:stretch>
        </p:blipFill>
        <p:spPr>
          <a:xfrm>
            <a:off x="7751739" y="374650"/>
            <a:ext cx="1663200" cy="445738"/>
          </a:xfrm>
          <a:prstGeom prst="rect">
            <a:avLst/>
          </a:prstGeom>
        </p:spPr>
      </p:pic>
      <p:pic>
        <p:nvPicPr>
          <p:cNvPr id="16" name="Acc_Applied_Intell_Wordmark_BLK Colour Positive">
            <a:extLst>
              <a:ext uri="{FF2B5EF4-FFF2-40B4-BE49-F238E27FC236}">
                <a16:creationId xmlns:a16="http://schemas.microsoft.com/office/drawing/2014/main" id="{DD70FCEB-3987-4187-BBE9-1EC58B70EF76}"/>
              </a:ext>
            </a:extLst>
          </p:cNvPr>
          <p:cNvPicPr>
            <a:picLocks noChangeAspect="1"/>
          </p:cNvPicPr>
          <p:nvPr userDrawn="1"/>
        </p:nvPicPr>
        <p:blipFill>
          <a:blip r:embed="rId11"/>
          <a:stretch>
            <a:fillRect/>
          </a:stretch>
        </p:blipFill>
        <p:spPr>
          <a:xfrm>
            <a:off x="1461439" y="716491"/>
            <a:ext cx="4885196" cy="347826"/>
          </a:xfrm>
          <a:prstGeom prst="rect">
            <a:avLst/>
          </a:prstGeom>
        </p:spPr>
      </p:pic>
      <p:sp>
        <p:nvSpPr>
          <p:cNvPr id="18" name="Subtitle (3rd Level)">
            <a:extLst>
              <a:ext uri="{FF2B5EF4-FFF2-40B4-BE49-F238E27FC236}">
                <a16:creationId xmlns:a16="http://schemas.microsoft.com/office/drawing/2014/main" id="{0C2B81EA-135C-422A-98D3-161C6DFFBD16}"/>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19" name="Long Subline">
            <a:extLst>
              <a:ext uri="{FF2B5EF4-FFF2-40B4-BE49-F238E27FC236}">
                <a16:creationId xmlns:a16="http://schemas.microsoft.com/office/drawing/2014/main" id="{C96C47DE-A3E5-48FF-AB1F-A97B04A58D9A}"/>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0" name="MasterTitle">
            <a:extLst>
              <a:ext uri="{FF2B5EF4-FFF2-40B4-BE49-F238E27FC236}">
                <a16:creationId xmlns:a16="http://schemas.microsoft.com/office/drawing/2014/main" id="{6AD8816D-567D-40E6-AC54-73465BA32FDB}"/>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2113596734"/>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Cover_Master Bran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563350F7-5E63-45BF-8423-F57E0D39B7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Acc_CoreBrand_GTS_Dimensional">
            <a:extLst>
              <a:ext uri="{FF2B5EF4-FFF2-40B4-BE49-F238E27FC236}">
                <a16:creationId xmlns:a16="http://schemas.microsoft.com/office/drawing/2014/main" id="{6D756CC3-029E-472F-AC23-D51DC23EC2B7}"/>
              </a:ext>
            </a:extLst>
          </p:cNvPr>
          <p:cNvPicPr>
            <a:picLocks noChangeAspect="1"/>
          </p:cNvPicPr>
          <p:nvPr userDrawn="1"/>
        </p:nvPicPr>
        <p:blipFill>
          <a:blip r:embed="rId3"/>
          <a:stretch>
            <a:fillRect/>
          </a:stretch>
        </p:blipFill>
        <p:spPr>
          <a:xfrm>
            <a:off x="4575617" y="1314602"/>
            <a:ext cx="4320000" cy="4536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4"/>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5"/>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6"/>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7"/>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8"/>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3"/>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pic>
        <p:nvPicPr>
          <p:cNvPr id="23" name="Acc_CoreBrand_Logo_Black_Purple">
            <a:extLst>
              <a:ext uri="{FF2B5EF4-FFF2-40B4-BE49-F238E27FC236}">
                <a16:creationId xmlns:a16="http://schemas.microsoft.com/office/drawing/2014/main" id="{D56A5758-29D6-42E8-9CB0-15C7D8CB4940}"/>
              </a:ext>
            </a:extLst>
          </p:cNvPr>
          <p:cNvPicPr>
            <a:picLocks noChangeAspect="1"/>
          </p:cNvPicPr>
          <p:nvPr userDrawn="1"/>
        </p:nvPicPr>
        <p:blipFill>
          <a:blip r:embed="rId12"/>
          <a:stretch>
            <a:fillRect/>
          </a:stretch>
        </p:blipFill>
        <p:spPr>
          <a:xfrm>
            <a:off x="1461439" y="556663"/>
            <a:ext cx="1663200" cy="445738"/>
          </a:xfrm>
          <a:prstGeom prst="rect">
            <a:avLst/>
          </a:prstGeom>
        </p:spPr>
      </p:pic>
      <p:sp>
        <p:nvSpPr>
          <p:cNvPr id="24" name="Subtitle (3rd Level)">
            <a:extLst>
              <a:ext uri="{FF2B5EF4-FFF2-40B4-BE49-F238E27FC236}">
                <a16:creationId xmlns:a16="http://schemas.microsoft.com/office/drawing/2014/main" id="{095F0944-0665-4C17-BBEF-DED40EFAC5CC}"/>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5" name="Long Subline">
            <a:extLst>
              <a:ext uri="{FF2B5EF4-FFF2-40B4-BE49-F238E27FC236}">
                <a16:creationId xmlns:a16="http://schemas.microsoft.com/office/drawing/2014/main" id="{BAC62BB1-F773-4EB6-A238-C8AD19AB8BA3}"/>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6" name="MasterTitle">
            <a:extLst>
              <a:ext uri="{FF2B5EF4-FFF2-40B4-BE49-F238E27FC236}">
                <a16:creationId xmlns:a16="http://schemas.microsoft.com/office/drawing/2014/main" id="{D0F89EBC-3A05-4F5D-ACFF-DFD310BFFA5B}"/>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111814689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line &amp; copy 11">
    <p:bg>
      <p:bgPr>
        <a:solidFill>
          <a:schemeClr val="bg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70397B-5057-4F51-A412-0609438576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280817"/>
          </a:xfrm>
          <a:prstGeom prst="rect">
            <a:avLst/>
          </a:prstGeom>
        </p:spPr>
      </p:pic>
      <p:pic>
        <p:nvPicPr>
          <p:cNvPr id="25" name="Picture 24">
            <a:extLst>
              <a:ext uri="{FF2B5EF4-FFF2-40B4-BE49-F238E27FC236}">
                <a16:creationId xmlns:a16="http://schemas.microsoft.com/office/drawing/2014/main" id="{F69DC167-8B8A-4A43-A5C7-7826FCDF4A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623" y="6042119"/>
            <a:ext cx="12190377" cy="815881"/>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7" name="Text Placeholder 3">
            <a:extLst>
              <a:ext uri="{FF2B5EF4-FFF2-40B4-BE49-F238E27FC236}">
                <a16:creationId xmlns:a16="http://schemas.microsoft.com/office/drawing/2014/main" id="{AE1FD52F-2990-45D5-855D-4B152F297FB0}"/>
              </a:ext>
            </a:extLst>
          </p:cNvPr>
          <p:cNvSpPr>
            <a:spLocks noGrp="1"/>
          </p:cNvSpPr>
          <p:nvPr>
            <p:ph type="body" sz="quarter" idx="36" hasCustomPrompt="1"/>
          </p:nvPr>
        </p:nvSpPr>
        <p:spPr>
          <a:xfrm>
            <a:off x="363680" y="1525502"/>
            <a:ext cx="11463761" cy="423917"/>
          </a:xfrm>
        </p:spPr>
        <p:txBody>
          <a:bodyPr/>
          <a:lstStyle>
            <a:lvl1pPr>
              <a:defRPr sz="2000" b="1"/>
            </a:lvl1pPr>
          </a:lstStyle>
          <a:p>
            <a:pPr lvl="0"/>
            <a:r>
              <a:rPr lang="en-US"/>
              <a:t>Insert sub-title at 20 </a:t>
            </a:r>
            <a:r>
              <a:rPr lang="en-US" err="1"/>
              <a:t>pt</a:t>
            </a:r>
            <a:endParaRPr lang="en-US"/>
          </a:p>
        </p:txBody>
      </p:sp>
      <p:sp>
        <p:nvSpPr>
          <p:cNvPr id="3" name="Text Placeholder 2">
            <a:extLst>
              <a:ext uri="{FF2B5EF4-FFF2-40B4-BE49-F238E27FC236}">
                <a16:creationId xmlns:a16="http://schemas.microsoft.com/office/drawing/2014/main" id="{53D4E05E-5EB7-4350-BCEF-05315C8127DF}"/>
              </a:ext>
            </a:extLst>
          </p:cNvPr>
          <p:cNvSpPr>
            <a:spLocks noGrp="1"/>
          </p:cNvSpPr>
          <p:nvPr>
            <p:ph type="body" sz="quarter" idx="37"/>
          </p:nvPr>
        </p:nvSpPr>
        <p:spPr>
          <a:xfrm>
            <a:off x="363680"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6" name="Text Placeholder 4">
            <a:extLst>
              <a:ext uri="{FF2B5EF4-FFF2-40B4-BE49-F238E27FC236}">
                <a16:creationId xmlns:a16="http://schemas.microsoft.com/office/drawing/2014/main" id="{AE2BAC3C-7391-46BF-A9A5-6884FE403E1F}"/>
              </a:ext>
            </a:extLst>
          </p:cNvPr>
          <p:cNvSpPr>
            <a:spLocks noGrp="1"/>
          </p:cNvSpPr>
          <p:nvPr>
            <p:ph type="body" sz="quarter" idx="33" hasCustomPrompt="1"/>
          </p:nvPr>
        </p:nvSpPr>
        <p:spPr>
          <a:xfrm>
            <a:off x="363065"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27" name="Text Placeholder 2">
            <a:extLst>
              <a:ext uri="{FF2B5EF4-FFF2-40B4-BE49-F238E27FC236}">
                <a16:creationId xmlns:a16="http://schemas.microsoft.com/office/drawing/2014/main" id="{FE8A59FA-24B5-4B74-8B3A-0210EF2AE0A4}"/>
              </a:ext>
            </a:extLst>
          </p:cNvPr>
          <p:cNvSpPr>
            <a:spLocks noGrp="1"/>
          </p:cNvSpPr>
          <p:nvPr>
            <p:ph type="body" sz="quarter" idx="38"/>
          </p:nvPr>
        </p:nvSpPr>
        <p:spPr>
          <a:xfrm>
            <a:off x="2325008"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3" name="Text Placeholder 4">
            <a:extLst>
              <a:ext uri="{FF2B5EF4-FFF2-40B4-BE49-F238E27FC236}">
                <a16:creationId xmlns:a16="http://schemas.microsoft.com/office/drawing/2014/main" id="{308AE696-6D59-45BD-9526-E1CD7C35DEB4}"/>
              </a:ext>
            </a:extLst>
          </p:cNvPr>
          <p:cNvSpPr>
            <a:spLocks noGrp="1"/>
          </p:cNvSpPr>
          <p:nvPr>
            <p:ph type="body" sz="quarter" idx="39" hasCustomPrompt="1"/>
          </p:nvPr>
        </p:nvSpPr>
        <p:spPr>
          <a:xfrm>
            <a:off x="2324393"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34" name="Text Placeholder 2">
            <a:extLst>
              <a:ext uri="{FF2B5EF4-FFF2-40B4-BE49-F238E27FC236}">
                <a16:creationId xmlns:a16="http://schemas.microsoft.com/office/drawing/2014/main" id="{3B978769-2025-4104-A78B-825F699F03E0}"/>
              </a:ext>
            </a:extLst>
          </p:cNvPr>
          <p:cNvSpPr>
            <a:spLocks noGrp="1"/>
          </p:cNvSpPr>
          <p:nvPr>
            <p:ph type="body" sz="quarter" idx="40"/>
          </p:nvPr>
        </p:nvSpPr>
        <p:spPr>
          <a:xfrm>
            <a:off x="4286336"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5" name="Text Placeholder 4">
            <a:extLst>
              <a:ext uri="{FF2B5EF4-FFF2-40B4-BE49-F238E27FC236}">
                <a16:creationId xmlns:a16="http://schemas.microsoft.com/office/drawing/2014/main" id="{788D1F00-653C-41F5-8503-D67F8601E0E4}"/>
              </a:ext>
            </a:extLst>
          </p:cNvPr>
          <p:cNvSpPr>
            <a:spLocks noGrp="1"/>
          </p:cNvSpPr>
          <p:nvPr>
            <p:ph type="body" sz="quarter" idx="41" hasCustomPrompt="1"/>
          </p:nvPr>
        </p:nvSpPr>
        <p:spPr>
          <a:xfrm>
            <a:off x="4285721"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36" name="Text Placeholder 2">
            <a:extLst>
              <a:ext uri="{FF2B5EF4-FFF2-40B4-BE49-F238E27FC236}">
                <a16:creationId xmlns:a16="http://schemas.microsoft.com/office/drawing/2014/main" id="{D17503B5-E312-4AA4-BB54-641AF6801219}"/>
              </a:ext>
            </a:extLst>
          </p:cNvPr>
          <p:cNvSpPr>
            <a:spLocks noGrp="1"/>
          </p:cNvSpPr>
          <p:nvPr>
            <p:ph type="body" sz="quarter" idx="42"/>
          </p:nvPr>
        </p:nvSpPr>
        <p:spPr>
          <a:xfrm>
            <a:off x="6247664"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7" name="Text Placeholder 4">
            <a:extLst>
              <a:ext uri="{FF2B5EF4-FFF2-40B4-BE49-F238E27FC236}">
                <a16:creationId xmlns:a16="http://schemas.microsoft.com/office/drawing/2014/main" id="{496C9B56-A94D-4C87-941C-33B30787702C}"/>
              </a:ext>
            </a:extLst>
          </p:cNvPr>
          <p:cNvSpPr>
            <a:spLocks noGrp="1"/>
          </p:cNvSpPr>
          <p:nvPr>
            <p:ph type="body" sz="quarter" idx="43" hasCustomPrompt="1"/>
          </p:nvPr>
        </p:nvSpPr>
        <p:spPr>
          <a:xfrm>
            <a:off x="6247050"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38" name="Text Placeholder 2">
            <a:extLst>
              <a:ext uri="{FF2B5EF4-FFF2-40B4-BE49-F238E27FC236}">
                <a16:creationId xmlns:a16="http://schemas.microsoft.com/office/drawing/2014/main" id="{C756EA78-88CA-4EDF-86CB-807E027A4FEC}"/>
              </a:ext>
            </a:extLst>
          </p:cNvPr>
          <p:cNvSpPr>
            <a:spLocks noGrp="1"/>
          </p:cNvSpPr>
          <p:nvPr>
            <p:ph type="body" sz="quarter" idx="44"/>
          </p:nvPr>
        </p:nvSpPr>
        <p:spPr>
          <a:xfrm>
            <a:off x="8208992"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9" name="Text Placeholder 4">
            <a:extLst>
              <a:ext uri="{FF2B5EF4-FFF2-40B4-BE49-F238E27FC236}">
                <a16:creationId xmlns:a16="http://schemas.microsoft.com/office/drawing/2014/main" id="{D882ADA4-E37A-41B0-BCEB-0786A8682F0A}"/>
              </a:ext>
            </a:extLst>
          </p:cNvPr>
          <p:cNvSpPr>
            <a:spLocks noGrp="1"/>
          </p:cNvSpPr>
          <p:nvPr>
            <p:ph type="body" sz="quarter" idx="45" hasCustomPrompt="1"/>
          </p:nvPr>
        </p:nvSpPr>
        <p:spPr>
          <a:xfrm>
            <a:off x="8208378"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40" name="Text Placeholder 2">
            <a:extLst>
              <a:ext uri="{FF2B5EF4-FFF2-40B4-BE49-F238E27FC236}">
                <a16:creationId xmlns:a16="http://schemas.microsoft.com/office/drawing/2014/main" id="{35D7D4CE-64F9-412C-8914-CC9D5D35F641}"/>
              </a:ext>
            </a:extLst>
          </p:cNvPr>
          <p:cNvSpPr>
            <a:spLocks noGrp="1"/>
          </p:cNvSpPr>
          <p:nvPr>
            <p:ph type="body" sz="quarter" idx="46"/>
          </p:nvPr>
        </p:nvSpPr>
        <p:spPr>
          <a:xfrm>
            <a:off x="10170322" y="2771898"/>
            <a:ext cx="1664350" cy="3189372"/>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41" name="Text Placeholder 4">
            <a:extLst>
              <a:ext uri="{FF2B5EF4-FFF2-40B4-BE49-F238E27FC236}">
                <a16:creationId xmlns:a16="http://schemas.microsoft.com/office/drawing/2014/main" id="{76607E19-76E8-4346-9975-4971E5B82DBB}"/>
              </a:ext>
            </a:extLst>
          </p:cNvPr>
          <p:cNvSpPr>
            <a:spLocks noGrp="1"/>
          </p:cNvSpPr>
          <p:nvPr>
            <p:ph type="body" sz="quarter" idx="47" hasCustomPrompt="1"/>
          </p:nvPr>
        </p:nvSpPr>
        <p:spPr>
          <a:xfrm>
            <a:off x="10169708" y="2285962"/>
            <a:ext cx="607056" cy="423917"/>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22" name="Slide Number Placeholder 9">
            <a:extLst>
              <a:ext uri="{FF2B5EF4-FFF2-40B4-BE49-F238E27FC236}">
                <a16:creationId xmlns:a16="http://schemas.microsoft.com/office/drawing/2014/main" id="{A2B2B235-9770-440C-AFD3-60164EB65BCB}"/>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23" name="Title Placeholder 1">
            <a:extLst>
              <a:ext uri="{FF2B5EF4-FFF2-40B4-BE49-F238E27FC236}">
                <a16:creationId xmlns:a16="http://schemas.microsoft.com/office/drawing/2014/main" id="{2E39BE44-453C-4DC7-A485-13B71FFC58B6}"/>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1758095542"/>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Headline &amp; copy 11">
    <p:bg>
      <p:bgPr>
        <a:solidFill>
          <a:schemeClr val="bg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70397B-5057-4F51-A412-06094385765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782305"/>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solidFill>
                <a:latin typeface="+mn-lt"/>
              </a:defRPr>
            </a:lvl1pPr>
          </a:lstStyle>
          <a:p>
            <a:r>
              <a:rPr lang="en-GB"/>
              <a:t>Copyright © 2022 Accenture. All rights reserved.</a:t>
            </a:r>
          </a:p>
        </p:txBody>
      </p:sp>
      <p:sp>
        <p:nvSpPr>
          <p:cNvPr id="17" name="Text Placeholder 3">
            <a:extLst>
              <a:ext uri="{FF2B5EF4-FFF2-40B4-BE49-F238E27FC236}">
                <a16:creationId xmlns:a16="http://schemas.microsoft.com/office/drawing/2014/main" id="{AE1FD52F-2990-45D5-855D-4B152F297FB0}"/>
              </a:ext>
            </a:extLst>
          </p:cNvPr>
          <p:cNvSpPr>
            <a:spLocks noGrp="1"/>
          </p:cNvSpPr>
          <p:nvPr>
            <p:ph type="body" sz="quarter" idx="36" hasCustomPrompt="1"/>
          </p:nvPr>
        </p:nvSpPr>
        <p:spPr>
          <a:xfrm>
            <a:off x="363680" y="1525502"/>
            <a:ext cx="11463761" cy="423917"/>
          </a:xfrm>
        </p:spPr>
        <p:txBody>
          <a:bodyPr/>
          <a:lstStyle>
            <a:lvl1pPr>
              <a:defRPr sz="2000" b="1"/>
            </a:lvl1pPr>
          </a:lstStyle>
          <a:p>
            <a:pPr lvl="0"/>
            <a:r>
              <a:rPr lang="en-US"/>
              <a:t>Insert sub-title at 20 </a:t>
            </a:r>
            <a:r>
              <a:rPr lang="en-US" err="1"/>
              <a:t>pt</a:t>
            </a:r>
            <a:endParaRPr lang="en-US"/>
          </a:p>
        </p:txBody>
      </p:sp>
      <p:sp>
        <p:nvSpPr>
          <p:cNvPr id="3" name="Text Placeholder 2">
            <a:extLst>
              <a:ext uri="{FF2B5EF4-FFF2-40B4-BE49-F238E27FC236}">
                <a16:creationId xmlns:a16="http://schemas.microsoft.com/office/drawing/2014/main" id="{53D4E05E-5EB7-4350-BCEF-05315C8127DF}"/>
              </a:ext>
            </a:extLst>
          </p:cNvPr>
          <p:cNvSpPr>
            <a:spLocks noGrp="1"/>
          </p:cNvSpPr>
          <p:nvPr>
            <p:ph type="body" sz="quarter" idx="37"/>
          </p:nvPr>
        </p:nvSpPr>
        <p:spPr>
          <a:xfrm>
            <a:off x="363679" y="4401517"/>
            <a:ext cx="3430235" cy="165274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4" name="Text Placeholder 2">
            <a:extLst>
              <a:ext uri="{FF2B5EF4-FFF2-40B4-BE49-F238E27FC236}">
                <a16:creationId xmlns:a16="http://schemas.microsoft.com/office/drawing/2014/main" id="{3B978769-2025-4104-A78B-825F699F03E0}"/>
              </a:ext>
            </a:extLst>
          </p:cNvPr>
          <p:cNvSpPr>
            <a:spLocks noGrp="1"/>
          </p:cNvSpPr>
          <p:nvPr>
            <p:ph type="body" sz="quarter" idx="40"/>
          </p:nvPr>
        </p:nvSpPr>
        <p:spPr>
          <a:xfrm>
            <a:off x="4286335" y="4401517"/>
            <a:ext cx="3430235" cy="165274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8" name="Text Placeholder 2">
            <a:extLst>
              <a:ext uri="{FF2B5EF4-FFF2-40B4-BE49-F238E27FC236}">
                <a16:creationId xmlns:a16="http://schemas.microsoft.com/office/drawing/2014/main" id="{C756EA78-88CA-4EDF-86CB-807E027A4FEC}"/>
              </a:ext>
            </a:extLst>
          </p:cNvPr>
          <p:cNvSpPr>
            <a:spLocks noGrp="1"/>
          </p:cNvSpPr>
          <p:nvPr>
            <p:ph type="body" sz="quarter" idx="44"/>
          </p:nvPr>
        </p:nvSpPr>
        <p:spPr>
          <a:xfrm>
            <a:off x="8208991" y="4401517"/>
            <a:ext cx="3430235" cy="165274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22" name="Slide Number Placeholder 9">
            <a:extLst>
              <a:ext uri="{FF2B5EF4-FFF2-40B4-BE49-F238E27FC236}">
                <a16:creationId xmlns:a16="http://schemas.microsoft.com/office/drawing/2014/main" id="{A2B2B235-9770-440C-AFD3-60164EB65BCB}"/>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23" name="Title Placeholder 1">
            <a:extLst>
              <a:ext uri="{FF2B5EF4-FFF2-40B4-BE49-F238E27FC236}">
                <a16:creationId xmlns:a16="http://schemas.microsoft.com/office/drawing/2014/main" id="{2E39BE44-453C-4DC7-A485-13B71FFC58B6}"/>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587800938"/>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line &amp; copy 1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43" name="Text Placeholder 3">
            <a:extLst>
              <a:ext uri="{FF2B5EF4-FFF2-40B4-BE49-F238E27FC236}">
                <a16:creationId xmlns:a16="http://schemas.microsoft.com/office/drawing/2014/main" id="{3A1000FC-A8DF-4496-8F57-FDB339168286}"/>
              </a:ext>
            </a:extLst>
          </p:cNvPr>
          <p:cNvSpPr>
            <a:spLocks noGrp="1"/>
          </p:cNvSpPr>
          <p:nvPr>
            <p:ph type="body" sz="quarter" idx="36" hasCustomPrompt="1"/>
          </p:nvPr>
        </p:nvSpPr>
        <p:spPr>
          <a:xfrm>
            <a:off x="363680" y="1525502"/>
            <a:ext cx="11463761" cy="423917"/>
          </a:xfrm>
        </p:spPr>
        <p:txBody>
          <a:bodyPr/>
          <a:lstStyle>
            <a:lvl1pPr>
              <a:defRPr sz="2000" b="1">
                <a:latin typeface="+mj-lt"/>
              </a:defRPr>
            </a:lvl1pPr>
          </a:lstStyle>
          <a:p>
            <a:pPr lvl="0"/>
            <a:r>
              <a:rPr lang="en-US"/>
              <a:t>Insert sub-title at 20 </a:t>
            </a:r>
            <a:r>
              <a:rPr lang="en-US" err="1"/>
              <a:t>pt</a:t>
            </a:r>
            <a:endParaRPr lang="en-US"/>
          </a:p>
        </p:txBody>
      </p:sp>
      <p:sp>
        <p:nvSpPr>
          <p:cNvPr id="44" name="Text Placeholder 2">
            <a:extLst>
              <a:ext uri="{FF2B5EF4-FFF2-40B4-BE49-F238E27FC236}">
                <a16:creationId xmlns:a16="http://schemas.microsoft.com/office/drawing/2014/main" id="{45C5606F-1CBA-4AD8-99E2-2465DEB88E64}"/>
              </a:ext>
            </a:extLst>
          </p:cNvPr>
          <p:cNvSpPr>
            <a:spLocks noGrp="1"/>
          </p:cNvSpPr>
          <p:nvPr>
            <p:ph type="body" sz="quarter" idx="37"/>
          </p:nvPr>
        </p:nvSpPr>
        <p:spPr>
          <a:xfrm>
            <a:off x="363679" y="3163208"/>
            <a:ext cx="2713231" cy="256060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54" name="Text Placeholder 4">
            <a:extLst>
              <a:ext uri="{FF2B5EF4-FFF2-40B4-BE49-F238E27FC236}">
                <a16:creationId xmlns:a16="http://schemas.microsoft.com/office/drawing/2014/main" id="{E05649FB-A55F-4AC8-BB1F-C6D64F5C6E41}"/>
              </a:ext>
            </a:extLst>
          </p:cNvPr>
          <p:cNvSpPr>
            <a:spLocks noGrp="1"/>
          </p:cNvSpPr>
          <p:nvPr>
            <p:ph type="body" sz="quarter" idx="33" hasCustomPrompt="1"/>
          </p:nvPr>
        </p:nvSpPr>
        <p:spPr>
          <a:xfrm>
            <a:off x="363065" y="2488565"/>
            <a:ext cx="1006625" cy="612623"/>
          </a:xfrm>
        </p:spPr>
        <p:txBody>
          <a:bodyPr wrap="square" tIns="0" anchor="t">
            <a:noAutofit/>
          </a:bodyPr>
          <a:lstStyle>
            <a:lvl1pPr algn="l">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78" name="Text Placeholder 2">
            <a:extLst>
              <a:ext uri="{FF2B5EF4-FFF2-40B4-BE49-F238E27FC236}">
                <a16:creationId xmlns:a16="http://schemas.microsoft.com/office/drawing/2014/main" id="{B20E1B1A-5ACC-4377-8108-FBE59348803F}"/>
              </a:ext>
            </a:extLst>
          </p:cNvPr>
          <p:cNvSpPr>
            <a:spLocks noGrp="1"/>
          </p:cNvSpPr>
          <p:nvPr>
            <p:ph type="body" sz="quarter" idx="38"/>
          </p:nvPr>
        </p:nvSpPr>
        <p:spPr>
          <a:xfrm>
            <a:off x="3275701" y="3163208"/>
            <a:ext cx="2713231" cy="256060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79" name="Text Placeholder 4">
            <a:extLst>
              <a:ext uri="{FF2B5EF4-FFF2-40B4-BE49-F238E27FC236}">
                <a16:creationId xmlns:a16="http://schemas.microsoft.com/office/drawing/2014/main" id="{28F9905B-A3E6-4603-A370-419318FDD012}"/>
              </a:ext>
            </a:extLst>
          </p:cNvPr>
          <p:cNvSpPr>
            <a:spLocks noGrp="1"/>
          </p:cNvSpPr>
          <p:nvPr>
            <p:ph type="body" sz="quarter" idx="39" hasCustomPrompt="1"/>
          </p:nvPr>
        </p:nvSpPr>
        <p:spPr>
          <a:xfrm>
            <a:off x="3275086" y="2488565"/>
            <a:ext cx="1006625" cy="612623"/>
          </a:xfrm>
        </p:spPr>
        <p:txBody>
          <a:bodyPr wrap="square" tIns="0" anchor="t">
            <a:noAutofit/>
          </a:bodyPr>
          <a:lstStyle>
            <a:lvl1pPr algn="l">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80" name="Text Placeholder 2">
            <a:extLst>
              <a:ext uri="{FF2B5EF4-FFF2-40B4-BE49-F238E27FC236}">
                <a16:creationId xmlns:a16="http://schemas.microsoft.com/office/drawing/2014/main" id="{9E20080D-2647-4F1E-BA63-791D364A104A}"/>
              </a:ext>
            </a:extLst>
          </p:cNvPr>
          <p:cNvSpPr>
            <a:spLocks noGrp="1"/>
          </p:cNvSpPr>
          <p:nvPr>
            <p:ph type="body" sz="quarter" idx="40"/>
          </p:nvPr>
        </p:nvSpPr>
        <p:spPr>
          <a:xfrm>
            <a:off x="6187722" y="3163208"/>
            <a:ext cx="2713231" cy="256060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81" name="Text Placeholder 4">
            <a:extLst>
              <a:ext uri="{FF2B5EF4-FFF2-40B4-BE49-F238E27FC236}">
                <a16:creationId xmlns:a16="http://schemas.microsoft.com/office/drawing/2014/main" id="{52517826-7736-4E69-920C-E5F4D0F9CE4A}"/>
              </a:ext>
            </a:extLst>
          </p:cNvPr>
          <p:cNvSpPr>
            <a:spLocks noGrp="1"/>
          </p:cNvSpPr>
          <p:nvPr>
            <p:ph type="body" sz="quarter" idx="41" hasCustomPrompt="1"/>
          </p:nvPr>
        </p:nvSpPr>
        <p:spPr>
          <a:xfrm>
            <a:off x="6187108" y="2488565"/>
            <a:ext cx="1006625" cy="612623"/>
          </a:xfrm>
        </p:spPr>
        <p:txBody>
          <a:bodyPr wrap="square" tIns="0" anchor="t">
            <a:noAutofit/>
          </a:bodyPr>
          <a:lstStyle>
            <a:lvl1pPr algn="l">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82" name="Text Placeholder 2">
            <a:extLst>
              <a:ext uri="{FF2B5EF4-FFF2-40B4-BE49-F238E27FC236}">
                <a16:creationId xmlns:a16="http://schemas.microsoft.com/office/drawing/2014/main" id="{CA793B87-5579-49D8-AFC8-B082D759AC40}"/>
              </a:ext>
            </a:extLst>
          </p:cNvPr>
          <p:cNvSpPr>
            <a:spLocks noGrp="1"/>
          </p:cNvSpPr>
          <p:nvPr>
            <p:ph type="body" sz="quarter" idx="42"/>
          </p:nvPr>
        </p:nvSpPr>
        <p:spPr>
          <a:xfrm>
            <a:off x="9099744" y="3163208"/>
            <a:ext cx="2713231" cy="2560601"/>
          </a:xfrm>
        </p:spPr>
        <p:txBody>
          <a:bodyPr/>
          <a:lstStyle>
            <a:lvl1pPr>
              <a:lnSpc>
                <a:spcPct val="100000"/>
              </a:lnSpc>
              <a:spcBef>
                <a:spcPts val="600"/>
              </a:spcBef>
              <a:defRPr sz="1200" b="1">
                <a:latin typeface="+mj-lt"/>
              </a:defRPr>
            </a:lvl1pPr>
            <a:lvl2pPr>
              <a:lnSpc>
                <a:spcPct val="100000"/>
              </a:lnSpc>
              <a:spcBef>
                <a:spcPts val="600"/>
              </a:spcBef>
              <a:defRPr sz="1200"/>
            </a:lvl2pPr>
            <a:lvl3pPr>
              <a:lnSpc>
                <a:spcPct val="100000"/>
              </a:lnSpc>
              <a:defRPr sz="1200"/>
            </a:lvl3pPr>
            <a:lvl4pPr>
              <a:lnSpc>
                <a:spcPct val="100000"/>
              </a:lnSpc>
              <a:defRPr sz="1200"/>
            </a:lvl4pPr>
            <a:lvl5pPr>
              <a:lnSpc>
                <a:spcPct val="100000"/>
              </a:lnSpc>
              <a:defRPr sz="1200"/>
            </a:lvl5pPr>
          </a:lstStyle>
          <a:p>
            <a:pPr lvl="0"/>
            <a:r>
              <a:rPr lang="en-US"/>
              <a:t>Click to edit Master text styles</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83" name="Text Placeholder 4">
            <a:extLst>
              <a:ext uri="{FF2B5EF4-FFF2-40B4-BE49-F238E27FC236}">
                <a16:creationId xmlns:a16="http://schemas.microsoft.com/office/drawing/2014/main" id="{C4367422-60A2-4BBE-9967-62E87B4D2181}"/>
              </a:ext>
            </a:extLst>
          </p:cNvPr>
          <p:cNvSpPr>
            <a:spLocks noGrp="1"/>
          </p:cNvSpPr>
          <p:nvPr>
            <p:ph type="body" sz="quarter" idx="43" hasCustomPrompt="1"/>
          </p:nvPr>
        </p:nvSpPr>
        <p:spPr>
          <a:xfrm>
            <a:off x="9099129" y="2488565"/>
            <a:ext cx="1006625" cy="612623"/>
          </a:xfrm>
        </p:spPr>
        <p:txBody>
          <a:bodyPr wrap="square" tIns="0" anchor="t">
            <a:noAutofit/>
          </a:bodyPr>
          <a:lstStyle>
            <a:lvl1pPr algn="l">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6" name="Slide Number Placeholder 9">
            <a:extLst>
              <a:ext uri="{FF2B5EF4-FFF2-40B4-BE49-F238E27FC236}">
                <a16:creationId xmlns:a16="http://schemas.microsoft.com/office/drawing/2014/main" id="{B74C3752-5CD6-4BF2-9B6D-4E60241F38D6}"/>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5" name="Title Placeholder 1">
            <a:extLst>
              <a:ext uri="{FF2B5EF4-FFF2-40B4-BE49-F238E27FC236}">
                <a16:creationId xmlns:a16="http://schemas.microsoft.com/office/drawing/2014/main" id="{457B2F40-C2C1-4C3D-87BC-4A044D3A5F7B}"/>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95868882"/>
      </p:ext>
    </p:extLst>
  </p:cSld>
  <p:clrMapOvr>
    <a:masterClrMapping/>
  </p:clrMapOvr>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tatistics">
    <p:bg>
      <p:bgPr>
        <a:solidFill>
          <a:schemeClr val="bg1"/>
        </a:solidFill>
        <a:effectLst/>
      </p:bgPr>
    </p:bg>
    <p:spTree>
      <p:nvGrpSpPr>
        <p:cNvPr id="1" name=""/>
        <p:cNvGrpSpPr/>
        <p:nvPr/>
      </p:nvGrpSpPr>
      <p:grpSpPr>
        <a:xfrm>
          <a:off x="0" y="0"/>
          <a:ext cx="0" cy="0"/>
          <a:chOff x="0" y="0"/>
          <a:chExt cx="0" cy="0"/>
        </a:xfrm>
      </p:grpSpPr>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43" name="Text Placeholder 3">
            <a:extLst>
              <a:ext uri="{FF2B5EF4-FFF2-40B4-BE49-F238E27FC236}">
                <a16:creationId xmlns:a16="http://schemas.microsoft.com/office/drawing/2014/main" id="{3A1000FC-A8DF-4496-8F57-FDB339168286}"/>
              </a:ext>
            </a:extLst>
          </p:cNvPr>
          <p:cNvSpPr>
            <a:spLocks noGrp="1"/>
          </p:cNvSpPr>
          <p:nvPr>
            <p:ph type="body" sz="quarter" idx="36" hasCustomPrompt="1"/>
          </p:nvPr>
        </p:nvSpPr>
        <p:spPr>
          <a:xfrm>
            <a:off x="363680" y="1525502"/>
            <a:ext cx="11463761" cy="423917"/>
          </a:xfrm>
        </p:spPr>
        <p:txBody>
          <a:bodyPr/>
          <a:lstStyle>
            <a:lvl1pPr>
              <a:defRPr sz="2000" b="1">
                <a:solidFill>
                  <a:schemeClr val="accent1"/>
                </a:solidFill>
                <a:latin typeface="+mj-lt"/>
              </a:defRPr>
            </a:lvl1pPr>
          </a:lstStyle>
          <a:p>
            <a:pPr lvl="0"/>
            <a:r>
              <a:rPr lang="en-US"/>
              <a:t>Insert sub-title at 20 </a:t>
            </a:r>
            <a:r>
              <a:rPr lang="en-US" err="1"/>
              <a:t>pt</a:t>
            </a:r>
            <a:endParaRPr lang="en-US"/>
          </a:p>
        </p:txBody>
      </p:sp>
      <p:sp>
        <p:nvSpPr>
          <p:cNvPr id="16" name="Text Placeholder 2">
            <a:extLst>
              <a:ext uri="{FF2B5EF4-FFF2-40B4-BE49-F238E27FC236}">
                <a16:creationId xmlns:a16="http://schemas.microsoft.com/office/drawing/2014/main" id="{762BFA7B-8F84-4B13-BF29-966C0B7582E9}"/>
              </a:ext>
            </a:extLst>
          </p:cNvPr>
          <p:cNvSpPr>
            <a:spLocks noGrp="1"/>
          </p:cNvSpPr>
          <p:nvPr>
            <p:ph type="body" sz="quarter" idx="37" hasCustomPrompt="1"/>
          </p:nvPr>
        </p:nvSpPr>
        <p:spPr>
          <a:xfrm>
            <a:off x="1000638" y="5105908"/>
            <a:ext cx="1953979" cy="1119300"/>
          </a:xfrm>
        </p:spPr>
        <p:txBody>
          <a:bodyPr/>
          <a:lstStyle>
            <a:lvl1pPr>
              <a:lnSpc>
                <a:spcPct val="100000"/>
              </a:lnSpc>
              <a:spcBef>
                <a:spcPts val="600"/>
              </a:spcBef>
              <a:defRPr sz="1200" b="0">
                <a:latin typeface="+mn-lt"/>
              </a:defRPr>
            </a:lvl1pPr>
            <a:lvl2pPr marL="0" indent="0">
              <a:lnSpc>
                <a:spcPct val="100000"/>
              </a:lnSpc>
              <a:spcBef>
                <a:spcPts val="600"/>
              </a:spcBef>
              <a:buNone/>
              <a:defRPr sz="1400" b="0">
                <a:latin typeface="+mn-lt"/>
              </a:defRPr>
            </a:lvl2pPr>
            <a:lvl3pPr>
              <a:lnSpc>
                <a:spcPct val="100000"/>
              </a:lnSpc>
              <a:defRPr sz="1200"/>
            </a:lvl3pPr>
            <a:lvl4pPr>
              <a:lnSpc>
                <a:spcPct val="100000"/>
              </a:lnSpc>
              <a:defRPr sz="1200"/>
            </a:lvl4pPr>
            <a:lvl5pPr>
              <a:lnSpc>
                <a:spcPct val="100000"/>
              </a:lnSpc>
              <a:defRPr sz="1200"/>
            </a:lvl5pPr>
          </a:lstStyle>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7" name="Text Placeholder 2">
            <a:extLst>
              <a:ext uri="{FF2B5EF4-FFF2-40B4-BE49-F238E27FC236}">
                <a16:creationId xmlns:a16="http://schemas.microsoft.com/office/drawing/2014/main" id="{9F949CC6-F591-44CB-B81C-24E857A01E26}"/>
              </a:ext>
            </a:extLst>
          </p:cNvPr>
          <p:cNvSpPr>
            <a:spLocks noGrp="1"/>
          </p:cNvSpPr>
          <p:nvPr>
            <p:ph type="body" sz="quarter" idx="38" hasCustomPrompt="1"/>
          </p:nvPr>
        </p:nvSpPr>
        <p:spPr>
          <a:xfrm>
            <a:off x="3755126" y="5100805"/>
            <a:ext cx="1953979" cy="1119300"/>
          </a:xfrm>
        </p:spPr>
        <p:txBody>
          <a:bodyPr/>
          <a:lstStyle>
            <a:lvl1pPr>
              <a:lnSpc>
                <a:spcPct val="100000"/>
              </a:lnSpc>
              <a:spcBef>
                <a:spcPts val="600"/>
              </a:spcBef>
              <a:defRPr sz="1200" b="0">
                <a:latin typeface="+mn-lt"/>
              </a:defRPr>
            </a:lvl1pPr>
            <a:lvl2pPr marL="0" indent="0">
              <a:lnSpc>
                <a:spcPct val="100000"/>
              </a:lnSpc>
              <a:spcBef>
                <a:spcPts val="600"/>
              </a:spcBef>
              <a:buNone/>
              <a:defRPr sz="1400" b="0">
                <a:latin typeface="+mn-lt"/>
              </a:defRPr>
            </a:lvl2pPr>
            <a:lvl3pPr>
              <a:lnSpc>
                <a:spcPct val="100000"/>
              </a:lnSpc>
              <a:defRPr sz="1200"/>
            </a:lvl3pPr>
            <a:lvl4pPr>
              <a:lnSpc>
                <a:spcPct val="100000"/>
              </a:lnSpc>
              <a:defRPr sz="1200"/>
            </a:lvl4pPr>
            <a:lvl5pPr>
              <a:lnSpc>
                <a:spcPct val="100000"/>
              </a:lnSpc>
              <a:defRPr sz="1200"/>
            </a:lvl5pPr>
          </a:lstStyle>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8" name="Text Placeholder 2">
            <a:extLst>
              <a:ext uri="{FF2B5EF4-FFF2-40B4-BE49-F238E27FC236}">
                <a16:creationId xmlns:a16="http://schemas.microsoft.com/office/drawing/2014/main" id="{C14CE006-4C9E-4101-87E5-A86C3E60B620}"/>
              </a:ext>
            </a:extLst>
          </p:cNvPr>
          <p:cNvSpPr>
            <a:spLocks noGrp="1"/>
          </p:cNvSpPr>
          <p:nvPr>
            <p:ph type="body" sz="quarter" idx="39" hasCustomPrompt="1"/>
          </p:nvPr>
        </p:nvSpPr>
        <p:spPr>
          <a:xfrm>
            <a:off x="6596156" y="5105908"/>
            <a:ext cx="1953979" cy="1119300"/>
          </a:xfrm>
        </p:spPr>
        <p:txBody>
          <a:bodyPr/>
          <a:lstStyle>
            <a:lvl1pPr>
              <a:lnSpc>
                <a:spcPct val="100000"/>
              </a:lnSpc>
              <a:spcBef>
                <a:spcPts val="600"/>
              </a:spcBef>
              <a:defRPr sz="1200" b="0">
                <a:latin typeface="+mn-lt"/>
              </a:defRPr>
            </a:lvl1pPr>
            <a:lvl2pPr marL="0" indent="0">
              <a:lnSpc>
                <a:spcPct val="100000"/>
              </a:lnSpc>
              <a:spcBef>
                <a:spcPts val="600"/>
              </a:spcBef>
              <a:buNone/>
              <a:defRPr sz="1400" b="0">
                <a:latin typeface="+mn-lt"/>
              </a:defRPr>
            </a:lvl2pPr>
            <a:lvl3pPr>
              <a:lnSpc>
                <a:spcPct val="100000"/>
              </a:lnSpc>
              <a:defRPr sz="1200"/>
            </a:lvl3pPr>
            <a:lvl4pPr>
              <a:lnSpc>
                <a:spcPct val="100000"/>
              </a:lnSpc>
              <a:defRPr sz="1200"/>
            </a:lvl4pPr>
            <a:lvl5pPr>
              <a:lnSpc>
                <a:spcPct val="100000"/>
              </a:lnSpc>
              <a:defRPr sz="1200"/>
            </a:lvl5pPr>
          </a:lstStyle>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9" name="Text Placeholder 2">
            <a:extLst>
              <a:ext uri="{FF2B5EF4-FFF2-40B4-BE49-F238E27FC236}">
                <a16:creationId xmlns:a16="http://schemas.microsoft.com/office/drawing/2014/main" id="{F60CF2B8-2150-4522-9445-A54C84805BF8}"/>
              </a:ext>
            </a:extLst>
          </p:cNvPr>
          <p:cNvSpPr>
            <a:spLocks noGrp="1"/>
          </p:cNvSpPr>
          <p:nvPr>
            <p:ph type="body" sz="quarter" idx="40" hasCustomPrompt="1"/>
          </p:nvPr>
        </p:nvSpPr>
        <p:spPr>
          <a:xfrm>
            <a:off x="9350644" y="5100805"/>
            <a:ext cx="1953979" cy="1119300"/>
          </a:xfrm>
        </p:spPr>
        <p:txBody>
          <a:bodyPr/>
          <a:lstStyle>
            <a:lvl1pPr>
              <a:lnSpc>
                <a:spcPct val="100000"/>
              </a:lnSpc>
              <a:spcBef>
                <a:spcPts val="600"/>
              </a:spcBef>
              <a:defRPr sz="1200" b="0">
                <a:latin typeface="+mn-lt"/>
              </a:defRPr>
            </a:lvl1pPr>
            <a:lvl2pPr marL="0" indent="0">
              <a:lnSpc>
                <a:spcPct val="100000"/>
              </a:lnSpc>
              <a:spcBef>
                <a:spcPts val="600"/>
              </a:spcBef>
              <a:buNone/>
              <a:defRPr sz="1400" b="0">
                <a:latin typeface="+mn-lt"/>
              </a:defRPr>
            </a:lvl2pPr>
            <a:lvl3pPr>
              <a:lnSpc>
                <a:spcPct val="100000"/>
              </a:lnSpc>
              <a:defRPr sz="1200"/>
            </a:lvl3pPr>
            <a:lvl4pPr>
              <a:lnSpc>
                <a:spcPct val="100000"/>
              </a:lnSpc>
              <a:defRPr sz="1200"/>
            </a:lvl4pPr>
            <a:lvl5pPr>
              <a:lnSpc>
                <a:spcPct val="100000"/>
              </a:lnSpc>
              <a:defRPr sz="1200"/>
            </a:lvl5pPr>
          </a:lstStyle>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0" name="Text Placeholder 3">
            <a:extLst>
              <a:ext uri="{FF2B5EF4-FFF2-40B4-BE49-F238E27FC236}">
                <a16:creationId xmlns:a16="http://schemas.microsoft.com/office/drawing/2014/main" id="{E81FE409-D1BF-4165-ABA5-6626CB2B8CCE}"/>
              </a:ext>
            </a:extLst>
          </p:cNvPr>
          <p:cNvSpPr>
            <a:spLocks noGrp="1"/>
          </p:cNvSpPr>
          <p:nvPr>
            <p:ph type="body" sz="quarter" idx="41" hasCustomPrompt="1"/>
          </p:nvPr>
        </p:nvSpPr>
        <p:spPr>
          <a:xfrm>
            <a:off x="939484" y="2191062"/>
            <a:ext cx="4624264" cy="394114"/>
          </a:xfrm>
        </p:spPr>
        <p:txBody>
          <a:bodyPr/>
          <a:lstStyle>
            <a:lvl1pPr algn="ctr">
              <a:defRPr sz="1800" b="1">
                <a:latin typeface="+mj-lt"/>
              </a:defRPr>
            </a:lvl1pPr>
          </a:lstStyle>
          <a:p>
            <a:pPr lvl="0"/>
            <a:r>
              <a:rPr lang="en-US"/>
              <a:t>Sed </a:t>
            </a:r>
            <a:r>
              <a:rPr lang="en-US" err="1"/>
              <a:t>posuere</a:t>
            </a:r>
            <a:r>
              <a:rPr lang="en-US"/>
              <a:t> </a:t>
            </a:r>
            <a:r>
              <a:rPr lang="en-US" err="1"/>
              <a:t>consectetur</a:t>
            </a:r>
            <a:endParaRPr lang="en-US"/>
          </a:p>
        </p:txBody>
      </p:sp>
      <p:sp>
        <p:nvSpPr>
          <p:cNvPr id="21" name="Text Placeholder 3">
            <a:extLst>
              <a:ext uri="{FF2B5EF4-FFF2-40B4-BE49-F238E27FC236}">
                <a16:creationId xmlns:a16="http://schemas.microsoft.com/office/drawing/2014/main" id="{7786A6D1-586A-4A0D-82CC-72B070B1DA9F}"/>
              </a:ext>
            </a:extLst>
          </p:cNvPr>
          <p:cNvSpPr>
            <a:spLocks noGrp="1"/>
          </p:cNvSpPr>
          <p:nvPr>
            <p:ph type="body" sz="quarter" idx="42" hasCustomPrompt="1"/>
          </p:nvPr>
        </p:nvSpPr>
        <p:spPr>
          <a:xfrm>
            <a:off x="6567291" y="2191062"/>
            <a:ext cx="4624264" cy="394114"/>
          </a:xfrm>
        </p:spPr>
        <p:txBody>
          <a:bodyPr/>
          <a:lstStyle>
            <a:lvl1pPr algn="ctr">
              <a:defRPr sz="1800" b="1">
                <a:latin typeface="+mj-lt"/>
              </a:defRPr>
            </a:lvl1pPr>
          </a:lstStyle>
          <a:p>
            <a:pPr lvl="0"/>
            <a:r>
              <a:rPr lang="en-US"/>
              <a:t>Sed </a:t>
            </a:r>
            <a:r>
              <a:rPr lang="en-US" err="1"/>
              <a:t>posuere</a:t>
            </a:r>
            <a:r>
              <a:rPr lang="en-US"/>
              <a:t> </a:t>
            </a:r>
            <a:r>
              <a:rPr lang="en-US" err="1"/>
              <a:t>consectetur</a:t>
            </a:r>
            <a:endParaRPr lang="en-US"/>
          </a:p>
        </p:txBody>
      </p:sp>
      <p:sp>
        <p:nvSpPr>
          <p:cNvPr id="13" name="Slide Number Placeholder 9">
            <a:extLst>
              <a:ext uri="{FF2B5EF4-FFF2-40B4-BE49-F238E27FC236}">
                <a16:creationId xmlns:a16="http://schemas.microsoft.com/office/drawing/2014/main" id="{A0BC0FB8-98AB-4463-AC1E-689D5DBD0405}"/>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2" name="Title Placeholder 1">
            <a:extLst>
              <a:ext uri="{FF2B5EF4-FFF2-40B4-BE49-F238E27FC236}">
                <a16:creationId xmlns:a16="http://schemas.microsoft.com/office/drawing/2014/main" id="{FC2272D0-3E3B-443A-8C8E-50C2D0184FC8}"/>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45627911"/>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line and copy 13">
    <p:bg>
      <p:bgPr>
        <a:solidFill>
          <a:schemeClr val="bg1"/>
        </a:solidFill>
        <a:effectLst/>
      </p:bgPr>
    </p:bg>
    <p:spTree>
      <p:nvGrpSpPr>
        <p:cNvPr id="1" name=""/>
        <p:cNvGrpSpPr/>
        <p:nvPr/>
      </p:nvGrpSpPr>
      <p:grpSpPr>
        <a:xfrm>
          <a:off x="0" y="0"/>
          <a:ext cx="0" cy="0"/>
          <a:chOff x="0" y="0"/>
          <a:chExt cx="0" cy="0"/>
        </a:xfrm>
      </p:grpSpPr>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43" name="Text Placeholder 3">
            <a:extLst>
              <a:ext uri="{FF2B5EF4-FFF2-40B4-BE49-F238E27FC236}">
                <a16:creationId xmlns:a16="http://schemas.microsoft.com/office/drawing/2014/main" id="{3A1000FC-A8DF-4496-8F57-FDB339168286}"/>
              </a:ext>
            </a:extLst>
          </p:cNvPr>
          <p:cNvSpPr>
            <a:spLocks noGrp="1"/>
          </p:cNvSpPr>
          <p:nvPr>
            <p:ph type="body" sz="quarter" idx="36" hasCustomPrompt="1"/>
          </p:nvPr>
        </p:nvSpPr>
        <p:spPr>
          <a:xfrm>
            <a:off x="363681" y="2203836"/>
            <a:ext cx="5588595" cy="2339166"/>
          </a:xfrm>
        </p:spPr>
        <p:txBody>
          <a:bodyPr/>
          <a:lstStyle>
            <a:lvl1pPr>
              <a:spcBef>
                <a:spcPts val="1200"/>
              </a:spcBef>
              <a:defRPr sz="1800" b="1">
                <a:solidFill>
                  <a:schemeClr val="tx1"/>
                </a:solidFill>
                <a:latin typeface="+mj-lt"/>
              </a:defRPr>
            </a:lvl1pPr>
            <a:lvl2pPr marL="0" indent="0">
              <a:buNone/>
              <a:defRPr sz="1800">
                <a:solidFill>
                  <a:schemeClr val="tx1"/>
                </a:solidFill>
              </a:defRPr>
            </a:lvl2pPr>
            <a:lvl3pPr marL="431914" indent="-215957">
              <a:buFont typeface="Arial" panose="020B0604020202020204" pitchFamily="34" charset="0"/>
              <a:buChar char="•"/>
              <a:defRPr sz="1800">
                <a:solidFill>
                  <a:schemeClr val="tx1"/>
                </a:solidFill>
              </a:defRPr>
            </a:lvl3pPr>
            <a:lvl4pPr marL="611878" indent="-215957">
              <a:buFont typeface="Graphik" panose="020B0503030202060203" pitchFamily="34" charset="0"/>
              <a:buChar char="–"/>
              <a:defRPr sz="1800">
                <a:solidFill>
                  <a:schemeClr val="tx1"/>
                </a:solidFill>
              </a:defRPr>
            </a:lvl4pPr>
          </a:lstStyle>
          <a:p>
            <a:pPr lvl="0"/>
            <a:r>
              <a:rPr lang="en-GB" sz="2000">
                <a:solidFill>
                  <a:schemeClr val="tx1"/>
                </a:solidFill>
                <a:latin typeface="+mn-lt"/>
              </a:rPr>
              <a:t>Lorem ipsum </a:t>
            </a:r>
            <a:r>
              <a:rPr lang="en-GB" sz="2000" err="1">
                <a:solidFill>
                  <a:schemeClr val="tx1"/>
                </a:solidFill>
                <a:latin typeface="+mn-lt"/>
              </a:rPr>
              <a:t>dolor</a:t>
            </a:r>
            <a:endParaRPr lang="en-US"/>
          </a:p>
          <a:p>
            <a:pPr lvl="1">
              <a:spcBef>
                <a:spcPts val="1200"/>
              </a:spcBef>
            </a:pPr>
            <a:r>
              <a:rPr lang="en-GB" sz="1800">
                <a:solidFill>
                  <a:schemeClr val="tx1"/>
                </a:solidFill>
                <a:latin typeface="+mn-lt"/>
              </a:rPr>
              <a:t>Lorem ipsum </a:t>
            </a:r>
            <a:r>
              <a:rPr lang="en-GB" sz="1800" err="1">
                <a:solidFill>
                  <a:schemeClr val="tx1"/>
                </a:solidFill>
                <a:latin typeface="+mn-lt"/>
              </a:rPr>
              <a:t>dolor</a:t>
            </a:r>
            <a:r>
              <a:rPr lang="en-GB" sz="1800">
                <a:solidFill>
                  <a:schemeClr val="tx1"/>
                </a:solidFill>
                <a:latin typeface="+mn-lt"/>
              </a:rPr>
              <a:t> sit </a:t>
            </a:r>
            <a:r>
              <a:rPr lang="en-GB" sz="1800" err="1">
                <a:solidFill>
                  <a:schemeClr val="tx1"/>
                </a:solidFill>
                <a:latin typeface="+mn-lt"/>
              </a:rPr>
              <a:t>amet</a:t>
            </a:r>
            <a:r>
              <a:rPr lang="en-GB" sz="1800">
                <a:solidFill>
                  <a:schemeClr val="tx1"/>
                </a:solidFill>
                <a:latin typeface="+mn-lt"/>
              </a:rPr>
              <a:t> </a:t>
            </a:r>
            <a:r>
              <a:rPr lang="en-GB" sz="1800" err="1">
                <a:solidFill>
                  <a:schemeClr val="tx1"/>
                </a:solidFill>
                <a:latin typeface="+mn-lt"/>
              </a:rPr>
              <a:t>consectetur</a:t>
            </a:r>
            <a:r>
              <a:rPr lang="en-GB" sz="1800">
                <a:solidFill>
                  <a:schemeClr val="tx1"/>
                </a:solidFill>
                <a:latin typeface="+mn-lt"/>
              </a:rPr>
              <a:t> </a:t>
            </a:r>
            <a:r>
              <a:rPr lang="en-GB" sz="1800" err="1">
                <a:solidFill>
                  <a:schemeClr val="tx1"/>
                </a:solidFill>
                <a:latin typeface="+mn-lt"/>
              </a:rPr>
              <a:t>adipiscing</a:t>
            </a:r>
            <a:r>
              <a:rPr lang="en-GB" sz="1800">
                <a:solidFill>
                  <a:schemeClr val="tx1"/>
                </a:solidFill>
                <a:latin typeface="+mn-lt"/>
              </a:rPr>
              <a:t> </a:t>
            </a:r>
            <a:r>
              <a:rPr lang="en-GB" sz="1800" err="1">
                <a:solidFill>
                  <a:schemeClr val="tx1"/>
                </a:solidFill>
                <a:latin typeface="+mn-lt"/>
              </a:rPr>
              <a:t>elit</a:t>
            </a:r>
            <a:r>
              <a:rPr lang="en-GB" sz="1800">
                <a:solidFill>
                  <a:schemeClr val="tx1"/>
                </a:solidFill>
                <a:latin typeface="+mn-lt"/>
              </a:rPr>
              <a:t> </a:t>
            </a:r>
            <a:r>
              <a:rPr lang="en-GB" sz="1800" err="1">
                <a:solidFill>
                  <a:schemeClr val="tx1"/>
                </a:solidFill>
                <a:latin typeface="+mn-lt"/>
              </a:rPr>
              <a:t>sed</a:t>
            </a:r>
            <a:r>
              <a:rPr lang="en-GB" sz="1800">
                <a:solidFill>
                  <a:schemeClr val="tx1"/>
                </a:solidFill>
                <a:latin typeface="+mn-lt"/>
              </a:rPr>
              <a:t> do </a:t>
            </a:r>
            <a:r>
              <a:rPr lang="en-GB" sz="1800" err="1">
                <a:solidFill>
                  <a:schemeClr val="tx1"/>
                </a:solidFill>
                <a:latin typeface="+mn-lt"/>
              </a:rPr>
              <a:t>eiusmod</a:t>
            </a:r>
            <a:r>
              <a:rPr lang="en-GB" sz="1800">
                <a:solidFill>
                  <a:schemeClr val="tx1"/>
                </a:solidFill>
                <a:latin typeface="+mn-lt"/>
              </a:rPr>
              <a:t> </a:t>
            </a:r>
            <a:r>
              <a:rPr lang="en-GB" sz="1800" err="1">
                <a:solidFill>
                  <a:schemeClr val="tx1"/>
                </a:solidFill>
                <a:latin typeface="+mn-lt"/>
              </a:rPr>
              <a:t>tempor</a:t>
            </a:r>
            <a:r>
              <a:rPr lang="en-GB" sz="1800">
                <a:solidFill>
                  <a:schemeClr val="tx1"/>
                </a:solidFill>
                <a:latin typeface="+mn-lt"/>
              </a:rPr>
              <a:t> </a:t>
            </a:r>
          </a:p>
          <a:p>
            <a:pPr lvl="2">
              <a:spcBef>
                <a:spcPts val="1200"/>
              </a:spcBef>
            </a:pPr>
            <a:r>
              <a:rPr lang="en-US" sz="1800" err="1">
                <a:solidFill>
                  <a:schemeClr val="tx1"/>
                </a:solidFill>
                <a:latin typeface="+mn-lt"/>
              </a:rPr>
              <a:t>Apita</a:t>
            </a:r>
            <a:r>
              <a:rPr lang="en-US" sz="1800">
                <a:solidFill>
                  <a:schemeClr val="tx1"/>
                </a:solidFill>
                <a:latin typeface="+mn-lt"/>
              </a:rPr>
              <a:t> </a:t>
            </a:r>
            <a:r>
              <a:rPr lang="en-US" sz="1800" err="1">
                <a:solidFill>
                  <a:schemeClr val="tx1"/>
                </a:solidFill>
                <a:latin typeface="+mn-lt"/>
              </a:rPr>
              <a:t>imentemqui</a:t>
            </a:r>
            <a:r>
              <a:rPr lang="en-US" sz="1800">
                <a:solidFill>
                  <a:schemeClr val="tx1"/>
                </a:solidFill>
                <a:latin typeface="+mn-lt"/>
              </a:rPr>
              <a:t> </a:t>
            </a:r>
            <a:r>
              <a:rPr lang="en-US" sz="1800" err="1">
                <a:solidFill>
                  <a:schemeClr val="tx1"/>
                </a:solidFill>
                <a:latin typeface="+mn-lt"/>
              </a:rPr>
              <a:t>te</a:t>
            </a:r>
            <a:r>
              <a:rPr lang="en-US" sz="1800">
                <a:solidFill>
                  <a:schemeClr val="tx1"/>
                </a:solidFill>
                <a:latin typeface="+mn-lt"/>
              </a:rPr>
              <a:t> </a:t>
            </a:r>
            <a:r>
              <a:rPr lang="en-US" sz="1800" err="1">
                <a:solidFill>
                  <a:schemeClr val="tx1"/>
                </a:solidFill>
                <a:latin typeface="+mn-lt"/>
              </a:rPr>
              <a:t>sunte</a:t>
            </a:r>
            <a:r>
              <a:rPr lang="en-US" sz="1800">
                <a:solidFill>
                  <a:schemeClr val="tx1"/>
                </a:solidFill>
                <a:latin typeface="+mn-lt"/>
              </a:rPr>
              <a:t> </a:t>
            </a:r>
            <a:r>
              <a:rPr lang="en-US" sz="1800" err="1">
                <a:solidFill>
                  <a:schemeClr val="tx1"/>
                </a:solidFill>
                <a:latin typeface="+mn-lt"/>
              </a:rPr>
              <a:t>cuptia</a:t>
            </a:r>
            <a:r>
              <a:rPr lang="en-US" sz="1800">
                <a:solidFill>
                  <a:schemeClr val="tx1"/>
                </a:solidFill>
                <a:latin typeface="+mn-lt"/>
              </a:rPr>
              <a:t> </a:t>
            </a:r>
            <a:r>
              <a:rPr lang="en-US" sz="1800" err="1">
                <a:solidFill>
                  <a:schemeClr val="tx1"/>
                </a:solidFill>
                <a:latin typeface="+mn-lt"/>
              </a:rPr>
              <a:t>sam</a:t>
            </a:r>
            <a:r>
              <a:rPr lang="en-US" sz="1800">
                <a:solidFill>
                  <a:schemeClr val="tx1"/>
                </a:solidFill>
                <a:latin typeface="+mn-lt"/>
              </a:rPr>
              <a:t> </a:t>
            </a:r>
            <a:r>
              <a:rPr lang="en-US" sz="1800" err="1">
                <a:solidFill>
                  <a:schemeClr val="tx1"/>
                </a:solidFill>
                <a:latin typeface="+mn-lt"/>
              </a:rPr>
              <a:t>cus</a:t>
            </a:r>
            <a:r>
              <a:rPr lang="en-US" sz="1800">
                <a:solidFill>
                  <a:schemeClr val="tx1"/>
                </a:solidFill>
                <a:latin typeface="+mn-lt"/>
              </a:rPr>
              <a:t> dem non </a:t>
            </a:r>
            <a:r>
              <a:rPr lang="en-US" sz="1800" err="1">
                <a:solidFill>
                  <a:schemeClr val="tx1"/>
                </a:solidFill>
                <a:latin typeface="+mn-lt"/>
              </a:rPr>
              <a:t>repeliquae</a:t>
            </a:r>
            <a:r>
              <a:rPr lang="en-US" sz="1800">
                <a:solidFill>
                  <a:schemeClr val="tx1"/>
                </a:solidFill>
                <a:latin typeface="+mn-lt"/>
              </a:rPr>
              <a:t> qui </a:t>
            </a:r>
          </a:p>
          <a:p>
            <a:pPr lvl="3">
              <a:spcBef>
                <a:spcPts val="1200"/>
              </a:spcBef>
            </a:pPr>
            <a:r>
              <a:rPr lang="en-US" sz="1800" err="1">
                <a:solidFill>
                  <a:schemeClr val="tx1"/>
                </a:solidFill>
                <a:latin typeface="+mn-lt"/>
              </a:rPr>
              <a:t>Nimi</a:t>
            </a:r>
            <a:r>
              <a:rPr lang="en-US" sz="1800">
                <a:solidFill>
                  <a:schemeClr val="tx1"/>
                </a:solidFill>
                <a:latin typeface="+mn-lt"/>
              </a:rPr>
              <a:t>, qui </a:t>
            </a:r>
            <a:r>
              <a:rPr lang="en-US" sz="1800" err="1">
                <a:solidFill>
                  <a:schemeClr val="tx1"/>
                </a:solidFill>
                <a:latin typeface="+mn-lt"/>
              </a:rPr>
              <a:t>restis</a:t>
            </a:r>
            <a:r>
              <a:rPr lang="en-US" sz="1800">
                <a:solidFill>
                  <a:schemeClr val="tx1"/>
                </a:solidFill>
                <a:latin typeface="+mn-lt"/>
              </a:rPr>
              <a:t> </a:t>
            </a:r>
            <a:r>
              <a:rPr lang="en-US" sz="1800" err="1">
                <a:solidFill>
                  <a:schemeClr val="tx1"/>
                </a:solidFill>
                <a:latin typeface="+mn-lt"/>
              </a:rPr>
              <a:t>sinihilla</a:t>
            </a:r>
            <a:r>
              <a:rPr lang="en-US" sz="1800">
                <a:solidFill>
                  <a:schemeClr val="tx1"/>
                </a:solidFill>
                <a:latin typeface="+mn-lt"/>
              </a:rPr>
              <a:t> </a:t>
            </a:r>
            <a:r>
              <a:rPr lang="en-US" sz="1800" err="1">
                <a:solidFill>
                  <a:schemeClr val="tx1"/>
                </a:solidFill>
                <a:latin typeface="+mn-lt"/>
              </a:rPr>
              <a:t>verum</a:t>
            </a:r>
            <a:r>
              <a:rPr lang="en-US" sz="1800">
                <a:solidFill>
                  <a:schemeClr val="tx1"/>
                </a:solidFill>
                <a:latin typeface="+mn-lt"/>
              </a:rPr>
              <a:t> </a:t>
            </a:r>
            <a:r>
              <a:rPr lang="en-US" sz="1800" err="1">
                <a:solidFill>
                  <a:schemeClr val="tx1"/>
                </a:solidFill>
                <a:latin typeface="+mn-lt"/>
              </a:rPr>
              <a:t>quatis</a:t>
            </a:r>
            <a:endParaRPr lang="en-US" sz="1800">
              <a:solidFill>
                <a:schemeClr val="tx1"/>
              </a:solidFill>
              <a:latin typeface="+mn-lt"/>
            </a:endParaRPr>
          </a:p>
          <a:p>
            <a:pPr lvl="0"/>
            <a:endParaRPr lang="en-US"/>
          </a:p>
        </p:txBody>
      </p:sp>
      <p:sp>
        <p:nvSpPr>
          <p:cNvPr id="14" name="Text Placeholder 3">
            <a:extLst>
              <a:ext uri="{FF2B5EF4-FFF2-40B4-BE49-F238E27FC236}">
                <a16:creationId xmlns:a16="http://schemas.microsoft.com/office/drawing/2014/main" id="{52EEF1E1-191C-4E11-953D-39EEDFDD4772}"/>
              </a:ext>
            </a:extLst>
          </p:cNvPr>
          <p:cNvSpPr>
            <a:spLocks noGrp="1"/>
          </p:cNvSpPr>
          <p:nvPr>
            <p:ph type="body" sz="quarter" idx="37" hasCustomPrompt="1"/>
          </p:nvPr>
        </p:nvSpPr>
        <p:spPr>
          <a:xfrm>
            <a:off x="6253139" y="2203836"/>
            <a:ext cx="5588595" cy="2339166"/>
          </a:xfrm>
        </p:spPr>
        <p:txBody>
          <a:bodyPr/>
          <a:lstStyle>
            <a:lvl1pPr>
              <a:spcBef>
                <a:spcPts val="1200"/>
              </a:spcBef>
              <a:defRPr sz="1800" b="1">
                <a:solidFill>
                  <a:schemeClr val="tx1"/>
                </a:solidFill>
                <a:latin typeface="+mj-lt"/>
              </a:defRPr>
            </a:lvl1pPr>
            <a:lvl2pPr marL="0" indent="0">
              <a:buNone/>
              <a:defRPr sz="1800">
                <a:solidFill>
                  <a:schemeClr val="tx1"/>
                </a:solidFill>
              </a:defRPr>
            </a:lvl2pPr>
            <a:lvl3pPr marL="431914" indent="-215957">
              <a:buFont typeface="Arial" panose="020B0604020202020204" pitchFamily="34" charset="0"/>
              <a:buChar char="•"/>
              <a:defRPr sz="1800">
                <a:solidFill>
                  <a:schemeClr val="tx1"/>
                </a:solidFill>
              </a:defRPr>
            </a:lvl3pPr>
            <a:lvl4pPr marL="611878" indent="-215957">
              <a:buFont typeface="Graphik" panose="020B0503030202060203" pitchFamily="34" charset="0"/>
              <a:buChar char="–"/>
              <a:defRPr sz="1800">
                <a:solidFill>
                  <a:schemeClr val="tx1"/>
                </a:solidFill>
              </a:defRPr>
            </a:lvl4pPr>
          </a:lstStyle>
          <a:p>
            <a:pPr lvl="0"/>
            <a:r>
              <a:rPr lang="en-GB" sz="2000">
                <a:solidFill>
                  <a:schemeClr val="tx1"/>
                </a:solidFill>
                <a:latin typeface="+mn-lt"/>
              </a:rPr>
              <a:t>Lorem ipsum </a:t>
            </a:r>
            <a:r>
              <a:rPr lang="en-GB" sz="2000" err="1">
                <a:solidFill>
                  <a:schemeClr val="tx1"/>
                </a:solidFill>
                <a:latin typeface="+mn-lt"/>
              </a:rPr>
              <a:t>dolor</a:t>
            </a:r>
            <a:endParaRPr lang="en-US"/>
          </a:p>
          <a:p>
            <a:pPr lvl="1">
              <a:spcBef>
                <a:spcPts val="1200"/>
              </a:spcBef>
            </a:pPr>
            <a:r>
              <a:rPr lang="en-GB" sz="1800">
                <a:solidFill>
                  <a:schemeClr val="tx1"/>
                </a:solidFill>
                <a:latin typeface="+mn-lt"/>
              </a:rPr>
              <a:t>Lorem ipsum </a:t>
            </a:r>
            <a:r>
              <a:rPr lang="en-GB" sz="1800" err="1">
                <a:solidFill>
                  <a:schemeClr val="tx1"/>
                </a:solidFill>
                <a:latin typeface="+mn-lt"/>
              </a:rPr>
              <a:t>dolor</a:t>
            </a:r>
            <a:r>
              <a:rPr lang="en-GB" sz="1800">
                <a:solidFill>
                  <a:schemeClr val="tx1"/>
                </a:solidFill>
                <a:latin typeface="+mn-lt"/>
              </a:rPr>
              <a:t> sit </a:t>
            </a:r>
            <a:r>
              <a:rPr lang="en-GB" sz="1800" err="1">
                <a:solidFill>
                  <a:schemeClr val="tx1"/>
                </a:solidFill>
                <a:latin typeface="+mn-lt"/>
              </a:rPr>
              <a:t>amet</a:t>
            </a:r>
            <a:r>
              <a:rPr lang="en-GB" sz="1800">
                <a:solidFill>
                  <a:schemeClr val="tx1"/>
                </a:solidFill>
                <a:latin typeface="+mn-lt"/>
              </a:rPr>
              <a:t> </a:t>
            </a:r>
            <a:r>
              <a:rPr lang="en-GB" sz="1800" err="1">
                <a:solidFill>
                  <a:schemeClr val="tx1"/>
                </a:solidFill>
                <a:latin typeface="+mn-lt"/>
              </a:rPr>
              <a:t>consectetur</a:t>
            </a:r>
            <a:r>
              <a:rPr lang="en-GB" sz="1800">
                <a:solidFill>
                  <a:schemeClr val="tx1"/>
                </a:solidFill>
                <a:latin typeface="+mn-lt"/>
              </a:rPr>
              <a:t> </a:t>
            </a:r>
            <a:r>
              <a:rPr lang="en-GB" sz="1800" err="1">
                <a:solidFill>
                  <a:schemeClr val="tx1"/>
                </a:solidFill>
                <a:latin typeface="+mn-lt"/>
              </a:rPr>
              <a:t>adipiscing</a:t>
            </a:r>
            <a:r>
              <a:rPr lang="en-GB" sz="1800">
                <a:solidFill>
                  <a:schemeClr val="tx1"/>
                </a:solidFill>
                <a:latin typeface="+mn-lt"/>
              </a:rPr>
              <a:t> </a:t>
            </a:r>
            <a:r>
              <a:rPr lang="en-GB" sz="1800" err="1">
                <a:solidFill>
                  <a:schemeClr val="tx1"/>
                </a:solidFill>
                <a:latin typeface="+mn-lt"/>
              </a:rPr>
              <a:t>elit</a:t>
            </a:r>
            <a:r>
              <a:rPr lang="en-GB" sz="1800">
                <a:solidFill>
                  <a:schemeClr val="tx1"/>
                </a:solidFill>
                <a:latin typeface="+mn-lt"/>
              </a:rPr>
              <a:t> </a:t>
            </a:r>
            <a:r>
              <a:rPr lang="en-GB" sz="1800" err="1">
                <a:solidFill>
                  <a:schemeClr val="tx1"/>
                </a:solidFill>
                <a:latin typeface="+mn-lt"/>
              </a:rPr>
              <a:t>sed</a:t>
            </a:r>
            <a:r>
              <a:rPr lang="en-GB" sz="1800">
                <a:solidFill>
                  <a:schemeClr val="tx1"/>
                </a:solidFill>
                <a:latin typeface="+mn-lt"/>
              </a:rPr>
              <a:t> do </a:t>
            </a:r>
            <a:r>
              <a:rPr lang="en-GB" sz="1800" err="1">
                <a:solidFill>
                  <a:schemeClr val="tx1"/>
                </a:solidFill>
                <a:latin typeface="+mn-lt"/>
              </a:rPr>
              <a:t>eiusmod</a:t>
            </a:r>
            <a:r>
              <a:rPr lang="en-GB" sz="1800">
                <a:solidFill>
                  <a:schemeClr val="tx1"/>
                </a:solidFill>
                <a:latin typeface="+mn-lt"/>
              </a:rPr>
              <a:t> </a:t>
            </a:r>
            <a:r>
              <a:rPr lang="en-GB" sz="1800" err="1">
                <a:solidFill>
                  <a:schemeClr val="tx1"/>
                </a:solidFill>
                <a:latin typeface="+mn-lt"/>
              </a:rPr>
              <a:t>tempor</a:t>
            </a:r>
            <a:r>
              <a:rPr lang="en-GB" sz="1800">
                <a:solidFill>
                  <a:schemeClr val="tx1"/>
                </a:solidFill>
                <a:latin typeface="+mn-lt"/>
              </a:rPr>
              <a:t> </a:t>
            </a:r>
          </a:p>
          <a:p>
            <a:pPr lvl="2">
              <a:spcBef>
                <a:spcPts val="1200"/>
              </a:spcBef>
            </a:pPr>
            <a:r>
              <a:rPr lang="en-US" sz="1800" err="1">
                <a:solidFill>
                  <a:schemeClr val="tx1"/>
                </a:solidFill>
                <a:latin typeface="+mn-lt"/>
              </a:rPr>
              <a:t>Apita</a:t>
            </a:r>
            <a:r>
              <a:rPr lang="en-US" sz="1800">
                <a:solidFill>
                  <a:schemeClr val="tx1"/>
                </a:solidFill>
                <a:latin typeface="+mn-lt"/>
              </a:rPr>
              <a:t> </a:t>
            </a:r>
            <a:r>
              <a:rPr lang="en-US" sz="1800" err="1">
                <a:solidFill>
                  <a:schemeClr val="tx1"/>
                </a:solidFill>
                <a:latin typeface="+mn-lt"/>
              </a:rPr>
              <a:t>imentemqui</a:t>
            </a:r>
            <a:r>
              <a:rPr lang="en-US" sz="1800">
                <a:solidFill>
                  <a:schemeClr val="tx1"/>
                </a:solidFill>
                <a:latin typeface="+mn-lt"/>
              </a:rPr>
              <a:t> </a:t>
            </a:r>
            <a:r>
              <a:rPr lang="en-US" sz="1800" err="1">
                <a:solidFill>
                  <a:schemeClr val="tx1"/>
                </a:solidFill>
                <a:latin typeface="+mn-lt"/>
              </a:rPr>
              <a:t>te</a:t>
            </a:r>
            <a:r>
              <a:rPr lang="en-US" sz="1800">
                <a:solidFill>
                  <a:schemeClr val="tx1"/>
                </a:solidFill>
                <a:latin typeface="+mn-lt"/>
              </a:rPr>
              <a:t> </a:t>
            </a:r>
            <a:r>
              <a:rPr lang="en-US" sz="1800" err="1">
                <a:solidFill>
                  <a:schemeClr val="tx1"/>
                </a:solidFill>
                <a:latin typeface="+mn-lt"/>
              </a:rPr>
              <a:t>sunte</a:t>
            </a:r>
            <a:r>
              <a:rPr lang="en-US" sz="1800">
                <a:solidFill>
                  <a:schemeClr val="tx1"/>
                </a:solidFill>
                <a:latin typeface="+mn-lt"/>
              </a:rPr>
              <a:t> </a:t>
            </a:r>
            <a:r>
              <a:rPr lang="en-US" sz="1800" err="1">
                <a:solidFill>
                  <a:schemeClr val="tx1"/>
                </a:solidFill>
                <a:latin typeface="+mn-lt"/>
              </a:rPr>
              <a:t>cuptia</a:t>
            </a:r>
            <a:r>
              <a:rPr lang="en-US" sz="1800">
                <a:solidFill>
                  <a:schemeClr val="tx1"/>
                </a:solidFill>
                <a:latin typeface="+mn-lt"/>
              </a:rPr>
              <a:t> </a:t>
            </a:r>
            <a:r>
              <a:rPr lang="en-US" sz="1800" err="1">
                <a:solidFill>
                  <a:schemeClr val="tx1"/>
                </a:solidFill>
                <a:latin typeface="+mn-lt"/>
              </a:rPr>
              <a:t>sam</a:t>
            </a:r>
            <a:r>
              <a:rPr lang="en-US" sz="1800">
                <a:solidFill>
                  <a:schemeClr val="tx1"/>
                </a:solidFill>
                <a:latin typeface="+mn-lt"/>
              </a:rPr>
              <a:t> </a:t>
            </a:r>
            <a:r>
              <a:rPr lang="en-US" sz="1800" err="1">
                <a:solidFill>
                  <a:schemeClr val="tx1"/>
                </a:solidFill>
                <a:latin typeface="+mn-lt"/>
              </a:rPr>
              <a:t>cus</a:t>
            </a:r>
            <a:r>
              <a:rPr lang="en-US" sz="1800">
                <a:solidFill>
                  <a:schemeClr val="tx1"/>
                </a:solidFill>
                <a:latin typeface="+mn-lt"/>
              </a:rPr>
              <a:t> dem non </a:t>
            </a:r>
            <a:r>
              <a:rPr lang="en-US" sz="1800" err="1">
                <a:solidFill>
                  <a:schemeClr val="tx1"/>
                </a:solidFill>
                <a:latin typeface="+mn-lt"/>
              </a:rPr>
              <a:t>repeliquae</a:t>
            </a:r>
            <a:r>
              <a:rPr lang="en-US" sz="1800">
                <a:solidFill>
                  <a:schemeClr val="tx1"/>
                </a:solidFill>
                <a:latin typeface="+mn-lt"/>
              </a:rPr>
              <a:t> qui </a:t>
            </a:r>
          </a:p>
          <a:p>
            <a:pPr lvl="3">
              <a:spcBef>
                <a:spcPts val="1200"/>
              </a:spcBef>
            </a:pPr>
            <a:r>
              <a:rPr lang="en-US" sz="1800" err="1">
                <a:solidFill>
                  <a:schemeClr val="tx1"/>
                </a:solidFill>
                <a:latin typeface="+mn-lt"/>
              </a:rPr>
              <a:t>Nimi</a:t>
            </a:r>
            <a:r>
              <a:rPr lang="en-US" sz="1800">
                <a:solidFill>
                  <a:schemeClr val="tx1"/>
                </a:solidFill>
                <a:latin typeface="+mn-lt"/>
              </a:rPr>
              <a:t>, qui </a:t>
            </a:r>
            <a:r>
              <a:rPr lang="en-US" sz="1800" err="1">
                <a:solidFill>
                  <a:schemeClr val="tx1"/>
                </a:solidFill>
                <a:latin typeface="+mn-lt"/>
              </a:rPr>
              <a:t>restis</a:t>
            </a:r>
            <a:r>
              <a:rPr lang="en-US" sz="1800">
                <a:solidFill>
                  <a:schemeClr val="tx1"/>
                </a:solidFill>
                <a:latin typeface="+mn-lt"/>
              </a:rPr>
              <a:t> </a:t>
            </a:r>
            <a:r>
              <a:rPr lang="en-US" sz="1800" err="1">
                <a:solidFill>
                  <a:schemeClr val="tx1"/>
                </a:solidFill>
                <a:latin typeface="+mn-lt"/>
              </a:rPr>
              <a:t>sinihilla</a:t>
            </a:r>
            <a:r>
              <a:rPr lang="en-US" sz="1800">
                <a:solidFill>
                  <a:schemeClr val="tx1"/>
                </a:solidFill>
                <a:latin typeface="+mn-lt"/>
              </a:rPr>
              <a:t> </a:t>
            </a:r>
            <a:r>
              <a:rPr lang="en-US" sz="1800" err="1">
                <a:solidFill>
                  <a:schemeClr val="tx1"/>
                </a:solidFill>
                <a:latin typeface="+mn-lt"/>
              </a:rPr>
              <a:t>verum</a:t>
            </a:r>
            <a:r>
              <a:rPr lang="en-US" sz="1800">
                <a:solidFill>
                  <a:schemeClr val="tx1"/>
                </a:solidFill>
                <a:latin typeface="+mn-lt"/>
              </a:rPr>
              <a:t> </a:t>
            </a:r>
            <a:r>
              <a:rPr lang="en-US" sz="1800" err="1">
                <a:solidFill>
                  <a:schemeClr val="tx1"/>
                </a:solidFill>
                <a:latin typeface="+mn-lt"/>
              </a:rPr>
              <a:t>quatis</a:t>
            </a:r>
            <a:endParaRPr lang="en-US" sz="1800">
              <a:solidFill>
                <a:schemeClr val="tx1"/>
              </a:solidFill>
              <a:latin typeface="+mn-lt"/>
            </a:endParaRPr>
          </a:p>
          <a:p>
            <a:pPr lvl="0"/>
            <a:endParaRPr lang="en-US"/>
          </a:p>
        </p:txBody>
      </p:sp>
      <p:sp>
        <p:nvSpPr>
          <p:cNvPr id="15" name="Text Placeholder 3">
            <a:extLst>
              <a:ext uri="{FF2B5EF4-FFF2-40B4-BE49-F238E27FC236}">
                <a16:creationId xmlns:a16="http://schemas.microsoft.com/office/drawing/2014/main" id="{A7D72605-FBBB-4832-9DD3-2F9C542BB4D4}"/>
              </a:ext>
            </a:extLst>
          </p:cNvPr>
          <p:cNvSpPr>
            <a:spLocks noGrp="1"/>
          </p:cNvSpPr>
          <p:nvPr>
            <p:ph type="body" sz="quarter" idx="38" hasCustomPrompt="1"/>
          </p:nvPr>
        </p:nvSpPr>
        <p:spPr>
          <a:xfrm>
            <a:off x="356003" y="5113588"/>
            <a:ext cx="11478669" cy="847682"/>
          </a:xfrm>
        </p:spPr>
        <p:txBody>
          <a:bodyPr/>
          <a:lstStyle>
            <a:lvl1pPr algn="ctr">
              <a:spcBef>
                <a:spcPts val="1200"/>
              </a:spcBef>
              <a:defRPr sz="2200" b="0">
                <a:solidFill>
                  <a:schemeClr val="tx1"/>
                </a:solidFill>
              </a:defRPr>
            </a:lvl1pPr>
            <a:lvl2pPr marL="0" indent="0">
              <a:buNone/>
              <a:defRPr sz="1600"/>
            </a:lvl2pPr>
            <a:lvl3pPr marL="431914" indent="-215957">
              <a:buFont typeface="Arial" panose="020B0604020202020204" pitchFamily="34" charset="0"/>
              <a:buChar char="•"/>
              <a:defRPr sz="1600"/>
            </a:lvl3pPr>
            <a:lvl4pPr marL="611878" indent="-215957">
              <a:buFont typeface="Graphik" panose="020B0503030202060203" pitchFamily="34" charset="0"/>
              <a:buChar char="–"/>
              <a:defRPr sz="1600"/>
            </a:lvl4pPr>
          </a:lstStyle>
          <a:p>
            <a:pPr lvl="0">
              <a:spcBef>
                <a:spcPts val="1200"/>
              </a:spcBef>
            </a:pPr>
            <a:r>
              <a:rPr lang="en-GB" sz="1800">
                <a:solidFill>
                  <a:schemeClr val="tx1"/>
                </a:solidFill>
                <a:latin typeface="+mn-lt"/>
              </a:rPr>
              <a:t>Lorem ipsum </a:t>
            </a:r>
            <a:r>
              <a:rPr lang="en-GB" sz="1800" err="1">
                <a:solidFill>
                  <a:schemeClr val="tx1"/>
                </a:solidFill>
                <a:latin typeface="+mn-lt"/>
              </a:rPr>
              <a:t>dolor</a:t>
            </a:r>
            <a:r>
              <a:rPr lang="en-GB" sz="1800">
                <a:solidFill>
                  <a:schemeClr val="tx1"/>
                </a:solidFill>
                <a:latin typeface="+mn-lt"/>
              </a:rPr>
              <a:t> sit </a:t>
            </a:r>
            <a:r>
              <a:rPr lang="en-GB" sz="1800" err="1">
                <a:solidFill>
                  <a:schemeClr val="tx1"/>
                </a:solidFill>
                <a:latin typeface="+mn-lt"/>
              </a:rPr>
              <a:t>amet</a:t>
            </a:r>
            <a:r>
              <a:rPr lang="en-GB" sz="1800">
                <a:solidFill>
                  <a:schemeClr val="tx1"/>
                </a:solidFill>
                <a:latin typeface="+mn-lt"/>
              </a:rPr>
              <a:t> </a:t>
            </a:r>
            <a:r>
              <a:rPr lang="en-GB" sz="1800" err="1">
                <a:solidFill>
                  <a:schemeClr val="tx1"/>
                </a:solidFill>
                <a:latin typeface="+mn-lt"/>
              </a:rPr>
              <a:t>consectetur</a:t>
            </a:r>
            <a:r>
              <a:rPr lang="en-GB" sz="1800">
                <a:solidFill>
                  <a:schemeClr val="tx1"/>
                </a:solidFill>
                <a:latin typeface="+mn-lt"/>
              </a:rPr>
              <a:t> </a:t>
            </a:r>
            <a:r>
              <a:rPr lang="en-GB" sz="1800" err="1">
                <a:solidFill>
                  <a:schemeClr val="tx1"/>
                </a:solidFill>
                <a:latin typeface="+mn-lt"/>
              </a:rPr>
              <a:t>adipiscing</a:t>
            </a:r>
            <a:r>
              <a:rPr lang="en-GB" sz="1800">
                <a:solidFill>
                  <a:schemeClr val="tx1"/>
                </a:solidFill>
                <a:latin typeface="+mn-lt"/>
              </a:rPr>
              <a:t> </a:t>
            </a:r>
            <a:r>
              <a:rPr lang="en-GB" sz="1800" err="1">
                <a:solidFill>
                  <a:schemeClr val="tx1"/>
                </a:solidFill>
                <a:latin typeface="+mn-lt"/>
              </a:rPr>
              <a:t>elit</a:t>
            </a:r>
            <a:r>
              <a:rPr lang="en-GB" sz="1800">
                <a:solidFill>
                  <a:schemeClr val="tx1"/>
                </a:solidFill>
                <a:latin typeface="+mn-lt"/>
              </a:rPr>
              <a:t> </a:t>
            </a:r>
            <a:r>
              <a:rPr lang="en-GB" sz="1800" err="1">
                <a:solidFill>
                  <a:schemeClr val="tx1"/>
                </a:solidFill>
                <a:latin typeface="+mn-lt"/>
              </a:rPr>
              <a:t>sed</a:t>
            </a:r>
            <a:r>
              <a:rPr lang="en-GB" sz="1800">
                <a:solidFill>
                  <a:schemeClr val="tx1"/>
                </a:solidFill>
                <a:latin typeface="+mn-lt"/>
              </a:rPr>
              <a:t> do </a:t>
            </a:r>
            <a:r>
              <a:rPr lang="en-GB" sz="1800" err="1">
                <a:solidFill>
                  <a:schemeClr val="tx1"/>
                </a:solidFill>
                <a:latin typeface="+mn-lt"/>
              </a:rPr>
              <a:t>eiusmod</a:t>
            </a:r>
            <a:r>
              <a:rPr lang="en-GB" sz="1800">
                <a:solidFill>
                  <a:schemeClr val="tx1"/>
                </a:solidFill>
                <a:latin typeface="+mn-lt"/>
              </a:rPr>
              <a:t> </a:t>
            </a:r>
            <a:r>
              <a:rPr lang="en-GB" sz="1800" err="1">
                <a:solidFill>
                  <a:schemeClr val="tx1"/>
                </a:solidFill>
                <a:latin typeface="+mn-lt"/>
              </a:rPr>
              <a:t>tempor</a:t>
            </a:r>
            <a:r>
              <a:rPr lang="en-GB" sz="1800">
                <a:solidFill>
                  <a:schemeClr val="tx1"/>
                </a:solidFill>
                <a:latin typeface="+mn-lt"/>
              </a:rPr>
              <a:t> </a:t>
            </a:r>
          </a:p>
        </p:txBody>
      </p:sp>
      <p:sp>
        <p:nvSpPr>
          <p:cNvPr id="22" name="Text Placeholder 3">
            <a:extLst>
              <a:ext uri="{FF2B5EF4-FFF2-40B4-BE49-F238E27FC236}">
                <a16:creationId xmlns:a16="http://schemas.microsoft.com/office/drawing/2014/main" id="{6C593D36-3E4F-41E3-93C9-CD57D19F32B6}"/>
              </a:ext>
            </a:extLst>
          </p:cNvPr>
          <p:cNvSpPr>
            <a:spLocks noGrp="1"/>
          </p:cNvSpPr>
          <p:nvPr>
            <p:ph type="body" sz="quarter" idx="39" hasCustomPrompt="1"/>
          </p:nvPr>
        </p:nvSpPr>
        <p:spPr>
          <a:xfrm>
            <a:off x="363681" y="1696646"/>
            <a:ext cx="5588595" cy="387345"/>
          </a:xfrm>
        </p:spPr>
        <p:txBody>
          <a:bodyPr/>
          <a:lstStyle>
            <a:lvl1pPr>
              <a:spcBef>
                <a:spcPts val="1200"/>
              </a:spcBef>
              <a:defRPr sz="2000" b="1">
                <a:solidFill>
                  <a:schemeClr val="accent1"/>
                </a:solidFill>
                <a:latin typeface="+mj-lt"/>
              </a:defRPr>
            </a:lvl1pPr>
            <a:lvl2pPr marL="0" indent="0">
              <a:buNone/>
              <a:defRPr sz="1600"/>
            </a:lvl2pPr>
            <a:lvl3pPr marL="431914" indent="-215957">
              <a:buFont typeface="Arial" panose="020B0604020202020204" pitchFamily="34" charset="0"/>
              <a:buChar char="•"/>
              <a:defRPr sz="1600"/>
            </a:lvl3pPr>
            <a:lvl4pPr marL="611878" indent="-215957">
              <a:buFont typeface="Graphik" panose="020B0503030202060203" pitchFamily="34" charset="0"/>
              <a:buChar char="–"/>
              <a:defRPr sz="1600"/>
            </a:lvl4pPr>
          </a:lstStyle>
          <a:p>
            <a:pPr lvl="0"/>
            <a:r>
              <a:rPr lang="en-US"/>
              <a:t>Insert sub-title at 20 </a:t>
            </a:r>
            <a:r>
              <a:rPr lang="en-US" err="1"/>
              <a:t>pt</a:t>
            </a:r>
            <a:endParaRPr lang="en-US"/>
          </a:p>
        </p:txBody>
      </p:sp>
      <p:sp>
        <p:nvSpPr>
          <p:cNvPr id="23" name="Text Placeholder 3">
            <a:extLst>
              <a:ext uri="{FF2B5EF4-FFF2-40B4-BE49-F238E27FC236}">
                <a16:creationId xmlns:a16="http://schemas.microsoft.com/office/drawing/2014/main" id="{690865FB-4DB1-4336-BBCA-386FB1CFA4E7}"/>
              </a:ext>
            </a:extLst>
          </p:cNvPr>
          <p:cNvSpPr>
            <a:spLocks noGrp="1"/>
          </p:cNvSpPr>
          <p:nvPr>
            <p:ph type="body" sz="quarter" idx="40" hasCustomPrompt="1"/>
          </p:nvPr>
        </p:nvSpPr>
        <p:spPr>
          <a:xfrm>
            <a:off x="6253139" y="1696646"/>
            <a:ext cx="5588595" cy="387345"/>
          </a:xfrm>
        </p:spPr>
        <p:txBody>
          <a:bodyPr/>
          <a:lstStyle>
            <a:lvl1pPr>
              <a:spcBef>
                <a:spcPts val="1200"/>
              </a:spcBef>
              <a:defRPr sz="2000" b="1">
                <a:solidFill>
                  <a:schemeClr val="accent1"/>
                </a:solidFill>
                <a:latin typeface="+mj-lt"/>
              </a:defRPr>
            </a:lvl1pPr>
            <a:lvl2pPr marL="0" indent="0">
              <a:buNone/>
              <a:defRPr sz="1600"/>
            </a:lvl2pPr>
            <a:lvl3pPr marL="431914" indent="-215957">
              <a:buFont typeface="Arial" panose="020B0604020202020204" pitchFamily="34" charset="0"/>
              <a:buChar char="•"/>
              <a:defRPr sz="1600"/>
            </a:lvl3pPr>
            <a:lvl4pPr marL="611878" indent="-215957">
              <a:buFont typeface="Graphik" panose="020B0503030202060203" pitchFamily="34" charset="0"/>
              <a:buChar char="–"/>
              <a:defRPr sz="1600"/>
            </a:lvl4pPr>
          </a:lstStyle>
          <a:p>
            <a:pPr lvl="0"/>
            <a:r>
              <a:rPr lang="en-US"/>
              <a:t>Insert sub-title at 20 </a:t>
            </a:r>
            <a:r>
              <a:rPr lang="en-US" err="1"/>
              <a:t>pt</a:t>
            </a:r>
            <a:endParaRPr lang="en-US"/>
          </a:p>
        </p:txBody>
      </p:sp>
      <p:sp>
        <p:nvSpPr>
          <p:cNvPr id="11" name="Slide Number Placeholder 9">
            <a:extLst>
              <a:ext uri="{FF2B5EF4-FFF2-40B4-BE49-F238E27FC236}">
                <a16:creationId xmlns:a16="http://schemas.microsoft.com/office/drawing/2014/main" id="{9415B51B-D5D1-4A26-9EB6-D24304FAEF5E}"/>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0" name="Title Placeholder 1">
            <a:extLst>
              <a:ext uri="{FF2B5EF4-FFF2-40B4-BE49-F238E27FC236}">
                <a16:creationId xmlns:a16="http://schemas.microsoft.com/office/drawing/2014/main" id="{0B250FE5-9F24-461F-A155-D574850BD1D2}"/>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539569874"/>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line &amp; copy 15">
    <p:bg>
      <p:bgPr>
        <a:solidFill>
          <a:schemeClr val="bg1"/>
        </a:solidFill>
        <a:effectLst/>
      </p:bgPr>
    </p:bg>
    <p:spTree>
      <p:nvGrpSpPr>
        <p:cNvPr id="1" name=""/>
        <p:cNvGrpSpPr/>
        <p:nvPr/>
      </p:nvGrpSpPr>
      <p:grpSpPr>
        <a:xfrm>
          <a:off x="0" y="0"/>
          <a:ext cx="0" cy="0"/>
          <a:chOff x="0" y="0"/>
          <a:chExt cx="0" cy="0"/>
        </a:xfrm>
      </p:grpSpPr>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43" name="Text Placeholder 3">
            <a:extLst>
              <a:ext uri="{FF2B5EF4-FFF2-40B4-BE49-F238E27FC236}">
                <a16:creationId xmlns:a16="http://schemas.microsoft.com/office/drawing/2014/main" id="{3A1000FC-A8DF-4496-8F57-FDB339168286}"/>
              </a:ext>
            </a:extLst>
          </p:cNvPr>
          <p:cNvSpPr>
            <a:spLocks noGrp="1"/>
          </p:cNvSpPr>
          <p:nvPr>
            <p:ph type="body" sz="quarter" idx="36" hasCustomPrompt="1"/>
          </p:nvPr>
        </p:nvSpPr>
        <p:spPr>
          <a:xfrm>
            <a:off x="363681" y="2061431"/>
            <a:ext cx="5588595" cy="3785463"/>
          </a:xfrm>
        </p:spPr>
        <p:txBody>
          <a:bodyPr/>
          <a:lstStyle>
            <a:lvl1pPr>
              <a:spcBef>
                <a:spcPts val="1200"/>
              </a:spcBef>
              <a:defRPr sz="1800" b="1">
                <a:solidFill>
                  <a:schemeClr val="tx1"/>
                </a:solidFill>
                <a:latin typeface="+mj-lt"/>
              </a:defRPr>
            </a:lvl1pPr>
            <a:lvl2pPr marL="0" indent="0">
              <a:buNone/>
              <a:defRPr sz="1800">
                <a:solidFill>
                  <a:schemeClr val="tx1"/>
                </a:solidFill>
              </a:defRPr>
            </a:lvl2pPr>
            <a:lvl3pPr marL="431914" indent="-215957">
              <a:buFont typeface="Arial" panose="020B0604020202020204" pitchFamily="34" charset="0"/>
              <a:buChar char="•"/>
              <a:defRPr sz="1800">
                <a:solidFill>
                  <a:schemeClr val="tx1"/>
                </a:solidFill>
              </a:defRPr>
            </a:lvl3pPr>
            <a:lvl4pPr marL="611878" indent="-215957">
              <a:buFont typeface="Graphik" panose="020B0503030202060203" pitchFamily="34" charset="0"/>
              <a:buChar char="–"/>
              <a:defRPr sz="1800">
                <a:solidFill>
                  <a:schemeClr val="tx1"/>
                </a:solidFill>
              </a:defRPr>
            </a:lvl4pPr>
          </a:lstStyle>
          <a:p>
            <a:pPr lvl="0"/>
            <a:r>
              <a:rPr lang="en-GB" sz="2000">
                <a:solidFill>
                  <a:schemeClr val="tx1"/>
                </a:solidFill>
                <a:latin typeface="+mn-lt"/>
              </a:rPr>
              <a:t>Lorem ipsum </a:t>
            </a:r>
            <a:r>
              <a:rPr lang="en-GB" sz="2000" err="1">
                <a:solidFill>
                  <a:schemeClr val="tx1"/>
                </a:solidFill>
                <a:latin typeface="+mn-lt"/>
              </a:rPr>
              <a:t>dolor</a:t>
            </a:r>
            <a:endParaRPr lang="en-US"/>
          </a:p>
          <a:p>
            <a:pPr lvl="1">
              <a:spcBef>
                <a:spcPts val="1200"/>
              </a:spcBef>
            </a:pPr>
            <a:r>
              <a:rPr lang="en-GB" sz="1800">
                <a:solidFill>
                  <a:schemeClr val="tx1"/>
                </a:solidFill>
                <a:latin typeface="+mn-lt"/>
              </a:rPr>
              <a:t>Lorem ipsum </a:t>
            </a:r>
            <a:r>
              <a:rPr lang="en-GB" sz="1800" err="1">
                <a:solidFill>
                  <a:schemeClr val="tx1"/>
                </a:solidFill>
                <a:latin typeface="+mn-lt"/>
              </a:rPr>
              <a:t>dolor</a:t>
            </a:r>
            <a:r>
              <a:rPr lang="en-GB" sz="1800">
                <a:solidFill>
                  <a:schemeClr val="tx1"/>
                </a:solidFill>
                <a:latin typeface="+mn-lt"/>
              </a:rPr>
              <a:t> sit </a:t>
            </a:r>
            <a:r>
              <a:rPr lang="en-GB" sz="1800" err="1">
                <a:solidFill>
                  <a:schemeClr val="tx1"/>
                </a:solidFill>
                <a:latin typeface="+mn-lt"/>
              </a:rPr>
              <a:t>amet</a:t>
            </a:r>
            <a:r>
              <a:rPr lang="en-GB" sz="1800">
                <a:solidFill>
                  <a:schemeClr val="tx1"/>
                </a:solidFill>
                <a:latin typeface="+mn-lt"/>
              </a:rPr>
              <a:t> </a:t>
            </a:r>
            <a:r>
              <a:rPr lang="en-GB" sz="1800" err="1">
                <a:solidFill>
                  <a:schemeClr val="tx1"/>
                </a:solidFill>
                <a:latin typeface="+mn-lt"/>
              </a:rPr>
              <a:t>consectetur</a:t>
            </a:r>
            <a:r>
              <a:rPr lang="en-GB" sz="1800">
                <a:solidFill>
                  <a:schemeClr val="tx1"/>
                </a:solidFill>
                <a:latin typeface="+mn-lt"/>
              </a:rPr>
              <a:t> </a:t>
            </a:r>
            <a:r>
              <a:rPr lang="en-GB" sz="1800" err="1">
                <a:solidFill>
                  <a:schemeClr val="tx1"/>
                </a:solidFill>
                <a:latin typeface="+mn-lt"/>
              </a:rPr>
              <a:t>adipiscing</a:t>
            </a:r>
            <a:r>
              <a:rPr lang="en-GB" sz="1800">
                <a:solidFill>
                  <a:schemeClr val="tx1"/>
                </a:solidFill>
                <a:latin typeface="+mn-lt"/>
              </a:rPr>
              <a:t> </a:t>
            </a:r>
            <a:r>
              <a:rPr lang="en-GB" sz="1800" err="1">
                <a:solidFill>
                  <a:schemeClr val="tx1"/>
                </a:solidFill>
                <a:latin typeface="+mn-lt"/>
              </a:rPr>
              <a:t>elit</a:t>
            </a:r>
            <a:r>
              <a:rPr lang="en-GB" sz="1800">
                <a:solidFill>
                  <a:schemeClr val="tx1"/>
                </a:solidFill>
                <a:latin typeface="+mn-lt"/>
              </a:rPr>
              <a:t> </a:t>
            </a:r>
            <a:r>
              <a:rPr lang="en-GB" sz="1800" err="1">
                <a:solidFill>
                  <a:schemeClr val="tx1"/>
                </a:solidFill>
                <a:latin typeface="+mn-lt"/>
              </a:rPr>
              <a:t>sed</a:t>
            </a:r>
            <a:r>
              <a:rPr lang="en-GB" sz="1800">
                <a:solidFill>
                  <a:schemeClr val="tx1"/>
                </a:solidFill>
                <a:latin typeface="+mn-lt"/>
              </a:rPr>
              <a:t> do </a:t>
            </a:r>
            <a:r>
              <a:rPr lang="en-GB" sz="1800" err="1">
                <a:solidFill>
                  <a:schemeClr val="tx1"/>
                </a:solidFill>
                <a:latin typeface="+mn-lt"/>
              </a:rPr>
              <a:t>eiusmod</a:t>
            </a:r>
            <a:r>
              <a:rPr lang="en-GB" sz="1800">
                <a:solidFill>
                  <a:schemeClr val="tx1"/>
                </a:solidFill>
                <a:latin typeface="+mn-lt"/>
              </a:rPr>
              <a:t> </a:t>
            </a:r>
            <a:r>
              <a:rPr lang="en-GB" sz="1800" err="1">
                <a:solidFill>
                  <a:schemeClr val="tx1"/>
                </a:solidFill>
                <a:latin typeface="+mn-lt"/>
              </a:rPr>
              <a:t>tempor</a:t>
            </a:r>
            <a:r>
              <a:rPr lang="en-GB" sz="1800">
                <a:solidFill>
                  <a:schemeClr val="tx1"/>
                </a:solidFill>
                <a:latin typeface="+mn-lt"/>
              </a:rPr>
              <a:t> </a:t>
            </a:r>
          </a:p>
          <a:p>
            <a:pPr lvl="2">
              <a:spcBef>
                <a:spcPts val="1200"/>
              </a:spcBef>
            </a:pPr>
            <a:r>
              <a:rPr lang="en-US" sz="1800" err="1">
                <a:solidFill>
                  <a:schemeClr val="tx1"/>
                </a:solidFill>
                <a:latin typeface="+mn-lt"/>
              </a:rPr>
              <a:t>Apita</a:t>
            </a:r>
            <a:r>
              <a:rPr lang="en-US" sz="1800">
                <a:solidFill>
                  <a:schemeClr val="tx1"/>
                </a:solidFill>
                <a:latin typeface="+mn-lt"/>
              </a:rPr>
              <a:t> </a:t>
            </a:r>
            <a:r>
              <a:rPr lang="en-US" sz="1800" err="1">
                <a:solidFill>
                  <a:schemeClr val="tx1"/>
                </a:solidFill>
                <a:latin typeface="+mn-lt"/>
              </a:rPr>
              <a:t>imentemqui</a:t>
            </a:r>
            <a:r>
              <a:rPr lang="en-US" sz="1800">
                <a:solidFill>
                  <a:schemeClr val="tx1"/>
                </a:solidFill>
                <a:latin typeface="+mn-lt"/>
              </a:rPr>
              <a:t> </a:t>
            </a:r>
            <a:r>
              <a:rPr lang="en-US" sz="1800" err="1">
                <a:solidFill>
                  <a:schemeClr val="tx1"/>
                </a:solidFill>
                <a:latin typeface="+mn-lt"/>
              </a:rPr>
              <a:t>te</a:t>
            </a:r>
            <a:r>
              <a:rPr lang="en-US" sz="1800">
                <a:solidFill>
                  <a:schemeClr val="tx1"/>
                </a:solidFill>
                <a:latin typeface="+mn-lt"/>
              </a:rPr>
              <a:t> </a:t>
            </a:r>
            <a:r>
              <a:rPr lang="en-US" sz="1800" err="1">
                <a:solidFill>
                  <a:schemeClr val="tx1"/>
                </a:solidFill>
                <a:latin typeface="+mn-lt"/>
              </a:rPr>
              <a:t>sunte</a:t>
            </a:r>
            <a:r>
              <a:rPr lang="en-US" sz="1800">
                <a:solidFill>
                  <a:schemeClr val="tx1"/>
                </a:solidFill>
                <a:latin typeface="+mn-lt"/>
              </a:rPr>
              <a:t> </a:t>
            </a:r>
            <a:r>
              <a:rPr lang="en-US" sz="1800" err="1">
                <a:solidFill>
                  <a:schemeClr val="tx1"/>
                </a:solidFill>
                <a:latin typeface="+mn-lt"/>
              </a:rPr>
              <a:t>cuptia</a:t>
            </a:r>
            <a:r>
              <a:rPr lang="en-US" sz="1800">
                <a:solidFill>
                  <a:schemeClr val="tx1"/>
                </a:solidFill>
                <a:latin typeface="+mn-lt"/>
              </a:rPr>
              <a:t> </a:t>
            </a:r>
            <a:r>
              <a:rPr lang="en-US" sz="1800" err="1">
                <a:solidFill>
                  <a:schemeClr val="tx1"/>
                </a:solidFill>
                <a:latin typeface="+mn-lt"/>
              </a:rPr>
              <a:t>sam</a:t>
            </a:r>
            <a:r>
              <a:rPr lang="en-US" sz="1800">
                <a:solidFill>
                  <a:schemeClr val="tx1"/>
                </a:solidFill>
                <a:latin typeface="+mn-lt"/>
              </a:rPr>
              <a:t> </a:t>
            </a:r>
            <a:r>
              <a:rPr lang="en-US" sz="1800" err="1">
                <a:solidFill>
                  <a:schemeClr val="tx1"/>
                </a:solidFill>
                <a:latin typeface="+mn-lt"/>
              </a:rPr>
              <a:t>cus</a:t>
            </a:r>
            <a:r>
              <a:rPr lang="en-US" sz="1800">
                <a:solidFill>
                  <a:schemeClr val="tx1"/>
                </a:solidFill>
                <a:latin typeface="+mn-lt"/>
              </a:rPr>
              <a:t> dem non </a:t>
            </a:r>
            <a:r>
              <a:rPr lang="en-US" sz="1800" err="1">
                <a:solidFill>
                  <a:schemeClr val="tx1"/>
                </a:solidFill>
                <a:latin typeface="+mn-lt"/>
              </a:rPr>
              <a:t>repeliquae</a:t>
            </a:r>
            <a:r>
              <a:rPr lang="en-US" sz="1800">
                <a:solidFill>
                  <a:schemeClr val="tx1"/>
                </a:solidFill>
                <a:latin typeface="+mn-lt"/>
              </a:rPr>
              <a:t> qui </a:t>
            </a:r>
          </a:p>
          <a:p>
            <a:pPr lvl="3">
              <a:spcBef>
                <a:spcPts val="1200"/>
              </a:spcBef>
            </a:pPr>
            <a:r>
              <a:rPr lang="en-US" sz="1800" err="1">
                <a:solidFill>
                  <a:schemeClr val="tx1"/>
                </a:solidFill>
                <a:latin typeface="+mn-lt"/>
              </a:rPr>
              <a:t>Nimi</a:t>
            </a:r>
            <a:r>
              <a:rPr lang="en-US" sz="1800">
                <a:solidFill>
                  <a:schemeClr val="tx1"/>
                </a:solidFill>
                <a:latin typeface="+mn-lt"/>
              </a:rPr>
              <a:t>, qui </a:t>
            </a:r>
            <a:r>
              <a:rPr lang="en-US" sz="1800" err="1">
                <a:solidFill>
                  <a:schemeClr val="tx1"/>
                </a:solidFill>
                <a:latin typeface="+mn-lt"/>
              </a:rPr>
              <a:t>restis</a:t>
            </a:r>
            <a:r>
              <a:rPr lang="en-US" sz="1800">
                <a:solidFill>
                  <a:schemeClr val="tx1"/>
                </a:solidFill>
                <a:latin typeface="+mn-lt"/>
              </a:rPr>
              <a:t> </a:t>
            </a:r>
            <a:r>
              <a:rPr lang="en-US" sz="1800" err="1">
                <a:solidFill>
                  <a:schemeClr val="tx1"/>
                </a:solidFill>
                <a:latin typeface="+mn-lt"/>
              </a:rPr>
              <a:t>sinihilla</a:t>
            </a:r>
            <a:r>
              <a:rPr lang="en-US" sz="1800">
                <a:solidFill>
                  <a:schemeClr val="tx1"/>
                </a:solidFill>
                <a:latin typeface="+mn-lt"/>
              </a:rPr>
              <a:t> </a:t>
            </a:r>
            <a:r>
              <a:rPr lang="en-US" sz="1800" err="1">
                <a:solidFill>
                  <a:schemeClr val="tx1"/>
                </a:solidFill>
                <a:latin typeface="+mn-lt"/>
              </a:rPr>
              <a:t>verum</a:t>
            </a:r>
            <a:r>
              <a:rPr lang="en-US" sz="1800">
                <a:solidFill>
                  <a:schemeClr val="tx1"/>
                </a:solidFill>
                <a:latin typeface="+mn-lt"/>
              </a:rPr>
              <a:t> </a:t>
            </a:r>
            <a:r>
              <a:rPr lang="en-US" sz="1800" err="1">
                <a:solidFill>
                  <a:schemeClr val="tx1"/>
                </a:solidFill>
                <a:latin typeface="+mn-lt"/>
              </a:rPr>
              <a:t>quatis</a:t>
            </a:r>
            <a:endParaRPr lang="en-US" sz="1800">
              <a:solidFill>
                <a:schemeClr val="tx1"/>
              </a:solidFill>
              <a:latin typeface="+mn-lt"/>
            </a:endParaRPr>
          </a:p>
          <a:p>
            <a:pPr lvl="0"/>
            <a:endParaRPr lang="en-US"/>
          </a:p>
        </p:txBody>
      </p:sp>
      <p:sp>
        <p:nvSpPr>
          <p:cNvPr id="7" name="Slide Number Placeholder 9">
            <a:extLst>
              <a:ext uri="{FF2B5EF4-FFF2-40B4-BE49-F238E27FC236}">
                <a16:creationId xmlns:a16="http://schemas.microsoft.com/office/drawing/2014/main" id="{0CCC54CE-5A4E-4AC1-B4B0-923198C93DEA}"/>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6" name="Title Placeholder 1">
            <a:extLst>
              <a:ext uri="{FF2B5EF4-FFF2-40B4-BE49-F238E27FC236}">
                <a16:creationId xmlns:a16="http://schemas.microsoft.com/office/drawing/2014/main" id="{D8706B51-8F83-4F75-80BE-DFAF171804CE}"/>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256146277"/>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8" name="Table Placeholder 9">
            <a:extLst>
              <a:ext uri="{FF2B5EF4-FFF2-40B4-BE49-F238E27FC236}">
                <a16:creationId xmlns:a16="http://schemas.microsoft.com/office/drawing/2014/main" id="{9730A601-0F14-438C-AED5-381311B22D54}"/>
              </a:ext>
            </a:extLst>
          </p:cNvPr>
          <p:cNvSpPr>
            <a:spLocks noGrp="1"/>
          </p:cNvSpPr>
          <p:nvPr>
            <p:ph type="tbl" sz="quarter" idx="36" hasCustomPrompt="1"/>
          </p:nvPr>
        </p:nvSpPr>
        <p:spPr>
          <a:xfrm>
            <a:off x="360129" y="2060107"/>
            <a:ext cx="11306176" cy="4215986"/>
          </a:xfrm>
          <a:noFill/>
        </p:spPr>
        <p:txBody>
          <a:bodyPr lIns="108000" tIns="108000" rIns="0"/>
          <a:lstStyle>
            <a:lvl1pPr>
              <a:defRPr sz="1100" b="0" i="0">
                <a:latin typeface="+mn-lt"/>
              </a:defRPr>
            </a:lvl1pPr>
          </a:lstStyle>
          <a:p>
            <a:r>
              <a:rPr lang="en-AU"/>
              <a:t>Insert table here</a:t>
            </a:r>
          </a:p>
        </p:txBody>
      </p:sp>
      <p:sp>
        <p:nvSpPr>
          <p:cNvPr id="7" name="Slide Number Placeholder 9">
            <a:extLst>
              <a:ext uri="{FF2B5EF4-FFF2-40B4-BE49-F238E27FC236}">
                <a16:creationId xmlns:a16="http://schemas.microsoft.com/office/drawing/2014/main" id="{523B6442-CB61-4966-9179-ED9BF74B8FCA}"/>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6" name="Title Placeholder 1">
            <a:extLst>
              <a:ext uri="{FF2B5EF4-FFF2-40B4-BE49-F238E27FC236}">
                <a16:creationId xmlns:a16="http://schemas.microsoft.com/office/drawing/2014/main" id="{95BF5E02-6B2B-45D6-BF2C-2C37634FB045}"/>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643874884"/>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line &amp; bullets 2">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12190377" cy="5961271"/>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grpSp>
        <p:nvGrpSpPr>
          <p:cNvPr id="24" name="Group 23">
            <a:extLst>
              <a:ext uri="{FF2B5EF4-FFF2-40B4-BE49-F238E27FC236}">
                <a16:creationId xmlns:a16="http://schemas.microsoft.com/office/drawing/2014/main" id="{9AA5C5C0-B0C6-4BE8-AB86-282F7F77DC15}"/>
              </a:ext>
            </a:extLst>
          </p:cNvPr>
          <p:cNvGrpSpPr/>
          <p:nvPr userDrawn="1"/>
        </p:nvGrpSpPr>
        <p:grpSpPr>
          <a:xfrm>
            <a:off x="283039" y="1976621"/>
            <a:ext cx="3568612" cy="1803972"/>
            <a:chOff x="153908" y="2442598"/>
            <a:chExt cx="6967229" cy="3311641"/>
          </a:xfrm>
        </p:grpSpPr>
        <p:sp>
          <p:nvSpPr>
            <p:cNvPr id="25" name="object 13">
              <a:extLst>
                <a:ext uri="{FF2B5EF4-FFF2-40B4-BE49-F238E27FC236}">
                  <a16:creationId xmlns:a16="http://schemas.microsoft.com/office/drawing/2014/main" id="{6B598D9C-7BA9-42F7-BD29-D88EBCF8F14E}"/>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28" name="object 13">
              <a:extLst>
                <a:ext uri="{FF2B5EF4-FFF2-40B4-BE49-F238E27FC236}">
                  <a16:creationId xmlns:a16="http://schemas.microsoft.com/office/drawing/2014/main" id="{C17EE214-1BF9-4D24-8341-C52A0AE17B85}"/>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29" name="Group 28">
            <a:extLst>
              <a:ext uri="{FF2B5EF4-FFF2-40B4-BE49-F238E27FC236}">
                <a16:creationId xmlns:a16="http://schemas.microsoft.com/office/drawing/2014/main" id="{00B5BBBB-0F30-49F4-98DA-82B4485001E0}"/>
              </a:ext>
            </a:extLst>
          </p:cNvPr>
          <p:cNvGrpSpPr/>
          <p:nvPr userDrawn="1"/>
        </p:nvGrpSpPr>
        <p:grpSpPr>
          <a:xfrm>
            <a:off x="3919993" y="1976621"/>
            <a:ext cx="3568612" cy="1803972"/>
            <a:chOff x="153908" y="2442598"/>
            <a:chExt cx="6967229" cy="3311641"/>
          </a:xfrm>
        </p:grpSpPr>
        <p:sp>
          <p:nvSpPr>
            <p:cNvPr id="30" name="object 13">
              <a:extLst>
                <a:ext uri="{FF2B5EF4-FFF2-40B4-BE49-F238E27FC236}">
                  <a16:creationId xmlns:a16="http://schemas.microsoft.com/office/drawing/2014/main" id="{F74FF68C-ED7C-4D8D-B17F-DCAC23356A97}"/>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31" name="object 13">
              <a:extLst>
                <a:ext uri="{FF2B5EF4-FFF2-40B4-BE49-F238E27FC236}">
                  <a16:creationId xmlns:a16="http://schemas.microsoft.com/office/drawing/2014/main" id="{CE23F32B-BBE7-4502-BCED-C04C4332695F}"/>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42" name="Group 41">
            <a:extLst>
              <a:ext uri="{FF2B5EF4-FFF2-40B4-BE49-F238E27FC236}">
                <a16:creationId xmlns:a16="http://schemas.microsoft.com/office/drawing/2014/main" id="{42C5C53F-3FA9-4208-BF38-63838D746235}"/>
              </a:ext>
            </a:extLst>
          </p:cNvPr>
          <p:cNvGrpSpPr/>
          <p:nvPr userDrawn="1"/>
        </p:nvGrpSpPr>
        <p:grpSpPr>
          <a:xfrm>
            <a:off x="7556947" y="1976621"/>
            <a:ext cx="3568612" cy="1803972"/>
            <a:chOff x="153908" y="2442598"/>
            <a:chExt cx="6967229" cy="3311641"/>
          </a:xfrm>
        </p:grpSpPr>
        <p:sp>
          <p:nvSpPr>
            <p:cNvPr id="43" name="object 13">
              <a:extLst>
                <a:ext uri="{FF2B5EF4-FFF2-40B4-BE49-F238E27FC236}">
                  <a16:creationId xmlns:a16="http://schemas.microsoft.com/office/drawing/2014/main" id="{D538DEEB-B84C-482F-94DB-1D0597FC4120}"/>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44" name="object 13">
              <a:extLst>
                <a:ext uri="{FF2B5EF4-FFF2-40B4-BE49-F238E27FC236}">
                  <a16:creationId xmlns:a16="http://schemas.microsoft.com/office/drawing/2014/main" id="{F8B00338-EF1D-4884-A5C1-9EFE9D5C490B}"/>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45" name="Group 44">
            <a:extLst>
              <a:ext uri="{FF2B5EF4-FFF2-40B4-BE49-F238E27FC236}">
                <a16:creationId xmlns:a16="http://schemas.microsoft.com/office/drawing/2014/main" id="{155E2180-B9D3-4F2D-8A55-A9AA10F6BCB6}"/>
              </a:ext>
            </a:extLst>
          </p:cNvPr>
          <p:cNvGrpSpPr/>
          <p:nvPr userDrawn="1"/>
        </p:nvGrpSpPr>
        <p:grpSpPr>
          <a:xfrm>
            <a:off x="275999" y="3879620"/>
            <a:ext cx="3568612" cy="1803972"/>
            <a:chOff x="153908" y="2442598"/>
            <a:chExt cx="6967229" cy="3311641"/>
          </a:xfrm>
        </p:grpSpPr>
        <p:sp>
          <p:nvSpPr>
            <p:cNvPr id="46" name="object 13">
              <a:extLst>
                <a:ext uri="{FF2B5EF4-FFF2-40B4-BE49-F238E27FC236}">
                  <a16:creationId xmlns:a16="http://schemas.microsoft.com/office/drawing/2014/main" id="{E1861D7E-D0CB-44E0-98FE-6007324A16B6}"/>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47" name="object 13">
              <a:extLst>
                <a:ext uri="{FF2B5EF4-FFF2-40B4-BE49-F238E27FC236}">
                  <a16:creationId xmlns:a16="http://schemas.microsoft.com/office/drawing/2014/main" id="{91A2C91A-9B73-4F13-8FB3-A9DEE7454281}"/>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48" name="Group 47">
            <a:extLst>
              <a:ext uri="{FF2B5EF4-FFF2-40B4-BE49-F238E27FC236}">
                <a16:creationId xmlns:a16="http://schemas.microsoft.com/office/drawing/2014/main" id="{2C7ED9AC-7E5E-49BC-8CB5-1D114D285566}"/>
              </a:ext>
            </a:extLst>
          </p:cNvPr>
          <p:cNvGrpSpPr/>
          <p:nvPr userDrawn="1"/>
        </p:nvGrpSpPr>
        <p:grpSpPr>
          <a:xfrm>
            <a:off x="3912952" y="3879620"/>
            <a:ext cx="3568612" cy="1803972"/>
            <a:chOff x="153908" y="2442598"/>
            <a:chExt cx="6967229" cy="3311641"/>
          </a:xfrm>
        </p:grpSpPr>
        <p:sp>
          <p:nvSpPr>
            <p:cNvPr id="49" name="object 13">
              <a:extLst>
                <a:ext uri="{FF2B5EF4-FFF2-40B4-BE49-F238E27FC236}">
                  <a16:creationId xmlns:a16="http://schemas.microsoft.com/office/drawing/2014/main" id="{34FB9BE3-CF1E-4F19-85AB-CC1C22C08A72}"/>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50" name="object 13">
              <a:extLst>
                <a:ext uri="{FF2B5EF4-FFF2-40B4-BE49-F238E27FC236}">
                  <a16:creationId xmlns:a16="http://schemas.microsoft.com/office/drawing/2014/main" id="{5D46EB65-EE90-418F-A051-DBF5CB2F709D}"/>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51" name="Group 50">
            <a:extLst>
              <a:ext uri="{FF2B5EF4-FFF2-40B4-BE49-F238E27FC236}">
                <a16:creationId xmlns:a16="http://schemas.microsoft.com/office/drawing/2014/main" id="{83964FA1-9CC8-4FED-B876-356CBAF325C9}"/>
              </a:ext>
            </a:extLst>
          </p:cNvPr>
          <p:cNvGrpSpPr/>
          <p:nvPr userDrawn="1"/>
        </p:nvGrpSpPr>
        <p:grpSpPr>
          <a:xfrm>
            <a:off x="7549906" y="3879620"/>
            <a:ext cx="3568612" cy="1803972"/>
            <a:chOff x="153908" y="2442598"/>
            <a:chExt cx="6967229" cy="3311641"/>
          </a:xfrm>
        </p:grpSpPr>
        <p:sp>
          <p:nvSpPr>
            <p:cNvPr id="52" name="object 13">
              <a:extLst>
                <a:ext uri="{FF2B5EF4-FFF2-40B4-BE49-F238E27FC236}">
                  <a16:creationId xmlns:a16="http://schemas.microsoft.com/office/drawing/2014/main" id="{A9137036-08B3-45C8-859B-0D30A694452F}"/>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53" name="object 13">
              <a:extLst>
                <a:ext uri="{FF2B5EF4-FFF2-40B4-BE49-F238E27FC236}">
                  <a16:creationId xmlns:a16="http://schemas.microsoft.com/office/drawing/2014/main" id="{F86A9E47-75A7-4741-AEDE-89308AACC16B}"/>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55" name="Text Placeholder 4">
            <a:extLst>
              <a:ext uri="{FF2B5EF4-FFF2-40B4-BE49-F238E27FC236}">
                <a16:creationId xmlns:a16="http://schemas.microsoft.com/office/drawing/2014/main" id="{218CC123-ACED-4E82-81F9-4664845FFE7E}"/>
              </a:ext>
            </a:extLst>
          </p:cNvPr>
          <p:cNvSpPr>
            <a:spLocks noGrp="1"/>
          </p:cNvSpPr>
          <p:nvPr>
            <p:ph type="body" sz="quarter" idx="37" hasCustomPrompt="1"/>
          </p:nvPr>
        </p:nvSpPr>
        <p:spPr>
          <a:xfrm>
            <a:off x="536451" y="2188542"/>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56" name="Text Placeholder 4">
            <a:extLst>
              <a:ext uri="{FF2B5EF4-FFF2-40B4-BE49-F238E27FC236}">
                <a16:creationId xmlns:a16="http://schemas.microsoft.com/office/drawing/2014/main" id="{BEFE4969-DEFE-42D5-BE2D-9D1305073662}"/>
              </a:ext>
            </a:extLst>
          </p:cNvPr>
          <p:cNvSpPr>
            <a:spLocks noGrp="1"/>
          </p:cNvSpPr>
          <p:nvPr>
            <p:ph type="body" sz="quarter" idx="38" hasCustomPrompt="1"/>
          </p:nvPr>
        </p:nvSpPr>
        <p:spPr>
          <a:xfrm>
            <a:off x="526297" y="4088788"/>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57" name="Text Placeholder 4">
            <a:extLst>
              <a:ext uri="{FF2B5EF4-FFF2-40B4-BE49-F238E27FC236}">
                <a16:creationId xmlns:a16="http://schemas.microsoft.com/office/drawing/2014/main" id="{8EC0E262-727F-4A6D-AF58-26F9DCA4908F}"/>
              </a:ext>
            </a:extLst>
          </p:cNvPr>
          <p:cNvSpPr>
            <a:spLocks noGrp="1"/>
          </p:cNvSpPr>
          <p:nvPr>
            <p:ph type="body" sz="quarter" idx="39" hasCustomPrompt="1"/>
          </p:nvPr>
        </p:nvSpPr>
        <p:spPr>
          <a:xfrm>
            <a:off x="4173875" y="2188542"/>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58" name="Text Placeholder 4">
            <a:extLst>
              <a:ext uri="{FF2B5EF4-FFF2-40B4-BE49-F238E27FC236}">
                <a16:creationId xmlns:a16="http://schemas.microsoft.com/office/drawing/2014/main" id="{28D5A2D4-09A4-4178-9027-B8F0559CD6C4}"/>
              </a:ext>
            </a:extLst>
          </p:cNvPr>
          <p:cNvSpPr>
            <a:spLocks noGrp="1"/>
          </p:cNvSpPr>
          <p:nvPr>
            <p:ph type="body" sz="quarter" idx="40" hasCustomPrompt="1"/>
          </p:nvPr>
        </p:nvSpPr>
        <p:spPr>
          <a:xfrm>
            <a:off x="4163721" y="4088788"/>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59" name="Text Placeholder 4">
            <a:extLst>
              <a:ext uri="{FF2B5EF4-FFF2-40B4-BE49-F238E27FC236}">
                <a16:creationId xmlns:a16="http://schemas.microsoft.com/office/drawing/2014/main" id="{6BDBDA5B-9C0B-479E-8490-8DBE592BFEA5}"/>
              </a:ext>
            </a:extLst>
          </p:cNvPr>
          <p:cNvSpPr>
            <a:spLocks noGrp="1"/>
          </p:cNvSpPr>
          <p:nvPr>
            <p:ph type="body" sz="quarter" idx="41" hasCustomPrompt="1"/>
          </p:nvPr>
        </p:nvSpPr>
        <p:spPr>
          <a:xfrm>
            <a:off x="7811299" y="2188542"/>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60" name="Text Placeholder 4">
            <a:extLst>
              <a:ext uri="{FF2B5EF4-FFF2-40B4-BE49-F238E27FC236}">
                <a16:creationId xmlns:a16="http://schemas.microsoft.com/office/drawing/2014/main" id="{80536B31-FF68-4350-94A7-EB3CB317C9B2}"/>
              </a:ext>
            </a:extLst>
          </p:cNvPr>
          <p:cNvSpPr>
            <a:spLocks noGrp="1"/>
          </p:cNvSpPr>
          <p:nvPr>
            <p:ph type="body" sz="quarter" idx="42" hasCustomPrompt="1"/>
          </p:nvPr>
        </p:nvSpPr>
        <p:spPr>
          <a:xfrm>
            <a:off x="7801145" y="4088788"/>
            <a:ext cx="3142145" cy="1285119"/>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33" name="Slide Number Placeholder 9">
            <a:extLst>
              <a:ext uri="{FF2B5EF4-FFF2-40B4-BE49-F238E27FC236}">
                <a16:creationId xmlns:a16="http://schemas.microsoft.com/office/drawing/2014/main" id="{7A387C88-CDD0-4632-8845-78CD9D0B8352}"/>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2" name="Title Placeholder 1">
            <a:extLst>
              <a:ext uri="{FF2B5EF4-FFF2-40B4-BE49-F238E27FC236}">
                <a16:creationId xmlns:a16="http://schemas.microsoft.com/office/drawing/2014/main" id="{B56D4113-9B23-4C75-BFBB-481937C702A4}"/>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996432561"/>
      </p:ext>
    </p:extLst>
  </p:cSld>
  <p:clrMapOvr>
    <a:masterClrMapping/>
  </p:clrMapOvr>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line &amp; bullets 3">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6" name="bk object 16">
            <a:extLst>
              <a:ext uri="{FF2B5EF4-FFF2-40B4-BE49-F238E27FC236}">
                <a16:creationId xmlns:a16="http://schemas.microsoft.com/office/drawing/2014/main" id="{5BF329BD-24C3-4801-9EE3-0E08C7C8EB60}"/>
              </a:ext>
            </a:extLst>
          </p:cNvPr>
          <p:cNvSpPr/>
          <p:nvPr userDrawn="1"/>
        </p:nvSpPr>
        <p:spPr>
          <a:xfrm>
            <a:off x="1226141" y="1143529"/>
            <a:ext cx="9561755" cy="4522483"/>
          </a:xfrm>
          <a:custGeom>
            <a:avLst/>
            <a:gdLst/>
            <a:ahLst/>
            <a:cxnLst/>
            <a:rect l="l" t="t" r="r" b="b"/>
            <a:pathLst>
              <a:path w="9558020" h="4572000">
                <a:moveTo>
                  <a:pt x="0" y="4572000"/>
                </a:moveTo>
                <a:lnTo>
                  <a:pt x="9557994" y="4572000"/>
                </a:lnTo>
                <a:lnTo>
                  <a:pt x="9557994" y="0"/>
                </a:lnTo>
                <a:lnTo>
                  <a:pt x="0" y="0"/>
                </a:lnTo>
                <a:lnTo>
                  <a:pt x="0" y="4572000"/>
                </a:lnTo>
                <a:close/>
              </a:path>
            </a:pathLst>
          </a:custGeom>
          <a:solidFill>
            <a:srgbClr val="460073"/>
          </a:solidFill>
        </p:spPr>
        <p:txBody>
          <a:bodyPr wrap="square" lIns="0" tIns="0" rIns="0" bIns="0" rtlCol="0"/>
          <a:lstStyle/>
          <a:p>
            <a:endParaRPr sz="1800"/>
          </a:p>
        </p:txBody>
      </p:sp>
      <p:sp>
        <p:nvSpPr>
          <p:cNvPr id="7" name="bk object 17">
            <a:extLst>
              <a:ext uri="{FF2B5EF4-FFF2-40B4-BE49-F238E27FC236}">
                <a16:creationId xmlns:a16="http://schemas.microsoft.com/office/drawing/2014/main" id="{D7E2A56A-FD32-4445-B2A7-659B42FE54C4}"/>
              </a:ext>
            </a:extLst>
          </p:cNvPr>
          <p:cNvSpPr/>
          <p:nvPr userDrawn="1"/>
        </p:nvSpPr>
        <p:spPr>
          <a:xfrm>
            <a:off x="1308964" y="1010363"/>
            <a:ext cx="9662124" cy="4570942"/>
          </a:xfrm>
          <a:custGeom>
            <a:avLst/>
            <a:gdLst/>
            <a:ahLst/>
            <a:cxnLst/>
            <a:rect l="l" t="t" r="r" b="b"/>
            <a:pathLst>
              <a:path w="9658350" h="4572000">
                <a:moveTo>
                  <a:pt x="0" y="4572000"/>
                </a:moveTo>
                <a:lnTo>
                  <a:pt x="9657905" y="4572000"/>
                </a:lnTo>
                <a:lnTo>
                  <a:pt x="9657905" y="0"/>
                </a:lnTo>
                <a:lnTo>
                  <a:pt x="0" y="0"/>
                </a:lnTo>
                <a:lnTo>
                  <a:pt x="0" y="4572000"/>
                </a:lnTo>
                <a:close/>
              </a:path>
            </a:pathLst>
          </a:custGeom>
          <a:solidFill>
            <a:srgbClr val="A100FF"/>
          </a:solidFill>
        </p:spPr>
        <p:txBody>
          <a:bodyPr wrap="square" lIns="0" tIns="0" rIns="0" bIns="0" rtlCol="0"/>
          <a:lstStyle/>
          <a:p>
            <a:endParaRPr sz="1800"/>
          </a:p>
        </p:txBody>
      </p:sp>
      <p:sp>
        <p:nvSpPr>
          <p:cNvPr id="11" name="object 11">
            <a:extLst>
              <a:ext uri="{FF2B5EF4-FFF2-40B4-BE49-F238E27FC236}">
                <a16:creationId xmlns:a16="http://schemas.microsoft.com/office/drawing/2014/main" id="{48FDDE50-5A4E-4B04-B0FC-E5B8860E6A49}"/>
              </a:ext>
            </a:extLst>
          </p:cNvPr>
          <p:cNvSpPr/>
          <p:nvPr userDrawn="1"/>
        </p:nvSpPr>
        <p:spPr>
          <a:xfrm>
            <a:off x="4650433" y="1454925"/>
            <a:ext cx="0" cy="3948151"/>
          </a:xfrm>
          <a:custGeom>
            <a:avLst/>
            <a:gdLst/>
            <a:ahLst/>
            <a:cxnLst/>
            <a:rect l="l" t="t" r="r" b="b"/>
            <a:pathLst>
              <a:path h="3949065">
                <a:moveTo>
                  <a:pt x="0" y="0"/>
                </a:moveTo>
                <a:lnTo>
                  <a:pt x="0" y="3948595"/>
                </a:lnTo>
              </a:path>
            </a:pathLst>
          </a:custGeom>
          <a:ln w="9525">
            <a:solidFill>
              <a:srgbClr val="FFFFFF"/>
            </a:solidFill>
          </a:ln>
        </p:spPr>
        <p:txBody>
          <a:bodyPr wrap="square" lIns="0" tIns="0" rIns="0" bIns="0" rtlCol="0"/>
          <a:lstStyle/>
          <a:p>
            <a:pPr fontAlgn="auto">
              <a:spcBef>
                <a:spcPts val="0"/>
              </a:spcBef>
              <a:spcAft>
                <a:spcPts val="0"/>
              </a:spcAft>
            </a:pPr>
            <a:endParaRPr sz="1800">
              <a:solidFill>
                <a:prstClr val="black"/>
              </a:solidFill>
              <a:latin typeface="Calibri"/>
              <a:cs typeface="+mn-cs"/>
            </a:endParaRPr>
          </a:p>
        </p:txBody>
      </p:sp>
      <p:sp>
        <p:nvSpPr>
          <p:cNvPr id="12" name="Text Placeholder 15">
            <a:extLst>
              <a:ext uri="{FF2B5EF4-FFF2-40B4-BE49-F238E27FC236}">
                <a16:creationId xmlns:a16="http://schemas.microsoft.com/office/drawing/2014/main" id="{2D61146E-F7CC-4488-A11A-B6C087C723CD}"/>
              </a:ext>
            </a:extLst>
          </p:cNvPr>
          <p:cNvSpPr>
            <a:spLocks noGrp="1"/>
          </p:cNvSpPr>
          <p:nvPr>
            <p:ph type="body" sz="quarter" idx="12"/>
          </p:nvPr>
        </p:nvSpPr>
        <p:spPr>
          <a:xfrm>
            <a:off x="1601321" y="1574335"/>
            <a:ext cx="2777623" cy="3682137"/>
          </a:xfrm>
        </p:spPr>
        <p:txBody>
          <a:bodyPr anchor="ctr"/>
          <a:lstStyle>
            <a:lvl1pPr>
              <a:lnSpc>
                <a:spcPct val="80000"/>
              </a:lnSpc>
              <a:defRPr lang="en-GB" sz="2599" b="1" i="0" kern="0" spc="-150" dirty="0">
                <a:solidFill>
                  <a:sysClr val="window" lastClr="FFFFFF"/>
                </a:solidFill>
                <a:latin typeface="Graphik" panose="020B0503030202060203" pitchFamily="34" charset="0"/>
                <a:ea typeface="+mj-ea"/>
                <a:cs typeface="Graphik" panose="020B0503030202060203" pitchFamily="34" charset="0"/>
              </a:defRPr>
            </a:lvl1pPr>
          </a:lstStyle>
          <a:p>
            <a:pPr lvl="0"/>
            <a:r>
              <a:rPr lang="en-US"/>
              <a:t>Click to edit Master text styles</a:t>
            </a:r>
            <a:endParaRPr lang="en-GB"/>
          </a:p>
        </p:txBody>
      </p:sp>
      <p:sp>
        <p:nvSpPr>
          <p:cNvPr id="13" name="Text Placeholder 15">
            <a:extLst>
              <a:ext uri="{FF2B5EF4-FFF2-40B4-BE49-F238E27FC236}">
                <a16:creationId xmlns:a16="http://schemas.microsoft.com/office/drawing/2014/main" id="{CE95AA83-A9C0-4529-B334-9F360049D8D3}"/>
              </a:ext>
            </a:extLst>
          </p:cNvPr>
          <p:cNvSpPr>
            <a:spLocks noGrp="1"/>
          </p:cNvSpPr>
          <p:nvPr>
            <p:ph type="body" sz="quarter" idx="13" hasCustomPrompt="1"/>
          </p:nvPr>
        </p:nvSpPr>
        <p:spPr>
          <a:xfrm>
            <a:off x="5030167" y="1574335"/>
            <a:ext cx="4748434" cy="3682137"/>
          </a:xfrm>
        </p:spPr>
        <p:txBody>
          <a:bodyPr anchor="ctr"/>
          <a:lstStyle>
            <a:lvl1pPr marL="285693" marR="0" indent="-285693" algn="l" defTabSz="914217" rtl="0" eaLnBrk="1" fontAlgn="base" latinLnBrk="0" hangingPunct="1">
              <a:lnSpc>
                <a:spcPct val="80000"/>
              </a:lnSpc>
              <a:spcBef>
                <a:spcPts val="1200"/>
              </a:spcBef>
              <a:spcAft>
                <a:spcPct val="0"/>
              </a:spcAft>
              <a:buClrTx/>
              <a:buSzTx/>
              <a:buFont typeface="Arial" panose="020B0604020202020204" pitchFamily="34" charset="0"/>
              <a:buChar char="•"/>
              <a:tabLst/>
              <a:defRPr lang="en-GB" sz="1600" b="1" kern="1200" dirty="0">
                <a:solidFill>
                  <a:srgbClr val="FFFFFF"/>
                </a:solidFill>
                <a:latin typeface="Graphik" panose="020B0503030202060203" pitchFamily="34" charset="0"/>
                <a:ea typeface="+mn-ea"/>
                <a:cs typeface="Graphik-Semibold"/>
              </a:defRPr>
            </a:lvl1pPr>
          </a:lstStyle>
          <a:p>
            <a:pPr lvl="0"/>
            <a:r>
              <a:rPr lang="en-US"/>
              <a:t>Sed </a:t>
            </a:r>
            <a:r>
              <a:rPr lang="en-US" err="1"/>
              <a:t>posuere</a:t>
            </a:r>
            <a:r>
              <a:rPr lang="en-US"/>
              <a:t> </a:t>
            </a:r>
            <a:r>
              <a:rPr lang="en-US" err="1"/>
              <a:t>consectetur</a:t>
            </a:r>
            <a:r>
              <a:rPr lang="en-US"/>
              <a:t> </a:t>
            </a:r>
            <a:r>
              <a:rPr lang="en-US" err="1"/>
              <a:t>est</a:t>
            </a:r>
            <a:endParaRPr lang="en-US"/>
          </a:p>
          <a:p>
            <a:pPr lvl="0"/>
            <a:r>
              <a:rPr lang="en-US"/>
              <a:t>Sed </a:t>
            </a:r>
            <a:r>
              <a:rPr lang="en-US" err="1"/>
              <a:t>posuere</a:t>
            </a:r>
            <a:r>
              <a:rPr lang="en-US"/>
              <a:t> </a:t>
            </a:r>
            <a:r>
              <a:rPr lang="en-US" err="1"/>
              <a:t>consectetur</a:t>
            </a:r>
            <a:r>
              <a:rPr lang="en-US"/>
              <a:t> </a:t>
            </a:r>
            <a:r>
              <a:rPr lang="en-US" err="1"/>
              <a:t>est</a:t>
            </a:r>
            <a:endParaRPr lang="en-US"/>
          </a:p>
          <a:p>
            <a:pPr lvl="0"/>
            <a:r>
              <a:rPr lang="en-US"/>
              <a:t>Sed </a:t>
            </a:r>
            <a:r>
              <a:rPr lang="en-US" err="1"/>
              <a:t>posuere</a:t>
            </a:r>
            <a:r>
              <a:rPr lang="en-US"/>
              <a:t> </a:t>
            </a:r>
            <a:r>
              <a:rPr lang="en-US" err="1"/>
              <a:t>consectetur</a:t>
            </a:r>
            <a:r>
              <a:rPr lang="en-US"/>
              <a:t> </a:t>
            </a:r>
            <a:r>
              <a:rPr lang="en-US" err="1"/>
              <a:t>est</a:t>
            </a:r>
            <a:endParaRPr lang="en-US"/>
          </a:p>
          <a:p>
            <a:pPr lvl="0"/>
            <a:r>
              <a:rPr lang="en-US"/>
              <a:t>Sed </a:t>
            </a:r>
            <a:r>
              <a:rPr lang="en-US" err="1"/>
              <a:t>posuere</a:t>
            </a:r>
            <a:r>
              <a:rPr lang="en-US"/>
              <a:t> </a:t>
            </a:r>
            <a:r>
              <a:rPr lang="en-US" err="1"/>
              <a:t>consectetur</a:t>
            </a:r>
            <a:r>
              <a:rPr lang="en-US"/>
              <a:t> </a:t>
            </a:r>
            <a:r>
              <a:rPr lang="en-US" err="1"/>
              <a:t>est</a:t>
            </a:r>
            <a:endParaRPr lang="en-US"/>
          </a:p>
          <a:p>
            <a:pPr lvl="0"/>
            <a:r>
              <a:rPr lang="en-US"/>
              <a:t>Sed </a:t>
            </a:r>
            <a:r>
              <a:rPr lang="en-US" err="1"/>
              <a:t>posuere</a:t>
            </a:r>
            <a:r>
              <a:rPr lang="en-US"/>
              <a:t> </a:t>
            </a:r>
            <a:r>
              <a:rPr lang="en-US" err="1"/>
              <a:t>consectetur</a:t>
            </a:r>
            <a:r>
              <a:rPr lang="en-US"/>
              <a:t> </a:t>
            </a:r>
            <a:r>
              <a:rPr lang="en-US" err="1"/>
              <a:t>est</a:t>
            </a:r>
            <a:endParaRPr lang="en-US"/>
          </a:p>
          <a:p>
            <a:pPr lvl="0"/>
            <a:r>
              <a:rPr lang="en-US"/>
              <a:t>Sed </a:t>
            </a:r>
            <a:r>
              <a:rPr lang="en-US" err="1"/>
              <a:t>posuere</a:t>
            </a:r>
            <a:r>
              <a:rPr lang="en-US"/>
              <a:t> </a:t>
            </a:r>
            <a:r>
              <a:rPr lang="en-US" err="1"/>
              <a:t>consectetur</a:t>
            </a:r>
            <a:r>
              <a:rPr lang="en-US"/>
              <a:t> </a:t>
            </a:r>
            <a:r>
              <a:rPr lang="en-US" err="1"/>
              <a:t>est</a:t>
            </a:r>
            <a:endParaRPr lang="en-GB"/>
          </a:p>
        </p:txBody>
      </p:sp>
      <p:sp>
        <p:nvSpPr>
          <p:cNvPr id="14" name="Slide Number Placeholder 9">
            <a:extLst>
              <a:ext uri="{FF2B5EF4-FFF2-40B4-BE49-F238E27FC236}">
                <a16:creationId xmlns:a16="http://schemas.microsoft.com/office/drawing/2014/main" id="{19E18449-3CBB-461E-A331-816DCD7DD8AF}"/>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541677406"/>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eadline &amp; copy 16">
    <p:bg>
      <p:bgPr>
        <a:solidFill>
          <a:schemeClr val="bg1"/>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D26A8AD-367F-4760-9FAB-E002643E77C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12190377" cy="5961271"/>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7" name="Text Placeholder 3">
            <a:extLst>
              <a:ext uri="{FF2B5EF4-FFF2-40B4-BE49-F238E27FC236}">
                <a16:creationId xmlns:a16="http://schemas.microsoft.com/office/drawing/2014/main" id="{AE1FD52F-2990-45D5-855D-4B152F297FB0}"/>
              </a:ext>
            </a:extLst>
          </p:cNvPr>
          <p:cNvSpPr>
            <a:spLocks noGrp="1"/>
          </p:cNvSpPr>
          <p:nvPr>
            <p:ph type="body" sz="quarter" idx="36" hasCustomPrompt="1"/>
          </p:nvPr>
        </p:nvSpPr>
        <p:spPr>
          <a:xfrm>
            <a:off x="363680" y="1390328"/>
            <a:ext cx="11463761" cy="423917"/>
          </a:xfrm>
        </p:spPr>
        <p:txBody>
          <a:bodyPr/>
          <a:lstStyle>
            <a:lvl1pPr>
              <a:defRPr sz="2000" b="1">
                <a:solidFill>
                  <a:schemeClr val="bg1"/>
                </a:solidFill>
                <a:latin typeface="+mj-lt"/>
              </a:defRPr>
            </a:lvl1pPr>
          </a:lstStyle>
          <a:p>
            <a:pPr lvl="0"/>
            <a:r>
              <a:rPr lang="en-US"/>
              <a:t>Insert sub-title at 20 </a:t>
            </a:r>
            <a:r>
              <a:rPr lang="en-US" err="1"/>
              <a:t>pt</a:t>
            </a:r>
            <a:endParaRPr lang="en-US"/>
          </a:p>
        </p:txBody>
      </p:sp>
      <p:grpSp>
        <p:nvGrpSpPr>
          <p:cNvPr id="24" name="Group 23">
            <a:extLst>
              <a:ext uri="{FF2B5EF4-FFF2-40B4-BE49-F238E27FC236}">
                <a16:creationId xmlns:a16="http://schemas.microsoft.com/office/drawing/2014/main" id="{9AA5C5C0-B0C6-4BE8-AB86-282F7F77DC15}"/>
              </a:ext>
            </a:extLst>
          </p:cNvPr>
          <p:cNvGrpSpPr/>
          <p:nvPr userDrawn="1"/>
        </p:nvGrpSpPr>
        <p:grpSpPr>
          <a:xfrm>
            <a:off x="238226" y="1971198"/>
            <a:ext cx="2301985" cy="3738130"/>
            <a:chOff x="15582" y="2442598"/>
            <a:chExt cx="7105555" cy="3227106"/>
          </a:xfrm>
        </p:grpSpPr>
        <p:sp>
          <p:nvSpPr>
            <p:cNvPr id="25" name="object 13">
              <a:extLst>
                <a:ext uri="{FF2B5EF4-FFF2-40B4-BE49-F238E27FC236}">
                  <a16:creationId xmlns:a16="http://schemas.microsoft.com/office/drawing/2014/main" id="{6B598D9C-7BA9-42F7-BD29-D88EBCF8F14E}"/>
                </a:ext>
              </a:extLst>
            </p:cNvPr>
            <p:cNvSpPr/>
            <p:nvPr userDrawn="1"/>
          </p:nvSpPr>
          <p:spPr>
            <a:xfrm>
              <a:off x="15582" y="2635783"/>
              <a:ext cx="6822502" cy="3033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28" name="object 13">
              <a:extLst>
                <a:ext uri="{FF2B5EF4-FFF2-40B4-BE49-F238E27FC236}">
                  <a16:creationId xmlns:a16="http://schemas.microsoft.com/office/drawing/2014/main" id="{C17EE214-1BF9-4D24-8341-C52A0AE17B85}"/>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55" name="Text Placeholder 4">
            <a:extLst>
              <a:ext uri="{FF2B5EF4-FFF2-40B4-BE49-F238E27FC236}">
                <a16:creationId xmlns:a16="http://schemas.microsoft.com/office/drawing/2014/main" id="{218CC123-ACED-4E82-81F9-4664845FFE7E}"/>
              </a:ext>
            </a:extLst>
          </p:cNvPr>
          <p:cNvSpPr>
            <a:spLocks noGrp="1"/>
          </p:cNvSpPr>
          <p:nvPr>
            <p:ph type="body" sz="quarter" idx="37" hasCustomPrompt="1"/>
          </p:nvPr>
        </p:nvSpPr>
        <p:spPr>
          <a:xfrm>
            <a:off x="463073" y="2183118"/>
            <a:ext cx="1911631" cy="3159704"/>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grpSp>
        <p:nvGrpSpPr>
          <p:cNvPr id="67" name="Group 66">
            <a:extLst>
              <a:ext uri="{FF2B5EF4-FFF2-40B4-BE49-F238E27FC236}">
                <a16:creationId xmlns:a16="http://schemas.microsoft.com/office/drawing/2014/main" id="{8F269AAC-65C6-46E3-95C2-B211E056CEDD}"/>
              </a:ext>
            </a:extLst>
          </p:cNvPr>
          <p:cNvGrpSpPr/>
          <p:nvPr userDrawn="1"/>
        </p:nvGrpSpPr>
        <p:grpSpPr>
          <a:xfrm>
            <a:off x="2560033" y="1971198"/>
            <a:ext cx="2301985" cy="3738130"/>
            <a:chOff x="15582" y="2442598"/>
            <a:chExt cx="7105555" cy="3227106"/>
          </a:xfrm>
        </p:grpSpPr>
        <p:sp>
          <p:nvSpPr>
            <p:cNvPr id="68" name="object 13">
              <a:extLst>
                <a:ext uri="{FF2B5EF4-FFF2-40B4-BE49-F238E27FC236}">
                  <a16:creationId xmlns:a16="http://schemas.microsoft.com/office/drawing/2014/main" id="{992E3090-B807-4E15-90EE-711A08ABD8CC}"/>
                </a:ext>
              </a:extLst>
            </p:cNvPr>
            <p:cNvSpPr/>
            <p:nvPr userDrawn="1"/>
          </p:nvSpPr>
          <p:spPr>
            <a:xfrm>
              <a:off x="15582" y="2635783"/>
              <a:ext cx="6822502" cy="3033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69" name="object 13">
              <a:extLst>
                <a:ext uri="{FF2B5EF4-FFF2-40B4-BE49-F238E27FC236}">
                  <a16:creationId xmlns:a16="http://schemas.microsoft.com/office/drawing/2014/main" id="{0DD0D939-E3A5-4687-8AE9-65A643F52E54}"/>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70" name="Text Placeholder 4">
            <a:extLst>
              <a:ext uri="{FF2B5EF4-FFF2-40B4-BE49-F238E27FC236}">
                <a16:creationId xmlns:a16="http://schemas.microsoft.com/office/drawing/2014/main" id="{A92E468F-E125-4128-9BBA-4811872B34F1}"/>
              </a:ext>
            </a:extLst>
          </p:cNvPr>
          <p:cNvSpPr>
            <a:spLocks noGrp="1"/>
          </p:cNvSpPr>
          <p:nvPr>
            <p:ph type="body" sz="quarter" idx="42" hasCustomPrompt="1"/>
          </p:nvPr>
        </p:nvSpPr>
        <p:spPr>
          <a:xfrm>
            <a:off x="2784880" y="2183118"/>
            <a:ext cx="1911631" cy="3159704"/>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grpSp>
        <p:nvGrpSpPr>
          <p:cNvPr id="71" name="Group 70">
            <a:extLst>
              <a:ext uri="{FF2B5EF4-FFF2-40B4-BE49-F238E27FC236}">
                <a16:creationId xmlns:a16="http://schemas.microsoft.com/office/drawing/2014/main" id="{D7E83149-160F-4D57-84DF-20C136AC13F6}"/>
              </a:ext>
            </a:extLst>
          </p:cNvPr>
          <p:cNvGrpSpPr/>
          <p:nvPr userDrawn="1"/>
        </p:nvGrpSpPr>
        <p:grpSpPr>
          <a:xfrm>
            <a:off x="4881840" y="1971198"/>
            <a:ext cx="2301985" cy="3738130"/>
            <a:chOff x="15582" y="2442598"/>
            <a:chExt cx="7105555" cy="3227106"/>
          </a:xfrm>
        </p:grpSpPr>
        <p:sp>
          <p:nvSpPr>
            <p:cNvPr id="72" name="object 13">
              <a:extLst>
                <a:ext uri="{FF2B5EF4-FFF2-40B4-BE49-F238E27FC236}">
                  <a16:creationId xmlns:a16="http://schemas.microsoft.com/office/drawing/2014/main" id="{56660C62-9E5E-4DD4-A858-5A3BD6AD2837}"/>
                </a:ext>
              </a:extLst>
            </p:cNvPr>
            <p:cNvSpPr/>
            <p:nvPr userDrawn="1"/>
          </p:nvSpPr>
          <p:spPr>
            <a:xfrm>
              <a:off x="15582" y="2635783"/>
              <a:ext cx="6822502" cy="3033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73" name="object 13">
              <a:extLst>
                <a:ext uri="{FF2B5EF4-FFF2-40B4-BE49-F238E27FC236}">
                  <a16:creationId xmlns:a16="http://schemas.microsoft.com/office/drawing/2014/main" id="{0455B79E-EC41-47F0-AAA3-5AE37D72F355}"/>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74" name="Text Placeholder 4">
            <a:extLst>
              <a:ext uri="{FF2B5EF4-FFF2-40B4-BE49-F238E27FC236}">
                <a16:creationId xmlns:a16="http://schemas.microsoft.com/office/drawing/2014/main" id="{7BB74F68-43BF-4196-BDE9-25E113271E94}"/>
              </a:ext>
            </a:extLst>
          </p:cNvPr>
          <p:cNvSpPr>
            <a:spLocks noGrp="1"/>
          </p:cNvSpPr>
          <p:nvPr>
            <p:ph type="body" sz="quarter" idx="43" hasCustomPrompt="1"/>
          </p:nvPr>
        </p:nvSpPr>
        <p:spPr>
          <a:xfrm>
            <a:off x="5106686" y="2183118"/>
            <a:ext cx="1911631" cy="3159704"/>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grpSp>
        <p:nvGrpSpPr>
          <p:cNvPr id="75" name="Group 74">
            <a:extLst>
              <a:ext uri="{FF2B5EF4-FFF2-40B4-BE49-F238E27FC236}">
                <a16:creationId xmlns:a16="http://schemas.microsoft.com/office/drawing/2014/main" id="{39F3BC03-791E-41A9-BFD0-0E992B5C7F87}"/>
              </a:ext>
            </a:extLst>
          </p:cNvPr>
          <p:cNvGrpSpPr/>
          <p:nvPr userDrawn="1"/>
        </p:nvGrpSpPr>
        <p:grpSpPr>
          <a:xfrm>
            <a:off x="7203647" y="1971198"/>
            <a:ext cx="2301985" cy="3738130"/>
            <a:chOff x="15582" y="2442598"/>
            <a:chExt cx="7105555" cy="3227106"/>
          </a:xfrm>
        </p:grpSpPr>
        <p:sp>
          <p:nvSpPr>
            <p:cNvPr id="76" name="object 13">
              <a:extLst>
                <a:ext uri="{FF2B5EF4-FFF2-40B4-BE49-F238E27FC236}">
                  <a16:creationId xmlns:a16="http://schemas.microsoft.com/office/drawing/2014/main" id="{C6339B99-28EF-4DD5-ABBF-DC4C6F7B434D}"/>
                </a:ext>
              </a:extLst>
            </p:cNvPr>
            <p:cNvSpPr/>
            <p:nvPr userDrawn="1"/>
          </p:nvSpPr>
          <p:spPr>
            <a:xfrm>
              <a:off x="15582" y="2635783"/>
              <a:ext cx="6822502" cy="3033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77" name="object 13">
              <a:extLst>
                <a:ext uri="{FF2B5EF4-FFF2-40B4-BE49-F238E27FC236}">
                  <a16:creationId xmlns:a16="http://schemas.microsoft.com/office/drawing/2014/main" id="{6171B8D7-BAB5-4C14-8349-465AEB19439C}"/>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78" name="Text Placeholder 4">
            <a:extLst>
              <a:ext uri="{FF2B5EF4-FFF2-40B4-BE49-F238E27FC236}">
                <a16:creationId xmlns:a16="http://schemas.microsoft.com/office/drawing/2014/main" id="{034B18D5-D2B9-44E1-9EE6-3864BB2BD6EC}"/>
              </a:ext>
            </a:extLst>
          </p:cNvPr>
          <p:cNvSpPr>
            <a:spLocks noGrp="1"/>
          </p:cNvSpPr>
          <p:nvPr>
            <p:ph type="body" sz="quarter" idx="44" hasCustomPrompt="1"/>
          </p:nvPr>
        </p:nvSpPr>
        <p:spPr>
          <a:xfrm>
            <a:off x="7428493" y="2183118"/>
            <a:ext cx="1911631" cy="3159704"/>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grpSp>
        <p:nvGrpSpPr>
          <p:cNvPr id="79" name="Group 78">
            <a:extLst>
              <a:ext uri="{FF2B5EF4-FFF2-40B4-BE49-F238E27FC236}">
                <a16:creationId xmlns:a16="http://schemas.microsoft.com/office/drawing/2014/main" id="{0CC31F2A-00D4-478C-989F-748F2F431F75}"/>
              </a:ext>
            </a:extLst>
          </p:cNvPr>
          <p:cNvGrpSpPr/>
          <p:nvPr userDrawn="1"/>
        </p:nvGrpSpPr>
        <p:grpSpPr>
          <a:xfrm>
            <a:off x="9525456" y="1971198"/>
            <a:ext cx="2301985" cy="3738130"/>
            <a:chOff x="15582" y="2442598"/>
            <a:chExt cx="7105555" cy="3227106"/>
          </a:xfrm>
        </p:grpSpPr>
        <p:sp>
          <p:nvSpPr>
            <p:cNvPr id="80" name="object 13">
              <a:extLst>
                <a:ext uri="{FF2B5EF4-FFF2-40B4-BE49-F238E27FC236}">
                  <a16:creationId xmlns:a16="http://schemas.microsoft.com/office/drawing/2014/main" id="{1B70B0B7-4E95-4C84-922E-BCA203F4DD85}"/>
                </a:ext>
              </a:extLst>
            </p:cNvPr>
            <p:cNvSpPr/>
            <p:nvPr userDrawn="1"/>
          </p:nvSpPr>
          <p:spPr>
            <a:xfrm>
              <a:off x="15582" y="2635783"/>
              <a:ext cx="6822502" cy="3033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81" name="object 13">
              <a:extLst>
                <a:ext uri="{FF2B5EF4-FFF2-40B4-BE49-F238E27FC236}">
                  <a16:creationId xmlns:a16="http://schemas.microsoft.com/office/drawing/2014/main" id="{D5D08DCB-E5AA-49B3-993E-34A4DDE279C9}"/>
                </a:ext>
              </a:extLst>
            </p:cNvPr>
            <p:cNvSpPr/>
            <p:nvPr userDrawn="1"/>
          </p:nvSpPr>
          <p:spPr>
            <a:xfrm>
              <a:off x="298635" y="2442598"/>
              <a:ext cx="6822502" cy="3140921"/>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82" name="Text Placeholder 4">
            <a:extLst>
              <a:ext uri="{FF2B5EF4-FFF2-40B4-BE49-F238E27FC236}">
                <a16:creationId xmlns:a16="http://schemas.microsoft.com/office/drawing/2014/main" id="{CFC3E3B5-CE92-4057-B957-38CAFC17F7F1}"/>
              </a:ext>
            </a:extLst>
          </p:cNvPr>
          <p:cNvSpPr>
            <a:spLocks noGrp="1"/>
          </p:cNvSpPr>
          <p:nvPr>
            <p:ph type="body" sz="quarter" idx="45" hasCustomPrompt="1"/>
          </p:nvPr>
        </p:nvSpPr>
        <p:spPr>
          <a:xfrm>
            <a:off x="9750302" y="2183118"/>
            <a:ext cx="1911631" cy="3159704"/>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Fringilla.</a:t>
            </a:r>
          </a:p>
        </p:txBody>
      </p:sp>
      <p:sp>
        <p:nvSpPr>
          <p:cNvPr id="29" name="Slide Number Placeholder 9">
            <a:extLst>
              <a:ext uri="{FF2B5EF4-FFF2-40B4-BE49-F238E27FC236}">
                <a16:creationId xmlns:a16="http://schemas.microsoft.com/office/drawing/2014/main" id="{46F55F5E-7E04-4B52-96EA-9678839E02DC}"/>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0" name="Title Placeholder 1">
            <a:extLst>
              <a:ext uri="{FF2B5EF4-FFF2-40B4-BE49-F238E27FC236}">
                <a16:creationId xmlns:a16="http://schemas.microsoft.com/office/drawing/2014/main" id="{55C39192-4F95-4AAE-A6CE-53B69C90AACA}"/>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191402598"/>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Cover_Master Brand">
    <p:spTree>
      <p:nvGrpSpPr>
        <p:cNvPr id="1" name=""/>
        <p:cNvGrpSpPr/>
        <p:nvPr/>
      </p:nvGrpSpPr>
      <p:grpSpPr>
        <a:xfrm>
          <a:off x="0" y="0"/>
          <a:ext cx="0" cy="0"/>
          <a:chOff x="0" y="0"/>
          <a:chExt cx="0" cy="0"/>
        </a:xfrm>
      </p:grpSpPr>
      <p:pic>
        <p:nvPicPr>
          <p:cNvPr id="15" name="Picture Placeholder 11">
            <a:extLst>
              <a:ext uri="{FF2B5EF4-FFF2-40B4-BE49-F238E27FC236}">
                <a16:creationId xmlns:a16="http://schemas.microsoft.com/office/drawing/2014/main" id="{611932B1-C403-4387-981B-A7370F044F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1" r="91" b="231"/>
          <a:stretch/>
        </p:blipFill>
        <p:spPr>
          <a:xfrm>
            <a:off x="0" y="1"/>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sp>
        <p:nvSpPr>
          <p:cNvPr id="112" name="Subtitle (3rd Level)">
            <a:extLst>
              <a:ext uri="{FF2B5EF4-FFF2-40B4-BE49-F238E27FC236}">
                <a16:creationId xmlns:a16="http://schemas.microsoft.com/office/drawing/2014/main" id="{3F9DD137-2F42-4FAF-8466-7516363C9E4B}"/>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6" name="Long Subline"/>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8" name="MasterTitle"/>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8" name="Acc_CoreBrand_Logo_Black_Purple">
            <a:extLst>
              <a:ext uri="{FF2B5EF4-FFF2-40B4-BE49-F238E27FC236}">
                <a16:creationId xmlns:a16="http://schemas.microsoft.com/office/drawing/2014/main" id="{FDE60845-E0C2-4D6C-A02B-571BC30D12FB}"/>
              </a:ext>
            </a:extLst>
          </p:cNvPr>
          <p:cNvPicPr>
            <a:picLocks noChangeAspect="1"/>
          </p:cNvPicPr>
          <p:nvPr userDrawn="1"/>
        </p:nvPicPr>
        <p:blipFill>
          <a:blip r:embed="rId12"/>
          <a:stretch>
            <a:fillRect/>
          </a:stretch>
        </p:blipFill>
        <p:spPr>
          <a:xfrm>
            <a:off x="1461439" y="556663"/>
            <a:ext cx="1663200" cy="445738"/>
          </a:xfrm>
          <a:prstGeom prst="rect">
            <a:avLst/>
          </a:prstGeom>
        </p:spPr>
      </p:pic>
    </p:spTree>
    <p:extLst>
      <p:ext uri="{BB962C8B-B14F-4D97-AF65-F5344CB8AC3E}">
        <p14:creationId xmlns:p14="http://schemas.microsoft.com/office/powerpoint/2010/main" val="12677068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acts">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B7BB8EC-EC34-4C23-A318-1FA403AD86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12328490" cy="5961271"/>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29" name="Picture Placeholder 6">
            <a:extLst>
              <a:ext uri="{FF2B5EF4-FFF2-40B4-BE49-F238E27FC236}">
                <a16:creationId xmlns:a16="http://schemas.microsoft.com/office/drawing/2014/main" id="{69414A16-CADB-474C-84A9-BCAACA0317F3}"/>
              </a:ext>
            </a:extLst>
          </p:cNvPr>
          <p:cNvSpPr>
            <a:spLocks noGrp="1"/>
          </p:cNvSpPr>
          <p:nvPr>
            <p:ph type="pic" sz="quarter" idx="12" hasCustomPrompt="1"/>
          </p:nvPr>
        </p:nvSpPr>
        <p:spPr>
          <a:xfrm>
            <a:off x="503469"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30" name="Text Placeholder 41">
            <a:extLst>
              <a:ext uri="{FF2B5EF4-FFF2-40B4-BE49-F238E27FC236}">
                <a16:creationId xmlns:a16="http://schemas.microsoft.com/office/drawing/2014/main" id="{4923AB56-23AD-4BDC-8C1E-1C2C845D2CEA}"/>
              </a:ext>
            </a:extLst>
          </p:cNvPr>
          <p:cNvSpPr>
            <a:spLocks noGrp="1"/>
          </p:cNvSpPr>
          <p:nvPr>
            <p:ph type="body" sz="quarter" idx="52" hasCustomPrompt="1"/>
          </p:nvPr>
        </p:nvSpPr>
        <p:spPr>
          <a:xfrm>
            <a:off x="363065"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1" name="Picture Placeholder 6">
            <a:extLst>
              <a:ext uri="{FF2B5EF4-FFF2-40B4-BE49-F238E27FC236}">
                <a16:creationId xmlns:a16="http://schemas.microsoft.com/office/drawing/2014/main" id="{8DACEF11-35F4-4194-B42B-0F3B68D73B58}"/>
              </a:ext>
            </a:extLst>
          </p:cNvPr>
          <p:cNvSpPr>
            <a:spLocks noGrp="1"/>
          </p:cNvSpPr>
          <p:nvPr>
            <p:ph type="pic" sz="quarter" idx="53" hasCustomPrompt="1"/>
          </p:nvPr>
        </p:nvSpPr>
        <p:spPr>
          <a:xfrm>
            <a:off x="2461206"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33" name="Text Placeholder 41">
            <a:extLst>
              <a:ext uri="{FF2B5EF4-FFF2-40B4-BE49-F238E27FC236}">
                <a16:creationId xmlns:a16="http://schemas.microsoft.com/office/drawing/2014/main" id="{F7C38D0F-5D84-4F84-BB23-16E9D1D4982E}"/>
              </a:ext>
            </a:extLst>
          </p:cNvPr>
          <p:cNvSpPr>
            <a:spLocks noGrp="1"/>
          </p:cNvSpPr>
          <p:nvPr>
            <p:ph type="body" sz="quarter" idx="54" hasCustomPrompt="1"/>
          </p:nvPr>
        </p:nvSpPr>
        <p:spPr>
          <a:xfrm>
            <a:off x="2320802"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4" name="Picture Placeholder 6">
            <a:extLst>
              <a:ext uri="{FF2B5EF4-FFF2-40B4-BE49-F238E27FC236}">
                <a16:creationId xmlns:a16="http://schemas.microsoft.com/office/drawing/2014/main" id="{50205072-F5DA-489C-AC8B-8F1AEB49E92F}"/>
              </a:ext>
            </a:extLst>
          </p:cNvPr>
          <p:cNvSpPr>
            <a:spLocks noGrp="1"/>
          </p:cNvSpPr>
          <p:nvPr>
            <p:ph type="pic" sz="quarter" idx="55" hasCustomPrompt="1"/>
          </p:nvPr>
        </p:nvSpPr>
        <p:spPr>
          <a:xfrm>
            <a:off x="4418942"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35" name="Text Placeholder 41">
            <a:extLst>
              <a:ext uri="{FF2B5EF4-FFF2-40B4-BE49-F238E27FC236}">
                <a16:creationId xmlns:a16="http://schemas.microsoft.com/office/drawing/2014/main" id="{2F9E7545-0E8F-43CA-A1CB-593A51DDF238}"/>
              </a:ext>
            </a:extLst>
          </p:cNvPr>
          <p:cNvSpPr>
            <a:spLocks noGrp="1"/>
          </p:cNvSpPr>
          <p:nvPr>
            <p:ph type="body" sz="quarter" idx="56" hasCustomPrompt="1"/>
          </p:nvPr>
        </p:nvSpPr>
        <p:spPr>
          <a:xfrm>
            <a:off x="4278539"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6" name="Picture Placeholder 6">
            <a:extLst>
              <a:ext uri="{FF2B5EF4-FFF2-40B4-BE49-F238E27FC236}">
                <a16:creationId xmlns:a16="http://schemas.microsoft.com/office/drawing/2014/main" id="{EB687278-0840-472E-A7B1-DD3BF5D6DE72}"/>
              </a:ext>
            </a:extLst>
          </p:cNvPr>
          <p:cNvSpPr>
            <a:spLocks noGrp="1"/>
          </p:cNvSpPr>
          <p:nvPr>
            <p:ph type="pic" sz="quarter" idx="57" hasCustomPrompt="1"/>
          </p:nvPr>
        </p:nvSpPr>
        <p:spPr>
          <a:xfrm>
            <a:off x="6376679"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37" name="Text Placeholder 41">
            <a:extLst>
              <a:ext uri="{FF2B5EF4-FFF2-40B4-BE49-F238E27FC236}">
                <a16:creationId xmlns:a16="http://schemas.microsoft.com/office/drawing/2014/main" id="{92C297B3-06E4-4431-A889-8A15C3C83470}"/>
              </a:ext>
            </a:extLst>
          </p:cNvPr>
          <p:cNvSpPr>
            <a:spLocks noGrp="1"/>
          </p:cNvSpPr>
          <p:nvPr>
            <p:ph type="body" sz="quarter" idx="58" hasCustomPrompt="1"/>
          </p:nvPr>
        </p:nvSpPr>
        <p:spPr>
          <a:xfrm>
            <a:off x="6236275"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38" name="Picture Placeholder 6">
            <a:extLst>
              <a:ext uri="{FF2B5EF4-FFF2-40B4-BE49-F238E27FC236}">
                <a16:creationId xmlns:a16="http://schemas.microsoft.com/office/drawing/2014/main" id="{3C6C027C-07E5-40B4-AA99-251F2498A762}"/>
              </a:ext>
            </a:extLst>
          </p:cNvPr>
          <p:cNvSpPr>
            <a:spLocks noGrp="1"/>
          </p:cNvSpPr>
          <p:nvPr>
            <p:ph type="pic" sz="quarter" idx="59" hasCustomPrompt="1"/>
          </p:nvPr>
        </p:nvSpPr>
        <p:spPr>
          <a:xfrm>
            <a:off x="8334416"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39" name="Text Placeholder 41">
            <a:extLst>
              <a:ext uri="{FF2B5EF4-FFF2-40B4-BE49-F238E27FC236}">
                <a16:creationId xmlns:a16="http://schemas.microsoft.com/office/drawing/2014/main" id="{EAF36787-60F4-4715-B408-3E6978BDF99C}"/>
              </a:ext>
            </a:extLst>
          </p:cNvPr>
          <p:cNvSpPr>
            <a:spLocks noGrp="1"/>
          </p:cNvSpPr>
          <p:nvPr>
            <p:ph type="body" sz="quarter" idx="60" hasCustomPrompt="1"/>
          </p:nvPr>
        </p:nvSpPr>
        <p:spPr>
          <a:xfrm>
            <a:off x="8194012"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40" name="Picture Placeholder 6">
            <a:extLst>
              <a:ext uri="{FF2B5EF4-FFF2-40B4-BE49-F238E27FC236}">
                <a16:creationId xmlns:a16="http://schemas.microsoft.com/office/drawing/2014/main" id="{4297E15F-E65C-4A05-9C0E-DF2C5D280E97}"/>
              </a:ext>
            </a:extLst>
          </p:cNvPr>
          <p:cNvSpPr>
            <a:spLocks noGrp="1"/>
          </p:cNvSpPr>
          <p:nvPr>
            <p:ph type="pic" sz="quarter" idx="61" hasCustomPrompt="1"/>
          </p:nvPr>
        </p:nvSpPr>
        <p:spPr>
          <a:xfrm>
            <a:off x="10292151" y="2136050"/>
            <a:ext cx="1343394" cy="1342558"/>
          </a:xfrm>
          <a:prstGeom prst="ellipse">
            <a:avLst/>
          </a:prstGeom>
          <a:pattFill prst="pct40">
            <a:fgClr>
              <a:srgbClr val="C0C0C0"/>
            </a:fgClr>
            <a:bgClr>
              <a:schemeClr val="bg1"/>
            </a:bgClr>
          </a:pattFill>
        </p:spPr>
        <p:txBody>
          <a:bodyPr lIns="0" tIns="108000" rIns="0" anchor="ctr">
            <a:normAutofit/>
          </a:bodyPr>
          <a:lstStyle>
            <a:lvl1pPr algn="ctr">
              <a:defRPr sz="1200" b="0" i="0">
                <a:latin typeface="+mn-lt"/>
              </a:defRPr>
            </a:lvl1pPr>
          </a:lstStyle>
          <a:p>
            <a:r>
              <a:rPr lang="en-AU"/>
              <a:t>Insert picture here</a:t>
            </a:r>
          </a:p>
        </p:txBody>
      </p:sp>
      <p:sp>
        <p:nvSpPr>
          <p:cNvPr id="41" name="Text Placeholder 41">
            <a:extLst>
              <a:ext uri="{FF2B5EF4-FFF2-40B4-BE49-F238E27FC236}">
                <a16:creationId xmlns:a16="http://schemas.microsoft.com/office/drawing/2014/main" id="{3AE66E5E-15D8-4ED6-9F99-937C3ECFB386}"/>
              </a:ext>
            </a:extLst>
          </p:cNvPr>
          <p:cNvSpPr>
            <a:spLocks noGrp="1"/>
          </p:cNvSpPr>
          <p:nvPr>
            <p:ph type="body" sz="quarter" idx="62" hasCustomPrompt="1"/>
          </p:nvPr>
        </p:nvSpPr>
        <p:spPr>
          <a:xfrm>
            <a:off x="10151748" y="3697374"/>
            <a:ext cx="1664965" cy="1342557"/>
          </a:xfrm>
        </p:spPr>
        <p:txBody>
          <a:bodyPr wrap="square">
            <a:normAutofit/>
          </a:bodyPr>
          <a:lstStyle>
            <a:lvl1pPr algn="ctr">
              <a:lnSpc>
                <a:spcPct val="100000"/>
              </a:lnSpc>
              <a:spcAft>
                <a:spcPts val="0"/>
              </a:spcAft>
              <a:defRPr sz="1400" b="1" i="0">
                <a:solidFill>
                  <a:schemeClr val="bg1"/>
                </a:solidFill>
                <a:latin typeface="+mj-lt"/>
              </a:defRPr>
            </a:lvl1pPr>
            <a:lvl2pPr marL="0" indent="0" algn="ctr">
              <a:lnSpc>
                <a:spcPct val="120000"/>
              </a:lnSpc>
              <a:spcBef>
                <a:spcPts val="0"/>
              </a:spcBef>
              <a:spcAft>
                <a:spcPts val="0"/>
              </a:spcAft>
              <a:buNone/>
              <a:defRPr sz="1200" b="0" i="0">
                <a:solidFill>
                  <a:schemeClr val="bg1"/>
                </a:solidFill>
                <a:latin typeface="+mn-lt"/>
              </a:defRPr>
            </a:lvl2pPr>
            <a:lvl3pPr marL="0" indent="0" algn="ctr">
              <a:lnSpc>
                <a:spcPct val="100000"/>
              </a:lnSpc>
              <a:spcBef>
                <a:spcPts val="600"/>
              </a:spcBef>
              <a:buNone/>
              <a:defRPr sz="1200"/>
            </a:lvl3pPr>
          </a:lstStyle>
          <a:p>
            <a:pPr lvl="0"/>
            <a:r>
              <a:rPr lang="en-US"/>
              <a:t>Insert name here</a:t>
            </a:r>
          </a:p>
          <a:p>
            <a:pPr lvl="1"/>
            <a:r>
              <a:rPr lang="en-US"/>
              <a:t>Job title here</a:t>
            </a:r>
          </a:p>
        </p:txBody>
      </p:sp>
      <p:sp>
        <p:nvSpPr>
          <p:cNvPr id="20" name="Slide Number Placeholder 9">
            <a:extLst>
              <a:ext uri="{FF2B5EF4-FFF2-40B4-BE49-F238E27FC236}">
                <a16:creationId xmlns:a16="http://schemas.microsoft.com/office/drawing/2014/main" id="{F1E951E2-9FAF-4F1E-90F8-8E4E9B00B05D}"/>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9" name="Title Placeholder 1">
            <a:extLst>
              <a:ext uri="{FF2B5EF4-FFF2-40B4-BE49-F238E27FC236}">
                <a16:creationId xmlns:a16="http://schemas.microsoft.com/office/drawing/2014/main" id="{AB8BD545-4712-4B0D-9B9F-CF0376294ED5}"/>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1956429293"/>
      </p:ext>
    </p:extLst>
  </p:cSld>
  <p:clrMapOvr>
    <a:masterClrMapping/>
  </p:clrMapOvr>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urple">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a:blip r:embed="rId2"/>
          <a:stretch>
            <a:fillRect/>
          </a:stretch>
        </p:blipFill>
        <p:spPr>
          <a:xfrm>
            <a:off x="1623" y="-1"/>
            <a:ext cx="12190377" cy="686793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6" name="Slide Number Placeholder 9">
            <a:extLst>
              <a:ext uri="{FF2B5EF4-FFF2-40B4-BE49-F238E27FC236}">
                <a16:creationId xmlns:a16="http://schemas.microsoft.com/office/drawing/2014/main" id="{642CD454-5B0E-414B-80BE-3135B7CD57F2}"/>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156139286"/>
      </p:ext>
    </p:extLst>
  </p:cSld>
  <p:clrMapOvr>
    <a:masterClrMapping/>
  </p:clrMapOvr>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6" name="Slide Number Placeholder 9">
            <a:extLst>
              <a:ext uri="{FF2B5EF4-FFF2-40B4-BE49-F238E27FC236}">
                <a16:creationId xmlns:a16="http://schemas.microsoft.com/office/drawing/2014/main" id="{1A5FB893-2217-4B52-879F-E1DA0D0E9EEB}"/>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431399880"/>
      </p:ext>
    </p:extLst>
  </p:cSld>
  <p:clrMapOvr>
    <a:masterClrMapping/>
  </p:clrMapOvr>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FE72F18-2A8E-2645-92EB-04014356BF9B}"/>
              </a:ext>
            </a:extLst>
          </p:cNvPr>
          <p:cNvSpPr/>
          <p:nvPr userDrawn="1"/>
        </p:nvSpPr>
        <p:spPr>
          <a:xfrm>
            <a:off x="5603631" y="-1"/>
            <a:ext cx="6577136"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6" hasCustomPrompt="1"/>
          </p:nvPr>
        </p:nvSpPr>
        <p:spPr>
          <a:xfrm>
            <a:off x="336550" y="995363"/>
            <a:ext cx="10035051" cy="4294187"/>
          </a:xfrm>
          <a:prstGeom prst="rect">
            <a:avLst/>
          </a:prstGeom>
        </p:spPr>
        <p:txBody>
          <a:bodyPr>
            <a:noAutofit/>
          </a:bodyPr>
          <a:lstStyle>
            <a:lvl1pPr>
              <a:spcBef>
                <a:spcPts val="800"/>
              </a:spcBef>
              <a:defRPr baseline="0"/>
            </a:lvl1pPr>
            <a:lvl2pPr>
              <a:spcBef>
                <a:spcPts val="800"/>
              </a:spcBef>
              <a:defRPr/>
            </a:lvl2pPr>
            <a:lvl3pPr>
              <a:spcBef>
                <a:spcPts val="800"/>
              </a:spcBef>
              <a:defRPr/>
            </a:lvl3pPr>
            <a:lvl4pPr>
              <a:spcBef>
                <a:spcPts val="800"/>
              </a:spcBef>
              <a:defRPr/>
            </a:lvl4pPr>
            <a:lvl5pPr>
              <a:spcBef>
                <a:spcPts val="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22205E2A-87B0-4228-8A34-109D76EF191D}"/>
              </a:ext>
            </a:extLst>
          </p:cNvPr>
          <p:cNvSpPr>
            <a:spLocks noGrp="1"/>
          </p:cNvSpPr>
          <p:nvPr>
            <p:ph type="ftr" sz="quarter" idx="17"/>
          </p:nvPr>
        </p:nvSpPr>
        <p:spPr/>
        <p:txBody>
          <a:bodyPr/>
          <a:lstStyle>
            <a:lvl1pPr>
              <a:defRPr>
                <a:solidFill>
                  <a:schemeClr val="bg1">
                    <a:lumMod val="95000"/>
                    <a:alpha val="50000"/>
                  </a:schemeClr>
                </a:solidFill>
              </a:defRPr>
            </a:lvl1pPr>
          </a:lstStyle>
          <a:p>
            <a:r>
              <a:rPr lang="en-US"/>
              <a:t>Copyright © 2022 Accenture. All rights reserved.</a:t>
            </a:r>
            <a:endParaRPr lang="en-GB"/>
          </a:p>
        </p:txBody>
      </p:sp>
      <p:sp>
        <p:nvSpPr>
          <p:cNvPr id="7" name="Slide Number Placeholder 6">
            <a:extLst>
              <a:ext uri="{FF2B5EF4-FFF2-40B4-BE49-F238E27FC236}">
                <a16:creationId xmlns:a16="http://schemas.microsoft.com/office/drawing/2014/main" id="{C6404DA6-8E1B-411C-92D3-46592DBDA31C}"/>
              </a:ext>
            </a:extLst>
          </p:cNvPr>
          <p:cNvSpPr>
            <a:spLocks noGrp="1"/>
          </p:cNvSpPr>
          <p:nvPr>
            <p:ph type="sldNum" sz="quarter" idx="18"/>
          </p:nvPr>
        </p:nvSpPr>
        <p:spPr/>
        <p:txBody>
          <a:bodyPr/>
          <a:lstStyle>
            <a:lvl1pPr>
              <a:defRPr>
                <a:solidFill>
                  <a:schemeClr val="bg1">
                    <a:lumMod val="95000"/>
                    <a:alpha val="50000"/>
                  </a:schemeClr>
                </a:solidFill>
              </a:defRPr>
            </a:lvl1pPr>
          </a:lstStyle>
          <a:p>
            <a:fld id="{EF2F7A32-C1EA-4F7E-B0A2-7FCB5BFE90DE}" type="slidenum">
              <a:rPr lang="en-AU" smtClean="0"/>
              <a:pPr/>
              <a:t>‹#›</a:t>
            </a:fld>
            <a:endParaRPr lang="en-AU"/>
          </a:p>
        </p:txBody>
      </p:sp>
      <p:sp>
        <p:nvSpPr>
          <p:cNvPr id="2" name="Title 1">
            <a:extLst>
              <a:ext uri="{FF2B5EF4-FFF2-40B4-BE49-F238E27FC236}">
                <a16:creationId xmlns:a16="http://schemas.microsoft.com/office/drawing/2014/main" id="{A3A9EB16-61E2-4186-9ECC-EA318A1C72BE}"/>
              </a:ext>
            </a:extLst>
          </p:cNvPr>
          <p:cNvSpPr>
            <a:spLocks noGrp="1"/>
          </p:cNvSpPr>
          <p:nvPr>
            <p:ph type="title"/>
          </p:nvPr>
        </p:nvSpPr>
        <p:spPr>
          <a:xfrm>
            <a:off x="326550" y="331200"/>
            <a:ext cx="5950425" cy="777600"/>
          </a:xfrm>
        </p:spPr>
        <p:txBody>
          <a:bodyPr/>
          <a:lstStyle>
            <a:lvl1pPr>
              <a:defRPr cap="all" baseline="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523655254"/>
      </p:ext>
    </p:extLst>
  </p:cSld>
  <p:clrMapOvr>
    <a:masterClrMapping/>
  </p:clrMapOvr>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1">
    <p:bg>
      <p:bgPr>
        <a:solidFill>
          <a:schemeClr val="bg1"/>
        </a:solidFill>
        <a:effectLst/>
      </p:bgPr>
    </p:bg>
    <p:spTree>
      <p:nvGrpSpPr>
        <p:cNvPr id="1" name=""/>
        <p:cNvGrpSpPr/>
        <p:nvPr/>
      </p:nvGrpSpPr>
      <p:grpSpPr>
        <a:xfrm>
          <a:off x="0" y="0"/>
          <a:ext cx="0" cy="0"/>
          <a:chOff x="0" y="0"/>
          <a:chExt cx="0" cy="0"/>
        </a:xfrm>
      </p:grpSpPr>
      <p:sp>
        <p:nvSpPr>
          <p:cNvPr id="10" name="Title 6">
            <a:extLst>
              <a:ext uri="{FF2B5EF4-FFF2-40B4-BE49-F238E27FC236}">
                <a16:creationId xmlns:a16="http://schemas.microsoft.com/office/drawing/2014/main" id="{73BC077D-154B-4A5E-9C42-EEBF4802CC6D}"/>
              </a:ext>
            </a:extLst>
          </p:cNvPr>
          <p:cNvSpPr>
            <a:spLocks noGrp="1"/>
          </p:cNvSpPr>
          <p:nvPr>
            <p:ph type="title" hasCustomPrompt="1"/>
          </p:nvPr>
        </p:nvSpPr>
        <p:spPr>
          <a:xfrm>
            <a:off x="358945" y="296864"/>
            <a:ext cx="7326593" cy="1501937"/>
          </a:xfrm>
        </p:spPr>
        <p:txBody>
          <a:bodyPr/>
          <a:lstStyle>
            <a:lvl1pPr>
              <a:defRPr cap="none" baseline="0"/>
            </a:lvl1pPr>
          </a:lstStyle>
          <a:p>
            <a:r>
              <a:rPr lang="en-US"/>
              <a:t>Insert Main Title </a:t>
            </a:r>
            <a:br>
              <a:rPr lang="en-US"/>
            </a:br>
            <a:r>
              <a:rPr lang="en-US"/>
              <a:t>at 36pt min 30pt</a:t>
            </a:r>
            <a:endParaRPr lang="en-GB"/>
          </a:p>
        </p:txBody>
      </p:sp>
      <p:sp>
        <p:nvSpPr>
          <p:cNvPr id="7" name="Footer Placeholder 6">
            <a:extLst>
              <a:ext uri="{FF2B5EF4-FFF2-40B4-BE49-F238E27FC236}">
                <a16:creationId xmlns:a16="http://schemas.microsoft.com/office/drawing/2014/main" id="{6DF1F648-9913-4EAD-938D-348806265EF6}"/>
              </a:ext>
            </a:extLst>
          </p:cNvPr>
          <p:cNvSpPr>
            <a:spLocks noGrp="1"/>
          </p:cNvSpPr>
          <p:nvPr>
            <p:ph type="ftr" sz="quarter" idx="16"/>
          </p:nvPr>
        </p:nvSpPr>
        <p:spPr>
          <a:xfrm>
            <a:off x="364369" y="6517500"/>
            <a:ext cx="5717232" cy="206327"/>
          </a:xfrm>
          <a:prstGeom prst="rect">
            <a:avLst/>
          </a:prstGeom>
        </p:spPr>
        <p:txBody>
          <a:bodyPr/>
          <a:lstStyle>
            <a:lvl1pPr>
              <a:defRPr sz="800">
                <a:solidFill>
                  <a:schemeClr val="tx1">
                    <a:alpha val="40000"/>
                  </a:schemeClr>
                </a:solidFill>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7D063CE9-7909-4757-BB78-09314A18234D}"/>
              </a:ext>
            </a:extLst>
          </p:cNvPr>
          <p:cNvSpPr>
            <a:spLocks noGrp="1"/>
          </p:cNvSpPr>
          <p:nvPr>
            <p:ph type="sldNum" sz="quarter" idx="17"/>
          </p:nvPr>
        </p:nvSpPr>
        <p:spPr>
          <a:xfrm>
            <a:off x="11493916" y="6517500"/>
            <a:ext cx="385862" cy="206327"/>
          </a:xfrm>
          <a:prstGeom prst="rect">
            <a:avLst/>
          </a:prstGeom>
        </p:spPr>
        <p:txBody>
          <a:bodyPr/>
          <a:lstStyle>
            <a:lvl1pPr>
              <a:defRPr sz="8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561712072"/>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8D924D-087F-C443-8D0D-55D9BFD29A04}"/>
              </a:ext>
            </a:extLst>
          </p:cNvPr>
          <p:cNvPicPr>
            <a:picLocks noChangeAspect="1"/>
          </p:cNvPicPr>
          <p:nvPr userDrawn="1"/>
        </p:nvPicPr>
        <p:blipFill>
          <a:blip r:embed="rId2" cstate="email">
            <a:duotone>
              <a:schemeClr val="accent1">
                <a:shade val="45000"/>
                <a:satMod val="135000"/>
              </a:schemeClr>
              <a:prstClr val="white"/>
            </a:duotone>
            <a:alphaModFix/>
            <a:extLst>
              <a:ext uri="{28A0092B-C50C-407E-A947-70E740481C1C}">
                <a14:useLocalDpi xmlns:a14="http://schemas.microsoft.com/office/drawing/2010/main"/>
              </a:ext>
            </a:extLst>
          </a:blip>
          <a:stretch>
            <a:fillRect/>
          </a:stretch>
        </p:blipFill>
        <p:spPr>
          <a:xfrm>
            <a:off x="0" y="0"/>
            <a:ext cx="12192000" cy="6855320"/>
          </a:xfrm>
          <a:prstGeom prst="rect">
            <a:avLst/>
          </a:prstGeom>
        </p:spPr>
      </p:pic>
      <p:sp>
        <p:nvSpPr>
          <p:cNvPr id="9" name="object 2">
            <a:extLst>
              <a:ext uri="{FF2B5EF4-FFF2-40B4-BE49-F238E27FC236}">
                <a16:creationId xmlns:a16="http://schemas.microsoft.com/office/drawing/2014/main" id="{0D9D58AE-3F05-B04A-B56C-DE6094215297}"/>
              </a:ext>
            </a:extLst>
          </p:cNvPr>
          <p:cNvSpPr/>
          <p:nvPr userDrawn="1"/>
        </p:nvSpPr>
        <p:spPr>
          <a:xfrm>
            <a:off x="-4762" y="-2680"/>
            <a:ext cx="12192000" cy="6858000"/>
          </a:xfrm>
          <a:prstGeom prst="rect">
            <a:avLst/>
          </a:prstGeom>
          <a:blipFill>
            <a:blip r:embed="rId3" cstate="screen">
              <a:alphaModFix amt="70000"/>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 name="Footer Placeholder 4">
            <a:extLst>
              <a:ext uri="{FF2B5EF4-FFF2-40B4-BE49-F238E27FC236}">
                <a16:creationId xmlns:a16="http://schemas.microsoft.com/office/drawing/2014/main" id="{22205E2A-87B0-4228-8A34-109D76EF191D}"/>
              </a:ext>
            </a:extLst>
          </p:cNvPr>
          <p:cNvSpPr>
            <a:spLocks noGrp="1"/>
          </p:cNvSpPr>
          <p:nvPr>
            <p:ph type="ftr" sz="quarter" idx="17"/>
          </p:nvPr>
        </p:nvSpPr>
        <p:spPr/>
        <p:txBody>
          <a:bodyPr/>
          <a:lstStyle>
            <a:lvl1pPr>
              <a:defRPr>
                <a:solidFill>
                  <a:schemeClr val="bg1">
                    <a:alpha val="50000"/>
                  </a:schemeClr>
                </a:solidFill>
              </a:defRPr>
            </a:lvl1pPr>
          </a:lstStyle>
          <a:p>
            <a:r>
              <a:rPr lang="en-US"/>
              <a:t>Copyright © 2022 Accenture. All rights reserved.</a:t>
            </a:r>
            <a:endParaRPr lang="en-GB"/>
          </a:p>
        </p:txBody>
      </p:sp>
      <p:sp>
        <p:nvSpPr>
          <p:cNvPr id="7" name="Slide Number Placeholder 6">
            <a:extLst>
              <a:ext uri="{FF2B5EF4-FFF2-40B4-BE49-F238E27FC236}">
                <a16:creationId xmlns:a16="http://schemas.microsoft.com/office/drawing/2014/main" id="{C6404DA6-8E1B-411C-92D3-46592DBDA31C}"/>
              </a:ext>
            </a:extLst>
          </p:cNvPr>
          <p:cNvSpPr>
            <a:spLocks noGrp="1"/>
          </p:cNvSpPr>
          <p:nvPr>
            <p:ph type="sldNum" sz="quarter" idx="18"/>
          </p:nvPr>
        </p:nvSpPr>
        <p:spPr/>
        <p:txBody>
          <a:bodyPr/>
          <a:lstStyle>
            <a:lvl1pPr>
              <a:defRPr>
                <a:solidFill>
                  <a:schemeClr val="bg1">
                    <a:alpha val="50000"/>
                  </a:schemeClr>
                </a:solidFill>
              </a:defRPr>
            </a:lvl1pPr>
          </a:lstStyle>
          <a:p>
            <a:fld id="{EF2F7A32-C1EA-4F7E-B0A2-7FCB5BFE90DE}" type="slidenum">
              <a:rPr lang="en-AU" smtClean="0"/>
              <a:pPr/>
              <a:t>‹#›</a:t>
            </a:fld>
            <a:endParaRPr lang="en-AU"/>
          </a:p>
        </p:txBody>
      </p:sp>
      <p:sp>
        <p:nvSpPr>
          <p:cNvPr id="11" name="Title 2">
            <a:extLst>
              <a:ext uri="{FF2B5EF4-FFF2-40B4-BE49-F238E27FC236}">
                <a16:creationId xmlns:a16="http://schemas.microsoft.com/office/drawing/2014/main" id="{F55252E3-486F-1E4C-AF3F-66A8CD321BA3}"/>
              </a:ext>
            </a:extLst>
          </p:cNvPr>
          <p:cNvSpPr>
            <a:spLocks noGrp="1"/>
          </p:cNvSpPr>
          <p:nvPr>
            <p:ph type="title" hasCustomPrompt="1"/>
          </p:nvPr>
        </p:nvSpPr>
        <p:spPr>
          <a:xfrm>
            <a:off x="334963" y="2799607"/>
            <a:ext cx="8561387" cy="953986"/>
          </a:xfrm>
        </p:spPr>
        <p:txBody>
          <a:bodyPr tIns="198000" rIns="0" anchor="ctr">
            <a:spAutoFit/>
          </a:bodyPr>
          <a:lstStyle>
            <a:lvl1pPr>
              <a:lnSpc>
                <a:spcPct val="70000"/>
              </a:lnSpc>
              <a:defRPr sz="7000" cap="all" baseline="0">
                <a:solidFill>
                  <a:schemeClr val="bg1"/>
                </a:solidFill>
              </a:defRPr>
            </a:lvl1pPr>
          </a:lstStyle>
          <a:p>
            <a:r>
              <a:rPr lang="en-US"/>
              <a:t>divider</a:t>
            </a:r>
          </a:p>
        </p:txBody>
      </p:sp>
    </p:spTree>
    <p:extLst>
      <p:ext uri="{BB962C8B-B14F-4D97-AF65-F5344CB8AC3E}">
        <p14:creationId xmlns:p14="http://schemas.microsoft.com/office/powerpoint/2010/main" val="110372127"/>
      </p:ext>
    </p:extLst>
  </p:cSld>
  <p:clrMapOvr>
    <a:masterClrMapping/>
  </p:clrMapOvr>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Five Key Points 1.1">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p>
            <a:r>
              <a:rPr lang="en-US"/>
              <a:t>Copyright © 2022 Accenture. All rights reserved.</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
        <p:nvSpPr>
          <p:cNvPr id="10" name="Title 1">
            <a:extLst>
              <a:ext uri="{FF2B5EF4-FFF2-40B4-BE49-F238E27FC236}">
                <a16:creationId xmlns:a16="http://schemas.microsoft.com/office/drawing/2014/main" id="{48D33C66-0AAA-0541-8353-B3626E6C96D4}"/>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0" i="0">
                <a:ea typeface="Roboto" panose="02000000000000000000" pitchFamily="2" charset="0"/>
              </a:defRPr>
            </a:lvl1pPr>
          </a:lstStyle>
          <a:p>
            <a:pPr marL="0" lvl="0" indent="0">
              <a:spcBef>
                <a:spcPts val="0"/>
              </a:spcBef>
              <a:buFont typeface="Arial" pitchFamily="34" charset="0"/>
              <a:buNone/>
            </a:pPr>
            <a:r>
              <a:rPr lang="en-US"/>
              <a:t>INSERT MAIN TITLE </a:t>
            </a:r>
            <a:br>
              <a:rPr lang="en-US"/>
            </a:br>
            <a:r>
              <a:rPr lang="en-US"/>
              <a:t>AT 36PT MIN 30PT</a:t>
            </a:r>
          </a:p>
        </p:txBody>
      </p:sp>
      <p:sp>
        <p:nvSpPr>
          <p:cNvPr id="11" name="Text Placeholder 2">
            <a:extLst>
              <a:ext uri="{FF2B5EF4-FFF2-40B4-BE49-F238E27FC236}">
                <a16:creationId xmlns:a16="http://schemas.microsoft.com/office/drawing/2014/main" id="{02405C4F-DEFE-3A4C-BB92-5156F001F497}"/>
              </a:ext>
            </a:extLst>
          </p:cNvPr>
          <p:cNvSpPr>
            <a:spLocks noGrp="1"/>
          </p:cNvSpPr>
          <p:nvPr>
            <p:ph type="body" sz="quarter" idx="20" hasCustomPrompt="1"/>
          </p:nvPr>
        </p:nvSpPr>
        <p:spPr>
          <a:xfrm>
            <a:off x="442915"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en-US"/>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2" name="Text Placeholder 2">
            <a:extLst>
              <a:ext uri="{FF2B5EF4-FFF2-40B4-BE49-F238E27FC236}">
                <a16:creationId xmlns:a16="http://schemas.microsoft.com/office/drawing/2014/main" id="{81272EED-11C5-D14D-BC0D-36CE446C3839}"/>
              </a:ext>
            </a:extLst>
          </p:cNvPr>
          <p:cNvSpPr>
            <a:spLocks noGrp="1"/>
          </p:cNvSpPr>
          <p:nvPr>
            <p:ph type="body" sz="quarter" idx="21" hasCustomPrompt="1"/>
          </p:nvPr>
        </p:nvSpPr>
        <p:spPr>
          <a:xfrm>
            <a:off x="7348678"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en-US"/>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3" name="Text Placeholder 2">
            <a:extLst>
              <a:ext uri="{FF2B5EF4-FFF2-40B4-BE49-F238E27FC236}">
                <a16:creationId xmlns:a16="http://schemas.microsoft.com/office/drawing/2014/main" id="{EB5F2FF5-53A1-B047-A9DA-577E64307C7F}"/>
              </a:ext>
            </a:extLst>
          </p:cNvPr>
          <p:cNvSpPr>
            <a:spLocks noGrp="1"/>
          </p:cNvSpPr>
          <p:nvPr>
            <p:ph type="body" sz="quarter" idx="22" hasCustomPrompt="1"/>
          </p:nvPr>
        </p:nvSpPr>
        <p:spPr>
          <a:xfrm>
            <a:off x="5046757"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en-US"/>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4" name="Text Placeholder 2">
            <a:extLst>
              <a:ext uri="{FF2B5EF4-FFF2-40B4-BE49-F238E27FC236}">
                <a16:creationId xmlns:a16="http://schemas.microsoft.com/office/drawing/2014/main" id="{1111E381-66D8-7A47-AD6E-63135B4F663B}"/>
              </a:ext>
            </a:extLst>
          </p:cNvPr>
          <p:cNvSpPr>
            <a:spLocks noGrp="1"/>
          </p:cNvSpPr>
          <p:nvPr>
            <p:ph type="body" sz="quarter" idx="23" hasCustomPrompt="1"/>
          </p:nvPr>
        </p:nvSpPr>
        <p:spPr>
          <a:xfrm>
            <a:off x="2744836"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en-US"/>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16" name="Text Placeholder 2">
            <a:extLst>
              <a:ext uri="{FF2B5EF4-FFF2-40B4-BE49-F238E27FC236}">
                <a16:creationId xmlns:a16="http://schemas.microsoft.com/office/drawing/2014/main" id="{B05A5F89-D0B0-2D40-BEE8-419F67AA9E8D}"/>
              </a:ext>
            </a:extLst>
          </p:cNvPr>
          <p:cNvSpPr>
            <a:spLocks noGrp="1"/>
          </p:cNvSpPr>
          <p:nvPr>
            <p:ph type="body" sz="quarter" idx="19" hasCustomPrompt="1"/>
          </p:nvPr>
        </p:nvSpPr>
        <p:spPr>
          <a:xfrm>
            <a:off x="442915"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en-US"/>
              <a:t>ONE OR TWO LINES</a:t>
            </a:r>
          </a:p>
        </p:txBody>
      </p:sp>
      <p:sp>
        <p:nvSpPr>
          <p:cNvPr id="17" name="Text Placeholder 2">
            <a:extLst>
              <a:ext uri="{FF2B5EF4-FFF2-40B4-BE49-F238E27FC236}">
                <a16:creationId xmlns:a16="http://schemas.microsoft.com/office/drawing/2014/main" id="{97322C5E-0877-C847-9D84-B38258706017}"/>
              </a:ext>
            </a:extLst>
          </p:cNvPr>
          <p:cNvSpPr>
            <a:spLocks noGrp="1"/>
          </p:cNvSpPr>
          <p:nvPr>
            <p:ph type="body" sz="quarter" idx="24" hasCustomPrompt="1"/>
          </p:nvPr>
        </p:nvSpPr>
        <p:spPr>
          <a:xfrm>
            <a:off x="2744836"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en-US"/>
              <a:t>ONE OR TWO LINES</a:t>
            </a:r>
          </a:p>
        </p:txBody>
      </p:sp>
      <p:sp>
        <p:nvSpPr>
          <p:cNvPr id="19" name="Text Placeholder 2">
            <a:extLst>
              <a:ext uri="{FF2B5EF4-FFF2-40B4-BE49-F238E27FC236}">
                <a16:creationId xmlns:a16="http://schemas.microsoft.com/office/drawing/2014/main" id="{783BE9F1-2350-4E4A-BC6B-6D480D4CBE9D}"/>
              </a:ext>
            </a:extLst>
          </p:cNvPr>
          <p:cNvSpPr>
            <a:spLocks noGrp="1"/>
          </p:cNvSpPr>
          <p:nvPr>
            <p:ph type="body" sz="quarter" idx="25" hasCustomPrompt="1"/>
          </p:nvPr>
        </p:nvSpPr>
        <p:spPr>
          <a:xfrm>
            <a:off x="5046757"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en-US"/>
              <a:t>ONE OR TWO LINES</a:t>
            </a:r>
          </a:p>
        </p:txBody>
      </p:sp>
      <p:sp>
        <p:nvSpPr>
          <p:cNvPr id="20" name="Text Placeholder 2">
            <a:extLst>
              <a:ext uri="{FF2B5EF4-FFF2-40B4-BE49-F238E27FC236}">
                <a16:creationId xmlns:a16="http://schemas.microsoft.com/office/drawing/2014/main" id="{F836CEB4-4656-A64F-B187-42295D595C95}"/>
              </a:ext>
            </a:extLst>
          </p:cNvPr>
          <p:cNvSpPr>
            <a:spLocks noGrp="1"/>
          </p:cNvSpPr>
          <p:nvPr>
            <p:ph type="body" sz="quarter" idx="26" hasCustomPrompt="1"/>
          </p:nvPr>
        </p:nvSpPr>
        <p:spPr>
          <a:xfrm>
            <a:off x="7348678"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en-US"/>
              <a:t>ONE OR TWO LINES</a:t>
            </a:r>
          </a:p>
        </p:txBody>
      </p:sp>
      <p:sp>
        <p:nvSpPr>
          <p:cNvPr id="26" name="Text Placeholder 2">
            <a:extLst>
              <a:ext uri="{FF2B5EF4-FFF2-40B4-BE49-F238E27FC236}">
                <a16:creationId xmlns:a16="http://schemas.microsoft.com/office/drawing/2014/main" id="{30E05EBD-9E6E-5841-9B96-D737ABAED6F7}"/>
              </a:ext>
            </a:extLst>
          </p:cNvPr>
          <p:cNvSpPr>
            <a:spLocks noGrp="1"/>
          </p:cNvSpPr>
          <p:nvPr>
            <p:ph type="body" sz="quarter" idx="36" hasCustomPrompt="1"/>
          </p:nvPr>
        </p:nvSpPr>
        <p:spPr>
          <a:xfrm>
            <a:off x="9650598" y="2716214"/>
            <a:ext cx="2182487" cy="3117179"/>
          </a:xfrm>
        </p:spPr>
        <p:txBody>
          <a:bodyPr/>
          <a:lstStyle>
            <a:lvl1pPr>
              <a:defRPr sz="1400" b="0" i="0"/>
            </a:lvl1pPr>
            <a:lvl2pPr>
              <a:defRPr sz="1400" b="0" i="0"/>
            </a:lvl2pPr>
            <a:lvl3pPr>
              <a:defRPr sz="1400" b="0" i="0"/>
            </a:lvl3pPr>
            <a:lvl4pPr>
              <a:defRPr sz="1600"/>
            </a:lvl4pPr>
            <a:lvl5pPr>
              <a:defRPr sz="1600"/>
            </a:lvl5pPr>
          </a:lstStyle>
          <a:p>
            <a:r>
              <a:rPr lang="en-US"/>
              <a:t>Minimum font size 14pt and line spacing of at least Multiple 1.1</a:t>
            </a:r>
          </a:p>
          <a:p>
            <a:pPr lvl="1"/>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lvl="2"/>
            <a:r>
              <a:rPr lang="pt-BR" err="1"/>
              <a:t>Nimi</a:t>
            </a:r>
            <a:r>
              <a:rPr lang="pt-BR"/>
              <a:t>, </a:t>
            </a:r>
            <a:r>
              <a:rPr lang="pt-BR" err="1"/>
              <a:t>qui</a:t>
            </a:r>
            <a:r>
              <a:rPr lang="pt-BR"/>
              <a:t> </a:t>
            </a:r>
            <a:r>
              <a:rPr lang="pt-BR" err="1"/>
              <a:t>restis</a:t>
            </a:r>
            <a:r>
              <a:rPr lang="pt-BR"/>
              <a:t> </a:t>
            </a:r>
            <a:r>
              <a:rPr lang="pt-BR" err="1"/>
              <a:t>sinihilla</a:t>
            </a:r>
            <a:r>
              <a:rPr lang="pt-BR"/>
              <a:t> </a:t>
            </a:r>
            <a:r>
              <a:rPr lang="pt-BR" err="1"/>
              <a:t>verum</a:t>
            </a:r>
            <a:r>
              <a:rPr lang="pt-BR"/>
              <a:t> quatis </a:t>
            </a:r>
            <a:r>
              <a:rPr lang="pt-BR" err="1"/>
              <a:t>estrum</a:t>
            </a:r>
            <a:r>
              <a:rPr lang="pt-BR"/>
              <a:t> </a:t>
            </a:r>
            <a:r>
              <a:rPr lang="pt-BR" err="1"/>
              <a:t>aut</a:t>
            </a:r>
            <a:r>
              <a:rPr lang="pt-BR"/>
              <a:t> </a:t>
            </a:r>
            <a:r>
              <a:rPr lang="pt-BR" err="1"/>
              <a:t>aute</a:t>
            </a:r>
            <a:r>
              <a:rPr lang="pt-BR"/>
              <a:t> </a:t>
            </a:r>
            <a:r>
              <a:rPr lang="pt-BR" err="1"/>
              <a:t>nonestr</a:t>
            </a:r>
            <a:endParaRPr lang="pt-BR"/>
          </a:p>
        </p:txBody>
      </p:sp>
      <p:sp>
        <p:nvSpPr>
          <p:cNvPr id="27" name="Text Placeholder 2">
            <a:extLst>
              <a:ext uri="{FF2B5EF4-FFF2-40B4-BE49-F238E27FC236}">
                <a16:creationId xmlns:a16="http://schemas.microsoft.com/office/drawing/2014/main" id="{0ACE6FB4-6D3A-0343-9BDB-FDCAF1E680ED}"/>
              </a:ext>
            </a:extLst>
          </p:cNvPr>
          <p:cNvSpPr>
            <a:spLocks noGrp="1"/>
          </p:cNvSpPr>
          <p:nvPr>
            <p:ph type="body" sz="quarter" idx="37" hasCustomPrompt="1"/>
          </p:nvPr>
        </p:nvSpPr>
        <p:spPr>
          <a:xfrm>
            <a:off x="9650598" y="2223573"/>
            <a:ext cx="2182487" cy="393609"/>
          </a:xfrm>
        </p:spPr>
        <p:txBody>
          <a:bodyPr vert="horz" lIns="0" tIns="0" rIns="0" bIns="0" rtlCol="0" anchor="b">
            <a:noAutofit/>
          </a:bodyPr>
          <a:lstStyle>
            <a:lvl1pPr>
              <a:defRPr lang="en-US" sz="1600" b="1" i="0" cap="all" baseline="0" dirty="0">
                <a:solidFill>
                  <a:schemeClr val="accent1"/>
                </a:solidFill>
                <a:latin typeface="Graphik" panose="020B0503030202060203" pitchFamily="34" charset="77"/>
              </a:defRPr>
            </a:lvl1pPr>
          </a:lstStyle>
          <a:p>
            <a:pPr lvl="0">
              <a:lnSpc>
                <a:spcPct val="80000"/>
              </a:lnSpc>
              <a:spcBef>
                <a:spcPts val="0"/>
              </a:spcBef>
            </a:pPr>
            <a:r>
              <a:rPr lang="en-US"/>
              <a:t>ONE OR TWO LINES</a:t>
            </a:r>
          </a:p>
        </p:txBody>
      </p:sp>
    </p:spTree>
    <p:extLst>
      <p:ext uri="{BB962C8B-B14F-4D97-AF65-F5344CB8AC3E}">
        <p14:creationId xmlns:p14="http://schemas.microsoft.com/office/powerpoint/2010/main" val="4253980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914400" y="991061"/>
            <a:ext cx="10363200" cy="2742740"/>
          </a:xfrm>
          <a:prstGeom prst="rect">
            <a:avLst/>
          </a:prstGeom>
        </p:spPr>
        <p:txBody>
          <a:bodyPr lIns="243834" tIns="121917" rIns="243834" bIns="121917" anchor="ctr"/>
          <a:lstStyle>
            <a:lvl1pPr>
              <a:defRPr sz="9350" b="1" cap="all" spc="0" baseline="0">
                <a:solidFill>
                  <a:srgbClr val="0B2B82"/>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MAIN COVER TITLE</a:t>
            </a:r>
          </a:p>
        </p:txBody>
      </p:sp>
      <p:sp>
        <p:nvSpPr>
          <p:cNvPr id="9" name="Subtitle 2"/>
          <p:cNvSpPr>
            <a:spLocks noGrp="1"/>
          </p:cNvSpPr>
          <p:nvPr>
            <p:ph type="subTitle" idx="1" hasCustomPrompt="1"/>
          </p:nvPr>
        </p:nvSpPr>
        <p:spPr>
          <a:xfrm>
            <a:off x="914400" y="4069750"/>
            <a:ext cx="10363200" cy="375251"/>
          </a:xfrm>
          <a:prstGeom prst="rect">
            <a:avLst/>
          </a:prstGeom>
        </p:spPr>
        <p:txBody>
          <a:bodyPr lIns="243834" tIns="121917" rIns="243834" bIns="121917" anchor="ctr"/>
          <a:lstStyle>
            <a:lvl1pPr marL="0" indent="0" algn="ctr">
              <a:buNone/>
              <a:defRPr sz="1600" b="1" cap="all">
                <a:solidFill>
                  <a:srgbClr val="0B2B82"/>
                </a:solidFill>
                <a:latin typeface="Open Sans" panose="020B0606030504020204" pitchFamily="34" charset="0"/>
                <a:ea typeface="Open Sans" panose="020B0606030504020204" pitchFamily="34" charset="0"/>
                <a:cs typeface="Open Sans" panose="020B0606030504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5"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4"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8"/>
          <p:cNvSpPr>
            <a:spLocks noGrp="1"/>
          </p:cNvSpPr>
          <p:nvPr>
            <p:ph type="body" sz="quarter" idx="13" hasCustomPrompt="1"/>
          </p:nvPr>
        </p:nvSpPr>
        <p:spPr>
          <a:xfrm>
            <a:off x="914400" y="4827554"/>
            <a:ext cx="10363200" cy="328362"/>
          </a:xfrm>
          <a:prstGeom prst="rect">
            <a:avLst/>
          </a:prstGeom>
        </p:spPr>
        <p:txBody>
          <a:bodyPr vert="horz" lIns="243834" tIns="121917" rIns="243834" bIns="121917"/>
          <a:lstStyle>
            <a:lvl1pPr marL="0" indent="0" algn="ctr">
              <a:buNone/>
              <a:defRPr sz="1200" baseline="0">
                <a:solidFill>
                  <a:srgbClr val="0B2B8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Location / Date</a:t>
            </a:r>
          </a:p>
        </p:txBody>
      </p:sp>
      <p:pic>
        <p:nvPicPr>
          <p:cNvPr id="12" name="Picture 11" descr="FJORD_ACC_Logo_WHT_CMYK.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47950" y="5833248"/>
            <a:ext cx="1392022" cy="535392"/>
          </a:xfrm>
          <a:prstGeom prst="rect">
            <a:avLst/>
          </a:prstGeom>
        </p:spPr>
      </p:pic>
    </p:spTree>
    <p:extLst>
      <p:ext uri="{BB962C8B-B14F-4D97-AF65-F5344CB8AC3E}">
        <p14:creationId xmlns:p14="http://schemas.microsoft.com/office/powerpoint/2010/main" val="3304071237"/>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Only w/ Subtitle">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itle 2">
            <a:extLst>
              <a:ext uri="{FF2B5EF4-FFF2-40B4-BE49-F238E27FC236}">
                <a16:creationId xmlns:a16="http://schemas.microsoft.com/office/drawing/2014/main" id="{55E9E677-7C6B-462C-9193-311E902B79DD}"/>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DD274E69-7B69-4385-946C-6FF0B68DB8B5}"/>
              </a:ext>
            </a:extLst>
          </p:cNvPr>
          <p:cNvSpPr>
            <a:spLocks noGrp="1"/>
          </p:cNvSpPr>
          <p:nvPr>
            <p:ph type="ftr" sz="quarter" idx="37"/>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719E2DBE-8B18-4E2E-AE9F-7700CC37B66E}"/>
              </a:ext>
            </a:extLst>
          </p:cNvPr>
          <p:cNvSpPr>
            <a:spLocks noGrp="1"/>
          </p:cNvSpPr>
          <p:nvPr>
            <p:ph type="sldNum" sz="quarter" idx="38"/>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679514509"/>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Cover_Master Bran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AE4E75A-A032-4E5F-AC57-D892E71E1A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sp>
        <p:nvSpPr>
          <p:cNvPr id="112" name="Subtitle (3rd Level)">
            <a:extLst>
              <a:ext uri="{FF2B5EF4-FFF2-40B4-BE49-F238E27FC236}">
                <a16:creationId xmlns:a16="http://schemas.microsoft.com/office/drawing/2014/main" id="{3F9DD137-2F42-4FAF-8466-7516363C9E4B}"/>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6" name="Long Subline"/>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8" name="MasterTitle"/>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8" name="Acc_CoreBrand_Logo_Black_Purple">
            <a:extLst>
              <a:ext uri="{FF2B5EF4-FFF2-40B4-BE49-F238E27FC236}">
                <a16:creationId xmlns:a16="http://schemas.microsoft.com/office/drawing/2014/main" id="{FDE60845-E0C2-4D6C-A02B-571BC30D12FB}"/>
              </a:ext>
            </a:extLst>
          </p:cNvPr>
          <p:cNvPicPr>
            <a:picLocks noChangeAspect="1"/>
          </p:cNvPicPr>
          <p:nvPr userDrawn="1"/>
        </p:nvPicPr>
        <p:blipFill>
          <a:blip r:embed="rId12"/>
          <a:stretch>
            <a:fillRect/>
          </a:stretch>
        </p:blipFill>
        <p:spPr>
          <a:xfrm>
            <a:off x="1461439" y="556663"/>
            <a:ext cx="1663200" cy="445738"/>
          </a:xfrm>
          <a:prstGeom prst="rect">
            <a:avLst/>
          </a:prstGeom>
        </p:spPr>
      </p:pic>
    </p:spTree>
    <p:extLst>
      <p:ext uri="{BB962C8B-B14F-4D97-AF65-F5344CB8AC3E}">
        <p14:creationId xmlns:p14="http://schemas.microsoft.com/office/powerpoint/2010/main" val="1217901"/>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9_Cover_Master Bran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59907F4C-E8F1-4AC4-BBAC-90D350BCBB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418" t="-21" r="4418" b="8857"/>
          <a:stretch/>
        </p:blipFill>
        <p:spPr>
          <a:xfrm flipH="1">
            <a:off x="0" y="0"/>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pic>
        <p:nvPicPr>
          <p:cNvPr id="21" name="Acc_CoreBrand_Logo_Black_Purple">
            <a:extLst>
              <a:ext uri="{FF2B5EF4-FFF2-40B4-BE49-F238E27FC236}">
                <a16:creationId xmlns:a16="http://schemas.microsoft.com/office/drawing/2014/main" id="{54C0A1D6-C126-4A52-92AA-06BE02D9645A}"/>
              </a:ext>
            </a:extLst>
          </p:cNvPr>
          <p:cNvPicPr>
            <a:picLocks noChangeAspect="1"/>
          </p:cNvPicPr>
          <p:nvPr userDrawn="1"/>
        </p:nvPicPr>
        <p:blipFill>
          <a:blip r:embed="rId12"/>
          <a:stretch>
            <a:fillRect/>
          </a:stretch>
        </p:blipFill>
        <p:spPr>
          <a:xfrm>
            <a:off x="1461439" y="556663"/>
            <a:ext cx="1663200" cy="445738"/>
          </a:xfrm>
          <a:prstGeom prst="rect">
            <a:avLst/>
          </a:prstGeom>
        </p:spPr>
      </p:pic>
      <p:sp>
        <p:nvSpPr>
          <p:cNvPr id="22" name="Subtitle (3rd Level)">
            <a:extLst>
              <a:ext uri="{FF2B5EF4-FFF2-40B4-BE49-F238E27FC236}">
                <a16:creationId xmlns:a16="http://schemas.microsoft.com/office/drawing/2014/main" id="{174AE999-F1DB-40E6-8CF7-DADC702AEA95}"/>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8" name="Long Subline">
            <a:extLst>
              <a:ext uri="{FF2B5EF4-FFF2-40B4-BE49-F238E27FC236}">
                <a16:creationId xmlns:a16="http://schemas.microsoft.com/office/drawing/2014/main" id="{C09CB717-4F63-4A30-AC66-6BF761517ED0}"/>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9" name="MasterTitle">
            <a:extLst>
              <a:ext uri="{FF2B5EF4-FFF2-40B4-BE49-F238E27FC236}">
                <a16:creationId xmlns:a16="http://schemas.microsoft.com/office/drawing/2014/main" id="{81AC0F20-4EE0-4125-9A83-F20F519EB506}"/>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3589088325"/>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Cover_Master Bran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E3617E0-BE4C-4CCD-90AE-14FACF51E30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141" b="6142"/>
          <a:stretch/>
        </p:blipFill>
        <p:spPr>
          <a:xfrm>
            <a:off x="0" y="0"/>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pic>
        <p:nvPicPr>
          <p:cNvPr id="17" name="Acc_CoreBrand_Logo_Black_Purple">
            <a:extLst>
              <a:ext uri="{FF2B5EF4-FFF2-40B4-BE49-F238E27FC236}">
                <a16:creationId xmlns:a16="http://schemas.microsoft.com/office/drawing/2014/main" id="{2BA4DE44-31BD-4354-90CD-B6EACBAA3101}"/>
              </a:ext>
            </a:extLst>
          </p:cNvPr>
          <p:cNvPicPr>
            <a:picLocks noChangeAspect="1"/>
          </p:cNvPicPr>
          <p:nvPr userDrawn="1"/>
        </p:nvPicPr>
        <p:blipFill>
          <a:blip r:embed="rId12"/>
          <a:stretch>
            <a:fillRect/>
          </a:stretch>
        </p:blipFill>
        <p:spPr>
          <a:xfrm>
            <a:off x="1461439" y="556663"/>
            <a:ext cx="1663200" cy="445738"/>
          </a:xfrm>
          <a:prstGeom prst="rect">
            <a:avLst/>
          </a:prstGeom>
        </p:spPr>
      </p:pic>
      <p:sp>
        <p:nvSpPr>
          <p:cNvPr id="18" name="Subtitle (3rd Level)">
            <a:extLst>
              <a:ext uri="{FF2B5EF4-FFF2-40B4-BE49-F238E27FC236}">
                <a16:creationId xmlns:a16="http://schemas.microsoft.com/office/drawing/2014/main" id="{476D8465-7DD7-4B74-81AB-73CA97FF0DCB}"/>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19" name="Long Subline">
            <a:extLst>
              <a:ext uri="{FF2B5EF4-FFF2-40B4-BE49-F238E27FC236}">
                <a16:creationId xmlns:a16="http://schemas.microsoft.com/office/drawing/2014/main" id="{9612428B-ACFA-48D2-B442-06234502CE29}"/>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0" name="MasterTitle">
            <a:extLst>
              <a:ext uri="{FF2B5EF4-FFF2-40B4-BE49-F238E27FC236}">
                <a16:creationId xmlns:a16="http://schemas.microsoft.com/office/drawing/2014/main" id="{C8511633-244A-439D-942C-FC909E568750}"/>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73629425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genda_GradientBG">
    <p:bg>
      <p:bgPr>
        <a:gradFill flip="none" rotWithShape="1">
          <a:gsLst>
            <a:gs pos="0">
              <a:schemeClr val="accent3"/>
            </a:gs>
            <a:gs pos="100000">
              <a:schemeClr val="accent1"/>
            </a:gs>
          </a:gsLst>
          <a:lin ang="2700000" scaled="1"/>
          <a:tileRect/>
        </a:gradFill>
        <a:effectLst/>
      </p:bgPr>
    </p:bg>
    <p:spTree>
      <p:nvGrpSpPr>
        <p:cNvPr id="1" name=""/>
        <p:cNvGrpSpPr/>
        <p:nvPr/>
      </p:nvGrpSpPr>
      <p:grpSpPr>
        <a:xfrm>
          <a:off x="0" y="0"/>
          <a:ext cx="0" cy="0"/>
          <a:chOff x="0" y="0"/>
          <a:chExt cx="0" cy="0"/>
        </a:xfrm>
      </p:grpSpPr>
      <p:sp>
        <p:nvSpPr>
          <p:cNvPr id="72" name="Text Placeholder 71"/>
          <p:cNvSpPr>
            <a:spLocks noGrp="1"/>
          </p:cNvSpPr>
          <p:nvPr>
            <p:ph type="body" sz="quarter" idx="12" hasCustomPrompt="1"/>
          </p:nvPr>
        </p:nvSpPr>
        <p:spPr>
          <a:xfrm>
            <a:off x="4287925" y="1644640"/>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3" name="Text Placeholder 71"/>
          <p:cNvSpPr>
            <a:spLocks noGrp="1"/>
          </p:cNvSpPr>
          <p:nvPr>
            <p:ph type="body" sz="quarter" idx="13" hasCustomPrompt="1"/>
          </p:nvPr>
        </p:nvSpPr>
        <p:spPr>
          <a:xfrm>
            <a:off x="6911299" y="1644640"/>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4" name="Text Placeholder 71"/>
          <p:cNvSpPr>
            <a:spLocks noGrp="1"/>
          </p:cNvSpPr>
          <p:nvPr>
            <p:ph type="body" sz="quarter" idx="14" hasCustomPrompt="1"/>
          </p:nvPr>
        </p:nvSpPr>
        <p:spPr>
          <a:xfrm>
            <a:off x="9535272" y="1644640"/>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5" name="Text Placeholder 71"/>
          <p:cNvSpPr>
            <a:spLocks noGrp="1"/>
          </p:cNvSpPr>
          <p:nvPr>
            <p:ph type="body" sz="quarter" idx="15" hasCustomPrompt="1"/>
          </p:nvPr>
        </p:nvSpPr>
        <p:spPr>
          <a:xfrm>
            <a:off x="4287925" y="3562743"/>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6" name="Text Placeholder 71"/>
          <p:cNvSpPr>
            <a:spLocks noGrp="1"/>
          </p:cNvSpPr>
          <p:nvPr>
            <p:ph type="body" sz="quarter" idx="16" hasCustomPrompt="1"/>
          </p:nvPr>
        </p:nvSpPr>
        <p:spPr>
          <a:xfrm>
            <a:off x="6911299" y="3562743"/>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7" name="Text Placeholder 71"/>
          <p:cNvSpPr>
            <a:spLocks noGrp="1"/>
          </p:cNvSpPr>
          <p:nvPr>
            <p:ph type="body" sz="quarter" idx="17" hasCustomPrompt="1"/>
          </p:nvPr>
        </p:nvSpPr>
        <p:spPr>
          <a:xfrm>
            <a:off x="9535272" y="3562743"/>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8" name="Text Placeholder 71"/>
          <p:cNvSpPr>
            <a:spLocks noGrp="1"/>
          </p:cNvSpPr>
          <p:nvPr>
            <p:ph type="body" sz="quarter" idx="18" hasCustomPrompt="1"/>
          </p:nvPr>
        </p:nvSpPr>
        <p:spPr>
          <a:xfrm>
            <a:off x="4287925" y="5441054"/>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79" name="Text Placeholder 71"/>
          <p:cNvSpPr>
            <a:spLocks noGrp="1"/>
          </p:cNvSpPr>
          <p:nvPr>
            <p:ph type="body" sz="quarter" idx="19" hasCustomPrompt="1"/>
          </p:nvPr>
        </p:nvSpPr>
        <p:spPr>
          <a:xfrm>
            <a:off x="6911299" y="5441054"/>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80" name="Text Placeholder 71"/>
          <p:cNvSpPr>
            <a:spLocks noGrp="1"/>
          </p:cNvSpPr>
          <p:nvPr>
            <p:ph type="body" sz="quarter" idx="20" hasCustomPrompt="1"/>
          </p:nvPr>
        </p:nvSpPr>
        <p:spPr>
          <a:xfrm>
            <a:off x="9535272" y="5441054"/>
            <a:ext cx="2304363" cy="601523"/>
          </a:xfrm>
          <a:prstGeom prst="rect">
            <a:avLst/>
          </a:prstGeom>
        </p:spPr>
        <p:txBody>
          <a:bodyPr/>
          <a:lstStyle>
            <a:lvl1pPr>
              <a:lnSpc>
                <a:spcPct val="100000"/>
              </a:lnSpc>
              <a:defRPr sz="1600" b="0">
                <a:solidFill>
                  <a:schemeClr val="bg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102" name="Text Placeholder 101"/>
          <p:cNvSpPr>
            <a:spLocks noGrp="1"/>
          </p:cNvSpPr>
          <p:nvPr>
            <p:ph type="body" sz="quarter" idx="21" hasCustomPrompt="1"/>
          </p:nvPr>
        </p:nvSpPr>
        <p:spPr>
          <a:xfrm>
            <a:off x="6911299" y="748886"/>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2</a:t>
            </a:r>
          </a:p>
        </p:txBody>
      </p:sp>
      <p:sp>
        <p:nvSpPr>
          <p:cNvPr id="103" name="Text Placeholder 101"/>
          <p:cNvSpPr>
            <a:spLocks noGrp="1"/>
          </p:cNvSpPr>
          <p:nvPr>
            <p:ph type="body" sz="quarter" idx="22" hasCustomPrompt="1"/>
          </p:nvPr>
        </p:nvSpPr>
        <p:spPr>
          <a:xfrm>
            <a:off x="4287925" y="748886"/>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1</a:t>
            </a:r>
          </a:p>
        </p:txBody>
      </p:sp>
      <p:sp>
        <p:nvSpPr>
          <p:cNvPr id="104" name="Text Placeholder 101"/>
          <p:cNvSpPr>
            <a:spLocks noGrp="1"/>
          </p:cNvSpPr>
          <p:nvPr>
            <p:ph type="body" sz="quarter" idx="23" hasCustomPrompt="1"/>
          </p:nvPr>
        </p:nvSpPr>
        <p:spPr>
          <a:xfrm>
            <a:off x="9526893" y="748886"/>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3</a:t>
            </a:r>
          </a:p>
        </p:txBody>
      </p:sp>
      <p:sp>
        <p:nvSpPr>
          <p:cNvPr id="105" name="Text Placeholder 101"/>
          <p:cNvSpPr>
            <a:spLocks noGrp="1"/>
          </p:cNvSpPr>
          <p:nvPr>
            <p:ph type="body" sz="quarter" idx="24" hasCustomPrompt="1"/>
          </p:nvPr>
        </p:nvSpPr>
        <p:spPr>
          <a:xfrm>
            <a:off x="6911299" y="2687578"/>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5</a:t>
            </a:r>
          </a:p>
        </p:txBody>
      </p:sp>
      <p:sp>
        <p:nvSpPr>
          <p:cNvPr id="106" name="Text Placeholder 101"/>
          <p:cNvSpPr>
            <a:spLocks noGrp="1"/>
          </p:cNvSpPr>
          <p:nvPr>
            <p:ph type="body" sz="quarter" idx="25" hasCustomPrompt="1"/>
          </p:nvPr>
        </p:nvSpPr>
        <p:spPr>
          <a:xfrm>
            <a:off x="4287925" y="2687578"/>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4</a:t>
            </a:r>
          </a:p>
        </p:txBody>
      </p:sp>
      <p:sp>
        <p:nvSpPr>
          <p:cNvPr id="107" name="Text Placeholder 101"/>
          <p:cNvSpPr>
            <a:spLocks noGrp="1"/>
          </p:cNvSpPr>
          <p:nvPr>
            <p:ph type="body" sz="quarter" idx="26" hasCustomPrompt="1"/>
          </p:nvPr>
        </p:nvSpPr>
        <p:spPr>
          <a:xfrm>
            <a:off x="9526893" y="2687578"/>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6</a:t>
            </a:r>
          </a:p>
        </p:txBody>
      </p:sp>
      <p:sp>
        <p:nvSpPr>
          <p:cNvPr id="108" name="Text Placeholder 101"/>
          <p:cNvSpPr>
            <a:spLocks noGrp="1"/>
          </p:cNvSpPr>
          <p:nvPr>
            <p:ph type="body" sz="quarter" idx="27" hasCustomPrompt="1"/>
          </p:nvPr>
        </p:nvSpPr>
        <p:spPr>
          <a:xfrm>
            <a:off x="6911299" y="4555594"/>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8</a:t>
            </a:r>
          </a:p>
        </p:txBody>
      </p:sp>
      <p:sp>
        <p:nvSpPr>
          <p:cNvPr id="109" name="Text Placeholder 101"/>
          <p:cNvSpPr>
            <a:spLocks noGrp="1"/>
          </p:cNvSpPr>
          <p:nvPr>
            <p:ph type="body" sz="quarter" idx="28" hasCustomPrompt="1"/>
          </p:nvPr>
        </p:nvSpPr>
        <p:spPr>
          <a:xfrm>
            <a:off x="4287925" y="4555594"/>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7</a:t>
            </a:r>
          </a:p>
        </p:txBody>
      </p:sp>
      <p:sp>
        <p:nvSpPr>
          <p:cNvPr id="110" name="Text Placeholder 101"/>
          <p:cNvSpPr>
            <a:spLocks noGrp="1"/>
          </p:cNvSpPr>
          <p:nvPr>
            <p:ph type="body" sz="quarter" idx="29" hasCustomPrompt="1"/>
          </p:nvPr>
        </p:nvSpPr>
        <p:spPr>
          <a:xfrm>
            <a:off x="9526893" y="4555594"/>
            <a:ext cx="1326081" cy="842767"/>
          </a:xfrm>
          <a:prstGeom prst="rect">
            <a:avLst/>
          </a:prstGeom>
        </p:spPr>
        <p:txBody>
          <a:bodyPr anchor="b"/>
          <a:lstStyle>
            <a:lvl1pPr>
              <a:defRPr sz="5399" b="0">
                <a:solidFill>
                  <a:schemeClr val="bg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9</a:t>
            </a:r>
          </a:p>
        </p:txBody>
      </p:sp>
      <p:sp>
        <p:nvSpPr>
          <p:cNvPr id="22" name="Footer Placeholder 3">
            <a:extLst>
              <a:ext uri="{FF2B5EF4-FFF2-40B4-BE49-F238E27FC236}">
                <a16:creationId xmlns:a16="http://schemas.microsoft.com/office/drawing/2014/main" id="{CFD43189-94D5-4EFD-8703-C0064719600A}"/>
              </a:ext>
            </a:extLst>
          </p:cNvPr>
          <p:cNvSpPr>
            <a:spLocks noGrp="1"/>
          </p:cNvSpPr>
          <p:nvPr>
            <p:ph type="ftr" sz="quarter" idx="3"/>
          </p:nvPr>
        </p:nvSpPr>
        <p:spPr>
          <a:xfrm>
            <a:off x="7421924" y="6403067"/>
            <a:ext cx="4114800" cy="140400"/>
          </a:xfrm>
          <a:prstGeom prst="rect">
            <a:avLst/>
          </a:prstGeom>
        </p:spPr>
        <p:txBody>
          <a:bodyPr vert="horz" lIns="0" tIns="0" rIns="0" bIns="0" rtlCol="0" anchor="b"/>
          <a:lstStyle>
            <a:lvl1pPr algn="r">
              <a:defRPr sz="800">
                <a:solidFill>
                  <a:schemeClr val="bg1">
                    <a:alpha val="50000"/>
                  </a:schemeClr>
                </a:solidFill>
                <a:latin typeface="+mn-lt"/>
                <a:cs typeface="Arial" panose="020B0604020202020204" pitchFamily="34" charset="0"/>
              </a:defRPr>
            </a:lvl1pPr>
          </a:lstStyle>
          <a:p>
            <a:r>
              <a:rPr lang="en-AU"/>
              <a:t>Copyright © 2022 Accenture. All rights reserved.</a:t>
            </a:r>
            <a:endParaRPr lang="en-GB"/>
          </a:p>
        </p:txBody>
      </p:sp>
      <p:sp>
        <p:nvSpPr>
          <p:cNvPr id="23" name="Slide Number Placeholder 4">
            <a:extLst>
              <a:ext uri="{FF2B5EF4-FFF2-40B4-BE49-F238E27FC236}">
                <a16:creationId xmlns:a16="http://schemas.microsoft.com/office/drawing/2014/main" id="{08BD483E-DA89-4FF2-919E-417DE8100A17}"/>
              </a:ext>
            </a:extLst>
          </p:cNvPr>
          <p:cNvSpPr>
            <a:spLocks noGrp="1"/>
          </p:cNvSpPr>
          <p:nvPr>
            <p:ph type="sldNum" sz="quarter" idx="4"/>
          </p:nvPr>
        </p:nvSpPr>
        <p:spPr>
          <a:xfrm>
            <a:off x="11645943" y="6403067"/>
            <a:ext cx="216000" cy="140400"/>
          </a:xfrm>
          <a:prstGeom prst="rect">
            <a:avLst/>
          </a:prstGeom>
        </p:spPr>
        <p:txBody>
          <a:bodyPr vert="horz" lIns="0" tIns="0" rIns="0" bIns="0" rtlCol="0" anchor="b"/>
          <a:lstStyle>
            <a:lvl1pPr algn="r">
              <a:defRPr sz="800">
                <a:solidFill>
                  <a:schemeClr val="bg1">
                    <a:alpha val="50000"/>
                  </a:schemeClr>
                </a:solidFill>
                <a:latin typeface="+mn-lt"/>
              </a:defRPr>
            </a:lvl1pPr>
          </a:lstStyle>
          <a:p>
            <a:fld id="{EF2F7A32-C1EA-4F7E-B0A2-7FCB5BFE90DE}" type="slidenum">
              <a:rPr lang="en-AU" smtClean="0"/>
              <a:pPr/>
              <a:t>‹#›</a:t>
            </a:fld>
            <a:endParaRPr lang="en-AU"/>
          </a:p>
        </p:txBody>
      </p:sp>
    </p:spTree>
    <p:extLst>
      <p:ext uri="{BB962C8B-B14F-4D97-AF65-F5344CB8AC3E}">
        <p14:creationId xmlns:p14="http://schemas.microsoft.com/office/powerpoint/2010/main" val="2648878589"/>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genda_WhiteB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B009F6-6D3C-461F-8FF5-717D52FC016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234" t="4799" r="1319" b="4799"/>
          <a:stretch/>
        </p:blipFill>
        <p:spPr>
          <a:xfrm>
            <a:off x="0" y="0"/>
            <a:ext cx="12192000" cy="6858000"/>
          </a:xfrm>
          <a:prstGeom prst="rect">
            <a:avLst/>
          </a:prstGeom>
        </p:spPr>
      </p:pic>
      <p:sp>
        <p:nvSpPr>
          <p:cNvPr id="102" name="Text Placeholder 101"/>
          <p:cNvSpPr>
            <a:spLocks noGrp="1"/>
          </p:cNvSpPr>
          <p:nvPr>
            <p:ph type="body" sz="quarter" idx="21" hasCustomPrompt="1"/>
          </p:nvPr>
        </p:nvSpPr>
        <p:spPr>
          <a:xfrm>
            <a:off x="2963099" y="748886"/>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2</a:t>
            </a:r>
          </a:p>
        </p:txBody>
      </p:sp>
      <p:sp>
        <p:nvSpPr>
          <p:cNvPr id="103" name="Text Placeholder 101"/>
          <p:cNvSpPr>
            <a:spLocks noGrp="1"/>
          </p:cNvSpPr>
          <p:nvPr>
            <p:ph type="body" sz="quarter" idx="22" hasCustomPrompt="1"/>
          </p:nvPr>
        </p:nvSpPr>
        <p:spPr>
          <a:xfrm>
            <a:off x="339725" y="748886"/>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1</a:t>
            </a:r>
          </a:p>
        </p:txBody>
      </p:sp>
      <p:sp>
        <p:nvSpPr>
          <p:cNvPr id="105" name="Text Placeholder 101"/>
          <p:cNvSpPr>
            <a:spLocks noGrp="1"/>
          </p:cNvSpPr>
          <p:nvPr>
            <p:ph type="body" sz="quarter" idx="24" hasCustomPrompt="1"/>
          </p:nvPr>
        </p:nvSpPr>
        <p:spPr>
          <a:xfrm>
            <a:off x="2963099" y="2687578"/>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4</a:t>
            </a:r>
          </a:p>
        </p:txBody>
      </p:sp>
      <p:sp>
        <p:nvSpPr>
          <p:cNvPr id="106" name="Text Placeholder 101"/>
          <p:cNvSpPr>
            <a:spLocks noGrp="1"/>
          </p:cNvSpPr>
          <p:nvPr>
            <p:ph type="body" sz="quarter" idx="25" hasCustomPrompt="1"/>
          </p:nvPr>
        </p:nvSpPr>
        <p:spPr>
          <a:xfrm>
            <a:off x="339725" y="2687578"/>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3</a:t>
            </a:r>
          </a:p>
        </p:txBody>
      </p:sp>
      <p:sp>
        <p:nvSpPr>
          <p:cNvPr id="108" name="Text Placeholder 101"/>
          <p:cNvSpPr>
            <a:spLocks noGrp="1"/>
          </p:cNvSpPr>
          <p:nvPr>
            <p:ph type="body" sz="quarter" idx="27" hasCustomPrompt="1"/>
          </p:nvPr>
        </p:nvSpPr>
        <p:spPr>
          <a:xfrm>
            <a:off x="2963099" y="4555594"/>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6</a:t>
            </a:r>
          </a:p>
        </p:txBody>
      </p:sp>
      <p:sp>
        <p:nvSpPr>
          <p:cNvPr id="109" name="Text Placeholder 101"/>
          <p:cNvSpPr>
            <a:spLocks noGrp="1"/>
          </p:cNvSpPr>
          <p:nvPr>
            <p:ph type="body" sz="quarter" idx="28" hasCustomPrompt="1"/>
          </p:nvPr>
        </p:nvSpPr>
        <p:spPr>
          <a:xfrm>
            <a:off x="339725" y="4555594"/>
            <a:ext cx="1326081" cy="842767"/>
          </a:xfrm>
          <a:prstGeom prst="rect">
            <a:avLst/>
          </a:prstGeom>
        </p:spPr>
        <p:txBody>
          <a:bodyPr anchor="b"/>
          <a:lstStyle>
            <a:lvl1pPr>
              <a:defRPr sz="5399"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5</a:t>
            </a:r>
          </a:p>
        </p:txBody>
      </p:sp>
      <p:sp>
        <p:nvSpPr>
          <p:cNvPr id="22" name="Footer Placeholder 3">
            <a:extLst>
              <a:ext uri="{FF2B5EF4-FFF2-40B4-BE49-F238E27FC236}">
                <a16:creationId xmlns:a16="http://schemas.microsoft.com/office/drawing/2014/main" id="{68EAD7D0-1893-4120-AF31-1B32875234E1}"/>
              </a:ext>
            </a:extLst>
          </p:cNvPr>
          <p:cNvSpPr>
            <a:spLocks noGrp="1"/>
          </p:cNvSpPr>
          <p:nvPr>
            <p:ph type="ftr" sz="quarter" idx="3"/>
          </p:nvPr>
        </p:nvSpPr>
        <p:spPr>
          <a:xfrm>
            <a:off x="7421924" y="6403067"/>
            <a:ext cx="4114800" cy="140400"/>
          </a:xfrm>
          <a:prstGeom prst="rect">
            <a:avLst/>
          </a:prstGeom>
        </p:spPr>
        <p:txBody>
          <a:bodyPr vert="horz" lIns="0" tIns="0" rIns="0" bIns="0" rtlCol="0" anchor="b"/>
          <a:lstStyle>
            <a:lvl1pPr algn="r">
              <a:defRPr sz="800">
                <a:solidFill>
                  <a:schemeClr val="tx1">
                    <a:alpha val="50000"/>
                  </a:schemeClr>
                </a:solidFill>
                <a:latin typeface="+mn-lt"/>
                <a:cs typeface="Arial" panose="020B0604020202020204" pitchFamily="34" charset="0"/>
              </a:defRPr>
            </a:lvl1pPr>
          </a:lstStyle>
          <a:p>
            <a:r>
              <a:rPr lang="en-AU"/>
              <a:t>Copyright © 2022 Accenture. All rights reserved.</a:t>
            </a:r>
            <a:endParaRPr lang="en-GB"/>
          </a:p>
        </p:txBody>
      </p:sp>
      <p:sp>
        <p:nvSpPr>
          <p:cNvPr id="23" name="Slide Number Placeholder 4">
            <a:extLst>
              <a:ext uri="{FF2B5EF4-FFF2-40B4-BE49-F238E27FC236}">
                <a16:creationId xmlns:a16="http://schemas.microsoft.com/office/drawing/2014/main" id="{332F7485-E25E-4A08-AC2C-A7EEA0094F80}"/>
              </a:ext>
            </a:extLst>
          </p:cNvPr>
          <p:cNvSpPr>
            <a:spLocks noGrp="1"/>
          </p:cNvSpPr>
          <p:nvPr>
            <p:ph type="sldNum" sz="quarter" idx="4"/>
          </p:nvPr>
        </p:nvSpPr>
        <p:spPr>
          <a:xfrm>
            <a:off x="11645943" y="6403067"/>
            <a:ext cx="216000" cy="140400"/>
          </a:xfrm>
          <a:prstGeom prst="rect">
            <a:avLst/>
          </a:prstGeom>
        </p:spPr>
        <p:txBody>
          <a:bodyPr vert="horz" lIns="0" tIns="0" rIns="0" bIns="0" rtlCol="0" anchor="b"/>
          <a:lstStyle>
            <a:lvl1pPr algn="r">
              <a:defRPr sz="800">
                <a:solidFill>
                  <a:schemeClr val="tx1">
                    <a:alpha val="50000"/>
                  </a:schemeClr>
                </a:solidFill>
                <a:latin typeface="+mn-lt"/>
              </a:defRPr>
            </a:lvl1pPr>
          </a:lstStyle>
          <a:p>
            <a:fld id="{EF2F7A32-C1EA-4F7E-B0A2-7FCB5BFE90DE}" type="slidenum">
              <a:rPr lang="en-AU" smtClean="0"/>
              <a:pPr/>
              <a:t>‹#›</a:t>
            </a:fld>
            <a:endParaRPr lang="en-AU"/>
          </a:p>
        </p:txBody>
      </p:sp>
      <p:sp>
        <p:nvSpPr>
          <p:cNvPr id="24" name="Text Placeholder 71">
            <a:extLst>
              <a:ext uri="{FF2B5EF4-FFF2-40B4-BE49-F238E27FC236}">
                <a16:creationId xmlns:a16="http://schemas.microsoft.com/office/drawing/2014/main" id="{CCFC03F1-B3A6-4E48-8328-74C70D262C3C}"/>
              </a:ext>
            </a:extLst>
          </p:cNvPr>
          <p:cNvSpPr>
            <a:spLocks noGrp="1"/>
          </p:cNvSpPr>
          <p:nvPr>
            <p:ph type="body" sz="quarter" idx="12" hasCustomPrompt="1"/>
          </p:nvPr>
        </p:nvSpPr>
        <p:spPr>
          <a:xfrm>
            <a:off x="339725" y="1598003"/>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25" name="Text Placeholder 71">
            <a:extLst>
              <a:ext uri="{FF2B5EF4-FFF2-40B4-BE49-F238E27FC236}">
                <a16:creationId xmlns:a16="http://schemas.microsoft.com/office/drawing/2014/main" id="{B19CC50C-BF00-41CD-BF2B-6F83CF5899FE}"/>
              </a:ext>
            </a:extLst>
          </p:cNvPr>
          <p:cNvSpPr>
            <a:spLocks noGrp="1"/>
          </p:cNvSpPr>
          <p:nvPr>
            <p:ph type="body" sz="quarter" idx="13" hasCustomPrompt="1"/>
          </p:nvPr>
        </p:nvSpPr>
        <p:spPr>
          <a:xfrm>
            <a:off x="2963099" y="1598003"/>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27" name="Text Placeholder 71">
            <a:extLst>
              <a:ext uri="{FF2B5EF4-FFF2-40B4-BE49-F238E27FC236}">
                <a16:creationId xmlns:a16="http://schemas.microsoft.com/office/drawing/2014/main" id="{F485D4D0-0E2C-44E3-9D51-0217B4F2C63C}"/>
              </a:ext>
            </a:extLst>
          </p:cNvPr>
          <p:cNvSpPr>
            <a:spLocks noGrp="1"/>
          </p:cNvSpPr>
          <p:nvPr>
            <p:ph type="body" sz="quarter" idx="15" hasCustomPrompt="1"/>
          </p:nvPr>
        </p:nvSpPr>
        <p:spPr>
          <a:xfrm>
            <a:off x="339725" y="3516106"/>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28" name="Text Placeholder 71">
            <a:extLst>
              <a:ext uri="{FF2B5EF4-FFF2-40B4-BE49-F238E27FC236}">
                <a16:creationId xmlns:a16="http://schemas.microsoft.com/office/drawing/2014/main" id="{4157D535-70E8-4EDA-8687-2721C3D558D6}"/>
              </a:ext>
            </a:extLst>
          </p:cNvPr>
          <p:cNvSpPr>
            <a:spLocks noGrp="1"/>
          </p:cNvSpPr>
          <p:nvPr>
            <p:ph type="body" sz="quarter" idx="16" hasCustomPrompt="1"/>
          </p:nvPr>
        </p:nvSpPr>
        <p:spPr>
          <a:xfrm>
            <a:off x="2963099" y="3516106"/>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30" name="Text Placeholder 71">
            <a:extLst>
              <a:ext uri="{FF2B5EF4-FFF2-40B4-BE49-F238E27FC236}">
                <a16:creationId xmlns:a16="http://schemas.microsoft.com/office/drawing/2014/main" id="{1817C3BD-92B7-432E-8F98-DF8F476741F8}"/>
              </a:ext>
            </a:extLst>
          </p:cNvPr>
          <p:cNvSpPr>
            <a:spLocks noGrp="1"/>
          </p:cNvSpPr>
          <p:nvPr>
            <p:ph type="body" sz="quarter" idx="18" hasCustomPrompt="1"/>
          </p:nvPr>
        </p:nvSpPr>
        <p:spPr>
          <a:xfrm>
            <a:off x="339725" y="5394417"/>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
        <p:nvSpPr>
          <p:cNvPr id="31" name="Text Placeholder 71">
            <a:extLst>
              <a:ext uri="{FF2B5EF4-FFF2-40B4-BE49-F238E27FC236}">
                <a16:creationId xmlns:a16="http://schemas.microsoft.com/office/drawing/2014/main" id="{4C7EDDEE-4AE1-4026-B5E4-9B0F2F64D054}"/>
              </a:ext>
            </a:extLst>
          </p:cNvPr>
          <p:cNvSpPr>
            <a:spLocks noGrp="1"/>
          </p:cNvSpPr>
          <p:nvPr>
            <p:ph type="body" sz="quarter" idx="19" hasCustomPrompt="1"/>
          </p:nvPr>
        </p:nvSpPr>
        <p:spPr>
          <a:xfrm>
            <a:off x="2963099" y="5394417"/>
            <a:ext cx="2304363" cy="601523"/>
          </a:xfrm>
          <a:prstGeom prst="rect">
            <a:avLst/>
          </a:prstGeom>
        </p:spPr>
        <p:txBody>
          <a:bodyPr/>
          <a:lstStyle>
            <a:lvl1pPr>
              <a:lnSpc>
                <a:spcPct val="100000"/>
              </a:lnSpc>
              <a:defRPr sz="1600" b="0">
                <a:solidFill>
                  <a:schemeClr val="tx1"/>
                </a:solidFill>
                <a:latin typeface="+mn-lt"/>
              </a:defRPr>
            </a:lvl1pPr>
            <a:lvl2pPr marL="0" indent="0">
              <a:buNone/>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Insert item16pt minimum 14pt maximum 3 lines</a:t>
            </a:r>
          </a:p>
        </p:txBody>
      </p:sp>
    </p:spTree>
    <p:extLst>
      <p:ext uri="{BB962C8B-B14F-4D97-AF65-F5344CB8AC3E}">
        <p14:creationId xmlns:p14="http://schemas.microsoft.com/office/powerpoint/2010/main" val="138330594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C10AFE-A1A0-400E-B25F-A15F6675AAB2}"/>
              </a:ext>
            </a:extLst>
          </p:cNvPr>
          <p:cNvSpPr>
            <a:spLocks noGrp="1"/>
          </p:cNvSpPr>
          <p:nvPr>
            <p:ph type="title" hasCustomPrompt="1"/>
          </p:nvPr>
        </p:nvSpPr>
        <p:spPr>
          <a:xfrm>
            <a:off x="307141" y="1766967"/>
            <a:ext cx="5612647" cy="4294186"/>
          </a:xfrm>
        </p:spPr>
        <p:txBody>
          <a:bodyPr>
            <a:noAutofit/>
          </a:bodyPr>
          <a:lstStyle>
            <a:lvl1pPr>
              <a:defRPr sz="5400"/>
            </a:lvl1pPr>
          </a:lstStyle>
          <a:p>
            <a:r>
              <a:rPr lang="en-US"/>
              <a:t>Section introduction</a:t>
            </a:r>
            <a:endParaRPr lang="en-AU"/>
          </a:p>
        </p:txBody>
      </p:sp>
      <p:sp>
        <p:nvSpPr>
          <p:cNvPr id="10" name="Footer Placeholder 9">
            <a:extLst>
              <a:ext uri="{FF2B5EF4-FFF2-40B4-BE49-F238E27FC236}">
                <a16:creationId xmlns:a16="http://schemas.microsoft.com/office/drawing/2014/main" id="{D0559EC6-F01B-4C86-A1C8-557EA86C55F5}"/>
              </a:ext>
            </a:extLst>
          </p:cNvPr>
          <p:cNvSpPr>
            <a:spLocks noGrp="1"/>
          </p:cNvSpPr>
          <p:nvPr>
            <p:ph type="ftr" sz="quarter" idx="12"/>
          </p:nvPr>
        </p:nvSpPr>
        <p:spPr/>
        <p:txBody>
          <a:bodyPr/>
          <a:lstStyle/>
          <a:p>
            <a:r>
              <a:rPr lang="en-AU"/>
              <a:t>Copyright © 2022 Accenture. All rights reserved.</a:t>
            </a:r>
          </a:p>
        </p:txBody>
      </p:sp>
      <p:sp>
        <p:nvSpPr>
          <p:cNvPr id="11" name="Slide Number Placeholder 10">
            <a:extLst>
              <a:ext uri="{FF2B5EF4-FFF2-40B4-BE49-F238E27FC236}">
                <a16:creationId xmlns:a16="http://schemas.microsoft.com/office/drawing/2014/main" id="{C80FAD5C-7BC9-4C47-97C3-661207BE9357}"/>
              </a:ext>
            </a:extLst>
          </p:cNvPr>
          <p:cNvSpPr>
            <a:spLocks noGrp="1"/>
          </p:cNvSpPr>
          <p:nvPr>
            <p:ph type="sldNum" sz="quarter" idx="13"/>
          </p:nvPr>
        </p:nvSpPr>
        <p:spPr/>
        <p:txBody>
          <a:bodyPr/>
          <a:lstStyle/>
          <a:p>
            <a:fld id="{FC1BBE33-A891-48E8-970C-4A8D55F96D53}" type="slidenum">
              <a:rPr lang="en-AU" smtClean="0"/>
              <a:pPr/>
              <a:t>‹#›</a:t>
            </a:fld>
            <a:endParaRPr lang="en-AU"/>
          </a:p>
        </p:txBody>
      </p:sp>
      <p:sp>
        <p:nvSpPr>
          <p:cNvPr id="3" name="Text Placeholder 2">
            <a:extLst>
              <a:ext uri="{FF2B5EF4-FFF2-40B4-BE49-F238E27FC236}">
                <a16:creationId xmlns:a16="http://schemas.microsoft.com/office/drawing/2014/main" id="{6DBBA1B5-C077-429B-B8B5-3E4D80450C23}"/>
              </a:ext>
            </a:extLst>
          </p:cNvPr>
          <p:cNvSpPr>
            <a:spLocks noGrp="1"/>
          </p:cNvSpPr>
          <p:nvPr>
            <p:ph type="body" sz="quarter" idx="14"/>
          </p:nvPr>
        </p:nvSpPr>
        <p:spPr>
          <a:xfrm>
            <a:off x="6275387" y="1766888"/>
            <a:ext cx="5578475" cy="4289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69050218"/>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95451-F220-48C0-ABA6-325978033228}"/>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84A781BB-DF12-4785-A348-CED0C76100E6}"/>
              </a:ext>
            </a:extLst>
          </p:cNvPr>
          <p:cNvSpPr>
            <a:spLocks noGrp="1"/>
          </p:cNvSpPr>
          <p:nvPr>
            <p:ph type="ftr" sz="quarter" idx="17"/>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A8CCCE24-5684-4A9B-869B-EDB0A3D439F1}"/>
              </a:ext>
            </a:extLst>
          </p:cNvPr>
          <p:cNvSpPr>
            <a:spLocks noGrp="1"/>
          </p:cNvSpPr>
          <p:nvPr>
            <p:ph type="sldNum" sz="quarter" idx="18"/>
          </p:nvPr>
        </p:nvSpPr>
        <p:spPr/>
        <p:txBody>
          <a:bodyPr/>
          <a:lstStyle/>
          <a:p>
            <a:fld id="{FC1BBE33-A891-48E8-970C-4A8D55F96D53}" type="slidenum">
              <a:rPr lang="en-AU" smtClean="0"/>
              <a:pPr/>
              <a:t>‹#›</a:t>
            </a:fld>
            <a:endParaRPr lang="en-AU"/>
          </a:p>
        </p:txBody>
      </p:sp>
      <p:sp>
        <p:nvSpPr>
          <p:cNvPr id="4" name="Text Placeholder 3">
            <a:extLst>
              <a:ext uri="{FF2B5EF4-FFF2-40B4-BE49-F238E27FC236}">
                <a16:creationId xmlns:a16="http://schemas.microsoft.com/office/drawing/2014/main" id="{32CF415F-3689-45B9-9B4F-EC0507DDDAF7}"/>
              </a:ext>
            </a:extLst>
          </p:cNvPr>
          <p:cNvSpPr>
            <a:spLocks noGrp="1"/>
          </p:cNvSpPr>
          <p:nvPr>
            <p:ph type="body" sz="quarter" idx="19"/>
          </p:nvPr>
        </p:nvSpPr>
        <p:spPr>
          <a:xfrm>
            <a:off x="338400" y="1768475"/>
            <a:ext cx="10028237" cy="4287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771525545"/>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w/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2F61C189-E88E-47C6-9590-4DDA84807E5F}"/>
              </a:ext>
            </a:extLst>
          </p:cNvPr>
          <p:cNvSpPr>
            <a:spLocks noGrp="1"/>
          </p:cNvSpPr>
          <p:nvPr>
            <p:ph type="body" sz="quarter" idx="36" hasCustomPrompt="1"/>
          </p:nvPr>
        </p:nvSpPr>
        <p:spPr>
          <a:xfrm>
            <a:off x="3276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2" name="Title 1">
            <a:extLst>
              <a:ext uri="{FF2B5EF4-FFF2-40B4-BE49-F238E27FC236}">
                <a16:creationId xmlns:a16="http://schemas.microsoft.com/office/drawing/2014/main" id="{8E49E900-8799-4058-88B6-4D0B10930320}"/>
              </a:ext>
            </a:extLst>
          </p:cNvPr>
          <p:cNvSpPr>
            <a:spLocks noGrp="1"/>
          </p:cNvSpPr>
          <p:nvPr>
            <p:ph type="title"/>
          </p:nvPr>
        </p:nvSpPr>
        <p:spPr/>
        <p:txBody>
          <a:bodyPr/>
          <a:lstStyle/>
          <a:p>
            <a:r>
              <a:rPr lang="en-US"/>
              <a:t>Click to edit Master title style</a:t>
            </a:r>
            <a:endParaRPr lang="en-AU"/>
          </a:p>
        </p:txBody>
      </p:sp>
      <p:sp>
        <p:nvSpPr>
          <p:cNvPr id="10" name="Footer Placeholder 9">
            <a:extLst>
              <a:ext uri="{FF2B5EF4-FFF2-40B4-BE49-F238E27FC236}">
                <a16:creationId xmlns:a16="http://schemas.microsoft.com/office/drawing/2014/main" id="{3023A2D1-C65D-4EC3-9138-FA2EC64531F9}"/>
              </a:ext>
            </a:extLst>
          </p:cNvPr>
          <p:cNvSpPr>
            <a:spLocks noGrp="1"/>
          </p:cNvSpPr>
          <p:nvPr>
            <p:ph type="ftr" sz="quarter" idx="37"/>
          </p:nvPr>
        </p:nvSpPr>
        <p:spPr/>
        <p:txBody>
          <a:bodyPr/>
          <a:lstStyle/>
          <a:p>
            <a:r>
              <a:rPr lang="en-AU"/>
              <a:t>Copyright © 2022 Accenture. All rights reserved.</a:t>
            </a:r>
          </a:p>
        </p:txBody>
      </p:sp>
      <p:sp>
        <p:nvSpPr>
          <p:cNvPr id="11" name="Slide Number Placeholder 10">
            <a:extLst>
              <a:ext uri="{FF2B5EF4-FFF2-40B4-BE49-F238E27FC236}">
                <a16:creationId xmlns:a16="http://schemas.microsoft.com/office/drawing/2014/main" id="{DECFDA50-AE1C-445B-B89C-211D9B440584}"/>
              </a:ext>
            </a:extLst>
          </p:cNvPr>
          <p:cNvSpPr>
            <a:spLocks noGrp="1"/>
          </p:cNvSpPr>
          <p:nvPr>
            <p:ph type="sldNum" sz="quarter" idx="38"/>
          </p:nvPr>
        </p:nvSpPr>
        <p:spPr/>
        <p:txBody>
          <a:bodyPr/>
          <a:lstStyle/>
          <a:p>
            <a:fld id="{FC1BBE33-A891-48E8-970C-4A8D55F96D53}" type="slidenum">
              <a:rPr lang="en-AU" smtClean="0"/>
              <a:pPr/>
              <a:t>‹#›</a:t>
            </a:fld>
            <a:endParaRPr lang="en-AU"/>
          </a:p>
        </p:txBody>
      </p:sp>
      <p:sp>
        <p:nvSpPr>
          <p:cNvPr id="4" name="Text Placeholder 3">
            <a:extLst>
              <a:ext uri="{FF2B5EF4-FFF2-40B4-BE49-F238E27FC236}">
                <a16:creationId xmlns:a16="http://schemas.microsoft.com/office/drawing/2014/main" id="{7F3F98DC-635B-4F7B-9683-E77B24BCA3C2}"/>
              </a:ext>
            </a:extLst>
          </p:cNvPr>
          <p:cNvSpPr>
            <a:spLocks noGrp="1"/>
          </p:cNvSpPr>
          <p:nvPr>
            <p:ph type="body" sz="quarter" idx="39"/>
          </p:nvPr>
        </p:nvSpPr>
        <p:spPr>
          <a:xfrm>
            <a:off x="338400" y="1768475"/>
            <a:ext cx="10040938" cy="4287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803818651"/>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Cover_AAI">
    <p:spTree>
      <p:nvGrpSpPr>
        <p:cNvPr id="1" name=""/>
        <p:cNvGrpSpPr/>
        <p:nvPr/>
      </p:nvGrpSpPr>
      <p:grpSpPr>
        <a:xfrm>
          <a:off x="0" y="0"/>
          <a:ext cx="0" cy="0"/>
          <a:chOff x="0" y="0"/>
          <a:chExt cx="0" cy="0"/>
        </a:xfrm>
      </p:grpSpPr>
      <p:pic>
        <p:nvPicPr>
          <p:cNvPr id="252" name="Acc_Digital_GTS_Dimensional">
            <a:extLst>
              <a:ext uri="{FF2B5EF4-FFF2-40B4-BE49-F238E27FC236}">
                <a16:creationId xmlns:a16="http://schemas.microsoft.com/office/drawing/2014/main" id="{1CDEFD3E-D011-491D-8FF0-FAAD0D1DAB87}"/>
              </a:ext>
            </a:extLst>
          </p:cNvPr>
          <p:cNvPicPr>
            <a:picLocks noChangeAspect="1"/>
          </p:cNvPicPr>
          <p:nvPr/>
        </p:nvPicPr>
        <p:blipFill>
          <a:blip r:embed="rId2"/>
          <a:stretch>
            <a:fillRect/>
          </a:stretch>
        </p:blipFill>
        <p:spPr>
          <a:xfrm>
            <a:off x="4575617" y="1325500"/>
            <a:ext cx="4309621" cy="4525102"/>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3"/>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4"/>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5"/>
          <a:stretch>
            <a:fillRect/>
          </a:stretch>
        </p:blipFill>
        <p:spPr>
          <a:xfrm>
            <a:off x="6962313" y="536683"/>
            <a:ext cx="4885200" cy="340009"/>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6"/>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7"/>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9"/>
          <a:stretch>
            <a:fillRect/>
          </a:stretch>
        </p:blipFill>
        <p:spPr>
          <a:xfrm>
            <a:off x="7751739" y="374650"/>
            <a:ext cx="1663200" cy="445737"/>
          </a:xfrm>
          <a:prstGeom prst="rect">
            <a:avLst/>
          </a:prstGeom>
        </p:spPr>
      </p:pic>
      <p:pic>
        <p:nvPicPr>
          <p:cNvPr id="304" name="Acc_CoreBrand_Logo_Black_Purple" hidden="1">
            <a:extLst>
              <a:ext uri="{FF2B5EF4-FFF2-40B4-BE49-F238E27FC236}">
                <a16:creationId xmlns:a16="http://schemas.microsoft.com/office/drawing/2014/main" id="{079A257B-549F-4450-95A9-7265440209B9}"/>
              </a:ext>
            </a:extLst>
          </p:cNvPr>
          <p:cNvPicPr>
            <a:picLocks noChangeAspect="1"/>
          </p:cNvPicPr>
          <p:nvPr/>
        </p:nvPicPr>
        <p:blipFill>
          <a:blip r:embed="rId10"/>
          <a:stretch>
            <a:fillRect/>
          </a:stretch>
        </p:blipFill>
        <p:spPr>
          <a:xfrm>
            <a:off x="7751739" y="374650"/>
            <a:ext cx="1663200" cy="445738"/>
          </a:xfrm>
          <a:prstGeom prst="rect">
            <a:avLst/>
          </a:prstGeom>
        </p:spPr>
      </p:pic>
      <p:pic>
        <p:nvPicPr>
          <p:cNvPr id="16" name="Acc_Applied_Intell_Wordmark_BLK Colour Positive">
            <a:extLst>
              <a:ext uri="{FF2B5EF4-FFF2-40B4-BE49-F238E27FC236}">
                <a16:creationId xmlns:a16="http://schemas.microsoft.com/office/drawing/2014/main" id="{DD70FCEB-3987-4187-BBE9-1EC58B70EF76}"/>
              </a:ext>
            </a:extLst>
          </p:cNvPr>
          <p:cNvPicPr>
            <a:picLocks noChangeAspect="1"/>
          </p:cNvPicPr>
          <p:nvPr userDrawn="1"/>
        </p:nvPicPr>
        <p:blipFill>
          <a:blip r:embed="rId11"/>
          <a:stretch>
            <a:fillRect/>
          </a:stretch>
        </p:blipFill>
        <p:spPr>
          <a:xfrm>
            <a:off x="1461439" y="716491"/>
            <a:ext cx="4885196" cy="347826"/>
          </a:xfrm>
          <a:prstGeom prst="rect">
            <a:avLst/>
          </a:prstGeom>
        </p:spPr>
      </p:pic>
      <p:sp>
        <p:nvSpPr>
          <p:cNvPr id="18" name="Subtitle (3rd Level)">
            <a:extLst>
              <a:ext uri="{FF2B5EF4-FFF2-40B4-BE49-F238E27FC236}">
                <a16:creationId xmlns:a16="http://schemas.microsoft.com/office/drawing/2014/main" id="{0C2B81EA-135C-422A-98D3-161C6DFFBD16}"/>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19" name="Long Subline">
            <a:extLst>
              <a:ext uri="{FF2B5EF4-FFF2-40B4-BE49-F238E27FC236}">
                <a16:creationId xmlns:a16="http://schemas.microsoft.com/office/drawing/2014/main" id="{C96C47DE-A3E5-48FF-AB1F-A97B04A58D9A}"/>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0" name="MasterTitle">
            <a:extLst>
              <a:ext uri="{FF2B5EF4-FFF2-40B4-BE49-F238E27FC236}">
                <a16:creationId xmlns:a16="http://schemas.microsoft.com/office/drawing/2014/main" id="{6AD8816D-567D-40E6-AC54-73465BA32FDB}"/>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380529668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10234C-451D-4E7A-978E-9149C22956ED}"/>
              </a:ext>
            </a:extLst>
          </p:cNvPr>
          <p:cNvSpPr>
            <a:spLocks noGrp="1"/>
          </p:cNvSpPr>
          <p:nvPr>
            <p:ph type="body" sz="quarter" idx="17"/>
          </p:nvPr>
        </p:nvSpPr>
        <p:spPr>
          <a:xfrm>
            <a:off x="338400" y="1767600"/>
            <a:ext cx="558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ext Placeholder 9">
            <a:extLst>
              <a:ext uri="{FF2B5EF4-FFF2-40B4-BE49-F238E27FC236}">
                <a16:creationId xmlns:a16="http://schemas.microsoft.com/office/drawing/2014/main" id="{68913FF3-5E8B-41AA-94A1-F4AA28FA516F}"/>
              </a:ext>
            </a:extLst>
          </p:cNvPr>
          <p:cNvSpPr>
            <a:spLocks noGrp="1"/>
          </p:cNvSpPr>
          <p:nvPr>
            <p:ph type="body" sz="quarter" idx="18"/>
          </p:nvPr>
        </p:nvSpPr>
        <p:spPr>
          <a:xfrm>
            <a:off x="6276975" y="1767600"/>
            <a:ext cx="5580000" cy="4316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64719E76-BEDC-463C-9517-95BA815CD6B2}"/>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1BF4C524-AF94-4A80-8063-8388F54DC77B}"/>
              </a:ext>
            </a:extLst>
          </p:cNvPr>
          <p:cNvSpPr>
            <a:spLocks noGrp="1"/>
          </p:cNvSpPr>
          <p:nvPr>
            <p:ph type="ftr" sz="quarter" idx="19"/>
          </p:nvPr>
        </p:nvSpPr>
        <p:spPr/>
        <p:txBody>
          <a:bodyPr/>
          <a:lstStyle/>
          <a:p>
            <a:r>
              <a:rPr lang="en-AU"/>
              <a:t>Copyright © 2022 Accenture. All rights reserved.</a:t>
            </a:r>
          </a:p>
        </p:txBody>
      </p:sp>
      <p:sp>
        <p:nvSpPr>
          <p:cNvPr id="11" name="Slide Number Placeholder 10">
            <a:extLst>
              <a:ext uri="{FF2B5EF4-FFF2-40B4-BE49-F238E27FC236}">
                <a16:creationId xmlns:a16="http://schemas.microsoft.com/office/drawing/2014/main" id="{7492DDDE-BB5A-4195-9F3F-CE3CFFE16511}"/>
              </a:ext>
            </a:extLst>
          </p:cNvPr>
          <p:cNvSpPr>
            <a:spLocks noGrp="1"/>
          </p:cNvSpPr>
          <p:nvPr>
            <p:ph type="sldNum" sz="quarter" idx="2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997386793"/>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Columns w/ Subtitl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4C416D66-6B95-48F7-9FB0-B95BAD09C35F}"/>
              </a:ext>
            </a:extLst>
          </p:cNvPr>
          <p:cNvSpPr>
            <a:spLocks noGrp="1"/>
          </p:cNvSpPr>
          <p:nvPr>
            <p:ph type="body" sz="quarter" idx="36" hasCustomPrompt="1"/>
          </p:nvPr>
        </p:nvSpPr>
        <p:spPr>
          <a:xfrm>
            <a:off x="3343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6D591809-FBD2-4002-800C-B479F8DF6C26}"/>
              </a:ext>
            </a:extLst>
          </p:cNvPr>
          <p:cNvSpPr>
            <a:spLocks noGrp="1"/>
          </p:cNvSpPr>
          <p:nvPr>
            <p:ph type="body" sz="quarter" idx="37"/>
          </p:nvPr>
        </p:nvSpPr>
        <p:spPr>
          <a:xfrm>
            <a:off x="338400" y="1768475"/>
            <a:ext cx="558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10">
            <a:extLst>
              <a:ext uri="{FF2B5EF4-FFF2-40B4-BE49-F238E27FC236}">
                <a16:creationId xmlns:a16="http://schemas.microsoft.com/office/drawing/2014/main" id="{F01527E2-5E08-409E-A34A-135B8A194FB4}"/>
              </a:ext>
            </a:extLst>
          </p:cNvPr>
          <p:cNvSpPr>
            <a:spLocks noGrp="1"/>
          </p:cNvSpPr>
          <p:nvPr>
            <p:ph type="body" sz="quarter" idx="38"/>
          </p:nvPr>
        </p:nvSpPr>
        <p:spPr>
          <a:xfrm>
            <a:off x="6276975" y="1768475"/>
            <a:ext cx="558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CDF3894F-D32A-461A-8F9F-91F1FA677EC8}"/>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E662AF41-A6DE-440F-A16E-393495629E00}"/>
              </a:ext>
            </a:extLst>
          </p:cNvPr>
          <p:cNvSpPr>
            <a:spLocks noGrp="1"/>
          </p:cNvSpPr>
          <p:nvPr>
            <p:ph type="ftr" sz="quarter" idx="39"/>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022822F4-B8E6-4CF8-9758-6A830A2BDB49}"/>
              </a:ext>
            </a:extLst>
          </p:cNvPr>
          <p:cNvSpPr>
            <a:spLocks noGrp="1"/>
          </p:cNvSpPr>
          <p:nvPr>
            <p:ph type="sldNum" sz="quarter" idx="4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543931955"/>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DF5F7E-7617-43D2-B152-68B0836A97F3}"/>
              </a:ext>
            </a:extLst>
          </p:cNvPr>
          <p:cNvSpPr>
            <a:spLocks noGrp="1"/>
          </p:cNvSpPr>
          <p:nvPr>
            <p:ph type="body" sz="quarter" idx="18"/>
          </p:nvPr>
        </p:nvSpPr>
        <p:spPr>
          <a:xfrm>
            <a:off x="338400"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8">
            <a:extLst>
              <a:ext uri="{FF2B5EF4-FFF2-40B4-BE49-F238E27FC236}">
                <a16:creationId xmlns:a16="http://schemas.microsoft.com/office/drawing/2014/main" id="{0EDA8E03-1102-4085-98C9-F9B61291BEE1}"/>
              </a:ext>
            </a:extLst>
          </p:cNvPr>
          <p:cNvSpPr>
            <a:spLocks noGrp="1"/>
          </p:cNvSpPr>
          <p:nvPr>
            <p:ph type="body" sz="quarter" idx="19"/>
          </p:nvPr>
        </p:nvSpPr>
        <p:spPr>
          <a:xfrm>
            <a:off x="4295206"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951F0277-50C4-4538-A470-D74334281397}"/>
              </a:ext>
            </a:extLst>
          </p:cNvPr>
          <p:cNvSpPr>
            <a:spLocks noGrp="1"/>
          </p:cNvSpPr>
          <p:nvPr>
            <p:ph type="body" sz="quarter" idx="20"/>
          </p:nvPr>
        </p:nvSpPr>
        <p:spPr>
          <a:xfrm>
            <a:off x="8253863"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3E378713-D495-46EE-AB11-18653C8646C3}"/>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E5E50A37-58B2-4C46-9EA5-96A8D4328EB2}"/>
              </a:ext>
            </a:extLst>
          </p:cNvPr>
          <p:cNvSpPr>
            <a:spLocks noGrp="1"/>
          </p:cNvSpPr>
          <p:nvPr>
            <p:ph type="ftr" sz="quarter" idx="21"/>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2E76689C-307C-47E7-B47E-FC97081C34C0}"/>
              </a:ext>
            </a:extLst>
          </p:cNvPr>
          <p:cNvSpPr>
            <a:spLocks noGrp="1"/>
          </p:cNvSpPr>
          <p:nvPr>
            <p:ph type="sldNum" sz="quarter" idx="22"/>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471280043"/>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Columns w/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71927D01-A3FF-4204-B5DF-4AE350A462FB}"/>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2961336A-DB63-44D5-9F70-939E9EAA3284}"/>
              </a:ext>
            </a:extLst>
          </p:cNvPr>
          <p:cNvSpPr>
            <a:spLocks noGrp="1"/>
          </p:cNvSpPr>
          <p:nvPr>
            <p:ph type="body" sz="quarter" idx="37"/>
          </p:nvPr>
        </p:nvSpPr>
        <p:spPr>
          <a:xfrm>
            <a:off x="338400"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1CA02F35-EE56-4849-A21F-FE8FB47E072A}"/>
              </a:ext>
            </a:extLst>
          </p:cNvPr>
          <p:cNvSpPr>
            <a:spLocks noGrp="1"/>
          </p:cNvSpPr>
          <p:nvPr>
            <p:ph type="body" sz="quarter" idx="38"/>
          </p:nvPr>
        </p:nvSpPr>
        <p:spPr>
          <a:xfrm>
            <a:off x="4295206"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F34A3A8E-78C1-429B-81CB-462EB30FE36C}"/>
              </a:ext>
            </a:extLst>
          </p:cNvPr>
          <p:cNvSpPr>
            <a:spLocks noGrp="1"/>
          </p:cNvSpPr>
          <p:nvPr>
            <p:ph type="body" sz="quarter" idx="39"/>
          </p:nvPr>
        </p:nvSpPr>
        <p:spPr>
          <a:xfrm>
            <a:off x="8253863" y="1767600"/>
            <a:ext cx="360000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947E6781-E937-4452-AD98-B8390446E228}"/>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9A796FBB-EF97-413E-8F88-AFEB1B667072}"/>
              </a:ext>
            </a:extLst>
          </p:cNvPr>
          <p:cNvSpPr>
            <a:spLocks noGrp="1"/>
          </p:cNvSpPr>
          <p:nvPr>
            <p:ph type="ftr" sz="quarter" idx="40"/>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36A87F1D-8649-4B7C-8B0E-FFBCD0846A80}"/>
              </a:ext>
            </a:extLst>
          </p:cNvPr>
          <p:cNvSpPr>
            <a:spLocks noGrp="1"/>
          </p:cNvSpPr>
          <p:nvPr>
            <p:ph type="sldNum" sz="quarter" idx="4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260625148"/>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BCCC7A-68E4-4E03-92B9-2F16859B8F1A}"/>
              </a:ext>
            </a:extLst>
          </p:cNvPr>
          <p:cNvSpPr>
            <a:spLocks noGrp="1"/>
          </p:cNvSpPr>
          <p:nvPr>
            <p:ph type="body" sz="quarter" idx="20"/>
          </p:nvPr>
        </p:nvSpPr>
        <p:spPr>
          <a:xfrm>
            <a:off x="338400" y="1768474"/>
            <a:ext cx="2610000" cy="4290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91817992-8025-44C1-9430-783EF1712E91}"/>
              </a:ext>
            </a:extLst>
          </p:cNvPr>
          <p:cNvSpPr>
            <a:spLocks noGrp="1"/>
          </p:cNvSpPr>
          <p:nvPr>
            <p:ph type="body" sz="quarter" idx="21"/>
          </p:nvPr>
        </p:nvSpPr>
        <p:spPr>
          <a:xfrm>
            <a:off x="3305704" y="1768474"/>
            <a:ext cx="2610000" cy="4290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C138640E-65FD-4FA0-9E03-7B0A3EF3DD95}"/>
              </a:ext>
            </a:extLst>
          </p:cNvPr>
          <p:cNvSpPr>
            <a:spLocks noGrp="1"/>
          </p:cNvSpPr>
          <p:nvPr>
            <p:ph type="body" sz="quarter" idx="22"/>
          </p:nvPr>
        </p:nvSpPr>
        <p:spPr>
          <a:xfrm>
            <a:off x="6274858" y="1768474"/>
            <a:ext cx="2610000" cy="4290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5">
            <a:extLst>
              <a:ext uri="{FF2B5EF4-FFF2-40B4-BE49-F238E27FC236}">
                <a16:creationId xmlns:a16="http://schemas.microsoft.com/office/drawing/2014/main" id="{5513F801-D534-4721-9EA9-2FC967CD43EB}"/>
              </a:ext>
            </a:extLst>
          </p:cNvPr>
          <p:cNvSpPr>
            <a:spLocks noGrp="1"/>
          </p:cNvSpPr>
          <p:nvPr>
            <p:ph type="body" sz="quarter" idx="23"/>
          </p:nvPr>
        </p:nvSpPr>
        <p:spPr>
          <a:xfrm>
            <a:off x="9244013" y="1768474"/>
            <a:ext cx="2610000" cy="4290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C709D63F-1F3A-43D6-B8F8-DF18D19DD45D}"/>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5539AEBB-8BA2-4290-8748-3DCE393547C2}"/>
              </a:ext>
            </a:extLst>
          </p:cNvPr>
          <p:cNvSpPr>
            <a:spLocks noGrp="1"/>
          </p:cNvSpPr>
          <p:nvPr>
            <p:ph type="ftr" sz="quarter" idx="24"/>
          </p:nvPr>
        </p:nvSpPr>
        <p:spPr/>
        <p:txBody>
          <a:bodyPr/>
          <a:lstStyle/>
          <a:p>
            <a:r>
              <a:rPr lang="en-AU"/>
              <a:t>Copyright © 2022 Accenture. All rights reserved.</a:t>
            </a:r>
          </a:p>
        </p:txBody>
      </p:sp>
      <p:sp>
        <p:nvSpPr>
          <p:cNvPr id="9" name="Slide Number Placeholder 8">
            <a:extLst>
              <a:ext uri="{FF2B5EF4-FFF2-40B4-BE49-F238E27FC236}">
                <a16:creationId xmlns:a16="http://schemas.microsoft.com/office/drawing/2014/main" id="{60940125-B1DC-4A1C-84EA-4B997D9AF690}"/>
              </a:ext>
            </a:extLst>
          </p:cNvPr>
          <p:cNvSpPr>
            <a:spLocks noGrp="1"/>
          </p:cNvSpPr>
          <p:nvPr>
            <p:ph type="sldNum" sz="quarter" idx="25"/>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247441792"/>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lumns w/ Subtitle">
    <p:spTree>
      <p:nvGrpSpPr>
        <p:cNvPr id="1" name=""/>
        <p:cNvGrpSpPr/>
        <p:nvPr/>
      </p:nvGrpSpPr>
      <p:grpSpPr>
        <a:xfrm>
          <a:off x="0" y="0"/>
          <a:ext cx="0" cy="0"/>
          <a:chOff x="0" y="0"/>
          <a:chExt cx="0" cy="0"/>
        </a:xfrm>
      </p:grpSpPr>
      <p:sp>
        <p:nvSpPr>
          <p:cNvPr id="12" name="Subtitle">
            <a:extLst>
              <a:ext uri="{FF2B5EF4-FFF2-40B4-BE49-F238E27FC236}">
                <a16:creationId xmlns:a16="http://schemas.microsoft.com/office/drawing/2014/main" id="{09EF6935-AFD7-46C0-B8DC-F4109159682D}"/>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A2F4F5BF-4E2E-4D86-B75C-35937637B61F}"/>
              </a:ext>
            </a:extLst>
          </p:cNvPr>
          <p:cNvSpPr>
            <a:spLocks noGrp="1"/>
          </p:cNvSpPr>
          <p:nvPr>
            <p:ph type="body" sz="quarter" idx="37"/>
          </p:nvPr>
        </p:nvSpPr>
        <p:spPr>
          <a:xfrm>
            <a:off x="338400" y="1768475"/>
            <a:ext cx="2610000" cy="4288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CBBBC69B-9A11-44B1-A28B-C16CE648CAE0}"/>
              </a:ext>
            </a:extLst>
          </p:cNvPr>
          <p:cNvSpPr>
            <a:spLocks noGrp="1"/>
          </p:cNvSpPr>
          <p:nvPr>
            <p:ph type="body" sz="quarter" idx="38"/>
          </p:nvPr>
        </p:nvSpPr>
        <p:spPr>
          <a:xfrm>
            <a:off x="3304646" y="1768475"/>
            <a:ext cx="2610000" cy="4288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ext Placeholder 14">
            <a:extLst>
              <a:ext uri="{FF2B5EF4-FFF2-40B4-BE49-F238E27FC236}">
                <a16:creationId xmlns:a16="http://schemas.microsoft.com/office/drawing/2014/main" id="{D7D24D54-FB3A-4E7C-A46D-CDA62FD434CF}"/>
              </a:ext>
            </a:extLst>
          </p:cNvPr>
          <p:cNvSpPr>
            <a:spLocks noGrp="1"/>
          </p:cNvSpPr>
          <p:nvPr>
            <p:ph type="body" sz="quarter" idx="39"/>
          </p:nvPr>
        </p:nvSpPr>
        <p:spPr>
          <a:xfrm>
            <a:off x="6274329" y="1768475"/>
            <a:ext cx="2610000" cy="4288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16">
            <a:extLst>
              <a:ext uri="{FF2B5EF4-FFF2-40B4-BE49-F238E27FC236}">
                <a16:creationId xmlns:a16="http://schemas.microsoft.com/office/drawing/2014/main" id="{22956896-6D0F-409C-B6B8-FF6CA16AFD1D}"/>
              </a:ext>
            </a:extLst>
          </p:cNvPr>
          <p:cNvSpPr>
            <a:spLocks noGrp="1"/>
          </p:cNvSpPr>
          <p:nvPr>
            <p:ph type="body" sz="quarter" idx="40"/>
          </p:nvPr>
        </p:nvSpPr>
        <p:spPr>
          <a:xfrm>
            <a:off x="9244013" y="1768475"/>
            <a:ext cx="2610000" cy="4288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68E71F09-8572-41E0-BD00-542A07734DB1}"/>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AFB31E44-D141-421B-93F1-405254FA9264}"/>
              </a:ext>
            </a:extLst>
          </p:cNvPr>
          <p:cNvSpPr>
            <a:spLocks noGrp="1"/>
          </p:cNvSpPr>
          <p:nvPr>
            <p:ph type="ftr" sz="quarter" idx="41"/>
          </p:nvPr>
        </p:nvSpPr>
        <p:spPr/>
        <p:txBody>
          <a:bodyPr/>
          <a:lstStyle/>
          <a:p>
            <a:r>
              <a:rPr lang="en-AU"/>
              <a:t>Copyright © 2022 Accenture. All rights reserved.</a:t>
            </a:r>
          </a:p>
        </p:txBody>
      </p:sp>
      <p:sp>
        <p:nvSpPr>
          <p:cNvPr id="9" name="Slide Number Placeholder 8">
            <a:extLst>
              <a:ext uri="{FF2B5EF4-FFF2-40B4-BE49-F238E27FC236}">
                <a16:creationId xmlns:a16="http://schemas.microsoft.com/office/drawing/2014/main" id="{703C39CA-D8D6-4334-8D3A-44E288D150F2}"/>
              </a:ext>
            </a:extLst>
          </p:cNvPr>
          <p:cNvSpPr>
            <a:spLocks noGrp="1"/>
          </p:cNvSpPr>
          <p:nvPr>
            <p:ph type="sldNum" sz="quarter" idx="42"/>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392033268"/>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A74989-BEF5-42BA-A4DD-05E4DC35E650}"/>
              </a:ext>
            </a:extLst>
          </p:cNvPr>
          <p:cNvSpPr>
            <a:spLocks noGrp="1"/>
          </p:cNvSpPr>
          <p:nvPr>
            <p:ph type="body" sz="quarter" idx="21"/>
          </p:nvPr>
        </p:nvSpPr>
        <p:spPr>
          <a:xfrm>
            <a:off x="338400" y="1767600"/>
            <a:ext cx="409575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7">
            <a:extLst>
              <a:ext uri="{FF2B5EF4-FFF2-40B4-BE49-F238E27FC236}">
                <a16:creationId xmlns:a16="http://schemas.microsoft.com/office/drawing/2014/main" id="{E15866A6-5FB6-4879-B190-D941386C0FD9}"/>
              </a:ext>
            </a:extLst>
          </p:cNvPr>
          <p:cNvSpPr>
            <a:spLocks noGrp="1"/>
          </p:cNvSpPr>
          <p:nvPr>
            <p:ph sz="quarter" idx="22"/>
          </p:nvPr>
        </p:nvSpPr>
        <p:spPr>
          <a:xfrm>
            <a:off x="4791075" y="1767600"/>
            <a:ext cx="7070725" cy="4292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3A1C9CC4-B2BA-4102-9EEB-D7E285B47863}"/>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719D54EB-CADD-42A3-BBC1-D1CFE5934999}"/>
              </a:ext>
            </a:extLst>
          </p:cNvPr>
          <p:cNvSpPr>
            <a:spLocks noGrp="1"/>
          </p:cNvSpPr>
          <p:nvPr>
            <p:ph type="ftr" sz="quarter" idx="23"/>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922603A8-8037-46E2-A571-F0BF43FF0FD3}"/>
              </a:ext>
            </a:extLst>
          </p:cNvPr>
          <p:cNvSpPr>
            <a:spLocks noGrp="1"/>
          </p:cNvSpPr>
          <p:nvPr>
            <p:ph type="sldNum" sz="quarter" idx="24"/>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4173911730"/>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py &amp; content (chart, picture) w/ Subtitle">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3AF63B48-9B81-462E-A24C-7037069CBAF0}"/>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ext Placeholder 2">
            <a:extLst>
              <a:ext uri="{FF2B5EF4-FFF2-40B4-BE49-F238E27FC236}">
                <a16:creationId xmlns:a16="http://schemas.microsoft.com/office/drawing/2014/main" id="{B39FA043-6343-4D03-814F-5850BF226E9E}"/>
              </a:ext>
            </a:extLst>
          </p:cNvPr>
          <p:cNvSpPr>
            <a:spLocks noGrp="1"/>
          </p:cNvSpPr>
          <p:nvPr>
            <p:ph type="body" sz="quarter" idx="37"/>
          </p:nvPr>
        </p:nvSpPr>
        <p:spPr>
          <a:xfrm>
            <a:off x="338400" y="1767600"/>
            <a:ext cx="4095750"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9">
            <a:extLst>
              <a:ext uri="{FF2B5EF4-FFF2-40B4-BE49-F238E27FC236}">
                <a16:creationId xmlns:a16="http://schemas.microsoft.com/office/drawing/2014/main" id="{7CD48AF5-9262-4894-95BB-043B9ECC4D65}"/>
              </a:ext>
            </a:extLst>
          </p:cNvPr>
          <p:cNvSpPr>
            <a:spLocks noGrp="1"/>
          </p:cNvSpPr>
          <p:nvPr>
            <p:ph sz="quarter" idx="38"/>
          </p:nvPr>
        </p:nvSpPr>
        <p:spPr>
          <a:xfrm>
            <a:off x="4791075" y="1767600"/>
            <a:ext cx="7070725" cy="429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85F85D90-5D5F-4A12-B996-AA758A7B5DD2}"/>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17DA509D-0406-4B0C-8BC4-705FCD33420F}"/>
              </a:ext>
            </a:extLst>
          </p:cNvPr>
          <p:cNvSpPr>
            <a:spLocks noGrp="1"/>
          </p:cNvSpPr>
          <p:nvPr>
            <p:ph type="ftr" sz="quarter" idx="39"/>
          </p:nvPr>
        </p:nvSpPr>
        <p:spPr/>
        <p:txBody>
          <a:bodyPr/>
          <a:lstStyle/>
          <a:p>
            <a:r>
              <a:rPr lang="en-AU"/>
              <a:t>Copyright © 2022 Accenture. All rights reserved.</a:t>
            </a:r>
          </a:p>
        </p:txBody>
      </p:sp>
      <p:sp>
        <p:nvSpPr>
          <p:cNvPr id="11" name="Slide Number Placeholder 10">
            <a:extLst>
              <a:ext uri="{FF2B5EF4-FFF2-40B4-BE49-F238E27FC236}">
                <a16:creationId xmlns:a16="http://schemas.microsoft.com/office/drawing/2014/main" id="{2EFDAAB1-E37F-4D77-B44A-9C59D3AA4E52}"/>
              </a:ext>
            </a:extLst>
          </p:cNvPr>
          <p:cNvSpPr>
            <a:spLocks noGrp="1"/>
          </p:cNvSpPr>
          <p:nvPr>
            <p:ph type="sldNum" sz="quarter" idx="4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21103901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80826-A7D7-4F3F-ACE9-2F388BD096D0}"/>
              </a:ext>
            </a:extLst>
          </p:cNvPr>
          <p:cNvSpPr>
            <a:spLocks noGrp="1"/>
          </p:cNvSpPr>
          <p:nvPr>
            <p:ph type="title"/>
          </p:nvPr>
        </p:nvSpPr>
        <p:spPr/>
        <p:txBody>
          <a:bodyPr/>
          <a:lstStyle/>
          <a:p>
            <a:r>
              <a:rPr lang="en-US"/>
              <a:t>Click to edit Master title style</a:t>
            </a:r>
            <a:endParaRPr lang="en-AU"/>
          </a:p>
        </p:txBody>
      </p:sp>
      <p:sp>
        <p:nvSpPr>
          <p:cNvPr id="7" name="Footer Placeholder 6">
            <a:extLst>
              <a:ext uri="{FF2B5EF4-FFF2-40B4-BE49-F238E27FC236}">
                <a16:creationId xmlns:a16="http://schemas.microsoft.com/office/drawing/2014/main" id="{CAFF5546-AE35-4C7F-AF06-30931F8FFF15}"/>
              </a:ext>
            </a:extLst>
          </p:cNvPr>
          <p:cNvSpPr>
            <a:spLocks noGrp="1"/>
          </p:cNvSpPr>
          <p:nvPr>
            <p:ph type="ftr" sz="quarter" idx="10"/>
          </p:nvPr>
        </p:nvSpPr>
        <p:spPr/>
        <p:txBody>
          <a:bodyPr/>
          <a:lstStyle/>
          <a:p>
            <a:r>
              <a:rPr lang="en-AU"/>
              <a:t>Copyright © 2022 Accenture. All rights reserved.</a:t>
            </a:r>
          </a:p>
        </p:txBody>
      </p:sp>
      <p:sp>
        <p:nvSpPr>
          <p:cNvPr id="8" name="Slide Number Placeholder 7">
            <a:extLst>
              <a:ext uri="{FF2B5EF4-FFF2-40B4-BE49-F238E27FC236}">
                <a16:creationId xmlns:a16="http://schemas.microsoft.com/office/drawing/2014/main" id="{BF61DA7F-EC1D-415C-8A25-1CF5DBF4CF54}"/>
              </a:ext>
            </a:extLst>
          </p:cNvPr>
          <p:cNvSpPr>
            <a:spLocks noGrp="1"/>
          </p:cNvSpPr>
          <p:nvPr>
            <p:ph type="sldNum" sz="quarter" idx="1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470949369"/>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80826-A7D7-4F3F-ACE9-2F388BD096D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7" name="Footer Placeholder 6">
            <a:extLst>
              <a:ext uri="{FF2B5EF4-FFF2-40B4-BE49-F238E27FC236}">
                <a16:creationId xmlns:a16="http://schemas.microsoft.com/office/drawing/2014/main" id="{CAFF5546-AE35-4C7F-AF06-30931F8FFF15}"/>
              </a:ext>
            </a:extLst>
          </p:cNvPr>
          <p:cNvSpPr>
            <a:spLocks noGrp="1"/>
          </p:cNvSpPr>
          <p:nvPr>
            <p:ph type="ftr" sz="quarter" idx="10"/>
          </p:nvPr>
        </p:nvSpPr>
        <p:spPr/>
        <p:txBody>
          <a:bodyPr/>
          <a:lstStyle>
            <a:lvl1pPr>
              <a:defRPr>
                <a:solidFill>
                  <a:schemeClr val="bg1">
                    <a:alpha val="50000"/>
                  </a:schemeClr>
                </a:solidFill>
              </a:defRPr>
            </a:lvl1pPr>
          </a:lstStyle>
          <a:p>
            <a:r>
              <a:rPr lang="en-AU"/>
              <a:t>Copyright © 2022 Accenture. All rights reserved.</a:t>
            </a:r>
          </a:p>
        </p:txBody>
      </p:sp>
      <p:sp>
        <p:nvSpPr>
          <p:cNvPr id="8" name="Slide Number Placeholder 7">
            <a:extLst>
              <a:ext uri="{FF2B5EF4-FFF2-40B4-BE49-F238E27FC236}">
                <a16:creationId xmlns:a16="http://schemas.microsoft.com/office/drawing/2014/main" id="{BF61DA7F-EC1D-415C-8A25-1CF5DBF4CF54}"/>
              </a:ext>
            </a:extLst>
          </p:cNvPr>
          <p:cNvSpPr>
            <a:spLocks noGrp="1"/>
          </p:cNvSpPr>
          <p:nvPr>
            <p:ph type="sldNum" sz="quarter" idx="11"/>
          </p:nvPr>
        </p:nvSpPr>
        <p:spPr/>
        <p:txBody>
          <a:bodyPr/>
          <a:lstStyle>
            <a:lvl1pPr>
              <a:defRPr>
                <a:solidFill>
                  <a:schemeClr val="bg1">
                    <a:alpha val="50000"/>
                  </a:schemeClr>
                </a:solidFill>
              </a:defRPr>
            </a:lvl1pPr>
          </a:lstStyle>
          <a:p>
            <a:fld id="{FC1BBE33-A891-48E8-970C-4A8D55F96D53}" type="slidenum">
              <a:rPr lang="en-AU" smtClean="0"/>
              <a:pPr/>
              <a:t>‹#›</a:t>
            </a:fld>
            <a:endParaRPr lang="en-AU"/>
          </a:p>
        </p:txBody>
      </p:sp>
      <p:sp>
        <p:nvSpPr>
          <p:cNvPr id="5" name="Subtitle">
            <a:extLst>
              <a:ext uri="{FF2B5EF4-FFF2-40B4-BE49-F238E27FC236}">
                <a16:creationId xmlns:a16="http://schemas.microsoft.com/office/drawing/2014/main" id="{7D1D24C0-8A12-4E0D-89BF-B291CCDB0915}"/>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bg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210060340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7_Cover_Master Bra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1856A7-D3D6-4451-90C3-DD82CB5603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Acc_Digital_GTS_Dimensional">
            <a:extLst>
              <a:ext uri="{FF2B5EF4-FFF2-40B4-BE49-F238E27FC236}">
                <a16:creationId xmlns:a16="http://schemas.microsoft.com/office/drawing/2014/main" id="{93BD90F4-EA79-4EFE-AB2D-30060EE7DA9A}"/>
              </a:ext>
            </a:extLst>
          </p:cNvPr>
          <p:cNvPicPr>
            <a:picLocks noChangeAspect="1"/>
          </p:cNvPicPr>
          <p:nvPr userDrawn="1"/>
        </p:nvPicPr>
        <p:blipFill>
          <a:blip r:embed="rId3"/>
          <a:stretch>
            <a:fillRect/>
          </a:stretch>
        </p:blipFill>
        <p:spPr>
          <a:xfrm>
            <a:off x="4575617" y="1325500"/>
            <a:ext cx="4309621" cy="4525102"/>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sp>
        <p:nvSpPr>
          <p:cNvPr id="23" name="Subtitle (3rd Level)">
            <a:extLst>
              <a:ext uri="{FF2B5EF4-FFF2-40B4-BE49-F238E27FC236}">
                <a16:creationId xmlns:a16="http://schemas.microsoft.com/office/drawing/2014/main" id="{03A58A35-020C-427D-B1BB-3AA03146F4FE}"/>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4" name="Long Subline">
            <a:extLst>
              <a:ext uri="{FF2B5EF4-FFF2-40B4-BE49-F238E27FC236}">
                <a16:creationId xmlns:a16="http://schemas.microsoft.com/office/drawing/2014/main" id="{D271ADC0-D732-47C5-893B-8A0669EEE681}"/>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5" name="MasterTitle">
            <a:extLst>
              <a:ext uri="{FF2B5EF4-FFF2-40B4-BE49-F238E27FC236}">
                <a16:creationId xmlns:a16="http://schemas.microsoft.com/office/drawing/2014/main" id="{71C42D6A-87CA-464F-86F2-1711BDDB50B1}"/>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6" name="Acc_Applied_Intell_Wordmark_BLK Colour Positive">
            <a:extLst>
              <a:ext uri="{FF2B5EF4-FFF2-40B4-BE49-F238E27FC236}">
                <a16:creationId xmlns:a16="http://schemas.microsoft.com/office/drawing/2014/main" id="{B1098182-5756-444F-9383-1459C58AA019}"/>
              </a:ext>
            </a:extLst>
          </p:cNvPr>
          <p:cNvPicPr>
            <a:picLocks noChangeAspect="1"/>
          </p:cNvPicPr>
          <p:nvPr userDrawn="1"/>
        </p:nvPicPr>
        <p:blipFill>
          <a:blip r:embed="rId7">
            <a:biLevel thresh="75000"/>
          </a:blip>
          <a:stretch>
            <a:fillRect/>
          </a:stretch>
        </p:blipFill>
        <p:spPr>
          <a:xfrm>
            <a:off x="1461439" y="716491"/>
            <a:ext cx="4885196" cy="347826"/>
          </a:xfrm>
          <a:prstGeom prst="rect">
            <a:avLst/>
          </a:prstGeom>
        </p:spPr>
      </p:pic>
    </p:spTree>
    <p:extLst>
      <p:ext uri="{BB962C8B-B14F-4D97-AF65-F5344CB8AC3E}">
        <p14:creationId xmlns:p14="http://schemas.microsoft.com/office/powerpoint/2010/main" val="2937413978"/>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w/ Subtitle">
    <p:spTree>
      <p:nvGrpSpPr>
        <p:cNvPr id="1" name=""/>
        <p:cNvGrpSpPr/>
        <p:nvPr/>
      </p:nvGrpSpPr>
      <p:grpSpPr>
        <a:xfrm>
          <a:off x="0" y="0"/>
          <a:ext cx="0" cy="0"/>
          <a:chOff x="0" y="0"/>
          <a:chExt cx="0" cy="0"/>
        </a:xfrm>
      </p:grpSpPr>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3" name="Title 2">
            <a:extLst>
              <a:ext uri="{FF2B5EF4-FFF2-40B4-BE49-F238E27FC236}">
                <a16:creationId xmlns:a16="http://schemas.microsoft.com/office/drawing/2014/main" id="{55E9E677-7C6B-462C-9193-311E902B79DD}"/>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DD274E69-7B69-4385-946C-6FF0B68DB8B5}"/>
              </a:ext>
            </a:extLst>
          </p:cNvPr>
          <p:cNvSpPr>
            <a:spLocks noGrp="1"/>
          </p:cNvSpPr>
          <p:nvPr>
            <p:ph type="ftr" sz="quarter" idx="37"/>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719E2DBE-8B18-4E2E-AE9F-7700CC37B66E}"/>
              </a:ext>
            </a:extLst>
          </p:cNvPr>
          <p:cNvSpPr>
            <a:spLocks noGrp="1"/>
          </p:cNvSpPr>
          <p:nvPr>
            <p:ph type="sldNum" sz="quarter" idx="38"/>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845765118"/>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6FC1DECF-4A5B-46E3-96BE-99BCA85D43AF}"/>
              </a:ext>
            </a:extLst>
          </p:cNvPr>
          <p:cNvSpPr>
            <a:spLocks noGrp="1"/>
          </p:cNvSpPr>
          <p:nvPr>
            <p:ph type="ftr" sz="quarter" idx="10"/>
          </p:nvPr>
        </p:nvSpPr>
        <p:spPr/>
        <p:txBody>
          <a:bodyPr/>
          <a:lstStyle/>
          <a:p>
            <a:r>
              <a:rPr lang="en-AU"/>
              <a:t>Copyright © 2022 Accenture. All rights reserved.</a:t>
            </a:r>
          </a:p>
        </p:txBody>
      </p:sp>
      <p:sp>
        <p:nvSpPr>
          <p:cNvPr id="7" name="Slide Number Placeholder 6">
            <a:extLst>
              <a:ext uri="{FF2B5EF4-FFF2-40B4-BE49-F238E27FC236}">
                <a16:creationId xmlns:a16="http://schemas.microsoft.com/office/drawing/2014/main" id="{484E4A18-7598-494B-AD35-4B65735C10FF}"/>
              </a:ext>
            </a:extLst>
          </p:cNvPr>
          <p:cNvSpPr>
            <a:spLocks noGrp="1"/>
          </p:cNvSpPr>
          <p:nvPr>
            <p:ph type="sldNum" sz="quarter" idx="1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041620733"/>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redentials with outcomees">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748FC084-018E-4E2A-A12F-D444FACD0D65}"/>
              </a:ext>
            </a:extLst>
          </p:cNvPr>
          <p:cNvSpPr>
            <a:spLocks noGrp="1"/>
          </p:cNvSpPr>
          <p:nvPr>
            <p:ph type="body" sz="quarter" idx="43" hasCustomPrompt="1"/>
          </p:nvPr>
        </p:nvSpPr>
        <p:spPr>
          <a:xfrm>
            <a:off x="673274" y="4154849"/>
            <a:ext cx="2106857" cy="1901464"/>
          </a:xfrm>
          <a:solidFill>
            <a:schemeClr val="bg1">
              <a:lumMod val="95000"/>
            </a:schemeClr>
          </a:solidFill>
        </p:spPr>
        <p:txBody>
          <a:bodyPr wrap="square" lIns="108000" tIns="792000" rIns="108000" bIns="216000" rtlCol="0" anchor="t" anchorCtr="0">
            <a:noAutofit/>
          </a:bodyPr>
          <a:lstStyle>
            <a:lvl1pPr>
              <a:lnSpc>
                <a:spcPct val="100000"/>
              </a:lnSpc>
              <a:defRPr lang="en-US" sz="1400" b="0" dirty="0" smtClean="0">
                <a:solidFill>
                  <a:schemeClr val="tx1"/>
                </a:solidFill>
              </a:defRPr>
            </a:lvl1pPr>
            <a:lvl2pPr>
              <a:lnSpc>
                <a:spcPct val="100000"/>
              </a:lnSpc>
              <a:defRPr lang="en-AU" sz="1400" b="0" dirty="0">
                <a:solidFill>
                  <a:schemeClr val="tx1"/>
                </a:solidFill>
              </a:defRPr>
            </a:lvl2pPr>
          </a:lstStyle>
          <a:p>
            <a:pPr lvl="0" defTabSz="913851"/>
            <a:r>
              <a:rPr lang="en-US"/>
              <a:t>Edit Master text styles</a:t>
            </a:r>
          </a:p>
          <a:p>
            <a:pPr marL="457200" lvl="1"/>
            <a:endParaRPr lang="en-AU"/>
          </a:p>
        </p:txBody>
      </p:sp>
      <p:sp>
        <p:nvSpPr>
          <p:cNvPr id="21" name="Text Placeholder 3">
            <a:extLst>
              <a:ext uri="{FF2B5EF4-FFF2-40B4-BE49-F238E27FC236}">
                <a16:creationId xmlns:a16="http://schemas.microsoft.com/office/drawing/2014/main" id="{C7D0E5F2-CCB7-4A31-883A-94B45B5E2D9E}"/>
              </a:ext>
            </a:extLst>
          </p:cNvPr>
          <p:cNvSpPr>
            <a:spLocks noGrp="1"/>
          </p:cNvSpPr>
          <p:nvPr>
            <p:ph type="body" sz="quarter" idx="44" hasCustomPrompt="1"/>
          </p:nvPr>
        </p:nvSpPr>
        <p:spPr>
          <a:xfrm>
            <a:off x="2900328" y="4154849"/>
            <a:ext cx="2106857" cy="1901464"/>
          </a:xfrm>
          <a:solidFill>
            <a:schemeClr val="bg1">
              <a:lumMod val="95000"/>
            </a:schemeClr>
          </a:solidFill>
        </p:spPr>
        <p:txBody>
          <a:bodyPr wrap="square" lIns="108000" tIns="792000" rIns="108000" bIns="216000" rtlCol="0" anchor="t" anchorCtr="0">
            <a:noAutofit/>
          </a:bodyPr>
          <a:lstStyle>
            <a:lvl1pPr>
              <a:lnSpc>
                <a:spcPct val="100000"/>
              </a:lnSpc>
              <a:defRPr lang="en-US" sz="1400" b="0" dirty="0" smtClean="0">
                <a:solidFill>
                  <a:schemeClr val="tx1"/>
                </a:solidFill>
              </a:defRPr>
            </a:lvl1pPr>
            <a:lvl2pPr>
              <a:lnSpc>
                <a:spcPct val="100000"/>
              </a:lnSpc>
              <a:defRPr lang="en-AU" sz="1400" b="0" dirty="0">
                <a:solidFill>
                  <a:schemeClr val="tx1"/>
                </a:solidFill>
              </a:defRPr>
            </a:lvl2pPr>
          </a:lstStyle>
          <a:p>
            <a:pPr lvl="0" defTabSz="913851"/>
            <a:r>
              <a:rPr lang="en-US"/>
              <a:t>Edit Master text styles</a:t>
            </a:r>
          </a:p>
          <a:p>
            <a:pPr marL="457200" lvl="1"/>
            <a:endParaRPr lang="en-AU"/>
          </a:p>
        </p:txBody>
      </p:sp>
      <p:sp>
        <p:nvSpPr>
          <p:cNvPr id="22" name="Text Placeholder 3">
            <a:extLst>
              <a:ext uri="{FF2B5EF4-FFF2-40B4-BE49-F238E27FC236}">
                <a16:creationId xmlns:a16="http://schemas.microsoft.com/office/drawing/2014/main" id="{AF589897-742F-42D7-97DC-C6FBE4FC4DAE}"/>
              </a:ext>
            </a:extLst>
          </p:cNvPr>
          <p:cNvSpPr>
            <a:spLocks noGrp="1"/>
          </p:cNvSpPr>
          <p:nvPr>
            <p:ph type="body" sz="quarter" idx="45" hasCustomPrompt="1"/>
          </p:nvPr>
        </p:nvSpPr>
        <p:spPr>
          <a:xfrm>
            <a:off x="5127381" y="4154849"/>
            <a:ext cx="2106857" cy="1901464"/>
          </a:xfrm>
          <a:solidFill>
            <a:schemeClr val="bg1">
              <a:lumMod val="95000"/>
            </a:schemeClr>
          </a:solidFill>
        </p:spPr>
        <p:txBody>
          <a:bodyPr wrap="square" lIns="108000" tIns="792000" rIns="108000" bIns="216000" rtlCol="0" anchor="t" anchorCtr="0">
            <a:noAutofit/>
          </a:bodyPr>
          <a:lstStyle>
            <a:lvl1pPr>
              <a:lnSpc>
                <a:spcPct val="100000"/>
              </a:lnSpc>
              <a:defRPr lang="en-US" sz="1400" b="0" dirty="0" smtClean="0">
                <a:solidFill>
                  <a:schemeClr val="tx1"/>
                </a:solidFill>
              </a:defRPr>
            </a:lvl1pPr>
            <a:lvl2pPr>
              <a:lnSpc>
                <a:spcPct val="100000"/>
              </a:lnSpc>
              <a:defRPr lang="en-AU" sz="1400" b="0" dirty="0">
                <a:solidFill>
                  <a:schemeClr val="tx1"/>
                </a:solidFill>
              </a:defRPr>
            </a:lvl2pPr>
          </a:lstStyle>
          <a:p>
            <a:pPr lvl="0" defTabSz="913851"/>
            <a:r>
              <a:rPr lang="en-US"/>
              <a:t>Edit Master text styles</a:t>
            </a:r>
          </a:p>
          <a:p>
            <a:pPr marL="457200" lvl="1"/>
            <a:endParaRPr lang="en-AU"/>
          </a:p>
        </p:txBody>
      </p:sp>
      <p:sp>
        <p:nvSpPr>
          <p:cNvPr id="5" name="Picture Placeholder 13">
            <a:extLst>
              <a:ext uri="{FF2B5EF4-FFF2-40B4-BE49-F238E27FC236}">
                <a16:creationId xmlns:a16="http://schemas.microsoft.com/office/drawing/2014/main" id="{59B6915F-1823-4615-958F-D8D196ED8692}"/>
              </a:ext>
            </a:extLst>
          </p:cNvPr>
          <p:cNvSpPr>
            <a:spLocks noGrp="1"/>
          </p:cNvSpPr>
          <p:nvPr>
            <p:ph type="pic" sz="quarter" idx="12" hasCustomPrompt="1"/>
          </p:nvPr>
        </p:nvSpPr>
        <p:spPr>
          <a:xfrm>
            <a:off x="7812089" y="1"/>
            <a:ext cx="4379912" cy="6858000"/>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a:t>Click on the icon to insert image in placeholder and </a:t>
            </a:r>
            <a:br>
              <a:rPr lang="en-US"/>
            </a:br>
            <a:r>
              <a:rPr lang="en-US"/>
              <a:t>use the crop tool to center the image</a:t>
            </a:r>
          </a:p>
        </p:txBody>
      </p:sp>
      <p:sp>
        <p:nvSpPr>
          <p:cNvPr id="9" name="Text Placeholder 8">
            <a:extLst>
              <a:ext uri="{FF2B5EF4-FFF2-40B4-BE49-F238E27FC236}">
                <a16:creationId xmlns:a16="http://schemas.microsoft.com/office/drawing/2014/main" id="{AE0BBFCE-818C-4B03-BA00-50C532B99E63}"/>
              </a:ext>
            </a:extLst>
          </p:cNvPr>
          <p:cNvSpPr>
            <a:spLocks noGrp="1"/>
          </p:cNvSpPr>
          <p:nvPr>
            <p:ph type="body" sz="quarter" idx="37"/>
          </p:nvPr>
        </p:nvSpPr>
        <p:spPr>
          <a:xfrm>
            <a:off x="673275" y="1938344"/>
            <a:ext cx="6560963" cy="1698625"/>
          </a:xfrm>
          <a:prstGeom prst="rect">
            <a:avLst/>
          </a:prstGeom>
        </p:spPr>
        <p:txBody>
          <a:bodyPr tIns="252000"/>
          <a:lstStyle>
            <a:lvl1pPr>
              <a:spcBef>
                <a:spcPts val="800"/>
              </a:spcBef>
              <a:defRPr sz="1400"/>
            </a:lvl1pPr>
            <a:lvl2pPr>
              <a:spcBef>
                <a:spcPts val="800"/>
              </a:spcBef>
              <a:defRPr sz="1400"/>
            </a:lvl2pPr>
            <a:lvl3pPr>
              <a:spcBef>
                <a:spcPts val="800"/>
              </a:spcBef>
              <a:defRPr sz="1400"/>
            </a:lvl3pPr>
            <a:lvl4pPr>
              <a:spcBef>
                <a:spcPts val="800"/>
              </a:spcBef>
              <a:defRPr sz="1400"/>
            </a:lvl4pPr>
            <a:lvl5pPr>
              <a:spcBef>
                <a:spcPts val="8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D162E9F-388A-4F19-89C7-A0377D379B40}"/>
              </a:ext>
            </a:extLst>
          </p:cNvPr>
          <p:cNvSpPr>
            <a:spLocks noGrp="1"/>
          </p:cNvSpPr>
          <p:nvPr>
            <p:ph type="title" hasCustomPrompt="1"/>
          </p:nvPr>
        </p:nvSpPr>
        <p:spPr>
          <a:xfrm>
            <a:off x="666073" y="1240876"/>
            <a:ext cx="6568165" cy="1191480"/>
          </a:xfrm>
        </p:spPr>
        <p:txBody>
          <a:bodyPr wrap="square">
            <a:spAutoFit/>
          </a:bodyPr>
          <a:lstStyle>
            <a:lvl1pPr>
              <a:defRPr sz="3200"/>
            </a:lvl1pPr>
          </a:lstStyle>
          <a:p>
            <a:r>
              <a:rPr lang="en-US"/>
              <a:t>Click to edit Master title style</a:t>
            </a:r>
            <a:br>
              <a:rPr lang="en-US"/>
            </a:br>
            <a:endParaRPr lang="en-AU"/>
          </a:p>
        </p:txBody>
      </p:sp>
      <p:sp>
        <p:nvSpPr>
          <p:cNvPr id="8" name="Company Name">
            <a:extLst>
              <a:ext uri="{FF2B5EF4-FFF2-40B4-BE49-F238E27FC236}">
                <a16:creationId xmlns:a16="http://schemas.microsoft.com/office/drawing/2014/main" id="{985A2BE9-49A3-4D91-9A7D-F27A002C7A2C}"/>
              </a:ext>
            </a:extLst>
          </p:cNvPr>
          <p:cNvSpPr>
            <a:spLocks noGrp="1"/>
          </p:cNvSpPr>
          <p:nvPr>
            <p:ph type="body" sz="quarter" idx="36" hasCustomPrompt="1"/>
          </p:nvPr>
        </p:nvSpPr>
        <p:spPr>
          <a:xfrm>
            <a:off x="671514" y="819408"/>
            <a:ext cx="6562724" cy="276999"/>
          </a:xfrm>
          <a:prstGeom prst="rect">
            <a:avLst/>
          </a:prstGeom>
        </p:spPr>
        <p:txBody>
          <a:bodyPr wrap="square" tIns="0" anchor="b" anchorCtr="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cap="none" baseline="0">
                <a:solidFill>
                  <a:schemeClr val="accent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COMPANY NAME</a:t>
            </a:r>
          </a:p>
        </p:txBody>
      </p:sp>
      <p:sp>
        <p:nvSpPr>
          <p:cNvPr id="11" name="Footer Placeholder 10">
            <a:extLst>
              <a:ext uri="{FF2B5EF4-FFF2-40B4-BE49-F238E27FC236}">
                <a16:creationId xmlns:a16="http://schemas.microsoft.com/office/drawing/2014/main" id="{620E0274-E201-4D10-B10D-6D1B4E14A1DA}"/>
              </a:ext>
            </a:extLst>
          </p:cNvPr>
          <p:cNvSpPr>
            <a:spLocks noGrp="1"/>
          </p:cNvSpPr>
          <p:nvPr>
            <p:ph type="ftr" sz="quarter" idx="38"/>
          </p:nvPr>
        </p:nvSpPr>
        <p:spPr/>
        <p:txBody>
          <a:bodyPr/>
          <a:lstStyle/>
          <a:p>
            <a:r>
              <a:rPr lang="en-AU"/>
              <a:t>Copyright © 2022 Accenture. All rights reserved.</a:t>
            </a:r>
          </a:p>
        </p:txBody>
      </p:sp>
      <p:sp>
        <p:nvSpPr>
          <p:cNvPr id="12" name="Slide Number Placeholder 11">
            <a:extLst>
              <a:ext uri="{FF2B5EF4-FFF2-40B4-BE49-F238E27FC236}">
                <a16:creationId xmlns:a16="http://schemas.microsoft.com/office/drawing/2014/main" id="{CF4D6478-4E6C-4E04-BE72-89D4FEE6B8A7}"/>
              </a:ext>
            </a:extLst>
          </p:cNvPr>
          <p:cNvSpPr>
            <a:spLocks noGrp="1"/>
          </p:cNvSpPr>
          <p:nvPr>
            <p:ph type="sldNum" sz="quarter" idx="39"/>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376475690"/>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ECFFB5DC-2193-446F-ABD4-D037F652B155}"/>
              </a:ext>
            </a:extLst>
          </p:cNvPr>
          <p:cNvSpPr>
            <a:spLocks noGrp="1"/>
          </p:cNvSpPr>
          <p:nvPr>
            <p:ph type="pic" sz="quarter" idx="12" hasCustomPrompt="1"/>
          </p:nvPr>
        </p:nvSpPr>
        <p:spPr>
          <a:xfrm>
            <a:off x="0" y="0"/>
            <a:ext cx="1219200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a:t>Click on the icon to insert image in placeholder and </a:t>
            </a:r>
            <a:br>
              <a:rPr lang="en-US"/>
            </a:br>
            <a:r>
              <a:rPr lang="en-US"/>
              <a:t>use the crop tool to center the image</a:t>
            </a:r>
          </a:p>
        </p:txBody>
      </p:sp>
      <p:sp>
        <p:nvSpPr>
          <p:cNvPr id="6" name="Footer Placeholder 5">
            <a:extLst>
              <a:ext uri="{FF2B5EF4-FFF2-40B4-BE49-F238E27FC236}">
                <a16:creationId xmlns:a16="http://schemas.microsoft.com/office/drawing/2014/main" id="{46B620DA-AC42-4C3F-B7FE-B80A1EAFE08E}"/>
              </a:ext>
            </a:extLst>
          </p:cNvPr>
          <p:cNvSpPr>
            <a:spLocks noGrp="1"/>
          </p:cNvSpPr>
          <p:nvPr>
            <p:ph type="ftr" sz="quarter" idx="13"/>
          </p:nvPr>
        </p:nvSpPr>
        <p:spPr/>
        <p:txBody>
          <a:bodyPr/>
          <a:lstStyle/>
          <a:p>
            <a:r>
              <a:rPr lang="en-AU"/>
              <a:t>Copyright © 2022 Accenture. All rights reserved.</a:t>
            </a:r>
          </a:p>
        </p:txBody>
      </p:sp>
      <p:sp>
        <p:nvSpPr>
          <p:cNvPr id="8" name="Slide Number Placeholder 7">
            <a:extLst>
              <a:ext uri="{FF2B5EF4-FFF2-40B4-BE49-F238E27FC236}">
                <a16:creationId xmlns:a16="http://schemas.microsoft.com/office/drawing/2014/main" id="{9D9A19B0-A261-48EA-9502-1C010BC0891B}"/>
              </a:ext>
            </a:extLst>
          </p:cNvPr>
          <p:cNvSpPr>
            <a:spLocks noGrp="1"/>
          </p:cNvSpPr>
          <p:nvPr>
            <p:ph type="sldNum" sz="quarter" idx="14"/>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210097783"/>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vider (Whit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98330" y="2775627"/>
            <a:ext cx="8541502" cy="1001948"/>
          </a:xfrm>
        </p:spPr>
        <p:txBody>
          <a:bodyPr tIns="198000" rIns="0" anchor="ctr">
            <a:spAutoFit/>
          </a:bodyPr>
          <a:lstStyle>
            <a:lvl1pPr>
              <a:lnSpc>
                <a:spcPct val="70000"/>
              </a:lnSpc>
              <a:defRPr sz="7000" cap="all" baseline="0">
                <a:solidFill>
                  <a:schemeClr val="tx1"/>
                </a:solidFill>
              </a:defRPr>
            </a:lvl1pPr>
          </a:lstStyle>
          <a:p>
            <a:r>
              <a:rPr lang="en-US"/>
              <a:t>Divider</a:t>
            </a:r>
          </a:p>
        </p:txBody>
      </p:sp>
    </p:spTree>
    <p:extLst>
      <p:ext uri="{BB962C8B-B14F-4D97-AF65-F5344CB8AC3E}">
        <p14:creationId xmlns:p14="http://schemas.microsoft.com/office/powerpoint/2010/main" val="1617035566"/>
      </p:ext>
    </p:extLst>
  </p:cSld>
  <p:clrMapOvr>
    <a:overrideClrMapping bg1="lt1" tx1="dk1" bg2="lt2" tx2="dk2" accent1="accent1" accent2="accent2" accent3="accent3" accent4="accent4" accent5="accent5" accent6="accent6" hlink="hlink" folHlink="folHlink"/>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Yellow)">
    <p:bg>
      <p:bgPr>
        <a:gradFill flip="none" rotWithShape="1">
          <a:gsLst>
            <a:gs pos="0">
              <a:schemeClr val="accent2"/>
            </a:gs>
            <a:gs pos="90000">
              <a:schemeClr val="accent1"/>
            </a:gs>
          </a:gsLst>
          <a:lin ang="2700000" scaled="1"/>
          <a:tileRect/>
        </a:gra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98800" y="2775626"/>
            <a:ext cx="8561387" cy="1001948"/>
          </a:xfrm>
        </p:spPr>
        <p:txBody>
          <a:bodyPr tIns="198000" rIns="0" anchor="ctr">
            <a:spAutoFit/>
          </a:bodyPr>
          <a:lstStyle>
            <a:lvl1pPr>
              <a:lnSpc>
                <a:spcPct val="70000"/>
              </a:lnSpc>
              <a:defRPr sz="7000" cap="all" baseline="0">
                <a:solidFill>
                  <a:schemeClr val="bg1"/>
                </a:solidFill>
              </a:defRPr>
            </a:lvl1pPr>
          </a:lstStyle>
          <a:p>
            <a:r>
              <a:rPr lang="en-US"/>
              <a:t>Divider</a:t>
            </a:r>
          </a:p>
        </p:txBody>
      </p:sp>
    </p:spTree>
    <p:extLst>
      <p:ext uri="{BB962C8B-B14F-4D97-AF65-F5344CB8AC3E}">
        <p14:creationId xmlns:p14="http://schemas.microsoft.com/office/powerpoint/2010/main" val="745184626"/>
      </p:ext>
    </p:extLst>
  </p:cSld>
  <p:clrMapOvr>
    <a:overrideClrMapping bg1="lt1" tx1="dk1" bg2="lt2" tx2="dk2" accent1="accent1" accent2="accent2" accent3="accent3" accent4="accent4" accent5="accent5" accent6="accent6" hlink="hlink" folHlink="folHlink"/>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Divider (Purple)">
    <p:bg>
      <p:bgPr>
        <a:gradFill flip="none" rotWithShape="1">
          <a:gsLst>
            <a:gs pos="0">
              <a:schemeClr val="accent6"/>
            </a:gs>
            <a:gs pos="90000">
              <a:schemeClr val="accent4"/>
            </a:gs>
          </a:gsLst>
          <a:lin ang="2700000" scaled="1"/>
          <a:tileRect/>
        </a:gra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98800" y="2775626"/>
            <a:ext cx="8561387" cy="1001948"/>
          </a:xfrm>
        </p:spPr>
        <p:txBody>
          <a:bodyPr tIns="198000" rIns="0" anchor="ctr">
            <a:spAutoFit/>
          </a:bodyPr>
          <a:lstStyle>
            <a:lvl1pPr>
              <a:lnSpc>
                <a:spcPct val="70000"/>
              </a:lnSpc>
              <a:defRPr sz="7000" cap="all" baseline="0">
                <a:solidFill>
                  <a:schemeClr val="bg1"/>
                </a:solidFill>
              </a:defRPr>
            </a:lvl1pPr>
          </a:lstStyle>
          <a:p>
            <a:r>
              <a:rPr lang="en-US"/>
              <a:t>Divider</a:t>
            </a:r>
          </a:p>
        </p:txBody>
      </p:sp>
    </p:spTree>
    <p:extLst>
      <p:ext uri="{BB962C8B-B14F-4D97-AF65-F5344CB8AC3E}">
        <p14:creationId xmlns:p14="http://schemas.microsoft.com/office/powerpoint/2010/main" val="2963643033"/>
      </p:ext>
    </p:extLst>
  </p:cSld>
  <p:clrMapOvr>
    <a:overrideClrMapping bg1="lt1" tx1="dk1" bg2="lt2" tx2="dk2" accent1="accent1" accent2="accent2" accent3="accent3" accent4="accent4" accent5="accent5" accent6="accent6" hlink="hlink" folHlink="folHlink"/>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_image #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0190BA-78C8-4808-8D04-5CBEFDDB81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itle 2"/>
          <p:cNvSpPr>
            <a:spLocks noGrp="1"/>
          </p:cNvSpPr>
          <p:nvPr>
            <p:ph type="title" hasCustomPrompt="1"/>
          </p:nvPr>
        </p:nvSpPr>
        <p:spPr>
          <a:xfrm>
            <a:off x="298800" y="2775626"/>
            <a:ext cx="7459313" cy="1001948"/>
          </a:xfrm>
        </p:spPr>
        <p:txBody>
          <a:bodyPr wrap="square" tIns="198000" rIns="0" anchor="ctr">
            <a:spAutoFit/>
          </a:bodyPr>
          <a:lstStyle>
            <a:lvl1pPr>
              <a:lnSpc>
                <a:spcPct val="70000"/>
              </a:lnSpc>
              <a:defRPr sz="7000" cap="all" baseline="0">
                <a:solidFill>
                  <a:schemeClr val="tx1"/>
                </a:solidFill>
              </a:defRPr>
            </a:lvl1pPr>
          </a:lstStyle>
          <a:p>
            <a:r>
              <a:rPr lang="en-US"/>
              <a:t>Divider</a:t>
            </a:r>
          </a:p>
        </p:txBody>
      </p:sp>
    </p:spTree>
    <p:extLst>
      <p:ext uri="{BB962C8B-B14F-4D97-AF65-F5344CB8AC3E}">
        <p14:creationId xmlns:p14="http://schemas.microsoft.com/office/powerpoint/2010/main" val="1725459794"/>
      </p:ext>
    </p:extLst>
  </p:cSld>
  <p:clrMapOvr>
    <a:overrideClrMapping bg1="lt1" tx1="dk1" bg2="lt2" tx2="dk2" accent1="accent1" accent2="accent2" accent3="accent3" accent4="accent4" accent5="accent5" accent6="accent6" hlink="hlink" folHlink="folHlink"/>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_image #2">
    <p:bg>
      <p:bgPr>
        <a:solidFill>
          <a:schemeClr val="bg1"/>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E99325F-5A58-4136-9444-6BFA5728F2E1}"/>
              </a:ext>
            </a:extLst>
          </p:cNvPr>
          <p:cNvSpPr>
            <a:spLocks noGrp="1"/>
          </p:cNvSpPr>
          <p:nvPr>
            <p:ph type="title" hasCustomPrompt="1"/>
          </p:nvPr>
        </p:nvSpPr>
        <p:spPr>
          <a:xfrm>
            <a:off x="298800" y="2775626"/>
            <a:ext cx="8561387" cy="1001948"/>
          </a:xfrm>
        </p:spPr>
        <p:txBody>
          <a:bodyPr tIns="198000" rIns="0" anchor="ctr">
            <a:spAutoFit/>
          </a:bodyPr>
          <a:lstStyle>
            <a:lvl1pPr>
              <a:lnSpc>
                <a:spcPct val="70000"/>
              </a:lnSpc>
              <a:defRPr sz="7000" cap="all" baseline="0">
                <a:solidFill>
                  <a:schemeClr val="tx1"/>
                </a:solidFill>
              </a:defRPr>
            </a:lvl1pPr>
          </a:lstStyle>
          <a:p>
            <a:r>
              <a:rPr lang="en-US"/>
              <a:t>Divider</a:t>
            </a:r>
          </a:p>
        </p:txBody>
      </p:sp>
    </p:spTree>
    <p:extLst>
      <p:ext uri="{BB962C8B-B14F-4D97-AF65-F5344CB8AC3E}">
        <p14:creationId xmlns:p14="http://schemas.microsoft.com/office/powerpoint/2010/main" val="1573369906"/>
      </p:ext>
    </p:extLst>
  </p:cSld>
  <p:clrMapOvr>
    <a:overrideClrMapping bg1="lt1" tx1="dk1" bg2="lt2" tx2="dk2" accent1="accent1" accent2="accent2" accent3="accent3" accent4="accent4" accent5="accent5" accent6="accent6" hlink="hlink" folHlink="folHlink"/>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Divider_image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E5CE16-280F-436E-908A-882E1A464AC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3"/>
          <a:stretch/>
        </p:blipFill>
        <p:spPr>
          <a:xfrm>
            <a:off x="1" y="0"/>
            <a:ext cx="12192000" cy="6858000"/>
          </a:xfrm>
          <a:prstGeom prst="rect">
            <a:avLst/>
          </a:prstGeom>
        </p:spPr>
      </p:pic>
      <p:sp>
        <p:nvSpPr>
          <p:cNvPr id="6" name="Title 2">
            <a:extLst>
              <a:ext uri="{FF2B5EF4-FFF2-40B4-BE49-F238E27FC236}">
                <a16:creationId xmlns:a16="http://schemas.microsoft.com/office/drawing/2014/main" id="{DE99325F-5A58-4136-9444-6BFA5728F2E1}"/>
              </a:ext>
            </a:extLst>
          </p:cNvPr>
          <p:cNvSpPr>
            <a:spLocks noGrp="1"/>
          </p:cNvSpPr>
          <p:nvPr>
            <p:ph type="title" hasCustomPrompt="1"/>
          </p:nvPr>
        </p:nvSpPr>
        <p:spPr>
          <a:xfrm>
            <a:off x="298800" y="2775626"/>
            <a:ext cx="8561387" cy="1001948"/>
          </a:xfrm>
        </p:spPr>
        <p:txBody>
          <a:bodyPr tIns="198000" rIns="0" anchor="ctr">
            <a:spAutoFit/>
          </a:bodyPr>
          <a:lstStyle>
            <a:lvl1pPr>
              <a:lnSpc>
                <a:spcPct val="70000"/>
              </a:lnSpc>
              <a:defRPr sz="7000" cap="all" baseline="0">
                <a:solidFill>
                  <a:schemeClr val="tx1"/>
                </a:solidFill>
              </a:defRPr>
            </a:lvl1pPr>
          </a:lstStyle>
          <a:p>
            <a:r>
              <a:rPr lang="en-US"/>
              <a:t>Divider</a:t>
            </a:r>
          </a:p>
        </p:txBody>
      </p:sp>
    </p:spTree>
    <p:extLst>
      <p:ext uri="{BB962C8B-B14F-4D97-AF65-F5344CB8AC3E}">
        <p14:creationId xmlns:p14="http://schemas.microsoft.com/office/powerpoint/2010/main" val="3865704171"/>
      </p:ext>
    </p:extLst>
  </p:cSld>
  <p:clrMapOvr>
    <a:overrideClrMapping bg1="lt1" tx1="dk1" bg2="lt2" tx2="dk2" accent1="accent1" accent2="accent2" accent3="accent3" accent4="accent4" accent5="accent5" accent6="accent6" hlink="hlink" folHlink="folHlink"/>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_AAI">
    <p:spTree>
      <p:nvGrpSpPr>
        <p:cNvPr id="1" name=""/>
        <p:cNvGrpSpPr/>
        <p:nvPr/>
      </p:nvGrpSpPr>
      <p:grpSpPr>
        <a:xfrm>
          <a:off x="0" y="0"/>
          <a:ext cx="0" cy="0"/>
          <a:chOff x="0" y="0"/>
          <a:chExt cx="0" cy="0"/>
        </a:xfrm>
      </p:grpSpPr>
      <p:pic>
        <p:nvPicPr>
          <p:cNvPr id="17" name="Picture Placeholder 11">
            <a:extLst>
              <a:ext uri="{FF2B5EF4-FFF2-40B4-BE49-F238E27FC236}">
                <a16:creationId xmlns:a16="http://schemas.microsoft.com/office/drawing/2014/main" id="{98BB411B-9641-4D9D-B206-59C8DD8A66AA}"/>
              </a:ext>
            </a:extLst>
          </p:cNvPr>
          <p:cNvPicPr>
            <a:picLocks noChangeAspect="1"/>
          </p:cNvPicPr>
          <p:nvPr userDrawn="1"/>
        </p:nvPicPr>
        <p:blipFill>
          <a:blip r:embed="rId2">
            <a:extLst>
              <a:ext uri="{28A0092B-C50C-407E-A947-70E740481C1C}">
                <a14:useLocalDpi xmlns:a14="http://schemas.microsoft.com/office/drawing/2010/main" val="0"/>
              </a:ext>
            </a:extLst>
          </a:blip>
          <a:srcRect l="91" r="91"/>
          <a:stretch>
            <a:fillRect/>
          </a:stretch>
        </p:blipFill>
        <p:spPr>
          <a:xfrm>
            <a:off x="0" y="0"/>
            <a:ext cx="12192000" cy="6873875"/>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7"/>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0"/>
          <a:stretch>
            <a:fillRect/>
          </a:stretch>
        </p:blipFill>
        <p:spPr>
          <a:xfrm>
            <a:off x="7751739" y="374650"/>
            <a:ext cx="1663200" cy="445737"/>
          </a:xfrm>
          <a:prstGeom prst="rect">
            <a:avLst/>
          </a:prstGeom>
        </p:spPr>
      </p:pic>
      <p:pic>
        <p:nvPicPr>
          <p:cNvPr id="304" name="Acc_CoreBrand_Logo_Black_Purple" hidden="1">
            <a:extLst>
              <a:ext uri="{FF2B5EF4-FFF2-40B4-BE49-F238E27FC236}">
                <a16:creationId xmlns:a16="http://schemas.microsoft.com/office/drawing/2014/main" id="{079A257B-549F-4450-95A9-7265440209B9}"/>
              </a:ext>
            </a:extLst>
          </p:cNvPr>
          <p:cNvPicPr>
            <a:picLocks noChangeAspect="1"/>
          </p:cNvPicPr>
          <p:nvPr/>
        </p:nvPicPr>
        <p:blipFill>
          <a:blip r:embed="rId11"/>
          <a:stretch>
            <a:fillRect/>
          </a:stretch>
        </p:blipFill>
        <p:spPr>
          <a:xfrm>
            <a:off x="7751739" y="374650"/>
            <a:ext cx="1663200" cy="445738"/>
          </a:xfrm>
          <a:prstGeom prst="rect">
            <a:avLst/>
          </a:prstGeom>
        </p:spPr>
      </p:pic>
      <p:sp>
        <p:nvSpPr>
          <p:cNvPr id="22" name="Subtitle (3rd Level)">
            <a:extLst>
              <a:ext uri="{FF2B5EF4-FFF2-40B4-BE49-F238E27FC236}">
                <a16:creationId xmlns:a16="http://schemas.microsoft.com/office/drawing/2014/main" id="{BA2A4EF5-0A5E-4F4F-B044-8D91FBC4F391}"/>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3" name="Long Subline">
            <a:extLst>
              <a:ext uri="{FF2B5EF4-FFF2-40B4-BE49-F238E27FC236}">
                <a16:creationId xmlns:a16="http://schemas.microsoft.com/office/drawing/2014/main" id="{460327B0-353D-46AA-B54E-5179542E68B3}"/>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4" name="MasterTitle">
            <a:extLst>
              <a:ext uri="{FF2B5EF4-FFF2-40B4-BE49-F238E27FC236}">
                <a16:creationId xmlns:a16="http://schemas.microsoft.com/office/drawing/2014/main" id="{46C97AB3-E801-482B-8A1C-5A2635F08367}"/>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6" name="Acc_Applied_Intell_Wordmark_BLK Colour Positive">
            <a:extLst>
              <a:ext uri="{FF2B5EF4-FFF2-40B4-BE49-F238E27FC236}">
                <a16:creationId xmlns:a16="http://schemas.microsoft.com/office/drawing/2014/main" id="{5D4543D6-FC27-4509-A338-2A7AC3DB788C}"/>
              </a:ext>
            </a:extLst>
          </p:cNvPr>
          <p:cNvPicPr>
            <a:picLocks noChangeAspect="1"/>
          </p:cNvPicPr>
          <p:nvPr userDrawn="1"/>
        </p:nvPicPr>
        <p:blipFill>
          <a:blip r:embed="rId12">
            <a:biLevel thresh="75000"/>
          </a:blip>
          <a:stretch>
            <a:fillRect/>
          </a:stretch>
        </p:blipFill>
        <p:spPr>
          <a:xfrm>
            <a:off x="1461439" y="716491"/>
            <a:ext cx="4885196" cy="347826"/>
          </a:xfrm>
          <a:prstGeom prst="rect">
            <a:avLst/>
          </a:prstGeom>
        </p:spPr>
      </p:pic>
    </p:spTree>
    <p:extLst>
      <p:ext uri="{BB962C8B-B14F-4D97-AF65-F5344CB8AC3E}">
        <p14:creationId xmlns:p14="http://schemas.microsoft.com/office/powerpoint/2010/main" val="414795047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Grids &amp; Guide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573FBAA-011E-42EE-8526-430FCBD7761C}"/>
              </a:ext>
            </a:extLst>
          </p:cNvPr>
          <p:cNvGrpSpPr/>
          <p:nvPr/>
        </p:nvGrpSpPr>
        <p:grpSpPr>
          <a:xfrm>
            <a:off x="334800" y="327025"/>
            <a:ext cx="11517475" cy="6191250"/>
            <a:chOff x="334800" y="327025"/>
            <a:chExt cx="11517475" cy="6191250"/>
          </a:xfrm>
        </p:grpSpPr>
        <p:cxnSp>
          <p:nvCxnSpPr>
            <p:cNvPr id="5" name="Straight Connector 4">
              <a:extLst>
                <a:ext uri="{FF2B5EF4-FFF2-40B4-BE49-F238E27FC236}">
                  <a16:creationId xmlns:a16="http://schemas.microsoft.com/office/drawing/2014/main" id="{28CCFCE2-0743-4AF2-91BB-7A3A538615DD}"/>
                </a:ext>
              </a:extLst>
            </p:cNvPr>
            <p:cNvCxnSpPr/>
            <p:nvPr/>
          </p:nvCxnSpPr>
          <p:spPr>
            <a:xfrm>
              <a:off x="334963" y="327025"/>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1B3C53D-017C-4E78-99B7-F07CB4CFD07B}"/>
                </a:ext>
              </a:extLst>
            </p:cNvPr>
            <p:cNvCxnSpPr>
              <a:cxnSpLocks/>
            </p:cNvCxnSpPr>
            <p:nvPr/>
          </p:nvCxnSpPr>
          <p:spPr>
            <a:xfrm>
              <a:off x="11852275"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7A303CA-D672-479E-8B14-63CB9ECA95ED}"/>
                </a:ext>
              </a:extLst>
            </p:cNvPr>
            <p:cNvCxnSpPr>
              <a:cxnSpLocks/>
            </p:cNvCxnSpPr>
            <p:nvPr/>
          </p:nvCxnSpPr>
          <p:spPr>
            <a:xfrm>
              <a:off x="18180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4831E3C-02E1-4443-B055-237A933D96B1}"/>
                </a:ext>
              </a:extLst>
            </p:cNvPr>
            <p:cNvCxnSpPr>
              <a:cxnSpLocks/>
            </p:cNvCxnSpPr>
            <p:nvPr/>
          </p:nvCxnSpPr>
          <p:spPr>
            <a:xfrm>
              <a:off x="1458913"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CD4B43B-E9AC-47D2-82CE-648B2E92EEBD}"/>
                </a:ext>
              </a:extLst>
            </p:cNvPr>
            <p:cNvCxnSpPr>
              <a:cxnSpLocks/>
            </p:cNvCxnSpPr>
            <p:nvPr/>
          </p:nvCxnSpPr>
          <p:spPr>
            <a:xfrm>
              <a:off x="3348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148896A-BFDE-48FE-910E-F835A1EB88DB}"/>
                </a:ext>
              </a:extLst>
            </p:cNvPr>
            <p:cNvCxnSpPr>
              <a:cxnSpLocks/>
            </p:cNvCxnSpPr>
            <p:nvPr/>
          </p:nvCxnSpPr>
          <p:spPr>
            <a:xfrm>
              <a:off x="33048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4D3324-33A9-4682-B60E-4FC3D38CD6F0}"/>
                </a:ext>
              </a:extLst>
            </p:cNvPr>
            <p:cNvCxnSpPr>
              <a:cxnSpLocks/>
            </p:cNvCxnSpPr>
            <p:nvPr/>
          </p:nvCxnSpPr>
          <p:spPr>
            <a:xfrm>
              <a:off x="29448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E83D284-7674-46EA-9A90-CE74BD21F02C}"/>
                </a:ext>
              </a:extLst>
            </p:cNvPr>
            <p:cNvCxnSpPr>
              <a:cxnSpLocks/>
            </p:cNvCxnSpPr>
            <p:nvPr/>
          </p:nvCxnSpPr>
          <p:spPr>
            <a:xfrm>
              <a:off x="4790713"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AC6E7C8-63C5-4214-8E11-1CCB0BF0729C}"/>
                </a:ext>
              </a:extLst>
            </p:cNvPr>
            <p:cNvCxnSpPr>
              <a:cxnSpLocks/>
            </p:cNvCxnSpPr>
            <p:nvPr/>
          </p:nvCxnSpPr>
          <p:spPr>
            <a:xfrm>
              <a:off x="4430713"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0586DFF-6382-47AC-98AA-4A44B61B9EE9}"/>
                </a:ext>
              </a:extLst>
            </p:cNvPr>
            <p:cNvCxnSpPr>
              <a:cxnSpLocks/>
            </p:cNvCxnSpPr>
            <p:nvPr/>
          </p:nvCxnSpPr>
          <p:spPr>
            <a:xfrm>
              <a:off x="6276613"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49DC86B-6985-48BA-8E46-4D888E24E8CA}"/>
                </a:ext>
              </a:extLst>
            </p:cNvPr>
            <p:cNvCxnSpPr>
              <a:cxnSpLocks/>
            </p:cNvCxnSpPr>
            <p:nvPr/>
          </p:nvCxnSpPr>
          <p:spPr>
            <a:xfrm>
              <a:off x="5916613"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E7671E3-73EA-4547-B27F-A26ACC422B5D}"/>
                </a:ext>
              </a:extLst>
            </p:cNvPr>
            <p:cNvCxnSpPr>
              <a:cxnSpLocks/>
            </p:cNvCxnSpPr>
            <p:nvPr/>
          </p:nvCxnSpPr>
          <p:spPr>
            <a:xfrm>
              <a:off x="77580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C1CE602-F460-4466-8270-8B1B618763FD}"/>
                </a:ext>
              </a:extLst>
            </p:cNvPr>
            <p:cNvCxnSpPr>
              <a:cxnSpLocks/>
            </p:cNvCxnSpPr>
            <p:nvPr/>
          </p:nvCxnSpPr>
          <p:spPr>
            <a:xfrm>
              <a:off x="739800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5C621EC-24E3-4963-808F-7F5172D84CA3}"/>
                </a:ext>
              </a:extLst>
            </p:cNvPr>
            <p:cNvCxnSpPr>
              <a:cxnSpLocks/>
            </p:cNvCxnSpPr>
            <p:nvPr/>
          </p:nvCxnSpPr>
          <p:spPr>
            <a:xfrm>
              <a:off x="924365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48885A6-5A73-48B0-910F-ED86B5836DA3}"/>
                </a:ext>
              </a:extLst>
            </p:cNvPr>
            <p:cNvCxnSpPr>
              <a:cxnSpLocks/>
            </p:cNvCxnSpPr>
            <p:nvPr/>
          </p:nvCxnSpPr>
          <p:spPr>
            <a:xfrm>
              <a:off x="888365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1CE38F8-C136-48EE-AB48-3364F8A14150}"/>
                </a:ext>
              </a:extLst>
            </p:cNvPr>
            <p:cNvCxnSpPr>
              <a:cxnSpLocks/>
            </p:cNvCxnSpPr>
            <p:nvPr/>
          </p:nvCxnSpPr>
          <p:spPr>
            <a:xfrm>
              <a:off x="1072955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3374B40-EE97-4F76-B6C4-0ACA8A7BE6C4}"/>
                </a:ext>
              </a:extLst>
            </p:cNvPr>
            <p:cNvCxnSpPr>
              <a:cxnSpLocks/>
            </p:cNvCxnSpPr>
            <p:nvPr/>
          </p:nvCxnSpPr>
          <p:spPr>
            <a:xfrm>
              <a:off x="10369550" y="327025"/>
              <a:ext cx="0" cy="619125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B3FC10E-004E-4D0D-A874-55627E41DD90}"/>
                </a:ext>
              </a:extLst>
            </p:cNvPr>
            <p:cNvCxnSpPr/>
            <p:nvPr/>
          </p:nvCxnSpPr>
          <p:spPr>
            <a:xfrm>
              <a:off x="334963" y="6516857"/>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5731C40-EED1-43FF-A19C-87391C3BB9AB}"/>
                </a:ext>
              </a:extLst>
            </p:cNvPr>
            <p:cNvCxnSpPr/>
            <p:nvPr/>
          </p:nvCxnSpPr>
          <p:spPr>
            <a:xfrm>
              <a:off x="334963" y="6057900"/>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63EFAB-B919-43FC-AE3A-26DFA925D869}"/>
                </a:ext>
              </a:extLst>
            </p:cNvPr>
            <p:cNvCxnSpPr/>
            <p:nvPr/>
          </p:nvCxnSpPr>
          <p:spPr>
            <a:xfrm>
              <a:off x="334963" y="4149725"/>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2834368-A8C7-46EF-B290-55C17057BFD8}"/>
                </a:ext>
              </a:extLst>
            </p:cNvPr>
            <p:cNvCxnSpPr/>
            <p:nvPr/>
          </p:nvCxnSpPr>
          <p:spPr>
            <a:xfrm>
              <a:off x="334963" y="2152650"/>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AE74D66-A3D4-484D-BE07-36F6C8B1CD5B}"/>
                </a:ext>
              </a:extLst>
            </p:cNvPr>
            <p:cNvCxnSpPr/>
            <p:nvPr/>
          </p:nvCxnSpPr>
          <p:spPr>
            <a:xfrm>
              <a:off x="334963" y="1762125"/>
              <a:ext cx="11517312" cy="0"/>
            </a:xfrm>
            <a:prstGeom prst="line">
              <a:avLst/>
            </a:prstGeom>
            <a:ln cap="rnd">
              <a:solidFill>
                <a:srgbClr val="00B0F0">
                  <a:alpha val="40000"/>
                </a:srgbClr>
              </a:solidFill>
              <a:prstDash val="dash"/>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4738618"/>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22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6086084"/>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Quote_Yellow">
    <p:bg>
      <p:bgPr>
        <a:gradFill>
          <a:gsLst>
            <a:gs pos="0">
              <a:schemeClr val="accent6"/>
            </a:gs>
            <a:gs pos="90000">
              <a:schemeClr val="accent4"/>
            </a:gs>
          </a:gsLst>
          <a:lin ang="2700000" scaled="1"/>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D0BD1F-D944-4A00-B6B4-9481AEA9F6B9}"/>
              </a:ext>
            </a:extLst>
          </p:cNvPr>
          <p:cNvSpPr>
            <a:spLocks noGrp="1"/>
          </p:cNvSpPr>
          <p:nvPr>
            <p:ph type="body" sz="quarter" idx="36" hasCustomPrompt="1"/>
          </p:nvPr>
        </p:nvSpPr>
        <p:spPr>
          <a:xfrm>
            <a:off x="296783" y="1586440"/>
            <a:ext cx="1103312" cy="866775"/>
          </a:xfrm>
        </p:spPr>
        <p:txBody>
          <a:bodyPr/>
          <a:lstStyle>
            <a:lvl1pPr>
              <a:defRPr sz="13000">
                <a:solidFill>
                  <a:schemeClr val="accent4"/>
                </a:solidFill>
                <a:latin typeface="+mj-lt"/>
              </a:defRPr>
            </a:lvl1pPr>
          </a:lstStyle>
          <a:p>
            <a:pPr lvl="0"/>
            <a:r>
              <a:rPr lang="en-US"/>
              <a:t>“</a:t>
            </a:r>
            <a:endParaRPr lang="en-AU"/>
          </a:p>
        </p:txBody>
      </p:sp>
      <p:sp>
        <p:nvSpPr>
          <p:cNvPr id="7" name="Footer Placeholder 3">
            <a:extLst>
              <a:ext uri="{FF2B5EF4-FFF2-40B4-BE49-F238E27FC236}">
                <a16:creationId xmlns:a16="http://schemas.microsoft.com/office/drawing/2014/main" id="{208087BA-2A4D-4DC8-819F-445F31BF3889}"/>
              </a:ext>
            </a:extLst>
          </p:cNvPr>
          <p:cNvSpPr>
            <a:spLocks noGrp="1"/>
          </p:cNvSpPr>
          <p:nvPr>
            <p:ph type="ftr" sz="quarter" idx="10"/>
          </p:nvPr>
        </p:nvSpPr>
        <p:spPr>
          <a:xfrm>
            <a:off x="7421924" y="6403067"/>
            <a:ext cx="4114800" cy="140400"/>
          </a:xfrm>
        </p:spPr>
        <p:txBody>
          <a:bodyPr/>
          <a:lstStyle>
            <a:lvl1pPr>
              <a:defRPr>
                <a:solidFill>
                  <a:schemeClr val="bg1">
                    <a:alpha val="50000"/>
                  </a:schemeClr>
                </a:solidFill>
              </a:defRPr>
            </a:lvl1pPr>
          </a:lstStyle>
          <a:p>
            <a:r>
              <a:rPr lang="en-AU"/>
              <a:t>Copyright © 2022 Accenture. All rights reserved.</a:t>
            </a:r>
            <a:endParaRPr lang="en-GB"/>
          </a:p>
        </p:txBody>
      </p:sp>
      <p:sp>
        <p:nvSpPr>
          <p:cNvPr id="8" name="Slide Number Placeholder 4">
            <a:extLst>
              <a:ext uri="{FF2B5EF4-FFF2-40B4-BE49-F238E27FC236}">
                <a16:creationId xmlns:a16="http://schemas.microsoft.com/office/drawing/2014/main" id="{FE275B24-D1E8-4706-8577-F3A788BD669E}"/>
              </a:ext>
            </a:extLst>
          </p:cNvPr>
          <p:cNvSpPr>
            <a:spLocks noGrp="1"/>
          </p:cNvSpPr>
          <p:nvPr>
            <p:ph type="sldNum" sz="quarter" idx="11"/>
          </p:nvPr>
        </p:nvSpPr>
        <p:spPr>
          <a:xfrm>
            <a:off x="11645943" y="6403067"/>
            <a:ext cx="216000" cy="140400"/>
          </a:xfrm>
        </p:spPr>
        <p:txBody>
          <a:bodyPr/>
          <a:lstStyle>
            <a:lvl1pPr>
              <a:defRPr>
                <a:solidFill>
                  <a:schemeClr val="bg1">
                    <a:alpha val="50000"/>
                  </a:schemeClr>
                </a:solidFill>
              </a:defRPr>
            </a:lvl1pPr>
          </a:lstStyle>
          <a:p>
            <a:fld id="{EF2F7A32-C1EA-4F7E-B0A2-7FCB5BFE90DE}" type="slidenum">
              <a:rPr lang="en-AU" smtClean="0"/>
              <a:pPr/>
              <a:t>‹#›</a:t>
            </a:fld>
            <a:endParaRPr lang="en-AU"/>
          </a:p>
        </p:txBody>
      </p:sp>
      <p:sp>
        <p:nvSpPr>
          <p:cNvPr id="10" name="Text Placeholder 5">
            <a:extLst>
              <a:ext uri="{FF2B5EF4-FFF2-40B4-BE49-F238E27FC236}">
                <a16:creationId xmlns:a16="http://schemas.microsoft.com/office/drawing/2014/main" id="{BD7C4D21-668B-4DAC-A31F-44CB26A7AC08}"/>
              </a:ext>
            </a:extLst>
          </p:cNvPr>
          <p:cNvSpPr>
            <a:spLocks noGrp="1"/>
          </p:cNvSpPr>
          <p:nvPr>
            <p:ph type="body" sz="quarter" idx="12" hasCustomPrompt="1"/>
          </p:nvPr>
        </p:nvSpPr>
        <p:spPr>
          <a:xfrm>
            <a:off x="678337" y="2320702"/>
            <a:ext cx="10430983" cy="1488997"/>
          </a:xfrm>
          <a:prstGeom prst="rect">
            <a:avLst/>
          </a:prstGeom>
        </p:spPr>
        <p:txBody>
          <a:bodyPr anchor="t">
            <a:spAutoFit/>
          </a:bodyPr>
          <a:lstStyle>
            <a:lvl1pPr marL="0" marR="0" indent="0" algn="l" defTabSz="914217" rtl="0" eaLnBrk="1" fontAlgn="base" latinLnBrk="0" hangingPunct="1">
              <a:lnSpc>
                <a:spcPct val="80000"/>
              </a:lnSpc>
              <a:spcBef>
                <a:spcPts val="800"/>
              </a:spcBef>
              <a:spcAft>
                <a:spcPct val="0"/>
              </a:spcAft>
              <a:buClrTx/>
              <a:buSzTx/>
              <a:buFont typeface="Arial" pitchFamily="34" charset="0"/>
              <a:buNone/>
              <a:tabLst/>
              <a:defRPr sz="3999" b="0" cap="none"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a:t>
            </a:r>
            <a:r>
              <a:rPr lang="en-US" err="1"/>
              <a:t>eniolestotate</a:t>
            </a:r>
            <a:r>
              <a:rPr lang="en-US"/>
              <a:t> con </a:t>
            </a:r>
            <a:r>
              <a:rPr lang="en-US" err="1"/>
              <a:t>raerum</a:t>
            </a:r>
            <a:r>
              <a:rPr lang="en-US"/>
              <a:t> es </a:t>
            </a:r>
            <a:r>
              <a:rPr lang="en-US" err="1"/>
              <a:t>ini</a:t>
            </a:r>
            <a:r>
              <a:rPr lang="en-US"/>
              <a:t> </a:t>
            </a:r>
            <a:r>
              <a:rPr lang="en-US" err="1"/>
              <a:t>erepudi</a:t>
            </a:r>
            <a:r>
              <a:rPr lang="en-US"/>
              <a:t> </a:t>
            </a:r>
            <a:r>
              <a:rPr lang="en-US" err="1"/>
              <a:t>odit</a:t>
            </a:r>
            <a:r>
              <a:rPr lang="en-US"/>
              <a:t> </a:t>
            </a:r>
            <a:r>
              <a:rPr lang="en-US" err="1"/>
              <a:t>ehendiam</a:t>
            </a:r>
            <a:r>
              <a:rPr lang="en-US"/>
              <a:t> </a:t>
            </a:r>
            <a:r>
              <a:rPr lang="en-US" err="1"/>
              <a:t>eum</a:t>
            </a:r>
            <a:r>
              <a:rPr lang="en-US"/>
              <a:t>.</a:t>
            </a:r>
          </a:p>
        </p:txBody>
      </p:sp>
      <p:sp>
        <p:nvSpPr>
          <p:cNvPr id="11" name="Text Placeholder 5">
            <a:extLst>
              <a:ext uri="{FF2B5EF4-FFF2-40B4-BE49-F238E27FC236}">
                <a16:creationId xmlns:a16="http://schemas.microsoft.com/office/drawing/2014/main" id="{A8F11721-A3B1-4BEC-9C87-0A1FB4A923B2}"/>
              </a:ext>
            </a:extLst>
          </p:cNvPr>
          <p:cNvSpPr>
            <a:spLocks noGrp="1"/>
          </p:cNvSpPr>
          <p:nvPr>
            <p:ph type="body" sz="quarter" idx="35" hasCustomPrompt="1"/>
          </p:nvPr>
        </p:nvSpPr>
        <p:spPr>
          <a:xfrm>
            <a:off x="4797899" y="4543961"/>
            <a:ext cx="6311421" cy="443198"/>
          </a:xfrm>
          <a:prstGeom prst="rect">
            <a:avLst/>
          </a:prstGeo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none" baseline="0">
                <a:solidFill>
                  <a:schemeClr val="bg1"/>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Maximum 3 lines at 16pt, minimum 14pt. </a:t>
            </a:r>
          </a:p>
        </p:txBody>
      </p:sp>
    </p:spTree>
    <p:extLst>
      <p:ext uri="{BB962C8B-B14F-4D97-AF65-F5344CB8AC3E}">
        <p14:creationId xmlns:p14="http://schemas.microsoft.com/office/powerpoint/2010/main" val="339032894"/>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Quote_Purple">
    <p:bg>
      <p:bgPr>
        <a:gradFill>
          <a:gsLst>
            <a:gs pos="0">
              <a:schemeClr val="accent2"/>
            </a:gs>
            <a:gs pos="90000">
              <a:schemeClr val="accent1"/>
            </a:gs>
          </a:gsLst>
          <a:lin ang="2700000" scaled="1"/>
        </a:gra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t>Copyright © 2022 Accenture. All rights reserved.</a:t>
            </a: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6" name="Text Placeholder 5"/>
          <p:cNvSpPr>
            <a:spLocks noGrp="1"/>
          </p:cNvSpPr>
          <p:nvPr>
            <p:ph type="body" sz="quarter" idx="12" hasCustomPrompt="1"/>
          </p:nvPr>
        </p:nvSpPr>
        <p:spPr>
          <a:xfrm>
            <a:off x="877822" y="2272934"/>
            <a:ext cx="10433304" cy="1488997"/>
          </a:xfrm>
        </p:spPr>
        <p:txBody>
          <a:bodyPr wrap="square" anchor="t">
            <a:spAutoFit/>
          </a:bodyPr>
          <a:lstStyle>
            <a:lvl1pPr marL="0" marR="0" indent="0" algn="l" defTabSz="914217" rtl="0" eaLnBrk="1" fontAlgn="base" latinLnBrk="0" hangingPunct="1">
              <a:lnSpc>
                <a:spcPct val="80000"/>
              </a:lnSpc>
              <a:spcBef>
                <a:spcPts val="800"/>
              </a:spcBef>
              <a:spcAft>
                <a:spcPct val="0"/>
              </a:spcAft>
              <a:buClrTx/>
              <a:buSzTx/>
              <a:buFont typeface="Arial" pitchFamily="34" charset="0"/>
              <a:buNone/>
              <a:tabLst/>
              <a:defRPr sz="3999" b="0" cap="none" baseline="0">
                <a:solidFill>
                  <a:schemeClr val="bg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a:t>
            </a:r>
            <a:r>
              <a:rPr lang="en-US" err="1"/>
              <a:t>eniolestotate</a:t>
            </a:r>
            <a:r>
              <a:rPr lang="en-US"/>
              <a:t> con </a:t>
            </a:r>
            <a:r>
              <a:rPr lang="en-US" err="1"/>
              <a:t>raerum</a:t>
            </a:r>
            <a:r>
              <a:rPr lang="en-US"/>
              <a:t> es </a:t>
            </a:r>
            <a:r>
              <a:rPr lang="en-US" err="1"/>
              <a:t>ini</a:t>
            </a:r>
            <a:r>
              <a:rPr lang="en-US"/>
              <a:t> </a:t>
            </a:r>
            <a:r>
              <a:rPr lang="en-US" err="1"/>
              <a:t>erepudi</a:t>
            </a:r>
            <a:r>
              <a:rPr lang="en-US"/>
              <a:t> </a:t>
            </a:r>
            <a:r>
              <a:rPr lang="en-US" err="1"/>
              <a:t>odit</a:t>
            </a:r>
            <a:r>
              <a:rPr lang="en-US"/>
              <a:t> </a:t>
            </a:r>
            <a:r>
              <a:rPr lang="en-US" err="1"/>
              <a:t>ehendiam</a:t>
            </a:r>
            <a:r>
              <a:rPr lang="en-US"/>
              <a:t> </a:t>
            </a:r>
            <a:r>
              <a:rPr lang="en-US" err="1"/>
              <a:t>eum</a:t>
            </a:r>
            <a:r>
              <a:rPr lang="en-US"/>
              <a:t>.</a:t>
            </a:r>
          </a:p>
        </p:txBody>
      </p:sp>
      <p:sp>
        <p:nvSpPr>
          <p:cNvPr id="9" name="Text Placeholder 5"/>
          <p:cNvSpPr>
            <a:spLocks noGrp="1"/>
          </p:cNvSpPr>
          <p:nvPr>
            <p:ph type="body" sz="quarter" idx="35" hasCustomPrompt="1"/>
          </p:nvPr>
        </p:nvSpPr>
        <p:spPr>
          <a:xfrm>
            <a:off x="4800600" y="4543961"/>
            <a:ext cx="6510526"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none" baseline="0">
                <a:solidFill>
                  <a:schemeClr val="bg1"/>
                </a:solidFill>
                <a:latin typeface="+mn-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author’s details here.</a:t>
            </a:r>
            <a:br>
              <a:rPr lang="en-US"/>
            </a:br>
            <a:r>
              <a:rPr lang="en-US"/>
              <a:t>Maximum 3 lines at 16pt, minimum 14pt. </a:t>
            </a:r>
          </a:p>
        </p:txBody>
      </p:sp>
      <p:grpSp>
        <p:nvGrpSpPr>
          <p:cNvPr id="8" name="Group 4"/>
          <p:cNvGrpSpPr>
            <a:grpSpLocks noChangeAspect="1"/>
          </p:cNvGrpSpPr>
          <p:nvPr userDrawn="1"/>
        </p:nvGrpSpPr>
        <p:grpSpPr bwMode="auto">
          <a:xfrm>
            <a:off x="3175" y="1030919"/>
            <a:ext cx="12193200" cy="692579"/>
            <a:chOff x="2" y="233"/>
            <a:chExt cx="7676" cy="436"/>
          </a:xfrm>
        </p:grpSpPr>
        <p:sp>
          <p:nvSpPr>
            <p:cNvPr id="10" name="Freeform 5"/>
            <p:cNvSpPr>
              <a:spLocks/>
            </p:cNvSpPr>
            <p:nvPr/>
          </p:nvSpPr>
          <p:spPr bwMode="auto">
            <a:xfrm>
              <a:off x="2" y="233"/>
              <a:ext cx="883" cy="436"/>
            </a:xfrm>
            <a:custGeom>
              <a:avLst/>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bg1">
                  <a:alpha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p:nvSpPr>
          <p:spPr bwMode="auto">
            <a:xfrm>
              <a:off x="935" y="233"/>
              <a:ext cx="6743" cy="436"/>
            </a:xfrm>
            <a:custGeom>
              <a:avLst/>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bg1">
                  <a:alpha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4"/>
          <p:cNvGrpSpPr>
            <a:grpSpLocks noChangeAspect="1"/>
          </p:cNvGrpSpPr>
          <p:nvPr userDrawn="1"/>
        </p:nvGrpSpPr>
        <p:grpSpPr bwMode="auto">
          <a:xfrm flipH="1" flipV="1">
            <a:off x="-600" y="5340438"/>
            <a:ext cx="12193200" cy="692579"/>
            <a:chOff x="2" y="233"/>
            <a:chExt cx="7676" cy="436"/>
          </a:xfrm>
        </p:grpSpPr>
        <p:sp>
          <p:nvSpPr>
            <p:cNvPr id="13" name="Freeform 5"/>
            <p:cNvSpPr>
              <a:spLocks/>
            </p:cNvSpPr>
            <p:nvPr/>
          </p:nvSpPr>
          <p:spPr bwMode="auto">
            <a:xfrm>
              <a:off x="2" y="233"/>
              <a:ext cx="883" cy="436"/>
            </a:xfrm>
            <a:custGeom>
              <a:avLst/>
              <a:gdLst>
                <a:gd name="T0" fmla="*/ 0 w 563"/>
                <a:gd name="T1" fmla="*/ 275 h 275"/>
                <a:gd name="T2" fmla="*/ 367 w 563"/>
                <a:gd name="T3" fmla="*/ 275 h 275"/>
                <a:gd name="T4" fmla="*/ 367 w 563"/>
                <a:gd name="T5" fmla="*/ 214 h 275"/>
                <a:gd name="T6" fmla="*/ 403 w 563"/>
                <a:gd name="T7" fmla="*/ 84 h 275"/>
                <a:gd name="T8" fmla="*/ 520 w 563"/>
                <a:gd name="T9" fmla="*/ 0 h 275"/>
                <a:gd name="T10" fmla="*/ 563 w 563"/>
                <a:gd name="T11" fmla="*/ 79 h 275"/>
                <a:gd name="T12" fmla="*/ 492 w 563"/>
                <a:gd name="T13" fmla="*/ 128 h 275"/>
                <a:gd name="T14" fmla="*/ 469 w 563"/>
                <a:gd name="T15" fmla="*/ 184 h 275"/>
                <a:gd name="T16" fmla="*/ 563 w 563"/>
                <a:gd name="T17" fmla="*/ 184 h 275"/>
                <a:gd name="T18" fmla="*/ 563 w 563"/>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275">
                  <a:moveTo>
                    <a:pt x="0" y="275"/>
                  </a:moveTo>
                  <a:cubicBezTo>
                    <a:pt x="367" y="275"/>
                    <a:pt x="367" y="275"/>
                    <a:pt x="367" y="275"/>
                  </a:cubicBezTo>
                  <a:cubicBezTo>
                    <a:pt x="367" y="214"/>
                    <a:pt x="367" y="214"/>
                    <a:pt x="367" y="214"/>
                  </a:cubicBezTo>
                  <a:cubicBezTo>
                    <a:pt x="367" y="160"/>
                    <a:pt x="378" y="116"/>
                    <a:pt x="403" y="84"/>
                  </a:cubicBezTo>
                  <a:cubicBezTo>
                    <a:pt x="425" y="52"/>
                    <a:pt x="465" y="24"/>
                    <a:pt x="520" y="0"/>
                  </a:cubicBezTo>
                  <a:cubicBezTo>
                    <a:pt x="520" y="0"/>
                    <a:pt x="520" y="0"/>
                    <a:pt x="563" y="79"/>
                  </a:cubicBezTo>
                  <a:cubicBezTo>
                    <a:pt x="529" y="96"/>
                    <a:pt x="505" y="111"/>
                    <a:pt x="492" y="128"/>
                  </a:cubicBezTo>
                  <a:cubicBezTo>
                    <a:pt x="478" y="143"/>
                    <a:pt x="471" y="161"/>
                    <a:pt x="469" y="184"/>
                  </a:cubicBezTo>
                  <a:cubicBezTo>
                    <a:pt x="469" y="184"/>
                    <a:pt x="469" y="184"/>
                    <a:pt x="563" y="184"/>
                  </a:cubicBezTo>
                  <a:cubicBezTo>
                    <a:pt x="563" y="275"/>
                    <a:pt x="563" y="275"/>
                    <a:pt x="563" y="275"/>
                  </a:cubicBezTo>
                </a:path>
              </a:pathLst>
            </a:custGeom>
            <a:noFill/>
            <a:ln w="19050" cap="flat">
              <a:solidFill>
                <a:schemeClr val="bg1">
                  <a:alpha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a:spLocks/>
            </p:cNvSpPr>
            <p:nvPr/>
          </p:nvSpPr>
          <p:spPr bwMode="auto">
            <a:xfrm>
              <a:off x="935" y="233"/>
              <a:ext cx="6743" cy="436"/>
            </a:xfrm>
            <a:custGeom>
              <a:avLst/>
              <a:gdLst>
                <a:gd name="T0" fmla="*/ 4299 w 4299"/>
                <a:gd name="T1" fmla="*/ 275 h 275"/>
                <a:gd name="T2" fmla="*/ 197 w 4299"/>
                <a:gd name="T3" fmla="*/ 275 h 275"/>
                <a:gd name="T4" fmla="*/ 197 w 4299"/>
                <a:gd name="T5" fmla="*/ 184 h 275"/>
                <a:gd name="T6" fmla="*/ 103 w 4299"/>
                <a:gd name="T7" fmla="*/ 184 h 275"/>
                <a:gd name="T8" fmla="*/ 125 w 4299"/>
                <a:gd name="T9" fmla="*/ 128 h 275"/>
                <a:gd name="T10" fmla="*/ 197 w 4299"/>
                <a:gd name="T11" fmla="*/ 79 h 275"/>
                <a:gd name="T12" fmla="*/ 154 w 4299"/>
                <a:gd name="T13" fmla="*/ 0 h 275"/>
                <a:gd name="T14" fmla="*/ 35 w 4299"/>
                <a:gd name="T15" fmla="*/ 84 h 275"/>
                <a:gd name="T16" fmla="*/ 0 w 4299"/>
                <a:gd name="T17" fmla="*/ 214 h 275"/>
                <a:gd name="T18" fmla="*/ 0 w 4299"/>
                <a:gd name="T1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9" h="275">
                  <a:moveTo>
                    <a:pt x="4299" y="275"/>
                  </a:moveTo>
                  <a:cubicBezTo>
                    <a:pt x="197" y="275"/>
                    <a:pt x="197" y="275"/>
                    <a:pt x="197" y="275"/>
                  </a:cubicBezTo>
                  <a:cubicBezTo>
                    <a:pt x="197" y="184"/>
                    <a:pt x="197" y="184"/>
                    <a:pt x="197" y="184"/>
                  </a:cubicBezTo>
                  <a:cubicBezTo>
                    <a:pt x="103" y="184"/>
                    <a:pt x="103" y="184"/>
                    <a:pt x="103" y="184"/>
                  </a:cubicBezTo>
                  <a:cubicBezTo>
                    <a:pt x="104" y="161"/>
                    <a:pt x="112" y="143"/>
                    <a:pt x="125" y="128"/>
                  </a:cubicBezTo>
                  <a:cubicBezTo>
                    <a:pt x="138" y="111"/>
                    <a:pt x="161" y="96"/>
                    <a:pt x="197" y="79"/>
                  </a:cubicBezTo>
                  <a:cubicBezTo>
                    <a:pt x="154" y="0"/>
                    <a:pt x="154" y="0"/>
                    <a:pt x="154" y="0"/>
                  </a:cubicBezTo>
                  <a:cubicBezTo>
                    <a:pt x="99" y="24"/>
                    <a:pt x="59" y="52"/>
                    <a:pt x="35" y="84"/>
                  </a:cubicBezTo>
                  <a:cubicBezTo>
                    <a:pt x="12" y="116"/>
                    <a:pt x="0" y="160"/>
                    <a:pt x="0" y="214"/>
                  </a:cubicBezTo>
                  <a:cubicBezTo>
                    <a:pt x="0" y="237"/>
                    <a:pt x="0" y="275"/>
                    <a:pt x="0" y="275"/>
                  </a:cubicBezTo>
                </a:path>
              </a:pathLst>
            </a:custGeom>
            <a:noFill/>
            <a:ln w="19050" cap="flat">
              <a:solidFill>
                <a:schemeClr val="bg1">
                  <a:alpha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19424702"/>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_Whit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2195392" y="1775407"/>
            <a:ext cx="8183563" cy="1477328"/>
          </a:xfrm>
        </p:spPr>
        <p:txBody>
          <a:bodyPr wrap="square" anchor="t">
            <a:spAutoFit/>
          </a:bodyPr>
          <a:lstStyle>
            <a:lvl1pPr marL="0" marR="0" indent="0" algn="l" defTabSz="914217" rtl="0" eaLnBrk="1" fontAlgn="base" latinLnBrk="0" hangingPunct="1">
              <a:lnSpc>
                <a:spcPct val="100000"/>
              </a:lnSpc>
              <a:spcBef>
                <a:spcPts val="800"/>
              </a:spcBef>
              <a:spcAft>
                <a:spcPct val="0"/>
              </a:spcAft>
              <a:buClrTx/>
              <a:buSzTx/>
              <a:buFont typeface="Arial" pitchFamily="34" charset="0"/>
              <a:buNone/>
              <a:tabLst/>
              <a:defRPr sz="3200" b="0" cap="none" baseline="0">
                <a:solidFill>
                  <a:schemeClr val="tx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quote at 40pt min 36pt max 4 lines as se </a:t>
            </a:r>
            <a:r>
              <a:rPr lang="en-US" err="1"/>
              <a:t>eniolestotate</a:t>
            </a:r>
            <a:r>
              <a:rPr lang="en-US"/>
              <a:t> con </a:t>
            </a:r>
            <a:r>
              <a:rPr lang="en-US" err="1"/>
              <a:t>raerum</a:t>
            </a:r>
            <a:r>
              <a:rPr lang="en-US"/>
              <a:t> es </a:t>
            </a:r>
            <a:r>
              <a:rPr lang="en-US" err="1"/>
              <a:t>ini</a:t>
            </a:r>
            <a:r>
              <a:rPr lang="en-US"/>
              <a:t> </a:t>
            </a:r>
            <a:r>
              <a:rPr lang="en-US" err="1"/>
              <a:t>erepudi</a:t>
            </a:r>
            <a:r>
              <a:rPr lang="en-US"/>
              <a:t> </a:t>
            </a:r>
            <a:r>
              <a:rPr lang="en-US" err="1"/>
              <a:t>odit</a:t>
            </a:r>
            <a:r>
              <a:rPr lang="en-US"/>
              <a:t> </a:t>
            </a:r>
            <a:r>
              <a:rPr lang="en-US" err="1"/>
              <a:t>ehendiam</a:t>
            </a:r>
            <a:r>
              <a:rPr lang="en-US"/>
              <a:t> </a:t>
            </a:r>
            <a:r>
              <a:rPr lang="en-US" err="1"/>
              <a:t>eum</a:t>
            </a:r>
            <a:r>
              <a:rPr lang="en-US"/>
              <a:t>.</a:t>
            </a:r>
          </a:p>
        </p:txBody>
      </p:sp>
      <p:sp>
        <p:nvSpPr>
          <p:cNvPr id="9" name="Text Placeholder 5"/>
          <p:cNvSpPr>
            <a:spLocks noGrp="1"/>
          </p:cNvSpPr>
          <p:nvPr>
            <p:ph type="body" sz="quarter" idx="35" hasCustomPrompt="1"/>
          </p:nvPr>
        </p:nvSpPr>
        <p:spPr>
          <a:xfrm>
            <a:off x="7016750" y="4852491"/>
            <a:ext cx="3351213" cy="772519"/>
          </a:xfrm>
        </p:spPr>
        <p:txBody>
          <a:bodyPr wrap="square" anchor="ctr">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400" b="0" cap="none" baseline="0">
                <a:solidFill>
                  <a:schemeClr val="tx1"/>
                </a:solidFill>
                <a:latin typeface="+mn-lt"/>
              </a:defRPr>
            </a:lvl1pPr>
            <a:lvl2pPr algn="l">
              <a:lnSpc>
                <a:spcPct val="100000"/>
              </a:lnSpc>
              <a:spcBef>
                <a:spcPts val="0"/>
              </a:spcBef>
              <a:spcAft>
                <a:spcPts val="600"/>
              </a:spcAft>
              <a:defRPr sz="2000" b="1">
                <a:solidFill>
                  <a:schemeClr val="accent1"/>
                </a:solidFill>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pPr lvl="1"/>
            <a:r>
              <a:rPr lang="en-US"/>
              <a:t>Insert Name</a:t>
            </a:r>
          </a:p>
          <a:p>
            <a:r>
              <a:rPr lang="en-US"/>
              <a:t>Insert author’s details here.</a:t>
            </a:r>
            <a:br>
              <a:rPr lang="en-US"/>
            </a:br>
            <a:r>
              <a:rPr lang="en-US"/>
              <a:t>Maximum 3 lines at 16pt, minimum 14pt. </a:t>
            </a:r>
          </a:p>
        </p:txBody>
      </p:sp>
      <p:sp>
        <p:nvSpPr>
          <p:cNvPr id="15" name="Footer Placeholder 8">
            <a:extLst>
              <a:ext uri="{FF2B5EF4-FFF2-40B4-BE49-F238E27FC236}">
                <a16:creationId xmlns:a16="http://schemas.microsoft.com/office/drawing/2014/main" id="{74812D71-1472-4589-9F28-15B1DDED6AD1}"/>
              </a:ext>
            </a:extLst>
          </p:cNvPr>
          <p:cNvSpPr>
            <a:spLocks noGrp="1"/>
          </p:cNvSpPr>
          <p:nvPr>
            <p:ph type="ftr" sz="quarter" idx="37"/>
          </p:nvPr>
        </p:nvSpPr>
        <p:spPr>
          <a:xfrm>
            <a:off x="7423200" y="6382054"/>
            <a:ext cx="4114800" cy="163513"/>
          </a:xfrm>
        </p:spPr>
        <p:txBody>
          <a:bodyPr/>
          <a:lstStyle/>
          <a:p>
            <a:r>
              <a:rPr lang="en-AU"/>
              <a:t>Copyright © 2022 Accenture. All rights reserved.</a:t>
            </a:r>
          </a:p>
        </p:txBody>
      </p:sp>
      <p:sp>
        <p:nvSpPr>
          <p:cNvPr id="16" name="Slide Number Placeholder 9">
            <a:extLst>
              <a:ext uri="{FF2B5EF4-FFF2-40B4-BE49-F238E27FC236}">
                <a16:creationId xmlns:a16="http://schemas.microsoft.com/office/drawing/2014/main" id="{205ECBB1-AFE9-464B-8266-5A7DCA85F91A}"/>
              </a:ext>
            </a:extLst>
          </p:cNvPr>
          <p:cNvSpPr>
            <a:spLocks noGrp="1"/>
          </p:cNvSpPr>
          <p:nvPr>
            <p:ph type="sldNum" sz="quarter" idx="38"/>
          </p:nvPr>
        </p:nvSpPr>
        <p:spPr>
          <a:xfrm>
            <a:off x="11625945" y="6382054"/>
            <a:ext cx="235945" cy="163513"/>
          </a:xfrm>
        </p:spPr>
        <p:txBody>
          <a:bodyPr/>
          <a:lstStyle/>
          <a:p>
            <a:fld id="{FC1BBE33-A891-48E8-970C-4A8D55F96D53}" type="slidenum">
              <a:rPr lang="en-AU" smtClean="0"/>
              <a:pPr/>
              <a:t>‹#›</a:t>
            </a:fld>
            <a:endParaRPr lang="en-AU"/>
          </a:p>
        </p:txBody>
      </p:sp>
      <p:sp>
        <p:nvSpPr>
          <p:cNvPr id="3" name="Picture Placeholder 2">
            <a:extLst>
              <a:ext uri="{FF2B5EF4-FFF2-40B4-BE49-F238E27FC236}">
                <a16:creationId xmlns:a16="http://schemas.microsoft.com/office/drawing/2014/main" id="{93B00F80-0C2D-45DD-92C0-2E1F0263C361}"/>
              </a:ext>
            </a:extLst>
          </p:cNvPr>
          <p:cNvSpPr>
            <a:spLocks noGrp="1"/>
          </p:cNvSpPr>
          <p:nvPr>
            <p:ph type="pic" sz="quarter" idx="39"/>
          </p:nvPr>
        </p:nvSpPr>
        <p:spPr>
          <a:xfrm>
            <a:off x="5778500" y="4686300"/>
            <a:ext cx="1104900" cy="1104900"/>
          </a:xfrm>
          <a:solidFill>
            <a:schemeClr val="tx2">
              <a:lumMod val="40000"/>
              <a:lumOff val="60000"/>
            </a:schemeClr>
          </a:solidFill>
        </p:spPr>
        <p:txBody>
          <a:bodyPr lIns="72000" tIns="72000" rIns="72000"/>
          <a:lstStyle>
            <a:lvl1pPr>
              <a:defRPr sz="1400"/>
            </a:lvl1pPr>
          </a:lstStyle>
          <a:p>
            <a:endParaRPr lang="en-US"/>
          </a:p>
        </p:txBody>
      </p:sp>
    </p:spTree>
    <p:extLst>
      <p:ext uri="{BB962C8B-B14F-4D97-AF65-F5344CB8AC3E}">
        <p14:creationId xmlns:p14="http://schemas.microsoft.com/office/powerpoint/2010/main" val="1416256377"/>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able 1.1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E9E677-7C6B-462C-9193-311E902B79DD}"/>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DD274E69-7B69-4385-946C-6FF0B68DB8B5}"/>
              </a:ext>
            </a:extLst>
          </p:cNvPr>
          <p:cNvSpPr>
            <a:spLocks noGrp="1"/>
          </p:cNvSpPr>
          <p:nvPr>
            <p:ph type="ftr" sz="quarter" idx="37"/>
          </p:nvPr>
        </p:nvSpPr>
        <p:spPr/>
        <p:txBody>
          <a:bodyPr/>
          <a:lstStyle/>
          <a:p>
            <a:r>
              <a:rPr lang="en-AU"/>
              <a:t>Copyright © 2022 Accenture. All rights reserved.</a:t>
            </a:r>
          </a:p>
        </p:txBody>
      </p:sp>
      <p:sp>
        <p:nvSpPr>
          <p:cNvPr id="10" name="Slide Number Placeholder 9">
            <a:extLst>
              <a:ext uri="{FF2B5EF4-FFF2-40B4-BE49-F238E27FC236}">
                <a16:creationId xmlns:a16="http://schemas.microsoft.com/office/drawing/2014/main" id="{719E2DBE-8B18-4E2E-AE9F-7700CC37B66E}"/>
              </a:ext>
            </a:extLst>
          </p:cNvPr>
          <p:cNvSpPr>
            <a:spLocks noGrp="1"/>
          </p:cNvSpPr>
          <p:nvPr>
            <p:ph type="sldNum" sz="quarter" idx="38"/>
          </p:nvPr>
        </p:nvSpPr>
        <p:spPr/>
        <p:txBody>
          <a:bodyPr/>
          <a:lstStyle/>
          <a:p>
            <a:fld id="{FC1BBE33-A891-48E8-970C-4A8D55F96D53}" type="slidenum">
              <a:rPr lang="en-AU" smtClean="0"/>
              <a:pPr/>
              <a:t>‹#›</a:t>
            </a:fld>
            <a:endParaRPr lang="en-AU"/>
          </a:p>
        </p:txBody>
      </p:sp>
      <p:sp>
        <p:nvSpPr>
          <p:cNvPr id="4" name="Table Placeholder 3">
            <a:extLst>
              <a:ext uri="{FF2B5EF4-FFF2-40B4-BE49-F238E27FC236}">
                <a16:creationId xmlns:a16="http://schemas.microsoft.com/office/drawing/2014/main" id="{3D840D69-39FE-4C96-B453-F41DC6177C10}"/>
              </a:ext>
            </a:extLst>
          </p:cNvPr>
          <p:cNvSpPr>
            <a:spLocks noGrp="1"/>
          </p:cNvSpPr>
          <p:nvPr>
            <p:ph type="tbl" sz="quarter" idx="39"/>
          </p:nvPr>
        </p:nvSpPr>
        <p:spPr>
          <a:xfrm>
            <a:off x="339725" y="1768475"/>
            <a:ext cx="11522165" cy="4287837"/>
          </a:xfrm>
        </p:spPr>
        <p:txBody>
          <a:bodyPr/>
          <a:lstStyle/>
          <a:p>
            <a:endParaRPr lang="en-AU"/>
          </a:p>
        </p:txBody>
      </p:sp>
    </p:spTree>
    <p:extLst>
      <p:ext uri="{BB962C8B-B14F-4D97-AF65-F5344CB8AC3E}">
        <p14:creationId xmlns:p14="http://schemas.microsoft.com/office/powerpoint/2010/main" val="3488119115"/>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able 1.3 – Two tabl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453A10A-0B73-4EBB-A3E0-66B4DD63FAA6}"/>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715B152F-2E8E-4A2B-B30C-BB57884B6373}"/>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Title 4">
            <a:extLst>
              <a:ext uri="{FF2B5EF4-FFF2-40B4-BE49-F238E27FC236}">
                <a16:creationId xmlns:a16="http://schemas.microsoft.com/office/drawing/2014/main" id="{8D27BE68-06C7-4A8F-B62D-1EFBC8B6C55E}"/>
              </a:ext>
            </a:extLst>
          </p:cNvPr>
          <p:cNvSpPr>
            <a:spLocks noGrp="1"/>
          </p:cNvSpPr>
          <p:nvPr>
            <p:ph type="title"/>
          </p:nvPr>
        </p:nvSpPr>
        <p:spPr/>
        <p:txBody>
          <a:bodyPr/>
          <a:lstStyle/>
          <a:p>
            <a:r>
              <a:rPr lang="en-US"/>
              <a:t>Click to edit Master title style</a:t>
            </a:r>
            <a:endParaRPr lang="en-AU"/>
          </a:p>
        </p:txBody>
      </p:sp>
      <p:sp>
        <p:nvSpPr>
          <p:cNvPr id="19" name="Subtitle">
            <a:extLst>
              <a:ext uri="{FF2B5EF4-FFF2-40B4-BE49-F238E27FC236}">
                <a16:creationId xmlns:a16="http://schemas.microsoft.com/office/drawing/2014/main" id="{04FF4DF1-3ADD-445E-B2B7-A8E46D765A73}"/>
              </a:ext>
            </a:extLst>
          </p:cNvPr>
          <p:cNvSpPr>
            <a:spLocks noGrp="1"/>
          </p:cNvSpPr>
          <p:nvPr>
            <p:ph type="body" sz="quarter" idx="36" hasCustomPrompt="1"/>
          </p:nvPr>
        </p:nvSpPr>
        <p:spPr>
          <a:xfrm>
            <a:off x="3343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8" name="Table Placeholder 7">
            <a:extLst>
              <a:ext uri="{FF2B5EF4-FFF2-40B4-BE49-F238E27FC236}">
                <a16:creationId xmlns:a16="http://schemas.microsoft.com/office/drawing/2014/main" id="{EDD567FC-832E-4F40-AE26-1D9B91BC5F25}"/>
              </a:ext>
            </a:extLst>
          </p:cNvPr>
          <p:cNvSpPr>
            <a:spLocks noGrp="1"/>
          </p:cNvSpPr>
          <p:nvPr>
            <p:ph type="tbl" sz="quarter" idx="64"/>
          </p:nvPr>
        </p:nvSpPr>
        <p:spPr>
          <a:xfrm>
            <a:off x="339725" y="1768476"/>
            <a:ext cx="5580063" cy="4287838"/>
          </a:xfrm>
        </p:spPr>
        <p:txBody>
          <a:bodyPr/>
          <a:lstStyle>
            <a:lvl1pPr>
              <a:defRPr sz="1400"/>
            </a:lvl1pPr>
          </a:lstStyle>
          <a:p>
            <a:endParaRPr lang="en-AU"/>
          </a:p>
        </p:txBody>
      </p:sp>
      <p:sp>
        <p:nvSpPr>
          <p:cNvPr id="23" name="Table Placeholder 7">
            <a:extLst>
              <a:ext uri="{FF2B5EF4-FFF2-40B4-BE49-F238E27FC236}">
                <a16:creationId xmlns:a16="http://schemas.microsoft.com/office/drawing/2014/main" id="{42A78D94-B132-4587-A4B9-94D845302EF1}"/>
              </a:ext>
            </a:extLst>
          </p:cNvPr>
          <p:cNvSpPr>
            <a:spLocks noGrp="1"/>
          </p:cNvSpPr>
          <p:nvPr>
            <p:ph type="tbl" sz="quarter" idx="65"/>
          </p:nvPr>
        </p:nvSpPr>
        <p:spPr>
          <a:xfrm>
            <a:off x="6275388" y="1768476"/>
            <a:ext cx="5580063" cy="4287838"/>
          </a:xfrm>
        </p:spPr>
        <p:txBody>
          <a:bodyPr/>
          <a:lstStyle>
            <a:lvl1pPr>
              <a:defRPr sz="1400"/>
            </a:lvl1pPr>
          </a:lstStyle>
          <a:p>
            <a:endParaRPr lang="en-AU"/>
          </a:p>
        </p:txBody>
      </p:sp>
    </p:spTree>
    <p:extLst>
      <p:ext uri="{BB962C8B-B14F-4D97-AF65-F5344CB8AC3E}">
        <p14:creationId xmlns:p14="http://schemas.microsoft.com/office/powerpoint/2010/main" val="721061439"/>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orld Map (reversed)">
    <p:bg>
      <p:bgPr>
        <a:solidFill>
          <a:schemeClr val="accent2"/>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F33CEA-3497-4750-99C5-F50E646AFA66}"/>
              </a:ext>
            </a:extLst>
          </p:cNvPr>
          <p:cNvSpPr>
            <a:spLocks noGrp="1"/>
          </p:cNvSpPr>
          <p:nvPr>
            <p:ph type="ftr" sz="quarter" idx="10"/>
          </p:nvPr>
        </p:nvSpPr>
        <p:spPr/>
        <p:txBody>
          <a:bodyPr/>
          <a:lstStyle>
            <a:lvl1pPr>
              <a:defRPr>
                <a:solidFill>
                  <a:schemeClr val="bg1">
                    <a:alpha val="50000"/>
                  </a:schemeClr>
                </a:solidFill>
              </a:defRPr>
            </a:lvl1pPr>
          </a:lstStyle>
          <a:p>
            <a:r>
              <a:rPr lang="en-AU"/>
              <a:t>Copyright © 2022 Accenture. All rights reserved.</a:t>
            </a:r>
            <a:endParaRPr lang="en-GB"/>
          </a:p>
        </p:txBody>
      </p:sp>
      <p:sp>
        <p:nvSpPr>
          <p:cNvPr id="4" name="Slide Number Placeholder 3">
            <a:extLst>
              <a:ext uri="{FF2B5EF4-FFF2-40B4-BE49-F238E27FC236}">
                <a16:creationId xmlns:a16="http://schemas.microsoft.com/office/drawing/2014/main" id="{5DBF6CEE-C791-4DB6-8409-D21313778C07}"/>
              </a:ext>
            </a:extLst>
          </p:cNvPr>
          <p:cNvSpPr>
            <a:spLocks noGrp="1"/>
          </p:cNvSpPr>
          <p:nvPr>
            <p:ph type="sldNum" sz="quarter" idx="11"/>
          </p:nvPr>
        </p:nvSpPr>
        <p:spPr/>
        <p:txBody>
          <a:bodyPr/>
          <a:lstStyle>
            <a:lvl1pPr>
              <a:defRPr>
                <a:solidFill>
                  <a:schemeClr val="bg1">
                    <a:alpha val="50000"/>
                  </a:schemeClr>
                </a:solidFill>
              </a:defRPr>
            </a:lvl1pPr>
          </a:lstStyle>
          <a:p>
            <a:fld id="{EF2F7A32-C1EA-4F7E-B0A2-7FCB5BFE90DE}" type="slidenum">
              <a:rPr lang="en-AU" smtClean="0"/>
              <a:pPr/>
              <a:t>‹#›</a:t>
            </a:fld>
            <a:endParaRPr lang="en-AU"/>
          </a:p>
        </p:txBody>
      </p:sp>
      <p:grpSp>
        <p:nvGrpSpPr>
          <p:cNvPr id="5" name="Group 4">
            <a:extLst>
              <a:ext uri="{FF2B5EF4-FFF2-40B4-BE49-F238E27FC236}">
                <a16:creationId xmlns:a16="http://schemas.microsoft.com/office/drawing/2014/main" id="{40B94006-176E-4431-92B8-C480F62A93B6}"/>
              </a:ext>
            </a:extLst>
          </p:cNvPr>
          <p:cNvGrpSpPr/>
          <p:nvPr userDrawn="1"/>
        </p:nvGrpSpPr>
        <p:grpSpPr>
          <a:xfrm>
            <a:off x="2200386" y="1926779"/>
            <a:ext cx="7788059" cy="3824990"/>
            <a:chOff x="2197101" y="1982788"/>
            <a:chExt cx="7789861" cy="3825875"/>
          </a:xfrm>
          <a:solidFill>
            <a:schemeClr val="accent1"/>
          </a:solidFill>
        </p:grpSpPr>
        <p:grpSp>
          <p:nvGrpSpPr>
            <p:cNvPr id="6" name="Group 206">
              <a:extLst>
                <a:ext uri="{FF2B5EF4-FFF2-40B4-BE49-F238E27FC236}">
                  <a16:creationId xmlns:a16="http://schemas.microsoft.com/office/drawing/2014/main" id="{3CD1D97C-D503-48EE-8631-170BE90A0456}"/>
                </a:ext>
              </a:extLst>
            </p:cNvPr>
            <p:cNvGrpSpPr>
              <a:grpSpLocks/>
            </p:cNvGrpSpPr>
            <p:nvPr/>
          </p:nvGrpSpPr>
          <p:grpSpPr bwMode="auto">
            <a:xfrm>
              <a:off x="2882900" y="1997075"/>
              <a:ext cx="6932612" cy="3551238"/>
              <a:chOff x="1816" y="1258"/>
              <a:chExt cx="4367" cy="2237"/>
            </a:xfrm>
            <a:grpFill/>
          </p:grpSpPr>
          <p:sp>
            <p:nvSpPr>
              <p:cNvPr id="40" name="Freeform 6">
                <a:extLst>
                  <a:ext uri="{FF2B5EF4-FFF2-40B4-BE49-F238E27FC236}">
                    <a16:creationId xmlns:a16="http://schemas.microsoft.com/office/drawing/2014/main" id="{47D238CD-E39E-45CE-9C6A-2431846B9E4A}"/>
                  </a:ext>
                </a:extLst>
              </p:cNvPr>
              <p:cNvSpPr>
                <a:spLocks/>
              </p:cNvSpPr>
              <p:nvPr/>
            </p:nvSpPr>
            <p:spPr bwMode="auto">
              <a:xfrm>
                <a:off x="1816" y="1905"/>
                <a:ext cx="1" cy="3"/>
              </a:xfrm>
              <a:custGeom>
                <a:avLst/>
                <a:gdLst>
                  <a:gd name="T0" fmla="*/ 0 w 1"/>
                  <a:gd name="T1" fmla="*/ 0 h 3"/>
                  <a:gd name="T2" fmla="*/ 0 w 1"/>
                  <a:gd name="T3" fmla="*/ 0 h 3"/>
                  <a:gd name="T4" fmla="*/ 1 w 1"/>
                  <a:gd name="T5" fmla="*/ 3 h 3"/>
                  <a:gd name="T6" fmla="*/ 0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lnTo>
                      <a:pt x="0" y="0"/>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1" name="Freeform 7">
                <a:extLst>
                  <a:ext uri="{FF2B5EF4-FFF2-40B4-BE49-F238E27FC236}">
                    <a16:creationId xmlns:a16="http://schemas.microsoft.com/office/drawing/2014/main" id="{4AFD66C5-C7E6-40CD-95E8-6D987AFC873E}"/>
                  </a:ext>
                </a:extLst>
              </p:cNvPr>
              <p:cNvSpPr>
                <a:spLocks/>
              </p:cNvSpPr>
              <p:nvPr/>
            </p:nvSpPr>
            <p:spPr bwMode="auto">
              <a:xfrm>
                <a:off x="1817" y="1903"/>
                <a:ext cx="21" cy="17"/>
              </a:xfrm>
              <a:custGeom>
                <a:avLst/>
                <a:gdLst>
                  <a:gd name="T0" fmla="*/ 9 w 21"/>
                  <a:gd name="T1" fmla="*/ 15 h 17"/>
                  <a:gd name="T2" fmla="*/ 5 w 21"/>
                  <a:gd name="T3" fmla="*/ 13 h 17"/>
                  <a:gd name="T4" fmla="*/ 8 w 21"/>
                  <a:gd name="T5" fmla="*/ 17 h 17"/>
                  <a:gd name="T6" fmla="*/ 10 w 21"/>
                  <a:gd name="T7" fmla="*/ 15 h 17"/>
                  <a:gd name="T8" fmla="*/ 11 w 21"/>
                  <a:gd name="T9" fmla="*/ 13 h 17"/>
                  <a:gd name="T10" fmla="*/ 9 w 21"/>
                  <a:gd name="T11" fmla="*/ 11 h 17"/>
                  <a:gd name="T12" fmla="*/ 11 w 21"/>
                  <a:gd name="T13" fmla="*/ 11 h 17"/>
                  <a:gd name="T14" fmla="*/ 17 w 21"/>
                  <a:gd name="T15" fmla="*/ 13 h 17"/>
                  <a:gd name="T16" fmla="*/ 19 w 21"/>
                  <a:gd name="T17" fmla="*/ 14 h 17"/>
                  <a:gd name="T18" fmla="*/ 21 w 21"/>
                  <a:gd name="T19" fmla="*/ 12 h 17"/>
                  <a:gd name="T20" fmla="*/ 20 w 21"/>
                  <a:gd name="T21" fmla="*/ 10 h 17"/>
                  <a:gd name="T22" fmla="*/ 14 w 21"/>
                  <a:gd name="T23" fmla="*/ 10 h 17"/>
                  <a:gd name="T24" fmla="*/ 12 w 21"/>
                  <a:gd name="T25" fmla="*/ 8 h 17"/>
                  <a:gd name="T26" fmla="*/ 7 w 21"/>
                  <a:gd name="T27" fmla="*/ 4 h 17"/>
                  <a:gd name="T28" fmla="*/ 14 w 21"/>
                  <a:gd name="T29" fmla="*/ 8 h 17"/>
                  <a:gd name="T30" fmla="*/ 18 w 21"/>
                  <a:gd name="T31" fmla="*/ 9 h 17"/>
                  <a:gd name="T32" fmla="*/ 17 w 21"/>
                  <a:gd name="T33" fmla="*/ 5 h 17"/>
                  <a:gd name="T34" fmla="*/ 19 w 21"/>
                  <a:gd name="T35" fmla="*/ 6 h 17"/>
                  <a:gd name="T36" fmla="*/ 20 w 21"/>
                  <a:gd name="T37" fmla="*/ 4 h 17"/>
                  <a:gd name="T38" fmla="*/ 17 w 21"/>
                  <a:gd name="T39" fmla="*/ 2 h 17"/>
                  <a:gd name="T40" fmla="*/ 14 w 21"/>
                  <a:gd name="T41" fmla="*/ 2 h 17"/>
                  <a:gd name="T42" fmla="*/ 9 w 21"/>
                  <a:gd name="T43" fmla="*/ 4 h 17"/>
                  <a:gd name="T44" fmla="*/ 12 w 21"/>
                  <a:gd name="T45" fmla="*/ 2 h 17"/>
                  <a:gd name="T46" fmla="*/ 9 w 21"/>
                  <a:gd name="T47" fmla="*/ 0 h 17"/>
                  <a:gd name="T48" fmla="*/ 4 w 21"/>
                  <a:gd name="T49" fmla="*/ 0 h 17"/>
                  <a:gd name="T50" fmla="*/ 3 w 21"/>
                  <a:gd name="T51" fmla="*/ 2 h 17"/>
                  <a:gd name="T52" fmla="*/ 1 w 21"/>
                  <a:gd name="T53" fmla="*/ 0 h 17"/>
                  <a:gd name="T54" fmla="*/ 0 w 21"/>
                  <a:gd name="T55" fmla="*/ 2 h 17"/>
                  <a:gd name="T56" fmla="*/ 2 w 21"/>
                  <a:gd name="T57" fmla="*/ 5 h 17"/>
                  <a:gd name="T58" fmla="*/ 0 w 21"/>
                  <a:gd name="T59" fmla="*/ 8 h 17"/>
                  <a:gd name="T60" fmla="*/ 2 w 21"/>
                  <a:gd name="T61" fmla="*/ 9 h 17"/>
                  <a:gd name="T62" fmla="*/ 4 w 21"/>
                  <a:gd name="T63" fmla="*/ 12 h 17"/>
                  <a:gd name="T64" fmla="*/ 9 w 21"/>
                  <a:gd name="T65" fmla="*/ 15 h 17"/>
                  <a:gd name="T66" fmla="*/ 9 w 21"/>
                  <a:gd name="T6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7">
                    <a:moveTo>
                      <a:pt x="9" y="15"/>
                    </a:moveTo>
                    <a:lnTo>
                      <a:pt x="5" y="13"/>
                    </a:lnTo>
                    <a:lnTo>
                      <a:pt x="8" y="17"/>
                    </a:lnTo>
                    <a:lnTo>
                      <a:pt x="10" y="15"/>
                    </a:lnTo>
                    <a:lnTo>
                      <a:pt x="11" y="13"/>
                    </a:lnTo>
                    <a:lnTo>
                      <a:pt x="9" y="11"/>
                    </a:lnTo>
                    <a:lnTo>
                      <a:pt x="11" y="11"/>
                    </a:lnTo>
                    <a:lnTo>
                      <a:pt x="17" y="13"/>
                    </a:lnTo>
                    <a:lnTo>
                      <a:pt x="19" y="14"/>
                    </a:lnTo>
                    <a:lnTo>
                      <a:pt x="21" y="12"/>
                    </a:lnTo>
                    <a:lnTo>
                      <a:pt x="20" y="10"/>
                    </a:lnTo>
                    <a:lnTo>
                      <a:pt x="14" y="10"/>
                    </a:lnTo>
                    <a:lnTo>
                      <a:pt x="12" y="8"/>
                    </a:lnTo>
                    <a:lnTo>
                      <a:pt x="7" y="4"/>
                    </a:lnTo>
                    <a:lnTo>
                      <a:pt x="14" y="8"/>
                    </a:lnTo>
                    <a:lnTo>
                      <a:pt x="18" y="9"/>
                    </a:lnTo>
                    <a:lnTo>
                      <a:pt x="17" y="5"/>
                    </a:lnTo>
                    <a:lnTo>
                      <a:pt x="19" y="6"/>
                    </a:lnTo>
                    <a:lnTo>
                      <a:pt x="20" y="4"/>
                    </a:lnTo>
                    <a:lnTo>
                      <a:pt x="17" y="2"/>
                    </a:lnTo>
                    <a:lnTo>
                      <a:pt x="14" y="2"/>
                    </a:lnTo>
                    <a:lnTo>
                      <a:pt x="9" y="4"/>
                    </a:lnTo>
                    <a:lnTo>
                      <a:pt x="12" y="2"/>
                    </a:lnTo>
                    <a:lnTo>
                      <a:pt x="9" y="0"/>
                    </a:lnTo>
                    <a:lnTo>
                      <a:pt x="4" y="0"/>
                    </a:lnTo>
                    <a:lnTo>
                      <a:pt x="3" y="2"/>
                    </a:lnTo>
                    <a:lnTo>
                      <a:pt x="1" y="0"/>
                    </a:lnTo>
                    <a:lnTo>
                      <a:pt x="0" y="2"/>
                    </a:lnTo>
                    <a:lnTo>
                      <a:pt x="2" y="5"/>
                    </a:lnTo>
                    <a:lnTo>
                      <a:pt x="0" y="8"/>
                    </a:lnTo>
                    <a:lnTo>
                      <a:pt x="2" y="9"/>
                    </a:lnTo>
                    <a:lnTo>
                      <a:pt x="4" y="12"/>
                    </a:lnTo>
                    <a:lnTo>
                      <a:pt x="9" y="15"/>
                    </a:lnTo>
                    <a:lnTo>
                      <a:pt x="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2" name="Freeform 8">
                <a:extLst>
                  <a:ext uri="{FF2B5EF4-FFF2-40B4-BE49-F238E27FC236}">
                    <a16:creationId xmlns:a16="http://schemas.microsoft.com/office/drawing/2014/main" id="{22537EA4-925F-42CE-8562-95E79AC4CF72}"/>
                  </a:ext>
                </a:extLst>
              </p:cNvPr>
              <p:cNvSpPr>
                <a:spLocks/>
              </p:cNvSpPr>
              <p:nvPr/>
            </p:nvSpPr>
            <p:spPr bwMode="auto">
              <a:xfrm>
                <a:off x="1828" y="1917"/>
                <a:ext cx="14" cy="24"/>
              </a:xfrm>
              <a:custGeom>
                <a:avLst/>
                <a:gdLst>
                  <a:gd name="T0" fmla="*/ 7 w 14"/>
                  <a:gd name="T1" fmla="*/ 17 h 24"/>
                  <a:gd name="T2" fmla="*/ 9 w 14"/>
                  <a:gd name="T3" fmla="*/ 16 h 24"/>
                  <a:gd name="T4" fmla="*/ 8 w 14"/>
                  <a:gd name="T5" fmla="*/ 18 h 24"/>
                  <a:gd name="T6" fmla="*/ 10 w 14"/>
                  <a:gd name="T7" fmla="*/ 24 h 24"/>
                  <a:gd name="T8" fmla="*/ 14 w 14"/>
                  <a:gd name="T9" fmla="*/ 22 h 24"/>
                  <a:gd name="T10" fmla="*/ 12 w 14"/>
                  <a:gd name="T11" fmla="*/ 18 h 24"/>
                  <a:gd name="T12" fmla="*/ 14 w 14"/>
                  <a:gd name="T13" fmla="*/ 16 h 24"/>
                  <a:gd name="T14" fmla="*/ 10 w 14"/>
                  <a:gd name="T15" fmla="*/ 5 h 24"/>
                  <a:gd name="T16" fmla="*/ 9 w 14"/>
                  <a:gd name="T17" fmla="*/ 3 h 24"/>
                  <a:gd name="T18" fmla="*/ 6 w 14"/>
                  <a:gd name="T19" fmla="*/ 1 h 24"/>
                  <a:gd name="T20" fmla="*/ 3 w 14"/>
                  <a:gd name="T21" fmla="*/ 0 h 24"/>
                  <a:gd name="T22" fmla="*/ 0 w 14"/>
                  <a:gd name="T23" fmla="*/ 1 h 24"/>
                  <a:gd name="T24" fmla="*/ 0 w 14"/>
                  <a:gd name="T25" fmla="*/ 4 h 24"/>
                  <a:gd name="T26" fmla="*/ 2 w 14"/>
                  <a:gd name="T27" fmla="*/ 5 h 24"/>
                  <a:gd name="T28" fmla="*/ 2 w 14"/>
                  <a:gd name="T29" fmla="*/ 7 h 24"/>
                  <a:gd name="T30" fmla="*/ 6 w 14"/>
                  <a:gd name="T31" fmla="*/ 9 h 24"/>
                  <a:gd name="T32" fmla="*/ 2 w 14"/>
                  <a:gd name="T33" fmla="*/ 11 h 24"/>
                  <a:gd name="T34" fmla="*/ 3 w 14"/>
                  <a:gd name="T35" fmla="*/ 14 h 24"/>
                  <a:gd name="T36" fmla="*/ 6 w 14"/>
                  <a:gd name="T37" fmla="*/ 13 h 24"/>
                  <a:gd name="T38" fmla="*/ 6 w 14"/>
                  <a:gd name="T39" fmla="*/ 16 h 24"/>
                  <a:gd name="T40" fmla="*/ 8 w 14"/>
                  <a:gd name="T41" fmla="*/ 14 h 24"/>
                  <a:gd name="T42" fmla="*/ 6 w 14"/>
                  <a:gd name="T43" fmla="*/ 17 h 24"/>
                  <a:gd name="T44" fmla="*/ 7 w 14"/>
                  <a:gd name="T45" fmla="*/ 17 h 24"/>
                  <a:gd name="T46" fmla="*/ 7 w 14"/>
                  <a:gd name="T47"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4">
                    <a:moveTo>
                      <a:pt x="7" y="17"/>
                    </a:moveTo>
                    <a:lnTo>
                      <a:pt x="9" y="16"/>
                    </a:lnTo>
                    <a:lnTo>
                      <a:pt x="8" y="18"/>
                    </a:lnTo>
                    <a:lnTo>
                      <a:pt x="10" y="24"/>
                    </a:lnTo>
                    <a:lnTo>
                      <a:pt x="14" y="22"/>
                    </a:lnTo>
                    <a:lnTo>
                      <a:pt x="12" y="18"/>
                    </a:lnTo>
                    <a:lnTo>
                      <a:pt x="14" y="16"/>
                    </a:lnTo>
                    <a:lnTo>
                      <a:pt x="10" y="5"/>
                    </a:lnTo>
                    <a:lnTo>
                      <a:pt x="9" y="3"/>
                    </a:lnTo>
                    <a:lnTo>
                      <a:pt x="6" y="1"/>
                    </a:lnTo>
                    <a:lnTo>
                      <a:pt x="3" y="0"/>
                    </a:lnTo>
                    <a:lnTo>
                      <a:pt x="0" y="1"/>
                    </a:lnTo>
                    <a:lnTo>
                      <a:pt x="0" y="4"/>
                    </a:lnTo>
                    <a:lnTo>
                      <a:pt x="2" y="5"/>
                    </a:lnTo>
                    <a:lnTo>
                      <a:pt x="2" y="7"/>
                    </a:lnTo>
                    <a:lnTo>
                      <a:pt x="6" y="9"/>
                    </a:lnTo>
                    <a:lnTo>
                      <a:pt x="2" y="11"/>
                    </a:lnTo>
                    <a:lnTo>
                      <a:pt x="3" y="14"/>
                    </a:lnTo>
                    <a:lnTo>
                      <a:pt x="6" y="13"/>
                    </a:lnTo>
                    <a:lnTo>
                      <a:pt x="6" y="16"/>
                    </a:lnTo>
                    <a:lnTo>
                      <a:pt x="8" y="14"/>
                    </a:lnTo>
                    <a:lnTo>
                      <a:pt x="6" y="17"/>
                    </a:lnTo>
                    <a:lnTo>
                      <a:pt x="7" y="17"/>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3" name="Freeform 9">
                <a:extLst>
                  <a:ext uri="{FF2B5EF4-FFF2-40B4-BE49-F238E27FC236}">
                    <a16:creationId xmlns:a16="http://schemas.microsoft.com/office/drawing/2014/main" id="{E76420E8-2814-41DA-AF0B-93B402EC73D3}"/>
                  </a:ext>
                </a:extLst>
              </p:cNvPr>
              <p:cNvSpPr>
                <a:spLocks/>
              </p:cNvSpPr>
              <p:nvPr/>
            </p:nvSpPr>
            <p:spPr bwMode="auto">
              <a:xfrm>
                <a:off x="1837" y="1899"/>
                <a:ext cx="15" cy="26"/>
              </a:xfrm>
              <a:custGeom>
                <a:avLst/>
                <a:gdLst>
                  <a:gd name="T0" fmla="*/ 5 w 15"/>
                  <a:gd name="T1" fmla="*/ 18 h 26"/>
                  <a:gd name="T2" fmla="*/ 7 w 15"/>
                  <a:gd name="T3" fmla="*/ 17 h 26"/>
                  <a:gd name="T4" fmla="*/ 5 w 15"/>
                  <a:gd name="T5" fmla="*/ 18 h 26"/>
                  <a:gd name="T6" fmla="*/ 7 w 15"/>
                  <a:gd name="T7" fmla="*/ 21 h 26"/>
                  <a:gd name="T8" fmla="*/ 5 w 15"/>
                  <a:gd name="T9" fmla="*/ 22 h 26"/>
                  <a:gd name="T10" fmla="*/ 5 w 15"/>
                  <a:gd name="T11" fmla="*/ 25 h 26"/>
                  <a:gd name="T12" fmla="*/ 7 w 15"/>
                  <a:gd name="T13" fmla="*/ 26 h 26"/>
                  <a:gd name="T14" fmla="*/ 10 w 15"/>
                  <a:gd name="T15" fmla="*/ 24 h 26"/>
                  <a:gd name="T16" fmla="*/ 10 w 15"/>
                  <a:gd name="T17" fmla="*/ 22 h 26"/>
                  <a:gd name="T18" fmla="*/ 14 w 15"/>
                  <a:gd name="T19" fmla="*/ 22 h 26"/>
                  <a:gd name="T20" fmla="*/ 13 w 15"/>
                  <a:gd name="T21" fmla="*/ 19 h 26"/>
                  <a:gd name="T22" fmla="*/ 14 w 15"/>
                  <a:gd name="T23" fmla="*/ 16 h 26"/>
                  <a:gd name="T24" fmla="*/ 9 w 15"/>
                  <a:gd name="T25" fmla="*/ 10 h 26"/>
                  <a:gd name="T26" fmla="*/ 9 w 15"/>
                  <a:gd name="T27" fmla="*/ 8 h 26"/>
                  <a:gd name="T28" fmla="*/ 13 w 15"/>
                  <a:gd name="T29" fmla="*/ 14 h 26"/>
                  <a:gd name="T30" fmla="*/ 15 w 15"/>
                  <a:gd name="T31" fmla="*/ 16 h 26"/>
                  <a:gd name="T32" fmla="*/ 14 w 15"/>
                  <a:gd name="T33" fmla="*/ 12 h 26"/>
                  <a:gd name="T34" fmla="*/ 11 w 15"/>
                  <a:gd name="T35" fmla="*/ 8 h 26"/>
                  <a:gd name="T36" fmla="*/ 10 w 15"/>
                  <a:gd name="T37" fmla="*/ 6 h 26"/>
                  <a:gd name="T38" fmla="*/ 5 w 15"/>
                  <a:gd name="T39" fmla="*/ 5 h 26"/>
                  <a:gd name="T40" fmla="*/ 2 w 15"/>
                  <a:gd name="T41" fmla="*/ 2 h 26"/>
                  <a:gd name="T42" fmla="*/ 0 w 15"/>
                  <a:gd name="T43" fmla="*/ 0 h 26"/>
                  <a:gd name="T44" fmla="*/ 0 w 15"/>
                  <a:gd name="T45" fmla="*/ 2 h 26"/>
                  <a:gd name="T46" fmla="*/ 1 w 15"/>
                  <a:gd name="T47" fmla="*/ 6 h 26"/>
                  <a:gd name="T48" fmla="*/ 2 w 15"/>
                  <a:gd name="T49" fmla="*/ 8 h 26"/>
                  <a:gd name="T50" fmla="*/ 2 w 15"/>
                  <a:gd name="T51" fmla="*/ 14 h 26"/>
                  <a:gd name="T52" fmla="*/ 5 w 15"/>
                  <a:gd name="T53" fmla="*/ 18 h 26"/>
                  <a:gd name="T54" fmla="*/ 5 w 15"/>
                  <a:gd name="T55"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26">
                    <a:moveTo>
                      <a:pt x="5" y="18"/>
                    </a:moveTo>
                    <a:lnTo>
                      <a:pt x="7" y="17"/>
                    </a:lnTo>
                    <a:lnTo>
                      <a:pt x="5" y="18"/>
                    </a:lnTo>
                    <a:lnTo>
                      <a:pt x="7" y="21"/>
                    </a:lnTo>
                    <a:lnTo>
                      <a:pt x="5" y="22"/>
                    </a:lnTo>
                    <a:lnTo>
                      <a:pt x="5" y="25"/>
                    </a:lnTo>
                    <a:lnTo>
                      <a:pt x="7" y="26"/>
                    </a:lnTo>
                    <a:lnTo>
                      <a:pt x="10" y="24"/>
                    </a:lnTo>
                    <a:lnTo>
                      <a:pt x="10" y="22"/>
                    </a:lnTo>
                    <a:lnTo>
                      <a:pt x="14" y="22"/>
                    </a:lnTo>
                    <a:lnTo>
                      <a:pt x="13" y="19"/>
                    </a:lnTo>
                    <a:lnTo>
                      <a:pt x="14" y="16"/>
                    </a:lnTo>
                    <a:lnTo>
                      <a:pt x="9" y="10"/>
                    </a:lnTo>
                    <a:lnTo>
                      <a:pt x="9" y="8"/>
                    </a:lnTo>
                    <a:lnTo>
                      <a:pt x="13" y="14"/>
                    </a:lnTo>
                    <a:lnTo>
                      <a:pt x="15" y="16"/>
                    </a:lnTo>
                    <a:lnTo>
                      <a:pt x="14" y="12"/>
                    </a:lnTo>
                    <a:lnTo>
                      <a:pt x="11" y="8"/>
                    </a:lnTo>
                    <a:lnTo>
                      <a:pt x="10" y="6"/>
                    </a:lnTo>
                    <a:lnTo>
                      <a:pt x="5" y="5"/>
                    </a:lnTo>
                    <a:lnTo>
                      <a:pt x="2" y="2"/>
                    </a:lnTo>
                    <a:lnTo>
                      <a:pt x="0" y="0"/>
                    </a:lnTo>
                    <a:lnTo>
                      <a:pt x="0" y="2"/>
                    </a:lnTo>
                    <a:lnTo>
                      <a:pt x="1" y="6"/>
                    </a:lnTo>
                    <a:lnTo>
                      <a:pt x="2" y="8"/>
                    </a:lnTo>
                    <a:lnTo>
                      <a:pt x="2" y="14"/>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4" name="Freeform 10">
                <a:extLst>
                  <a:ext uri="{FF2B5EF4-FFF2-40B4-BE49-F238E27FC236}">
                    <a16:creationId xmlns:a16="http://schemas.microsoft.com/office/drawing/2014/main" id="{C75CCCA9-26A2-4C10-BF3F-DDD7219193BB}"/>
                  </a:ext>
                </a:extLst>
              </p:cNvPr>
              <p:cNvSpPr>
                <a:spLocks/>
              </p:cNvSpPr>
              <p:nvPr/>
            </p:nvSpPr>
            <p:spPr bwMode="auto">
              <a:xfrm>
                <a:off x="1843" y="1900"/>
                <a:ext cx="2" cy="3"/>
              </a:xfrm>
              <a:custGeom>
                <a:avLst/>
                <a:gdLst>
                  <a:gd name="T0" fmla="*/ 0 w 2"/>
                  <a:gd name="T1" fmla="*/ 0 h 3"/>
                  <a:gd name="T2" fmla="*/ 0 w 2"/>
                  <a:gd name="T3" fmla="*/ 3 h 3"/>
                  <a:gd name="T4" fmla="*/ 2 w 2"/>
                  <a:gd name="T5" fmla="*/ 3 h 3"/>
                  <a:gd name="T6" fmla="*/ 0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lnTo>
                      <a:pt x="0" y="3"/>
                    </a:lnTo>
                    <a:lnTo>
                      <a:pt x="2"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5" name="Freeform 11">
                <a:extLst>
                  <a:ext uri="{FF2B5EF4-FFF2-40B4-BE49-F238E27FC236}">
                    <a16:creationId xmlns:a16="http://schemas.microsoft.com/office/drawing/2014/main" id="{0E27090A-89E8-4A5F-8B7F-195B15A42933}"/>
                  </a:ext>
                </a:extLst>
              </p:cNvPr>
              <p:cNvSpPr>
                <a:spLocks/>
              </p:cNvSpPr>
              <p:nvPr/>
            </p:nvSpPr>
            <p:spPr bwMode="auto">
              <a:xfrm>
                <a:off x="1844" y="1929"/>
                <a:ext cx="9" cy="18"/>
              </a:xfrm>
              <a:custGeom>
                <a:avLst/>
                <a:gdLst>
                  <a:gd name="T0" fmla="*/ 3 w 9"/>
                  <a:gd name="T1" fmla="*/ 18 h 18"/>
                  <a:gd name="T2" fmla="*/ 4 w 9"/>
                  <a:gd name="T3" fmla="*/ 12 h 18"/>
                  <a:gd name="T4" fmla="*/ 6 w 9"/>
                  <a:gd name="T5" fmla="*/ 14 h 18"/>
                  <a:gd name="T6" fmla="*/ 7 w 9"/>
                  <a:gd name="T7" fmla="*/ 12 h 18"/>
                  <a:gd name="T8" fmla="*/ 8 w 9"/>
                  <a:gd name="T9" fmla="*/ 6 h 18"/>
                  <a:gd name="T10" fmla="*/ 9 w 9"/>
                  <a:gd name="T11" fmla="*/ 4 h 18"/>
                  <a:gd name="T12" fmla="*/ 6 w 9"/>
                  <a:gd name="T13" fmla="*/ 5 h 18"/>
                  <a:gd name="T14" fmla="*/ 7 w 9"/>
                  <a:gd name="T15" fmla="*/ 2 h 18"/>
                  <a:gd name="T16" fmla="*/ 4 w 9"/>
                  <a:gd name="T17" fmla="*/ 0 h 18"/>
                  <a:gd name="T18" fmla="*/ 1 w 9"/>
                  <a:gd name="T19" fmla="*/ 0 h 18"/>
                  <a:gd name="T20" fmla="*/ 0 w 9"/>
                  <a:gd name="T21" fmla="*/ 3 h 18"/>
                  <a:gd name="T22" fmla="*/ 2 w 9"/>
                  <a:gd name="T23" fmla="*/ 5 h 18"/>
                  <a:gd name="T24" fmla="*/ 4 w 9"/>
                  <a:gd name="T25" fmla="*/ 6 h 18"/>
                  <a:gd name="T26" fmla="*/ 6 w 9"/>
                  <a:gd name="T27" fmla="*/ 9 h 18"/>
                  <a:gd name="T28" fmla="*/ 2 w 9"/>
                  <a:gd name="T29" fmla="*/ 9 h 18"/>
                  <a:gd name="T30" fmla="*/ 3 w 9"/>
                  <a:gd name="T31" fmla="*/ 14 h 18"/>
                  <a:gd name="T32" fmla="*/ 3 w 9"/>
                  <a:gd name="T33" fmla="*/ 18 h 18"/>
                  <a:gd name="T34" fmla="*/ 3 w 9"/>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8">
                    <a:moveTo>
                      <a:pt x="3" y="18"/>
                    </a:moveTo>
                    <a:lnTo>
                      <a:pt x="4" y="12"/>
                    </a:lnTo>
                    <a:lnTo>
                      <a:pt x="6" y="14"/>
                    </a:lnTo>
                    <a:lnTo>
                      <a:pt x="7" y="12"/>
                    </a:lnTo>
                    <a:lnTo>
                      <a:pt x="8" y="6"/>
                    </a:lnTo>
                    <a:lnTo>
                      <a:pt x="9" y="4"/>
                    </a:lnTo>
                    <a:lnTo>
                      <a:pt x="6" y="5"/>
                    </a:lnTo>
                    <a:lnTo>
                      <a:pt x="7" y="2"/>
                    </a:lnTo>
                    <a:lnTo>
                      <a:pt x="4" y="0"/>
                    </a:lnTo>
                    <a:lnTo>
                      <a:pt x="1" y="0"/>
                    </a:lnTo>
                    <a:lnTo>
                      <a:pt x="0" y="3"/>
                    </a:lnTo>
                    <a:lnTo>
                      <a:pt x="2" y="5"/>
                    </a:lnTo>
                    <a:lnTo>
                      <a:pt x="4" y="6"/>
                    </a:lnTo>
                    <a:lnTo>
                      <a:pt x="6" y="9"/>
                    </a:lnTo>
                    <a:lnTo>
                      <a:pt x="2" y="9"/>
                    </a:lnTo>
                    <a:lnTo>
                      <a:pt x="3" y="14"/>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6" name="Freeform 12">
                <a:extLst>
                  <a:ext uri="{FF2B5EF4-FFF2-40B4-BE49-F238E27FC236}">
                    <a16:creationId xmlns:a16="http://schemas.microsoft.com/office/drawing/2014/main" id="{85EB06DB-A51E-46B5-8E28-78521A562212}"/>
                  </a:ext>
                </a:extLst>
              </p:cNvPr>
              <p:cNvSpPr>
                <a:spLocks/>
              </p:cNvSpPr>
              <p:nvPr/>
            </p:nvSpPr>
            <p:spPr bwMode="auto">
              <a:xfrm>
                <a:off x="1863" y="1938"/>
                <a:ext cx="6" cy="4"/>
              </a:xfrm>
              <a:custGeom>
                <a:avLst/>
                <a:gdLst>
                  <a:gd name="T0" fmla="*/ 5 w 6"/>
                  <a:gd name="T1" fmla="*/ 0 h 4"/>
                  <a:gd name="T2" fmla="*/ 2 w 6"/>
                  <a:gd name="T3" fmla="*/ 0 h 4"/>
                  <a:gd name="T4" fmla="*/ 0 w 6"/>
                  <a:gd name="T5" fmla="*/ 2 h 4"/>
                  <a:gd name="T6" fmla="*/ 2 w 6"/>
                  <a:gd name="T7" fmla="*/ 4 h 4"/>
                  <a:gd name="T8" fmla="*/ 6 w 6"/>
                  <a:gd name="T9" fmla="*/ 2 h 4"/>
                  <a:gd name="T10" fmla="*/ 5 w 6"/>
                  <a:gd name="T11" fmla="*/ 0 h 4"/>
                  <a:gd name="T12" fmla="*/ 5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0"/>
                    </a:moveTo>
                    <a:lnTo>
                      <a:pt x="2" y="0"/>
                    </a:lnTo>
                    <a:lnTo>
                      <a:pt x="0" y="2"/>
                    </a:lnTo>
                    <a:lnTo>
                      <a:pt x="2" y="4"/>
                    </a:lnTo>
                    <a:lnTo>
                      <a:pt x="6"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7" name="Freeform 13">
                <a:extLst>
                  <a:ext uri="{FF2B5EF4-FFF2-40B4-BE49-F238E27FC236}">
                    <a16:creationId xmlns:a16="http://schemas.microsoft.com/office/drawing/2014/main" id="{6D6CB40F-B1DF-4102-A43E-6F434398FBE1}"/>
                  </a:ext>
                </a:extLst>
              </p:cNvPr>
              <p:cNvSpPr>
                <a:spLocks/>
              </p:cNvSpPr>
              <p:nvPr/>
            </p:nvSpPr>
            <p:spPr bwMode="auto">
              <a:xfrm>
                <a:off x="1865" y="1961"/>
                <a:ext cx="3" cy="4"/>
              </a:xfrm>
              <a:custGeom>
                <a:avLst/>
                <a:gdLst>
                  <a:gd name="T0" fmla="*/ 0 w 3"/>
                  <a:gd name="T1" fmla="*/ 0 h 4"/>
                  <a:gd name="T2" fmla="*/ 0 w 3"/>
                  <a:gd name="T3" fmla="*/ 4 h 4"/>
                  <a:gd name="T4" fmla="*/ 3 w 3"/>
                  <a:gd name="T5" fmla="*/ 4 h 4"/>
                  <a:gd name="T6" fmla="*/ 0 w 3"/>
                  <a:gd name="T7" fmla="*/ 0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lnTo>
                      <a:pt x="0" y="4"/>
                    </a:lnTo>
                    <a:lnTo>
                      <a:pt x="3"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8" name="Freeform 14">
                <a:extLst>
                  <a:ext uri="{FF2B5EF4-FFF2-40B4-BE49-F238E27FC236}">
                    <a16:creationId xmlns:a16="http://schemas.microsoft.com/office/drawing/2014/main" id="{DE1EFA14-6F9E-4472-8318-1C2ACECD0C81}"/>
                  </a:ext>
                </a:extLst>
              </p:cNvPr>
              <p:cNvSpPr>
                <a:spLocks/>
              </p:cNvSpPr>
              <p:nvPr/>
            </p:nvSpPr>
            <p:spPr bwMode="auto">
              <a:xfrm>
                <a:off x="1868" y="1940"/>
                <a:ext cx="6" cy="7"/>
              </a:xfrm>
              <a:custGeom>
                <a:avLst/>
                <a:gdLst>
                  <a:gd name="T0" fmla="*/ 4 w 6"/>
                  <a:gd name="T1" fmla="*/ 0 h 7"/>
                  <a:gd name="T2" fmla="*/ 2 w 6"/>
                  <a:gd name="T3" fmla="*/ 0 h 7"/>
                  <a:gd name="T4" fmla="*/ 0 w 6"/>
                  <a:gd name="T5" fmla="*/ 2 h 7"/>
                  <a:gd name="T6" fmla="*/ 1 w 6"/>
                  <a:gd name="T7" fmla="*/ 5 h 7"/>
                  <a:gd name="T8" fmla="*/ 4 w 6"/>
                  <a:gd name="T9" fmla="*/ 7 h 7"/>
                  <a:gd name="T10" fmla="*/ 6 w 6"/>
                  <a:gd name="T11" fmla="*/ 6 h 7"/>
                  <a:gd name="T12" fmla="*/ 5 w 6"/>
                  <a:gd name="T13" fmla="*/ 2 h 7"/>
                  <a:gd name="T14" fmla="*/ 2 w 6"/>
                  <a:gd name="T15" fmla="*/ 2 h 7"/>
                  <a:gd name="T16" fmla="*/ 4 w 6"/>
                  <a:gd name="T17" fmla="*/ 0 h 7"/>
                  <a:gd name="T18" fmla="*/ 4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4" y="0"/>
                    </a:moveTo>
                    <a:lnTo>
                      <a:pt x="2" y="0"/>
                    </a:lnTo>
                    <a:lnTo>
                      <a:pt x="0" y="2"/>
                    </a:lnTo>
                    <a:lnTo>
                      <a:pt x="1" y="5"/>
                    </a:lnTo>
                    <a:lnTo>
                      <a:pt x="4" y="7"/>
                    </a:lnTo>
                    <a:lnTo>
                      <a:pt x="6" y="6"/>
                    </a:lnTo>
                    <a:lnTo>
                      <a:pt x="5" y="2"/>
                    </a:lnTo>
                    <a:lnTo>
                      <a:pt x="2"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9" name="Freeform 15">
                <a:extLst>
                  <a:ext uri="{FF2B5EF4-FFF2-40B4-BE49-F238E27FC236}">
                    <a16:creationId xmlns:a16="http://schemas.microsoft.com/office/drawing/2014/main" id="{E290F6B0-B678-476E-BCD5-5939F882A148}"/>
                  </a:ext>
                </a:extLst>
              </p:cNvPr>
              <p:cNvSpPr>
                <a:spLocks/>
              </p:cNvSpPr>
              <p:nvPr/>
            </p:nvSpPr>
            <p:spPr bwMode="auto">
              <a:xfrm>
                <a:off x="1872" y="1937"/>
                <a:ext cx="6" cy="6"/>
              </a:xfrm>
              <a:custGeom>
                <a:avLst/>
                <a:gdLst>
                  <a:gd name="T0" fmla="*/ 0 w 6"/>
                  <a:gd name="T1" fmla="*/ 0 h 6"/>
                  <a:gd name="T2" fmla="*/ 0 w 6"/>
                  <a:gd name="T3" fmla="*/ 4 h 6"/>
                  <a:gd name="T4" fmla="*/ 2 w 6"/>
                  <a:gd name="T5" fmla="*/ 6 h 6"/>
                  <a:gd name="T6" fmla="*/ 6 w 6"/>
                  <a:gd name="T7" fmla="*/ 5 h 6"/>
                  <a:gd name="T8" fmla="*/ 0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4"/>
                    </a:lnTo>
                    <a:lnTo>
                      <a:pt x="2" y="6"/>
                    </a:lnTo>
                    <a:lnTo>
                      <a:pt x="6" y="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0" name="Freeform 16">
                <a:extLst>
                  <a:ext uri="{FF2B5EF4-FFF2-40B4-BE49-F238E27FC236}">
                    <a16:creationId xmlns:a16="http://schemas.microsoft.com/office/drawing/2014/main" id="{9B50BCF7-6FFD-4B0B-881C-9A73A275DD90}"/>
                  </a:ext>
                </a:extLst>
              </p:cNvPr>
              <p:cNvSpPr>
                <a:spLocks/>
              </p:cNvSpPr>
              <p:nvPr/>
            </p:nvSpPr>
            <p:spPr bwMode="auto">
              <a:xfrm>
                <a:off x="1879" y="1958"/>
                <a:ext cx="3" cy="5"/>
              </a:xfrm>
              <a:custGeom>
                <a:avLst/>
                <a:gdLst>
                  <a:gd name="T0" fmla="*/ 0 w 3"/>
                  <a:gd name="T1" fmla="*/ 0 h 5"/>
                  <a:gd name="T2" fmla="*/ 0 w 3"/>
                  <a:gd name="T3" fmla="*/ 1 h 5"/>
                  <a:gd name="T4" fmla="*/ 1 w 3"/>
                  <a:gd name="T5" fmla="*/ 5 h 5"/>
                  <a:gd name="T6" fmla="*/ 3 w 3"/>
                  <a:gd name="T7" fmla="*/ 1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0" y="1"/>
                    </a:lnTo>
                    <a:lnTo>
                      <a:pt x="1" y="5"/>
                    </a:lnTo>
                    <a:lnTo>
                      <a:pt x="3"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1" name="Freeform 17">
                <a:extLst>
                  <a:ext uri="{FF2B5EF4-FFF2-40B4-BE49-F238E27FC236}">
                    <a16:creationId xmlns:a16="http://schemas.microsoft.com/office/drawing/2014/main" id="{E96F29C5-1ABE-4D6B-A381-E8373C231CB0}"/>
                  </a:ext>
                </a:extLst>
              </p:cNvPr>
              <p:cNvSpPr>
                <a:spLocks/>
              </p:cNvSpPr>
              <p:nvPr/>
            </p:nvSpPr>
            <p:spPr bwMode="auto">
              <a:xfrm>
                <a:off x="1880" y="1947"/>
                <a:ext cx="11" cy="13"/>
              </a:xfrm>
              <a:custGeom>
                <a:avLst/>
                <a:gdLst>
                  <a:gd name="T0" fmla="*/ 2 w 11"/>
                  <a:gd name="T1" fmla="*/ 12 h 13"/>
                  <a:gd name="T2" fmla="*/ 4 w 11"/>
                  <a:gd name="T3" fmla="*/ 10 h 13"/>
                  <a:gd name="T4" fmla="*/ 7 w 11"/>
                  <a:gd name="T5" fmla="*/ 10 h 13"/>
                  <a:gd name="T6" fmla="*/ 6 w 11"/>
                  <a:gd name="T7" fmla="*/ 8 h 13"/>
                  <a:gd name="T8" fmla="*/ 7 w 11"/>
                  <a:gd name="T9" fmla="*/ 10 h 13"/>
                  <a:gd name="T10" fmla="*/ 5 w 11"/>
                  <a:gd name="T11" fmla="*/ 12 h 13"/>
                  <a:gd name="T12" fmla="*/ 7 w 11"/>
                  <a:gd name="T13" fmla="*/ 12 h 13"/>
                  <a:gd name="T14" fmla="*/ 10 w 11"/>
                  <a:gd name="T15" fmla="*/ 13 h 13"/>
                  <a:gd name="T16" fmla="*/ 11 w 11"/>
                  <a:gd name="T17" fmla="*/ 5 h 13"/>
                  <a:gd name="T18" fmla="*/ 10 w 11"/>
                  <a:gd name="T19" fmla="*/ 3 h 13"/>
                  <a:gd name="T20" fmla="*/ 7 w 11"/>
                  <a:gd name="T21" fmla="*/ 0 h 13"/>
                  <a:gd name="T22" fmla="*/ 5 w 11"/>
                  <a:gd name="T23" fmla="*/ 1 h 13"/>
                  <a:gd name="T24" fmla="*/ 2 w 11"/>
                  <a:gd name="T25" fmla="*/ 2 h 13"/>
                  <a:gd name="T26" fmla="*/ 2 w 11"/>
                  <a:gd name="T27" fmla="*/ 8 h 13"/>
                  <a:gd name="T28" fmla="*/ 0 w 11"/>
                  <a:gd name="T29" fmla="*/ 11 h 13"/>
                  <a:gd name="T30" fmla="*/ 2 w 11"/>
                  <a:gd name="T31" fmla="*/ 12 h 13"/>
                  <a:gd name="T32" fmla="*/ 2 w 11"/>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2" y="12"/>
                    </a:moveTo>
                    <a:lnTo>
                      <a:pt x="4" y="10"/>
                    </a:lnTo>
                    <a:lnTo>
                      <a:pt x="7" y="10"/>
                    </a:lnTo>
                    <a:lnTo>
                      <a:pt x="6" y="8"/>
                    </a:lnTo>
                    <a:lnTo>
                      <a:pt x="7" y="10"/>
                    </a:lnTo>
                    <a:lnTo>
                      <a:pt x="5" y="12"/>
                    </a:lnTo>
                    <a:lnTo>
                      <a:pt x="7" y="12"/>
                    </a:lnTo>
                    <a:lnTo>
                      <a:pt x="10" y="13"/>
                    </a:lnTo>
                    <a:lnTo>
                      <a:pt x="11" y="5"/>
                    </a:lnTo>
                    <a:lnTo>
                      <a:pt x="10" y="3"/>
                    </a:lnTo>
                    <a:lnTo>
                      <a:pt x="7" y="0"/>
                    </a:lnTo>
                    <a:lnTo>
                      <a:pt x="5" y="1"/>
                    </a:lnTo>
                    <a:lnTo>
                      <a:pt x="2" y="2"/>
                    </a:lnTo>
                    <a:lnTo>
                      <a:pt x="2" y="8"/>
                    </a:lnTo>
                    <a:lnTo>
                      <a:pt x="0" y="11"/>
                    </a:lnTo>
                    <a:lnTo>
                      <a:pt x="2" y="12"/>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2" name="Freeform 18">
                <a:extLst>
                  <a:ext uri="{FF2B5EF4-FFF2-40B4-BE49-F238E27FC236}">
                    <a16:creationId xmlns:a16="http://schemas.microsoft.com/office/drawing/2014/main" id="{43E0AFE0-DF59-426F-98B1-0D89E8780286}"/>
                  </a:ext>
                </a:extLst>
              </p:cNvPr>
              <p:cNvSpPr>
                <a:spLocks/>
              </p:cNvSpPr>
              <p:nvPr/>
            </p:nvSpPr>
            <p:spPr bwMode="auto">
              <a:xfrm>
                <a:off x="1862" y="1981"/>
                <a:ext cx="19" cy="19"/>
              </a:xfrm>
              <a:custGeom>
                <a:avLst/>
                <a:gdLst>
                  <a:gd name="T0" fmla="*/ 2 w 19"/>
                  <a:gd name="T1" fmla="*/ 11 h 19"/>
                  <a:gd name="T2" fmla="*/ 5 w 19"/>
                  <a:gd name="T3" fmla="*/ 13 h 19"/>
                  <a:gd name="T4" fmla="*/ 7 w 19"/>
                  <a:gd name="T5" fmla="*/ 14 h 19"/>
                  <a:gd name="T6" fmla="*/ 5 w 19"/>
                  <a:gd name="T7" fmla="*/ 16 h 19"/>
                  <a:gd name="T8" fmla="*/ 8 w 19"/>
                  <a:gd name="T9" fmla="*/ 16 h 19"/>
                  <a:gd name="T10" fmla="*/ 8 w 19"/>
                  <a:gd name="T11" fmla="*/ 18 h 19"/>
                  <a:gd name="T12" fmla="*/ 10 w 19"/>
                  <a:gd name="T13" fmla="*/ 19 h 19"/>
                  <a:gd name="T14" fmla="*/ 14 w 19"/>
                  <a:gd name="T15" fmla="*/ 18 h 19"/>
                  <a:gd name="T16" fmla="*/ 16 w 19"/>
                  <a:gd name="T17" fmla="*/ 16 h 19"/>
                  <a:gd name="T18" fmla="*/ 16 w 19"/>
                  <a:gd name="T19" fmla="*/ 10 h 19"/>
                  <a:gd name="T20" fmla="*/ 17 w 19"/>
                  <a:gd name="T21" fmla="*/ 8 h 19"/>
                  <a:gd name="T22" fmla="*/ 18 w 19"/>
                  <a:gd name="T23" fmla="*/ 5 h 19"/>
                  <a:gd name="T24" fmla="*/ 19 w 19"/>
                  <a:gd name="T25" fmla="*/ 2 h 19"/>
                  <a:gd name="T26" fmla="*/ 17 w 19"/>
                  <a:gd name="T27" fmla="*/ 2 h 19"/>
                  <a:gd name="T28" fmla="*/ 15 w 19"/>
                  <a:gd name="T29" fmla="*/ 3 h 19"/>
                  <a:gd name="T30" fmla="*/ 14 w 19"/>
                  <a:gd name="T31" fmla="*/ 5 h 19"/>
                  <a:gd name="T32" fmla="*/ 12 w 19"/>
                  <a:gd name="T33" fmla="*/ 9 h 19"/>
                  <a:gd name="T34" fmla="*/ 10 w 19"/>
                  <a:gd name="T35" fmla="*/ 11 h 19"/>
                  <a:gd name="T36" fmla="*/ 7 w 19"/>
                  <a:gd name="T37" fmla="*/ 10 h 19"/>
                  <a:gd name="T38" fmla="*/ 10 w 19"/>
                  <a:gd name="T39" fmla="*/ 8 h 19"/>
                  <a:gd name="T40" fmla="*/ 12 w 19"/>
                  <a:gd name="T41" fmla="*/ 7 h 19"/>
                  <a:gd name="T42" fmla="*/ 14 w 19"/>
                  <a:gd name="T43" fmla="*/ 4 h 19"/>
                  <a:gd name="T44" fmla="*/ 10 w 19"/>
                  <a:gd name="T45" fmla="*/ 1 h 19"/>
                  <a:gd name="T46" fmla="*/ 8 w 19"/>
                  <a:gd name="T47" fmla="*/ 2 h 19"/>
                  <a:gd name="T48" fmla="*/ 5 w 19"/>
                  <a:gd name="T49" fmla="*/ 1 h 19"/>
                  <a:gd name="T50" fmla="*/ 2 w 19"/>
                  <a:gd name="T51" fmla="*/ 0 h 19"/>
                  <a:gd name="T52" fmla="*/ 0 w 19"/>
                  <a:gd name="T53" fmla="*/ 3 h 19"/>
                  <a:gd name="T54" fmla="*/ 0 w 19"/>
                  <a:gd name="T55" fmla="*/ 5 h 19"/>
                  <a:gd name="T56" fmla="*/ 2 w 19"/>
                  <a:gd name="T57" fmla="*/ 11 h 19"/>
                  <a:gd name="T58" fmla="*/ 2 w 19"/>
                  <a:gd name="T59"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19">
                    <a:moveTo>
                      <a:pt x="2" y="11"/>
                    </a:moveTo>
                    <a:lnTo>
                      <a:pt x="5" y="13"/>
                    </a:lnTo>
                    <a:lnTo>
                      <a:pt x="7" y="14"/>
                    </a:lnTo>
                    <a:lnTo>
                      <a:pt x="5" y="16"/>
                    </a:lnTo>
                    <a:lnTo>
                      <a:pt x="8" y="16"/>
                    </a:lnTo>
                    <a:lnTo>
                      <a:pt x="8" y="18"/>
                    </a:lnTo>
                    <a:lnTo>
                      <a:pt x="10" y="19"/>
                    </a:lnTo>
                    <a:lnTo>
                      <a:pt x="14" y="18"/>
                    </a:lnTo>
                    <a:lnTo>
                      <a:pt x="16" y="16"/>
                    </a:lnTo>
                    <a:lnTo>
                      <a:pt x="16" y="10"/>
                    </a:lnTo>
                    <a:lnTo>
                      <a:pt x="17" y="8"/>
                    </a:lnTo>
                    <a:lnTo>
                      <a:pt x="18" y="5"/>
                    </a:lnTo>
                    <a:lnTo>
                      <a:pt x="19" y="2"/>
                    </a:lnTo>
                    <a:lnTo>
                      <a:pt x="17" y="2"/>
                    </a:lnTo>
                    <a:lnTo>
                      <a:pt x="15" y="3"/>
                    </a:lnTo>
                    <a:lnTo>
                      <a:pt x="14" y="5"/>
                    </a:lnTo>
                    <a:lnTo>
                      <a:pt x="12" y="9"/>
                    </a:lnTo>
                    <a:lnTo>
                      <a:pt x="10" y="11"/>
                    </a:lnTo>
                    <a:lnTo>
                      <a:pt x="7" y="10"/>
                    </a:lnTo>
                    <a:lnTo>
                      <a:pt x="10" y="8"/>
                    </a:lnTo>
                    <a:lnTo>
                      <a:pt x="12" y="7"/>
                    </a:lnTo>
                    <a:lnTo>
                      <a:pt x="14" y="4"/>
                    </a:lnTo>
                    <a:lnTo>
                      <a:pt x="10" y="1"/>
                    </a:lnTo>
                    <a:lnTo>
                      <a:pt x="8" y="2"/>
                    </a:lnTo>
                    <a:lnTo>
                      <a:pt x="5" y="1"/>
                    </a:lnTo>
                    <a:lnTo>
                      <a:pt x="2" y="0"/>
                    </a:lnTo>
                    <a:lnTo>
                      <a:pt x="0" y="3"/>
                    </a:lnTo>
                    <a:lnTo>
                      <a:pt x="0" y="5"/>
                    </a:lnTo>
                    <a:lnTo>
                      <a:pt x="2" y="11"/>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3" name="Freeform 19">
                <a:extLst>
                  <a:ext uri="{FF2B5EF4-FFF2-40B4-BE49-F238E27FC236}">
                    <a16:creationId xmlns:a16="http://schemas.microsoft.com/office/drawing/2014/main" id="{76220191-31EC-4C2B-B8E7-3B5A4C905D77}"/>
                  </a:ext>
                </a:extLst>
              </p:cNvPr>
              <p:cNvSpPr>
                <a:spLocks/>
              </p:cNvSpPr>
              <p:nvPr/>
            </p:nvSpPr>
            <p:spPr bwMode="auto">
              <a:xfrm>
                <a:off x="1870" y="1999"/>
                <a:ext cx="20" cy="20"/>
              </a:xfrm>
              <a:custGeom>
                <a:avLst/>
                <a:gdLst>
                  <a:gd name="T0" fmla="*/ 8 w 20"/>
                  <a:gd name="T1" fmla="*/ 4 h 20"/>
                  <a:gd name="T2" fmla="*/ 11 w 20"/>
                  <a:gd name="T3" fmla="*/ 7 h 20"/>
                  <a:gd name="T4" fmla="*/ 11 w 20"/>
                  <a:gd name="T5" fmla="*/ 4 h 20"/>
                  <a:gd name="T6" fmla="*/ 9 w 20"/>
                  <a:gd name="T7" fmla="*/ 3 h 20"/>
                  <a:gd name="T8" fmla="*/ 11 w 20"/>
                  <a:gd name="T9" fmla="*/ 3 h 20"/>
                  <a:gd name="T10" fmla="*/ 10 w 20"/>
                  <a:gd name="T11" fmla="*/ 0 h 20"/>
                  <a:gd name="T12" fmla="*/ 8 w 20"/>
                  <a:gd name="T13" fmla="*/ 0 h 20"/>
                  <a:gd name="T14" fmla="*/ 4 w 20"/>
                  <a:gd name="T15" fmla="*/ 1 h 20"/>
                  <a:gd name="T16" fmla="*/ 0 w 20"/>
                  <a:gd name="T17" fmla="*/ 1 h 20"/>
                  <a:gd name="T18" fmla="*/ 2 w 20"/>
                  <a:gd name="T19" fmla="*/ 3 h 20"/>
                  <a:gd name="T20" fmla="*/ 4 w 20"/>
                  <a:gd name="T21" fmla="*/ 4 h 20"/>
                  <a:gd name="T22" fmla="*/ 2 w 20"/>
                  <a:gd name="T23" fmla="*/ 6 h 20"/>
                  <a:gd name="T24" fmla="*/ 4 w 20"/>
                  <a:gd name="T25" fmla="*/ 8 h 20"/>
                  <a:gd name="T26" fmla="*/ 7 w 20"/>
                  <a:gd name="T27" fmla="*/ 8 h 20"/>
                  <a:gd name="T28" fmla="*/ 8 w 20"/>
                  <a:gd name="T29" fmla="*/ 10 h 20"/>
                  <a:gd name="T30" fmla="*/ 10 w 20"/>
                  <a:gd name="T31" fmla="*/ 13 h 20"/>
                  <a:gd name="T32" fmla="*/ 12 w 20"/>
                  <a:gd name="T33" fmla="*/ 15 h 20"/>
                  <a:gd name="T34" fmla="*/ 15 w 20"/>
                  <a:gd name="T35" fmla="*/ 17 h 20"/>
                  <a:gd name="T36" fmla="*/ 17 w 20"/>
                  <a:gd name="T37" fmla="*/ 20 h 20"/>
                  <a:gd name="T38" fmla="*/ 19 w 20"/>
                  <a:gd name="T39" fmla="*/ 19 h 20"/>
                  <a:gd name="T40" fmla="*/ 20 w 20"/>
                  <a:gd name="T41" fmla="*/ 18 h 20"/>
                  <a:gd name="T42" fmla="*/ 17 w 20"/>
                  <a:gd name="T43" fmla="*/ 17 h 20"/>
                  <a:gd name="T44" fmla="*/ 15 w 20"/>
                  <a:gd name="T45" fmla="*/ 15 h 20"/>
                  <a:gd name="T46" fmla="*/ 12 w 20"/>
                  <a:gd name="T47" fmla="*/ 12 h 20"/>
                  <a:gd name="T48" fmla="*/ 9 w 20"/>
                  <a:gd name="T49" fmla="*/ 7 h 20"/>
                  <a:gd name="T50" fmla="*/ 8 w 20"/>
                  <a:gd name="T51" fmla="*/ 4 h 20"/>
                  <a:gd name="T52" fmla="*/ 9 w 20"/>
                  <a:gd name="T53" fmla="*/ 4 h 20"/>
                  <a:gd name="T54" fmla="*/ 8 w 20"/>
                  <a:gd name="T55" fmla="*/ 4 h 20"/>
                  <a:gd name="T56" fmla="*/ 8 w 20"/>
                  <a:gd name="T5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1" y="7"/>
                    </a:lnTo>
                    <a:lnTo>
                      <a:pt x="11" y="4"/>
                    </a:lnTo>
                    <a:lnTo>
                      <a:pt x="9" y="3"/>
                    </a:lnTo>
                    <a:lnTo>
                      <a:pt x="11" y="3"/>
                    </a:lnTo>
                    <a:lnTo>
                      <a:pt x="10" y="0"/>
                    </a:lnTo>
                    <a:lnTo>
                      <a:pt x="8" y="0"/>
                    </a:lnTo>
                    <a:lnTo>
                      <a:pt x="4" y="1"/>
                    </a:lnTo>
                    <a:lnTo>
                      <a:pt x="0" y="1"/>
                    </a:lnTo>
                    <a:lnTo>
                      <a:pt x="2" y="3"/>
                    </a:lnTo>
                    <a:lnTo>
                      <a:pt x="4" y="4"/>
                    </a:lnTo>
                    <a:lnTo>
                      <a:pt x="2" y="6"/>
                    </a:lnTo>
                    <a:lnTo>
                      <a:pt x="4" y="8"/>
                    </a:lnTo>
                    <a:lnTo>
                      <a:pt x="7" y="8"/>
                    </a:lnTo>
                    <a:lnTo>
                      <a:pt x="8" y="10"/>
                    </a:lnTo>
                    <a:lnTo>
                      <a:pt x="10" y="13"/>
                    </a:lnTo>
                    <a:lnTo>
                      <a:pt x="12" y="15"/>
                    </a:lnTo>
                    <a:lnTo>
                      <a:pt x="15" y="17"/>
                    </a:lnTo>
                    <a:lnTo>
                      <a:pt x="17" y="20"/>
                    </a:lnTo>
                    <a:lnTo>
                      <a:pt x="19" y="19"/>
                    </a:lnTo>
                    <a:lnTo>
                      <a:pt x="20" y="18"/>
                    </a:lnTo>
                    <a:lnTo>
                      <a:pt x="17" y="17"/>
                    </a:lnTo>
                    <a:lnTo>
                      <a:pt x="15" y="15"/>
                    </a:lnTo>
                    <a:lnTo>
                      <a:pt x="12" y="12"/>
                    </a:lnTo>
                    <a:lnTo>
                      <a:pt x="9" y="7"/>
                    </a:lnTo>
                    <a:lnTo>
                      <a:pt x="8" y="4"/>
                    </a:lnTo>
                    <a:lnTo>
                      <a:pt x="9" y="4"/>
                    </a:lnTo>
                    <a:lnTo>
                      <a:pt x="8" y="4"/>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4" name="Freeform 20">
                <a:extLst>
                  <a:ext uri="{FF2B5EF4-FFF2-40B4-BE49-F238E27FC236}">
                    <a16:creationId xmlns:a16="http://schemas.microsoft.com/office/drawing/2014/main" id="{5DC77C62-E5D0-43B5-982C-410F70412BA6}"/>
                  </a:ext>
                </a:extLst>
              </p:cNvPr>
              <p:cNvSpPr>
                <a:spLocks/>
              </p:cNvSpPr>
              <p:nvPr/>
            </p:nvSpPr>
            <p:spPr bwMode="auto">
              <a:xfrm>
                <a:off x="1881" y="2008"/>
                <a:ext cx="4" cy="2"/>
              </a:xfrm>
              <a:custGeom>
                <a:avLst/>
                <a:gdLst>
                  <a:gd name="T0" fmla="*/ 4 w 4"/>
                  <a:gd name="T1" fmla="*/ 0 h 2"/>
                  <a:gd name="T2" fmla="*/ 0 w 4"/>
                  <a:gd name="T3" fmla="*/ 0 h 2"/>
                  <a:gd name="T4" fmla="*/ 1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1"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5" name="Freeform 21">
                <a:extLst>
                  <a:ext uri="{FF2B5EF4-FFF2-40B4-BE49-F238E27FC236}">
                    <a16:creationId xmlns:a16="http://schemas.microsoft.com/office/drawing/2014/main" id="{E34750DD-A7FF-4B07-80D2-E9B2D4CEEA8E}"/>
                  </a:ext>
                </a:extLst>
              </p:cNvPr>
              <p:cNvSpPr>
                <a:spLocks/>
              </p:cNvSpPr>
              <p:nvPr/>
            </p:nvSpPr>
            <p:spPr bwMode="auto">
              <a:xfrm>
                <a:off x="1898" y="1965"/>
                <a:ext cx="4" cy="4"/>
              </a:xfrm>
              <a:custGeom>
                <a:avLst/>
                <a:gdLst>
                  <a:gd name="T0" fmla="*/ 4 w 4"/>
                  <a:gd name="T1" fmla="*/ 0 h 4"/>
                  <a:gd name="T2" fmla="*/ 0 w 4"/>
                  <a:gd name="T3" fmla="*/ 4 h 4"/>
                  <a:gd name="T4" fmla="*/ 4 w 4"/>
                  <a:gd name="T5" fmla="*/ 3 h 4"/>
                  <a:gd name="T6" fmla="*/ 4 w 4"/>
                  <a:gd name="T7" fmla="*/ 0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4"/>
                    </a:lnTo>
                    <a:lnTo>
                      <a:pt x="4"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6" name="Freeform 22">
                <a:extLst>
                  <a:ext uri="{FF2B5EF4-FFF2-40B4-BE49-F238E27FC236}">
                    <a16:creationId xmlns:a16="http://schemas.microsoft.com/office/drawing/2014/main" id="{CE67823D-6072-41FB-84FB-55DBE105A038}"/>
                  </a:ext>
                </a:extLst>
              </p:cNvPr>
              <p:cNvSpPr>
                <a:spLocks/>
              </p:cNvSpPr>
              <p:nvPr/>
            </p:nvSpPr>
            <p:spPr bwMode="auto">
              <a:xfrm>
                <a:off x="1851" y="1925"/>
                <a:ext cx="13" cy="13"/>
              </a:xfrm>
              <a:custGeom>
                <a:avLst/>
                <a:gdLst>
                  <a:gd name="T0" fmla="*/ 4 w 13"/>
                  <a:gd name="T1" fmla="*/ 13 h 13"/>
                  <a:gd name="T2" fmla="*/ 3 w 13"/>
                  <a:gd name="T3" fmla="*/ 12 h 13"/>
                  <a:gd name="T4" fmla="*/ 3 w 13"/>
                  <a:gd name="T5" fmla="*/ 6 h 13"/>
                  <a:gd name="T6" fmla="*/ 1 w 13"/>
                  <a:gd name="T7" fmla="*/ 4 h 13"/>
                  <a:gd name="T8" fmla="*/ 0 w 13"/>
                  <a:gd name="T9" fmla="*/ 0 h 13"/>
                  <a:gd name="T10" fmla="*/ 2 w 13"/>
                  <a:gd name="T11" fmla="*/ 0 h 13"/>
                  <a:gd name="T12" fmla="*/ 8 w 13"/>
                  <a:gd name="T13" fmla="*/ 1 h 13"/>
                  <a:gd name="T14" fmla="*/ 10 w 13"/>
                  <a:gd name="T15" fmla="*/ 1 h 13"/>
                  <a:gd name="T16" fmla="*/ 13 w 13"/>
                  <a:gd name="T17" fmla="*/ 4 h 13"/>
                  <a:gd name="T18" fmla="*/ 13 w 13"/>
                  <a:gd name="T19" fmla="*/ 7 h 13"/>
                  <a:gd name="T20" fmla="*/ 12 w 13"/>
                  <a:gd name="T21" fmla="*/ 9 h 13"/>
                  <a:gd name="T22" fmla="*/ 9 w 13"/>
                  <a:gd name="T23" fmla="*/ 7 h 13"/>
                  <a:gd name="T24" fmla="*/ 11 w 13"/>
                  <a:gd name="T25" fmla="*/ 10 h 13"/>
                  <a:gd name="T26" fmla="*/ 10 w 13"/>
                  <a:gd name="T27" fmla="*/ 13 h 13"/>
                  <a:gd name="T28" fmla="*/ 6 w 13"/>
                  <a:gd name="T29" fmla="*/ 12 h 13"/>
                  <a:gd name="T30" fmla="*/ 4 w 13"/>
                  <a:gd name="T31" fmla="*/ 13 h 13"/>
                  <a:gd name="T32" fmla="*/ 4 w 13"/>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4" y="13"/>
                    </a:moveTo>
                    <a:lnTo>
                      <a:pt x="3" y="12"/>
                    </a:lnTo>
                    <a:lnTo>
                      <a:pt x="3" y="6"/>
                    </a:lnTo>
                    <a:lnTo>
                      <a:pt x="1" y="4"/>
                    </a:lnTo>
                    <a:lnTo>
                      <a:pt x="0" y="0"/>
                    </a:lnTo>
                    <a:lnTo>
                      <a:pt x="2" y="0"/>
                    </a:lnTo>
                    <a:lnTo>
                      <a:pt x="8" y="1"/>
                    </a:lnTo>
                    <a:lnTo>
                      <a:pt x="10" y="1"/>
                    </a:lnTo>
                    <a:lnTo>
                      <a:pt x="13" y="4"/>
                    </a:lnTo>
                    <a:lnTo>
                      <a:pt x="13" y="7"/>
                    </a:lnTo>
                    <a:lnTo>
                      <a:pt x="12" y="9"/>
                    </a:lnTo>
                    <a:lnTo>
                      <a:pt x="9" y="7"/>
                    </a:lnTo>
                    <a:lnTo>
                      <a:pt x="11" y="10"/>
                    </a:lnTo>
                    <a:lnTo>
                      <a:pt x="10" y="13"/>
                    </a:lnTo>
                    <a:lnTo>
                      <a:pt x="6" y="12"/>
                    </a:lnTo>
                    <a:lnTo>
                      <a:pt x="4" y="13"/>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7" name="Freeform 23">
                <a:extLst>
                  <a:ext uri="{FF2B5EF4-FFF2-40B4-BE49-F238E27FC236}">
                    <a16:creationId xmlns:a16="http://schemas.microsoft.com/office/drawing/2014/main" id="{71C2CE1C-316E-422A-9F22-87B79D7857B4}"/>
                  </a:ext>
                </a:extLst>
              </p:cNvPr>
              <p:cNvSpPr>
                <a:spLocks/>
              </p:cNvSpPr>
              <p:nvPr/>
            </p:nvSpPr>
            <p:spPr bwMode="auto">
              <a:xfrm>
                <a:off x="1855" y="1939"/>
                <a:ext cx="23" cy="32"/>
              </a:xfrm>
              <a:custGeom>
                <a:avLst/>
                <a:gdLst>
                  <a:gd name="T0" fmla="*/ 4 w 23"/>
                  <a:gd name="T1" fmla="*/ 4 h 32"/>
                  <a:gd name="T2" fmla="*/ 2 w 23"/>
                  <a:gd name="T3" fmla="*/ 4 h 32"/>
                  <a:gd name="T4" fmla="*/ 0 w 23"/>
                  <a:gd name="T5" fmla="*/ 3 h 32"/>
                  <a:gd name="T6" fmla="*/ 0 w 23"/>
                  <a:gd name="T7" fmla="*/ 0 h 32"/>
                  <a:gd name="T8" fmla="*/ 6 w 23"/>
                  <a:gd name="T9" fmla="*/ 1 h 32"/>
                  <a:gd name="T10" fmla="*/ 8 w 23"/>
                  <a:gd name="T11" fmla="*/ 3 h 32"/>
                  <a:gd name="T12" fmla="*/ 9 w 23"/>
                  <a:gd name="T13" fmla="*/ 7 h 32"/>
                  <a:gd name="T14" fmla="*/ 12 w 23"/>
                  <a:gd name="T15" fmla="*/ 7 h 32"/>
                  <a:gd name="T16" fmla="*/ 15 w 23"/>
                  <a:gd name="T17" fmla="*/ 9 h 32"/>
                  <a:gd name="T18" fmla="*/ 17 w 23"/>
                  <a:gd name="T19" fmla="*/ 15 h 32"/>
                  <a:gd name="T20" fmla="*/ 21 w 23"/>
                  <a:gd name="T21" fmla="*/ 18 h 32"/>
                  <a:gd name="T22" fmla="*/ 15 w 23"/>
                  <a:gd name="T23" fmla="*/ 15 h 32"/>
                  <a:gd name="T24" fmla="*/ 15 w 23"/>
                  <a:gd name="T25" fmla="*/ 17 h 32"/>
                  <a:gd name="T26" fmla="*/ 17 w 23"/>
                  <a:gd name="T27" fmla="*/ 19 h 32"/>
                  <a:gd name="T28" fmla="*/ 21 w 23"/>
                  <a:gd name="T29" fmla="*/ 19 h 32"/>
                  <a:gd name="T30" fmla="*/ 19 w 23"/>
                  <a:gd name="T31" fmla="*/ 22 h 32"/>
                  <a:gd name="T32" fmla="*/ 22 w 23"/>
                  <a:gd name="T33" fmla="*/ 21 h 32"/>
                  <a:gd name="T34" fmla="*/ 22 w 23"/>
                  <a:gd name="T35" fmla="*/ 24 h 32"/>
                  <a:gd name="T36" fmla="*/ 19 w 23"/>
                  <a:gd name="T37" fmla="*/ 26 h 32"/>
                  <a:gd name="T38" fmla="*/ 23 w 23"/>
                  <a:gd name="T39" fmla="*/ 26 h 32"/>
                  <a:gd name="T40" fmla="*/ 23 w 23"/>
                  <a:gd name="T41" fmla="*/ 29 h 32"/>
                  <a:gd name="T42" fmla="*/ 21 w 23"/>
                  <a:gd name="T43" fmla="*/ 32 h 32"/>
                  <a:gd name="T44" fmla="*/ 18 w 23"/>
                  <a:gd name="T45" fmla="*/ 30 h 32"/>
                  <a:gd name="T46" fmla="*/ 17 w 23"/>
                  <a:gd name="T47" fmla="*/ 28 h 32"/>
                  <a:gd name="T48" fmla="*/ 15 w 23"/>
                  <a:gd name="T49" fmla="*/ 26 h 32"/>
                  <a:gd name="T50" fmla="*/ 15 w 23"/>
                  <a:gd name="T51" fmla="*/ 24 h 32"/>
                  <a:gd name="T52" fmla="*/ 13 w 23"/>
                  <a:gd name="T53" fmla="*/ 22 h 32"/>
                  <a:gd name="T54" fmla="*/ 7 w 23"/>
                  <a:gd name="T55" fmla="*/ 19 h 32"/>
                  <a:gd name="T56" fmla="*/ 9 w 23"/>
                  <a:gd name="T57" fmla="*/ 19 h 32"/>
                  <a:gd name="T58" fmla="*/ 7 w 23"/>
                  <a:gd name="T59" fmla="*/ 17 h 32"/>
                  <a:gd name="T60" fmla="*/ 9 w 23"/>
                  <a:gd name="T61" fmla="*/ 13 h 32"/>
                  <a:gd name="T62" fmla="*/ 7 w 23"/>
                  <a:gd name="T63" fmla="*/ 15 h 32"/>
                  <a:gd name="T64" fmla="*/ 4 w 23"/>
                  <a:gd name="T65" fmla="*/ 15 h 32"/>
                  <a:gd name="T66" fmla="*/ 5 w 23"/>
                  <a:gd name="T67" fmla="*/ 12 h 32"/>
                  <a:gd name="T68" fmla="*/ 5 w 23"/>
                  <a:gd name="T69" fmla="*/ 7 h 32"/>
                  <a:gd name="T70" fmla="*/ 4 w 23"/>
                  <a:gd name="T71" fmla="*/ 6 h 32"/>
                  <a:gd name="T72" fmla="*/ 5 w 23"/>
                  <a:gd name="T73" fmla="*/ 4 h 32"/>
                  <a:gd name="T74" fmla="*/ 5 w 23"/>
                  <a:gd name="T75" fmla="*/ 4 h 32"/>
                  <a:gd name="T76" fmla="*/ 4 w 23"/>
                  <a:gd name="T77" fmla="*/ 4 h 32"/>
                  <a:gd name="T78" fmla="*/ 4 w 23"/>
                  <a:gd name="T7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32">
                    <a:moveTo>
                      <a:pt x="4" y="4"/>
                    </a:moveTo>
                    <a:lnTo>
                      <a:pt x="2" y="4"/>
                    </a:lnTo>
                    <a:lnTo>
                      <a:pt x="0" y="3"/>
                    </a:lnTo>
                    <a:lnTo>
                      <a:pt x="0" y="0"/>
                    </a:lnTo>
                    <a:lnTo>
                      <a:pt x="6" y="1"/>
                    </a:lnTo>
                    <a:lnTo>
                      <a:pt x="8" y="3"/>
                    </a:lnTo>
                    <a:lnTo>
                      <a:pt x="9" y="7"/>
                    </a:lnTo>
                    <a:lnTo>
                      <a:pt x="12" y="7"/>
                    </a:lnTo>
                    <a:lnTo>
                      <a:pt x="15" y="9"/>
                    </a:lnTo>
                    <a:lnTo>
                      <a:pt x="17" y="15"/>
                    </a:lnTo>
                    <a:lnTo>
                      <a:pt x="21" y="18"/>
                    </a:lnTo>
                    <a:lnTo>
                      <a:pt x="15" y="15"/>
                    </a:lnTo>
                    <a:lnTo>
                      <a:pt x="15" y="17"/>
                    </a:lnTo>
                    <a:lnTo>
                      <a:pt x="17" y="19"/>
                    </a:lnTo>
                    <a:lnTo>
                      <a:pt x="21" y="19"/>
                    </a:lnTo>
                    <a:lnTo>
                      <a:pt x="19" y="22"/>
                    </a:lnTo>
                    <a:lnTo>
                      <a:pt x="22" y="21"/>
                    </a:lnTo>
                    <a:lnTo>
                      <a:pt x="22" y="24"/>
                    </a:lnTo>
                    <a:lnTo>
                      <a:pt x="19" y="26"/>
                    </a:lnTo>
                    <a:lnTo>
                      <a:pt x="23" y="26"/>
                    </a:lnTo>
                    <a:lnTo>
                      <a:pt x="23" y="29"/>
                    </a:lnTo>
                    <a:lnTo>
                      <a:pt x="21" y="32"/>
                    </a:lnTo>
                    <a:lnTo>
                      <a:pt x="18" y="30"/>
                    </a:lnTo>
                    <a:lnTo>
                      <a:pt x="17" y="28"/>
                    </a:lnTo>
                    <a:lnTo>
                      <a:pt x="15" y="26"/>
                    </a:lnTo>
                    <a:lnTo>
                      <a:pt x="15" y="24"/>
                    </a:lnTo>
                    <a:lnTo>
                      <a:pt x="13" y="22"/>
                    </a:lnTo>
                    <a:lnTo>
                      <a:pt x="7" y="19"/>
                    </a:lnTo>
                    <a:lnTo>
                      <a:pt x="9" y="19"/>
                    </a:lnTo>
                    <a:lnTo>
                      <a:pt x="7" y="17"/>
                    </a:lnTo>
                    <a:lnTo>
                      <a:pt x="9" y="13"/>
                    </a:lnTo>
                    <a:lnTo>
                      <a:pt x="7" y="15"/>
                    </a:lnTo>
                    <a:lnTo>
                      <a:pt x="4" y="15"/>
                    </a:lnTo>
                    <a:lnTo>
                      <a:pt x="5" y="12"/>
                    </a:lnTo>
                    <a:lnTo>
                      <a:pt x="5" y="7"/>
                    </a:lnTo>
                    <a:lnTo>
                      <a:pt x="4" y="6"/>
                    </a:lnTo>
                    <a:lnTo>
                      <a:pt x="5" y="4"/>
                    </a:lnTo>
                    <a:lnTo>
                      <a:pt x="5" y="4"/>
                    </a:lnTo>
                    <a:lnTo>
                      <a:pt x="4" y="4"/>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8" name="Freeform 24">
                <a:extLst>
                  <a:ext uri="{FF2B5EF4-FFF2-40B4-BE49-F238E27FC236}">
                    <a16:creationId xmlns:a16="http://schemas.microsoft.com/office/drawing/2014/main" id="{C2DDE26A-A33C-4C80-BD47-4003F72694E8}"/>
                  </a:ext>
                </a:extLst>
              </p:cNvPr>
              <p:cNvSpPr>
                <a:spLocks/>
              </p:cNvSpPr>
              <p:nvPr/>
            </p:nvSpPr>
            <p:spPr bwMode="auto">
              <a:xfrm>
                <a:off x="1854" y="1943"/>
                <a:ext cx="5" cy="5"/>
              </a:xfrm>
              <a:custGeom>
                <a:avLst/>
                <a:gdLst>
                  <a:gd name="T0" fmla="*/ 5 w 5"/>
                  <a:gd name="T1" fmla="*/ 0 h 5"/>
                  <a:gd name="T2" fmla="*/ 5 w 5"/>
                  <a:gd name="T3" fmla="*/ 2 h 5"/>
                  <a:gd name="T4" fmla="*/ 0 w 5"/>
                  <a:gd name="T5" fmla="*/ 5 h 5"/>
                  <a:gd name="T6" fmla="*/ 0 w 5"/>
                  <a:gd name="T7" fmla="*/ 3 h 5"/>
                  <a:gd name="T8" fmla="*/ 2 w 5"/>
                  <a:gd name="T9" fmla="*/ 2 h 5"/>
                  <a:gd name="T10" fmla="*/ 5 w 5"/>
                  <a:gd name="T11" fmla="*/ 0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2"/>
                    </a:lnTo>
                    <a:lnTo>
                      <a:pt x="0" y="5"/>
                    </a:lnTo>
                    <a:lnTo>
                      <a:pt x="0" y="3"/>
                    </a:lnTo>
                    <a:lnTo>
                      <a:pt x="2"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9" name="Freeform 25">
                <a:extLst>
                  <a:ext uri="{FF2B5EF4-FFF2-40B4-BE49-F238E27FC236}">
                    <a16:creationId xmlns:a16="http://schemas.microsoft.com/office/drawing/2014/main" id="{51484EDF-1464-4163-BC43-EEDBD8C9E128}"/>
                  </a:ext>
                </a:extLst>
              </p:cNvPr>
              <p:cNvSpPr>
                <a:spLocks/>
              </p:cNvSpPr>
              <p:nvPr/>
            </p:nvSpPr>
            <p:spPr bwMode="auto">
              <a:xfrm>
                <a:off x="1864" y="1931"/>
                <a:ext cx="5" cy="6"/>
              </a:xfrm>
              <a:custGeom>
                <a:avLst/>
                <a:gdLst>
                  <a:gd name="T0" fmla="*/ 0 w 5"/>
                  <a:gd name="T1" fmla="*/ 0 h 6"/>
                  <a:gd name="T2" fmla="*/ 3 w 5"/>
                  <a:gd name="T3" fmla="*/ 0 h 6"/>
                  <a:gd name="T4" fmla="*/ 5 w 5"/>
                  <a:gd name="T5" fmla="*/ 2 h 6"/>
                  <a:gd name="T6" fmla="*/ 4 w 5"/>
                  <a:gd name="T7" fmla="*/ 6 h 6"/>
                  <a:gd name="T8" fmla="*/ 0 w 5"/>
                  <a:gd name="T9" fmla="*/ 6 h 6"/>
                  <a:gd name="T10" fmla="*/ 0 w 5"/>
                  <a:gd name="T11" fmla="*/ 2 h 6"/>
                  <a:gd name="T12" fmla="*/ 0 w 5"/>
                  <a:gd name="T13" fmla="*/ 0 h 6"/>
                  <a:gd name="T14" fmla="*/ 0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0"/>
                    </a:moveTo>
                    <a:lnTo>
                      <a:pt x="3" y="0"/>
                    </a:lnTo>
                    <a:lnTo>
                      <a:pt x="5" y="2"/>
                    </a:lnTo>
                    <a:lnTo>
                      <a:pt x="4" y="6"/>
                    </a:lnTo>
                    <a:lnTo>
                      <a:pt x="0" y="6"/>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0" name="Freeform 26">
                <a:extLst>
                  <a:ext uri="{FF2B5EF4-FFF2-40B4-BE49-F238E27FC236}">
                    <a16:creationId xmlns:a16="http://schemas.microsoft.com/office/drawing/2014/main" id="{E5D23695-6669-4D31-A401-1F553A22722B}"/>
                  </a:ext>
                </a:extLst>
              </p:cNvPr>
              <p:cNvSpPr>
                <a:spLocks/>
              </p:cNvSpPr>
              <p:nvPr/>
            </p:nvSpPr>
            <p:spPr bwMode="auto">
              <a:xfrm>
                <a:off x="1878" y="2002"/>
                <a:ext cx="3" cy="4"/>
              </a:xfrm>
              <a:custGeom>
                <a:avLst/>
                <a:gdLst>
                  <a:gd name="T0" fmla="*/ 0 w 3"/>
                  <a:gd name="T1" fmla="*/ 1 h 4"/>
                  <a:gd name="T2" fmla="*/ 1 w 3"/>
                  <a:gd name="T3" fmla="*/ 1 h 4"/>
                  <a:gd name="T4" fmla="*/ 1 w 3"/>
                  <a:gd name="T5" fmla="*/ 0 h 4"/>
                  <a:gd name="T6" fmla="*/ 3 w 3"/>
                  <a:gd name="T7" fmla="*/ 1 h 4"/>
                  <a:gd name="T8" fmla="*/ 3 w 3"/>
                  <a:gd name="T9" fmla="*/ 4 h 4"/>
                  <a:gd name="T10" fmla="*/ 0 w 3"/>
                  <a:gd name="T11" fmla="*/ 1 h 4"/>
                  <a:gd name="T12" fmla="*/ 0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1"/>
                    </a:moveTo>
                    <a:lnTo>
                      <a:pt x="1" y="1"/>
                    </a:lnTo>
                    <a:lnTo>
                      <a:pt x="1" y="0"/>
                    </a:lnTo>
                    <a:lnTo>
                      <a:pt x="3" y="1"/>
                    </a:lnTo>
                    <a:lnTo>
                      <a:pt x="3"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1" name="Rectangle 27">
                <a:extLst>
                  <a:ext uri="{FF2B5EF4-FFF2-40B4-BE49-F238E27FC236}">
                    <a16:creationId xmlns:a16="http://schemas.microsoft.com/office/drawing/2014/main" id="{53227F2E-95AC-488C-8C66-4C8061C08AE7}"/>
                  </a:ext>
                </a:extLst>
              </p:cNvPr>
              <p:cNvSpPr>
                <a:spLocks noChangeArrowheads="1"/>
              </p:cNvSpPr>
              <p:nvPr/>
            </p:nvSpPr>
            <p:spPr bwMode="auto">
              <a:xfrm>
                <a:off x="1879" y="200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2" name="Freeform 28">
                <a:extLst>
                  <a:ext uri="{FF2B5EF4-FFF2-40B4-BE49-F238E27FC236}">
                    <a16:creationId xmlns:a16="http://schemas.microsoft.com/office/drawing/2014/main" id="{5ED9C565-7D1A-4298-842A-509424595A77}"/>
                  </a:ext>
                </a:extLst>
              </p:cNvPr>
              <p:cNvSpPr>
                <a:spLocks/>
              </p:cNvSpPr>
              <p:nvPr/>
            </p:nvSpPr>
            <p:spPr bwMode="auto">
              <a:xfrm>
                <a:off x="1903" y="1948"/>
                <a:ext cx="1" cy="11"/>
              </a:xfrm>
              <a:custGeom>
                <a:avLst/>
                <a:gdLst>
                  <a:gd name="T0" fmla="*/ 1 w 1"/>
                  <a:gd name="T1" fmla="*/ 0 h 11"/>
                  <a:gd name="T2" fmla="*/ 1 w 1"/>
                  <a:gd name="T3" fmla="*/ 0 h 11"/>
                  <a:gd name="T4" fmla="*/ 0 w 1"/>
                  <a:gd name="T5" fmla="*/ 2 h 11"/>
                  <a:gd name="T6" fmla="*/ 1 w 1"/>
                  <a:gd name="T7" fmla="*/ 11 h 11"/>
                  <a:gd name="T8" fmla="*/ 1 w 1"/>
                  <a:gd name="T9" fmla="*/ 11 h 11"/>
                  <a:gd name="T10" fmla="*/ 1 w 1"/>
                  <a:gd name="T11" fmla="*/ 9 h 11"/>
                  <a:gd name="T12" fmla="*/ 0 w 1"/>
                  <a:gd name="T13" fmla="*/ 6 h 11"/>
                  <a:gd name="T14" fmla="*/ 0 w 1"/>
                  <a:gd name="T15" fmla="*/ 3 h 11"/>
                  <a:gd name="T16" fmla="*/ 1 w 1"/>
                  <a:gd name="T17" fmla="*/ 0 h 11"/>
                  <a:gd name="T18" fmla="*/ 1 w 1"/>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1">
                    <a:moveTo>
                      <a:pt x="1" y="0"/>
                    </a:moveTo>
                    <a:lnTo>
                      <a:pt x="1" y="0"/>
                    </a:lnTo>
                    <a:lnTo>
                      <a:pt x="0" y="2"/>
                    </a:lnTo>
                    <a:lnTo>
                      <a:pt x="1" y="11"/>
                    </a:lnTo>
                    <a:lnTo>
                      <a:pt x="1" y="11"/>
                    </a:lnTo>
                    <a:lnTo>
                      <a:pt x="1" y="9"/>
                    </a:lnTo>
                    <a:lnTo>
                      <a:pt x="0" y="6"/>
                    </a:lnTo>
                    <a:lnTo>
                      <a:pt x="0" y="3"/>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3" name="Freeform 29">
                <a:extLst>
                  <a:ext uri="{FF2B5EF4-FFF2-40B4-BE49-F238E27FC236}">
                    <a16:creationId xmlns:a16="http://schemas.microsoft.com/office/drawing/2014/main" id="{4E04CC67-B077-4111-8837-71461199B19D}"/>
                  </a:ext>
                </a:extLst>
              </p:cNvPr>
              <p:cNvSpPr>
                <a:spLocks/>
              </p:cNvSpPr>
              <p:nvPr/>
            </p:nvSpPr>
            <p:spPr bwMode="auto">
              <a:xfrm>
                <a:off x="2005" y="1489"/>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4" name="Freeform 30">
                <a:extLst>
                  <a:ext uri="{FF2B5EF4-FFF2-40B4-BE49-F238E27FC236}">
                    <a16:creationId xmlns:a16="http://schemas.microsoft.com/office/drawing/2014/main" id="{1E2FD237-DEA5-45E9-9DF9-DB05D04EDAAB}"/>
                  </a:ext>
                </a:extLst>
              </p:cNvPr>
              <p:cNvSpPr>
                <a:spLocks/>
              </p:cNvSpPr>
              <p:nvPr/>
            </p:nvSpPr>
            <p:spPr bwMode="auto">
              <a:xfrm>
                <a:off x="2109" y="1427"/>
                <a:ext cx="20" cy="10"/>
              </a:xfrm>
              <a:custGeom>
                <a:avLst/>
                <a:gdLst>
                  <a:gd name="T0" fmla="*/ 10 w 20"/>
                  <a:gd name="T1" fmla="*/ 0 h 10"/>
                  <a:gd name="T2" fmla="*/ 6 w 20"/>
                  <a:gd name="T3" fmla="*/ 1 h 10"/>
                  <a:gd name="T4" fmla="*/ 0 w 20"/>
                  <a:gd name="T5" fmla="*/ 3 h 10"/>
                  <a:gd name="T6" fmla="*/ 2 w 20"/>
                  <a:gd name="T7" fmla="*/ 6 h 10"/>
                  <a:gd name="T8" fmla="*/ 9 w 20"/>
                  <a:gd name="T9" fmla="*/ 10 h 10"/>
                  <a:gd name="T10" fmla="*/ 11 w 20"/>
                  <a:gd name="T11" fmla="*/ 10 h 10"/>
                  <a:gd name="T12" fmla="*/ 17 w 20"/>
                  <a:gd name="T13" fmla="*/ 9 h 10"/>
                  <a:gd name="T14" fmla="*/ 20 w 20"/>
                  <a:gd name="T15" fmla="*/ 7 h 10"/>
                  <a:gd name="T16" fmla="*/ 17 w 20"/>
                  <a:gd name="T17" fmla="*/ 5 h 10"/>
                  <a:gd name="T18" fmla="*/ 15 w 20"/>
                  <a:gd name="T19" fmla="*/ 3 h 10"/>
                  <a:gd name="T20" fmla="*/ 11 w 20"/>
                  <a:gd name="T21" fmla="*/ 2 h 10"/>
                  <a:gd name="T22" fmla="*/ 10 w 20"/>
                  <a:gd name="T23" fmla="*/ 0 h 10"/>
                  <a:gd name="T24" fmla="*/ 10 w 2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0">
                    <a:moveTo>
                      <a:pt x="10" y="0"/>
                    </a:moveTo>
                    <a:lnTo>
                      <a:pt x="6" y="1"/>
                    </a:lnTo>
                    <a:lnTo>
                      <a:pt x="0" y="3"/>
                    </a:lnTo>
                    <a:lnTo>
                      <a:pt x="2" y="6"/>
                    </a:lnTo>
                    <a:lnTo>
                      <a:pt x="9" y="10"/>
                    </a:lnTo>
                    <a:lnTo>
                      <a:pt x="11" y="10"/>
                    </a:lnTo>
                    <a:lnTo>
                      <a:pt x="17" y="9"/>
                    </a:lnTo>
                    <a:lnTo>
                      <a:pt x="20" y="7"/>
                    </a:lnTo>
                    <a:lnTo>
                      <a:pt x="17" y="5"/>
                    </a:lnTo>
                    <a:lnTo>
                      <a:pt x="15" y="3"/>
                    </a:lnTo>
                    <a:lnTo>
                      <a:pt x="11" y="2"/>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5" name="Freeform 31">
                <a:extLst>
                  <a:ext uri="{FF2B5EF4-FFF2-40B4-BE49-F238E27FC236}">
                    <a16:creationId xmlns:a16="http://schemas.microsoft.com/office/drawing/2014/main" id="{60942DF1-681C-44B7-8C8F-90B668B62BFD}"/>
                  </a:ext>
                </a:extLst>
              </p:cNvPr>
              <p:cNvSpPr>
                <a:spLocks/>
              </p:cNvSpPr>
              <p:nvPr/>
            </p:nvSpPr>
            <p:spPr bwMode="auto">
              <a:xfrm>
                <a:off x="2113" y="1461"/>
                <a:ext cx="17" cy="6"/>
              </a:xfrm>
              <a:custGeom>
                <a:avLst/>
                <a:gdLst>
                  <a:gd name="T0" fmla="*/ 10 w 17"/>
                  <a:gd name="T1" fmla="*/ 6 h 6"/>
                  <a:gd name="T2" fmla="*/ 16 w 17"/>
                  <a:gd name="T3" fmla="*/ 4 h 6"/>
                  <a:gd name="T4" fmla="*/ 17 w 17"/>
                  <a:gd name="T5" fmla="*/ 2 h 6"/>
                  <a:gd name="T6" fmla="*/ 15 w 17"/>
                  <a:gd name="T7" fmla="*/ 1 h 6"/>
                  <a:gd name="T8" fmla="*/ 12 w 17"/>
                  <a:gd name="T9" fmla="*/ 0 h 6"/>
                  <a:gd name="T10" fmla="*/ 10 w 17"/>
                  <a:gd name="T11" fmla="*/ 0 h 6"/>
                  <a:gd name="T12" fmla="*/ 4 w 17"/>
                  <a:gd name="T13" fmla="*/ 1 h 6"/>
                  <a:gd name="T14" fmla="*/ 0 w 17"/>
                  <a:gd name="T15" fmla="*/ 2 h 6"/>
                  <a:gd name="T16" fmla="*/ 2 w 17"/>
                  <a:gd name="T17" fmla="*/ 4 h 6"/>
                  <a:gd name="T18" fmla="*/ 10 w 17"/>
                  <a:gd name="T19" fmla="*/ 6 h 6"/>
                  <a:gd name="T20" fmla="*/ 10 w 1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6">
                    <a:moveTo>
                      <a:pt x="10" y="6"/>
                    </a:moveTo>
                    <a:lnTo>
                      <a:pt x="16" y="4"/>
                    </a:lnTo>
                    <a:lnTo>
                      <a:pt x="17" y="2"/>
                    </a:lnTo>
                    <a:lnTo>
                      <a:pt x="15" y="1"/>
                    </a:lnTo>
                    <a:lnTo>
                      <a:pt x="12" y="0"/>
                    </a:lnTo>
                    <a:lnTo>
                      <a:pt x="10" y="0"/>
                    </a:lnTo>
                    <a:lnTo>
                      <a:pt x="4" y="1"/>
                    </a:lnTo>
                    <a:lnTo>
                      <a:pt x="0" y="2"/>
                    </a:lnTo>
                    <a:lnTo>
                      <a:pt x="2" y="4"/>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6" name="Freeform 32">
                <a:extLst>
                  <a:ext uri="{FF2B5EF4-FFF2-40B4-BE49-F238E27FC236}">
                    <a16:creationId xmlns:a16="http://schemas.microsoft.com/office/drawing/2014/main" id="{8C8D218C-67D1-4309-8E49-606ECE51E291}"/>
                  </a:ext>
                </a:extLst>
              </p:cNvPr>
              <p:cNvSpPr>
                <a:spLocks/>
              </p:cNvSpPr>
              <p:nvPr/>
            </p:nvSpPr>
            <p:spPr bwMode="auto">
              <a:xfrm>
                <a:off x="2252" y="1468"/>
                <a:ext cx="20" cy="10"/>
              </a:xfrm>
              <a:custGeom>
                <a:avLst/>
                <a:gdLst>
                  <a:gd name="T0" fmla="*/ 6 w 20"/>
                  <a:gd name="T1" fmla="*/ 0 h 10"/>
                  <a:gd name="T2" fmla="*/ 3 w 20"/>
                  <a:gd name="T3" fmla="*/ 0 h 10"/>
                  <a:gd name="T4" fmla="*/ 0 w 20"/>
                  <a:gd name="T5" fmla="*/ 2 h 10"/>
                  <a:gd name="T6" fmla="*/ 1 w 20"/>
                  <a:gd name="T7" fmla="*/ 4 h 10"/>
                  <a:gd name="T8" fmla="*/ 3 w 20"/>
                  <a:gd name="T9" fmla="*/ 7 h 10"/>
                  <a:gd name="T10" fmla="*/ 3 w 20"/>
                  <a:gd name="T11" fmla="*/ 10 h 10"/>
                  <a:gd name="T12" fmla="*/ 9 w 20"/>
                  <a:gd name="T13" fmla="*/ 10 h 10"/>
                  <a:gd name="T14" fmla="*/ 12 w 20"/>
                  <a:gd name="T15" fmla="*/ 10 h 10"/>
                  <a:gd name="T16" fmla="*/ 18 w 20"/>
                  <a:gd name="T17" fmla="*/ 9 h 10"/>
                  <a:gd name="T18" fmla="*/ 20 w 20"/>
                  <a:gd name="T19" fmla="*/ 8 h 10"/>
                  <a:gd name="T20" fmla="*/ 20 w 20"/>
                  <a:gd name="T21" fmla="*/ 5 h 10"/>
                  <a:gd name="T22" fmla="*/ 14 w 20"/>
                  <a:gd name="T23" fmla="*/ 4 h 10"/>
                  <a:gd name="T24" fmla="*/ 12 w 20"/>
                  <a:gd name="T25" fmla="*/ 2 h 10"/>
                  <a:gd name="T26" fmla="*/ 9 w 20"/>
                  <a:gd name="T27" fmla="*/ 0 h 10"/>
                  <a:gd name="T28" fmla="*/ 6 w 20"/>
                  <a:gd name="T29" fmla="*/ 0 h 10"/>
                  <a:gd name="T30" fmla="*/ 6 w 20"/>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0">
                    <a:moveTo>
                      <a:pt x="6" y="0"/>
                    </a:moveTo>
                    <a:lnTo>
                      <a:pt x="3" y="0"/>
                    </a:lnTo>
                    <a:lnTo>
                      <a:pt x="0" y="2"/>
                    </a:lnTo>
                    <a:lnTo>
                      <a:pt x="1" y="4"/>
                    </a:lnTo>
                    <a:lnTo>
                      <a:pt x="3" y="7"/>
                    </a:lnTo>
                    <a:lnTo>
                      <a:pt x="3" y="10"/>
                    </a:lnTo>
                    <a:lnTo>
                      <a:pt x="9" y="10"/>
                    </a:lnTo>
                    <a:lnTo>
                      <a:pt x="12" y="10"/>
                    </a:lnTo>
                    <a:lnTo>
                      <a:pt x="18" y="9"/>
                    </a:lnTo>
                    <a:lnTo>
                      <a:pt x="20" y="8"/>
                    </a:lnTo>
                    <a:lnTo>
                      <a:pt x="20" y="5"/>
                    </a:lnTo>
                    <a:lnTo>
                      <a:pt x="14" y="4"/>
                    </a:lnTo>
                    <a:lnTo>
                      <a:pt x="12" y="2"/>
                    </a:lnTo>
                    <a:lnTo>
                      <a:pt x="9"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7" name="Freeform 33">
                <a:extLst>
                  <a:ext uri="{FF2B5EF4-FFF2-40B4-BE49-F238E27FC236}">
                    <a16:creationId xmlns:a16="http://schemas.microsoft.com/office/drawing/2014/main" id="{384BF7A7-81F0-41C4-A6E9-776C8711F7AC}"/>
                  </a:ext>
                </a:extLst>
              </p:cNvPr>
              <p:cNvSpPr>
                <a:spLocks/>
              </p:cNvSpPr>
              <p:nvPr/>
            </p:nvSpPr>
            <p:spPr bwMode="auto">
              <a:xfrm>
                <a:off x="2255" y="1478"/>
                <a:ext cx="25" cy="8"/>
              </a:xfrm>
              <a:custGeom>
                <a:avLst/>
                <a:gdLst>
                  <a:gd name="T0" fmla="*/ 24 w 25"/>
                  <a:gd name="T1" fmla="*/ 0 h 8"/>
                  <a:gd name="T2" fmla="*/ 22 w 25"/>
                  <a:gd name="T3" fmla="*/ 0 h 8"/>
                  <a:gd name="T4" fmla="*/ 18 w 25"/>
                  <a:gd name="T5" fmla="*/ 0 h 8"/>
                  <a:gd name="T6" fmla="*/ 2 w 25"/>
                  <a:gd name="T7" fmla="*/ 2 h 8"/>
                  <a:gd name="T8" fmla="*/ 0 w 25"/>
                  <a:gd name="T9" fmla="*/ 3 h 8"/>
                  <a:gd name="T10" fmla="*/ 0 w 25"/>
                  <a:gd name="T11" fmla="*/ 7 h 8"/>
                  <a:gd name="T12" fmla="*/ 8 w 25"/>
                  <a:gd name="T13" fmla="*/ 8 h 8"/>
                  <a:gd name="T14" fmla="*/ 15 w 25"/>
                  <a:gd name="T15" fmla="*/ 8 h 8"/>
                  <a:gd name="T16" fmla="*/ 19 w 25"/>
                  <a:gd name="T17" fmla="*/ 7 h 8"/>
                  <a:gd name="T18" fmla="*/ 23 w 25"/>
                  <a:gd name="T19" fmla="*/ 6 h 8"/>
                  <a:gd name="T20" fmla="*/ 25 w 25"/>
                  <a:gd name="T21" fmla="*/ 3 h 8"/>
                  <a:gd name="T22" fmla="*/ 24 w 25"/>
                  <a:gd name="T23" fmla="*/ 0 h 8"/>
                  <a:gd name="T24" fmla="*/ 24 w 25"/>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8">
                    <a:moveTo>
                      <a:pt x="24" y="0"/>
                    </a:moveTo>
                    <a:lnTo>
                      <a:pt x="22" y="0"/>
                    </a:lnTo>
                    <a:lnTo>
                      <a:pt x="18" y="0"/>
                    </a:lnTo>
                    <a:lnTo>
                      <a:pt x="2" y="2"/>
                    </a:lnTo>
                    <a:lnTo>
                      <a:pt x="0" y="3"/>
                    </a:lnTo>
                    <a:lnTo>
                      <a:pt x="0" y="7"/>
                    </a:lnTo>
                    <a:lnTo>
                      <a:pt x="8" y="8"/>
                    </a:lnTo>
                    <a:lnTo>
                      <a:pt x="15" y="8"/>
                    </a:lnTo>
                    <a:lnTo>
                      <a:pt x="19" y="7"/>
                    </a:lnTo>
                    <a:lnTo>
                      <a:pt x="23" y="6"/>
                    </a:lnTo>
                    <a:lnTo>
                      <a:pt x="25" y="3"/>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8" name="Freeform 34">
                <a:extLst>
                  <a:ext uri="{FF2B5EF4-FFF2-40B4-BE49-F238E27FC236}">
                    <a16:creationId xmlns:a16="http://schemas.microsoft.com/office/drawing/2014/main" id="{AC7FFD82-E701-46DC-B52C-C43AFC7F11FB}"/>
                  </a:ext>
                </a:extLst>
              </p:cNvPr>
              <p:cNvSpPr>
                <a:spLocks/>
              </p:cNvSpPr>
              <p:nvPr/>
            </p:nvSpPr>
            <p:spPr bwMode="auto">
              <a:xfrm>
                <a:off x="2263" y="1485"/>
                <a:ext cx="20" cy="4"/>
              </a:xfrm>
              <a:custGeom>
                <a:avLst/>
                <a:gdLst>
                  <a:gd name="T0" fmla="*/ 20 w 20"/>
                  <a:gd name="T1" fmla="*/ 0 h 4"/>
                  <a:gd name="T2" fmla="*/ 15 w 20"/>
                  <a:gd name="T3" fmla="*/ 0 h 4"/>
                  <a:gd name="T4" fmla="*/ 7 w 20"/>
                  <a:gd name="T5" fmla="*/ 1 h 4"/>
                  <a:gd name="T6" fmla="*/ 3 w 20"/>
                  <a:gd name="T7" fmla="*/ 2 h 4"/>
                  <a:gd name="T8" fmla="*/ 0 w 20"/>
                  <a:gd name="T9" fmla="*/ 4 h 4"/>
                  <a:gd name="T10" fmla="*/ 6 w 20"/>
                  <a:gd name="T11" fmla="*/ 4 h 4"/>
                  <a:gd name="T12" fmla="*/ 15 w 20"/>
                  <a:gd name="T13" fmla="*/ 3 h 4"/>
                  <a:gd name="T14" fmla="*/ 17 w 20"/>
                  <a:gd name="T15" fmla="*/ 2 h 4"/>
                  <a:gd name="T16" fmla="*/ 20 w 20"/>
                  <a:gd name="T17" fmla="*/ 0 h 4"/>
                  <a:gd name="T18" fmla="*/ 20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20" y="0"/>
                    </a:moveTo>
                    <a:lnTo>
                      <a:pt x="15" y="0"/>
                    </a:lnTo>
                    <a:lnTo>
                      <a:pt x="7" y="1"/>
                    </a:lnTo>
                    <a:lnTo>
                      <a:pt x="3" y="2"/>
                    </a:lnTo>
                    <a:lnTo>
                      <a:pt x="0" y="4"/>
                    </a:lnTo>
                    <a:lnTo>
                      <a:pt x="6" y="4"/>
                    </a:lnTo>
                    <a:lnTo>
                      <a:pt x="15" y="3"/>
                    </a:lnTo>
                    <a:lnTo>
                      <a:pt x="17" y="2"/>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9" name="Freeform 35">
                <a:extLst>
                  <a:ext uri="{FF2B5EF4-FFF2-40B4-BE49-F238E27FC236}">
                    <a16:creationId xmlns:a16="http://schemas.microsoft.com/office/drawing/2014/main" id="{14F03BA5-0CBD-4DB9-AB17-C1E387797735}"/>
                  </a:ext>
                </a:extLst>
              </p:cNvPr>
              <p:cNvSpPr>
                <a:spLocks/>
              </p:cNvSpPr>
              <p:nvPr/>
            </p:nvSpPr>
            <p:spPr bwMode="auto">
              <a:xfrm>
                <a:off x="2303" y="1497"/>
                <a:ext cx="9" cy="2"/>
              </a:xfrm>
              <a:custGeom>
                <a:avLst/>
                <a:gdLst>
                  <a:gd name="T0" fmla="*/ 5 w 9"/>
                  <a:gd name="T1" fmla="*/ 2 h 2"/>
                  <a:gd name="T2" fmla="*/ 9 w 9"/>
                  <a:gd name="T3" fmla="*/ 0 h 2"/>
                  <a:gd name="T4" fmla="*/ 3 w 9"/>
                  <a:gd name="T5" fmla="*/ 1 h 2"/>
                  <a:gd name="T6" fmla="*/ 0 w 9"/>
                  <a:gd name="T7" fmla="*/ 2 h 2"/>
                  <a:gd name="T8" fmla="*/ 3 w 9"/>
                  <a:gd name="T9" fmla="*/ 1 h 2"/>
                  <a:gd name="T10" fmla="*/ 5 w 9"/>
                  <a:gd name="T11" fmla="*/ 2 h 2"/>
                  <a:gd name="T12" fmla="*/ 5 w 9"/>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5" y="2"/>
                    </a:moveTo>
                    <a:lnTo>
                      <a:pt x="9" y="0"/>
                    </a:lnTo>
                    <a:lnTo>
                      <a:pt x="3" y="1"/>
                    </a:lnTo>
                    <a:lnTo>
                      <a:pt x="0" y="2"/>
                    </a:lnTo>
                    <a:lnTo>
                      <a:pt x="3" y="1"/>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0" name="Freeform 36">
                <a:extLst>
                  <a:ext uri="{FF2B5EF4-FFF2-40B4-BE49-F238E27FC236}">
                    <a16:creationId xmlns:a16="http://schemas.microsoft.com/office/drawing/2014/main" id="{CB33B236-C9FD-4678-AB0F-B58C0E5790E4}"/>
                  </a:ext>
                </a:extLst>
              </p:cNvPr>
              <p:cNvSpPr>
                <a:spLocks/>
              </p:cNvSpPr>
              <p:nvPr/>
            </p:nvSpPr>
            <p:spPr bwMode="auto">
              <a:xfrm>
                <a:off x="2374" y="1537"/>
                <a:ext cx="74" cy="56"/>
              </a:xfrm>
              <a:custGeom>
                <a:avLst/>
                <a:gdLst>
                  <a:gd name="T0" fmla="*/ 41 w 74"/>
                  <a:gd name="T1" fmla="*/ 2 h 56"/>
                  <a:gd name="T2" fmla="*/ 39 w 74"/>
                  <a:gd name="T3" fmla="*/ 1 h 56"/>
                  <a:gd name="T4" fmla="*/ 33 w 74"/>
                  <a:gd name="T5" fmla="*/ 0 h 56"/>
                  <a:gd name="T6" fmla="*/ 29 w 74"/>
                  <a:gd name="T7" fmla="*/ 0 h 56"/>
                  <a:gd name="T8" fmla="*/ 26 w 74"/>
                  <a:gd name="T9" fmla="*/ 1 h 56"/>
                  <a:gd name="T10" fmla="*/ 22 w 74"/>
                  <a:gd name="T11" fmla="*/ 1 h 56"/>
                  <a:gd name="T12" fmla="*/ 12 w 74"/>
                  <a:gd name="T13" fmla="*/ 2 h 56"/>
                  <a:gd name="T14" fmla="*/ 10 w 74"/>
                  <a:gd name="T15" fmla="*/ 3 h 56"/>
                  <a:gd name="T16" fmla="*/ 7 w 74"/>
                  <a:gd name="T17" fmla="*/ 4 h 56"/>
                  <a:gd name="T18" fmla="*/ 6 w 74"/>
                  <a:gd name="T19" fmla="*/ 7 h 56"/>
                  <a:gd name="T20" fmla="*/ 10 w 74"/>
                  <a:gd name="T21" fmla="*/ 12 h 56"/>
                  <a:gd name="T22" fmla="*/ 14 w 74"/>
                  <a:gd name="T23" fmla="*/ 13 h 56"/>
                  <a:gd name="T24" fmla="*/ 10 w 74"/>
                  <a:gd name="T25" fmla="*/ 13 h 56"/>
                  <a:gd name="T26" fmla="*/ 5 w 74"/>
                  <a:gd name="T27" fmla="*/ 11 h 56"/>
                  <a:gd name="T28" fmla="*/ 2 w 74"/>
                  <a:gd name="T29" fmla="*/ 11 h 56"/>
                  <a:gd name="T30" fmla="*/ 0 w 74"/>
                  <a:gd name="T31" fmla="*/ 13 h 56"/>
                  <a:gd name="T32" fmla="*/ 1 w 74"/>
                  <a:gd name="T33" fmla="*/ 17 h 56"/>
                  <a:gd name="T34" fmla="*/ 0 w 74"/>
                  <a:gd name="T35" fmla="*/ 19 h 56"/>
                  <a:gd name="T36" fmla="*/ 1 w 74"/>
                  <a:gd name="T37" fmla="*/ 25 h 56"/>
                  <a:gd name="T38" fmla="*/ 0 w 74"/>
                  <a:gd name="T39" fmla="*/ 30 h 56"/>
                  <a:gd name="T40" fmla="*/ 0 w 74"/>
                  <a:gd name="T41" fmla="*/ 36 h 56"/>
                  <a:gd name="T42" fmla="*/ 1 w 74"/>
                  <a:gd name="T43" fmla="*/ 38 h 56"/>
                  <a:gd name="T44" fmla="*/ 5 w 74"/>
                  <a:gd name="T45" fmla="*/ 39 h 56"/>
                  <a:gd name="T46" fmla="*/ 6 w 74"/>
                  <a:gd name="T47" fmla="*/ 43 h 56"/>
                  <a:gd name="T48" fmla="*/ 8 w 74"/>
                  <a:gd name="T49" fmla="*/ 45 h 56"/>
                  <a:gd name="T50" fmla="*/ 7 w 74"/>
                  <a:gd name="T51" fmla="*/ 51 h 56"/>
                  <a:gd name="T52" fmla="*/ 10 w 74"/>
                  <a:gd name="T53" fmla="*/ 53 h 56"/>
                  <a:gd name="T54" fmla="*/ 12 w 74"/>
                  <a:gd name="T55" fmla="*/ 53 h 56"/>
                  <a:gd name="T56" fmla="*/ 7 w 74"/>
                  <a:gd name="T57" fmla="*/ 54 h 56"/>
                  <a:gd name="T58" fmla="*/ 7 w 74"/>
                  <a:gd name="T59" fmla="*/ 56 h 56"/>
                  <a:gd name="T60" fmla="*/ 10 w 74"/>
                  <a:gd name="T61" fmla="*/ 56 h 56"/>
                  <a:gd name="T62" fmla="*/ 18 w 74"/>
                  <a:gd name="T63" fmla="*/ 56 h 56"/>
                  <a:gd name="T64" fmla="*/ 20 w 74"/>
                  <a:gd name="T65" fmla="*/ 56 h 56"/>
                  <a:gd name="T66" fmla="*/ 26 w 74"/>
                  <a:gd name="T67" fmla="*/ 49 h 56"/>
                  <a:gd name="T68" fmla="*/ 29 w 74"/>
                  <a:gd name="T69" fmla="*/ 46 h 56"/>
                  <a:gd name="T70" fmla="*/ 31 w 74"/>
                  <a:gd name="T71" fmla="*/ 44 h 56"/>
                  <a:gd name="T72" fmla="*/ 26 w 74"/>
                  <a:gd name="T73" fmla="*/ 38 h 56"/>
                  <a:gd name="T74" fmla="*/ 20 w 74"/>
                  <a:gd name="T75" fmla="*/ 38 h 56"/>
                  <a:gd name="T76" fmla="*/ 24 w 74"/>
                  <a:gd name="T77" fmla="*/ 37 h 56"/>
                  <a:gd name="T78" fmla="*/ 32 w 74"/>
                  <a:gd name="T79" fmla="*/ 36 h 56"/>
                  <a:gd name="T80" fmla="*/ 45 w 74"/>
                  <a:gd name="T81" fmla="*/ 38 h 56"/>
                  <a:gd name="T82" fmla="*/ 49 w 74"/>
                  <a:gd name="T83" fmla="*/ 38 h 56"/>
                  <a:gd name="T84" fmla="*/ 51 w 74"/>
                  <a:gd name="T85" fmla="*/ 36 h 56"/>
                  <a:gd name="T86" fmla="*/ 54 w 74"/>
                  <a:gd name="T87" fmla="*/ 33 h 56"/>
                  <a:gd name="T88" fmla="*/ 58 w 74"/>
                  <a:gd name="T89" fmla="*/ 27 h 56"/>
                  <a:gd name="T90" fmla="*/ 57 w 74"/>
                  <a:gd name="T91" fmla="*/ 25 h 56"/>
                  <a:gd name="T92" fmla="*/ 60 w 74"/>
                  <a:gd name="T93" fmla="*/ 25 h 56"/>
                  <a:gd name="T94" fmla="*/ 62 w 74"/>
                  <a:gd name="T95" fmla="*/ 21 h 56"/>
                  <a:gd name="T96" fmla="*/ 70 w 74"/>
                  <a:gd name="T97" fmla="*/ 13 h 56"/>
                  <a:gd name="T98" fmla="*/ 73 w 74"/>
                  <a:gd name="T99" fmla="*/ 11 h 56"/>
                  <a:gd name="T100" fmla="*/ 74 w 74"/>
                  <a:gd name="T101" fmla="*/ 8 h 56"/>
                  <a:gd name="T102" fmla="*/ 70 w 74"/>
                  <a:gd name="T103" fmla="*/ 5 h 56"/>
                  <a:gd name="T104" fmla="*/ 68 w 74"/>
                  <a:gd name="T105" fmla="*/ 5 h 56"/>
                  <a:gd name="T106" fmla="*/ 57 w 74"/>
                  <a:gd name="T107" fmla="*/ 3 h 56"/>
                  <a:gd name="T108" fmla="*/ 51 w 74"/>
                  <a:gd name="T109" fmla="*/ 4 h 56"/>
                  <a:gd name="T110" fmla="*/ 49 w 74"/>
                  <a:gd name="T111" fmla="*/ 5 h 56"/>
                  <a:gd name="T112" fmla="*/ 45 w 74"/>
                  <a:gd name="T113" fmla="*/ 3 h 56"/>
                  <a:gd name="T114" fmla="*/ 43 w 74"/>
                  <a:gd name="T115" fmla="*/ 2 h 56"/>
                  <a:gd name="T116" fmla="*/ 41 w 74"/>
                  <a:gd name="T117" fmla="*/ 2 h 56"/>
                  <a:gd name="T118" fmla="*/ 41 w 74"/>
                  <a:gd name="T119"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56">
                    <a:moveTo>
                      <a:pt x="41" y="2"/>
                    </a:moveTo>
                    <a:lnTo>
                      <a:pt x="39" y="1"/>
                    </a:lnTo>
                    <a:lnTo>
                      <a:pt x="33" y="0"/>
                    </a:lnTo>
                    <a:lnTo>
                      <a:pt x="29" y="0"/>
                    </a:lnTo>
                    <a:lnTo>
                      <a:pt x="26" y="1"/>
                    </a:lnTo>
                    <a:lnTo>
                      <a:pt x="22" y="1"/>
                    </a:lnTo>
                    <a:lnTo>
                      <a:pt x="12" y="2"/>
                    </a:lnTo>
                    <a:lnTo>
                      <a:pt x="10" y="3"/>
                    </a:lnTo>
                    <a:lnTo>
                      <a:pt x="7" y="4"/>
                    </a:lnTo>
                    <a:lnTo>
                      <a:pt x="6" y="7"/>
                    </a:lnTo>
                    <a:lnTo>
                      <a:pt x="10" y="12"/>
                    </a:lnTo>
                    <a:lnTo>
                      <a:pt x="14" y="13"/>
                    </a:lnTo>
                    <a:lnTo>
                      <a:pt x="10" y="13"/>
                    </a:lnTo>
                    <a:lnTo>
                      <a:pt x="5" y="11"/>
                    </a:lnTo>
                    <a:lnTo>
                      <a:pt x="2" y="11"/>
                    </a:lnTo>
                    <a:lnTo>
                      <a:pt x="0" y="13"/>
                    </a:lnTo>
                    <a:lnTo>
                      <a:pt x="1" y="17"/>
                    </a:lnTo>
                    <a:lnTo>
                      <a:pt x="0" y="19"/>
                    </a:lnTo>
                    <a:lnTo>
                      <a:pt x="1" y="25"/>
                    </a:lnTo>
                    <a:lnTo>
                      <a:pt x="0" y="30"/>
                    </a:lnTo>
                    <a:lnTo>
                      <a:pt x="0" y="36"/>
                    </a:lnTo>
                    <a:lnTo>
                      <a:pt x="1" y="38"/>
                    </a:lnTo>
                    <a:lnTo>
                      <a:pt x="5" y="39"/>
                    </a:lnTo>
                    <a:lnTo>
                      <a:pt x="6" y="43"/>
                    </a:lnTo>
                    <a:lnTo>
                      <a:pt x="8" y="45"/>
                    </a:lnTo>
                    <a:lnTo>
                      <a:pt x="7" y="51"/>
                    </a:lnTo>
                    <a:lnTo>
                      <a:pt x="10" y="53"/>
                    </a:lnTo>
                    <a:lnTo>
                      <a:pt x="12" y="53"/>
                    </a:lnTo>
                    <a:lnTo>
                      <a:pt x="7" y="54"/>
                    </a:lnTo>
                    <a:lnTo>
                      <a:pt x="7" y="56"/>
                    </a:lnTo>
                    <a:lnTo>
                      <a:pt x="10" y="56"/>
                    </a:lnTo>
                    <a:lnTo>
                      <a:pt x="18" y="56"/>
                    </a:lnTo>
                    <a:lnTo>
                      <a:pt x="20" y="56"/>
                    </a:lnTo>
                    <a:lnTo>
                      <a:pt x="26" y="49"/>
                    </a:lnTo>
                    <a:lnTo>
                      <a:pt x="29" y="46"/>
                    </a:lnTo>
                    <a:lnTo>
                      <a:pt x="31" y="44"/>
                    </a:lnTo>
                    <a:lnTo>
                      <a:pt x="26" y="38"/>
                    </a:lnTo>
                    <a:lnTo>
                      <a:pt x="20" y="38"/>
                    </a:lnTo>
                    <a:lnTo>
                      <a:pt x="24" y="37"/>
                    </a:lnTo>
                    <a:lnTo>
                      <a:pt x="32" y="36"/>
                    </a:lnTo>
                    <a:lnTo>
                      <a:pt x="45" y="38"/>
                    </a:lnTo>
                    <a:lnTo>
                      <a:pt x="49" y="38"/>
                    </a:lnTo>
                    <a:lnTo>
                      <a:pt x="51" y="36"/>
                    </a:lnTo>
                    <a:lnTo>
                      <a:pt x="54" y="33"/>
                    </a:lnTo>
                    <a:lnTo>
                      <a:pt x="58" y="27"/>
                    </a:lnTo>
                    <a:lnTo>
                      <a:pt x="57" y="25"/>
                    </a:lnTo>
                    <a:lnTo>
                      <a:pt x="60" y="25"/>
                    </a:lnTo>
                    <a:lnTo>
                      <a:pt x="62" y="21"/>
                    </a:lnTo>
                    <a:lnTo>
                      <a:pt x="70" y="13"/>
                    </a:lnTo>
                    <a:lnTo>
                      <a:pt x="73" y="11"/>
                    </a:lnTo>
                    <a:lnTo>
                      <a:pt x="74" y="8"/>
                    </a:lnTo>
                    <a:lnTo>
                      <a:pt x="70" y="5"/>
                    </a:lnTo>
                    <a:lnTo>
                      <a:pt x="68" y="5"/>
                    </a:lnTo>
                    <a:lnTo>
                      <a:pt x="57" y="3"/>
                    </a:lnTo>
                    <a:lnTo>
                      <a:pt x="51" y="4"/>
                    </a:lnTo>
                    <a:lnTo>
                      <a:pt x="49" y="5"/>
                    </a:lnTo>
                    <a:lnTo>
                      <a:pt x="45" y="3"/>
                    </a:lnTo>
                    <a:lnTo>
                      <a:pt x="43" y="2"/>
                    </a:lnTo>
                    <a:lnTo>
                      <a:pt x="41" y="2"/>
                    </a:lnTo>
                    <a:lnTo>
                      <a:pt x="4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1" name="Freeform 37">
                <a:extLst>
                  <a:ext uri="{FF2B5EF4-FFF2-40B4-BE49-F238E27FC236}">
                    <a16:creationId xmlns:a16="http://schemas.microsoft.com/office/drawing/2014/main" id="{F8698516-F50F-4015-AFBA-7C8E60571791}"/>
                  </a:ext>
                </a:extLst>
              </p:cNvPr>
              <p:cNvSpPr>
                <a:spLocks/>
              </p:cNvSpPr>
              <p:nvPr/>
            </p:nvSpPr>
            <p:spPr bwMode="auto">
              <a:xfrm>
                <a:off x="2436" y="1439"/>
                <a:ext cx="21" cy="13"/>
              </a:xfrm>
              <a:custGeom>
                <a:avLst/>
                <a:gdLst>
                  <a:gd name="T0" fmla="*/ 16 w 21"/>
                  <a:gd name="T1" fmla="*/ 3 h 13"/>
                  <a:gd name="T2" fmla="*/ 11 w 21"/>
                  <a:gd name="T3" fmla="*/ 0 h 13"/>
                  <a:gd name="T4" fmla="*/ 7 w 21"/>
                  <a:gd name="T5" fmla="*/ 0 h 13"/>
                  <a:gd name="T6" fmla="*/ 5 w 21"/>
                  <a:gd name="T7" fmla="*/ 0 h 13"/>
                  <a:gd name="T8" fmla="*/ 3 w 21"/>
                  <a:gd name="T9" fmla="*/ 0 h 13"/>
                  <a:gd name="T10" fmla="*/ 0 w 21"/>
                  <a:gd name="T11" fmla="*/ 4 h 13"/>
                  <a:gd name="T12" fmla="*/ 0 w 21"/>
                  <a:gd name="T13" fmla="*/ 6 h 13"/>
                  <a:gd name="T14" fmla="*/ 1 w 21"/>
                  <a:gd name="T15" fmla="*/ 10 h 13"/>
                  <a:gd name="T16" fmla="*/ 5 w 21"/>
                  <a:gd name="T17" fmla="*/ 11 h 13"/>
                  <a:gd name="T18" fmla="*/ 13 w 21"/>
                  <a:gd name="T19" fmla="*/ 13 h 13"/>
                  <a:gd name="T20" fmla="*/ 16 w 21"/>
                  <a:gd name="T21" fmla="*/ 13 h 13"/>
                  <a:gd name="T22" fmla="*/ 18 w 21"/>
                  <a:gd name="T23" fmla="*/ 12 h 13"/>
                  <a:gd name="T24" fmla="*/ 21 w 21"/>
                  <a:gd name="T25" fmla="*/ 8 h 13"/>
                  <a:gd name="T26" fmla="*/ 21 w 21"/>
                  <a:gd name="T27" fmla="*/ 6 h 13"/>
                  <a:gd name="T28" fmla="*/ 16 w 21"/>
                  <a:gd name="T29" fmla="*/ 3 h 13"/>
                  <a:gd name="T30" fmla="*/ 16 w 21"/>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3">
                    <a:moveTo>
                      <a:pt x="16" y="3"/>
                    </a:moveTo>
                    <a:lnTo>
                      <a:pt x="11" y="0"/>
                    </a:lnTo>
                    <a:lnTo>
                      <a:pt x="7" y="0"/>
                    </a:lnTo>
                    <a:lnTo>
                      <a:pt x="5" y="0"/>
                    </a:lnTo>
                    <a:lnTo>
                      <a:pt x="3" y="0"/>
                    </a:lnTo>
                    <a:lnTo>
                      <a:pt x="0" y="4"/>
                    </a:lnTo>
                    <a:lnTo>
                      <a:pt x="0" y="6"/>
                    </a:lnTo>
                    <a:lnTo>
                      <a:pt x="1" y="10"/>
                    </a:lnTo>
                    <a:lnTo>
                      <a:pt x="5" y="11"/>
                    </a:lnTo>
                    <a:lnTo>
                      <a:pt x="13" y="13"/>
                    </a:lnTo>
                    <a:lnTo>
                      <a:pt x="16" y="13"/>
                    </a:lnTo>
                    <a:lnTo>
                      <a:pt x="18" y="12"/>
                    </a:lnTo>
                    <a:lnTo>
                      <a:pt x="21" y="8"/>
                    </a:lnTo>
                    <a:lnTo>
                      <a:pt x="21" y="6"/>
                    </a:lnTo>
                    <a:lnTo>
                      <a:pt x="16" y="3"/>
                    </a:lnTo>
                    <a:lnTo>
                      <a:pt x="1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2" name="Freeform 38">
                <a:extLst>
                  <a:ext uri="{FF2B5EF4-FFF2-40B4-BE49-F238E27FC236}">
                    <a16:creationId xmlns:a16="http://schemas.microsoft.com/office/drawing/2014/main" id="{13894A76-2F95-4467-9E87-85E452A22D28}"/>
                  </a:ext>
                </a:extLst>
              </p:cNvPr>
              <p:cNvSpPr>
                <a:spLocks/>
              </p:cNvSpPr>
              <p:nvPr/>
            </p:nvSpPr>
            <p:spPr bwMode="auto">
              <a:xfrm>
                <a:off x="2444" y="1463"/>
                <a:ext cx="13" cy="10"/>
              </a:xfrm>
              <a:custGeom>
                <a:avLst/>
                <a:gdLst>
                  <a:gd name="T0" fmla="*/ 8 w 13"/>
                  <a:gd name="T1" fmla="*/ 10 h 10"/>
                  <a:gd name="T2" fmla="*/ 9 w 13"/>
                  <a:gd name="T3" fmla="*/ 9 h 10"/>
                  <a:gd name="T4" fmla="*/ 13 w 13"/>
                  <a:gd name="T5" fmla="*/ 9 h 10"/>
                  <a:gd name="T6" fmla="*/ 10 w 13"/>
                  <a:gd name="T7" fmla="*/ 7 h 10"/>
                  <a:gd name="T8" fmla="*/ 13 w 13"/>
                  <a:gd name="T9" fmla="*/ 4 h 10"/>
                  <a:gd name="T10" fmla="*/ 12 w 13"/>
                  <a:gd name="T11" fmla="*/ 1 h 10"/>
                  <a:gd name="T12" fmla="*/ 8 w 13"/>
                  <a:gd name="T13" fmla="*/ 0 h 10"/>
                  <a:gd name="T14" fmla="*/ 3 w 13"/>
                  <a:gd name="T15" fmla="*/ 0 h 10"/>
                  <a:gd name="T16" fmla="*/ 0 w 13"/>
                  <a:gd name="T17" fmla="*/ 4 h 10"/>
                  <a:gd name="T18" fmla="*/ 6 w 13"/>
                  <a:gd name="T19" fmla="*/ 9 h 10"/>
                  <a:gd name="T20" fmla="*/ 8 w 13"/>
                  <a:gd name="T21" fmla="*/ 10 h 10"/>
                  <a:gd name="T22" fmla="*/ 8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8" y="10"/>
                    </a:moveTo>
                    <a:lnTo>
                      <a:pt x="9" y="9"/>
                    </a:lnTo>
                    <a:lnTo>
                      <a:pt x="13" y="9"/>
                    </a:lnTo>
                    <a:lnTo>
                      <a:pt x="10" y="7"/>
                    </a:lnTo>
                    <a:lnTo>
                      <a:pt x="13" y="4"/>
                    </a:lnTo>
                    <a:lnTo>
                      <a:pt x="12" y="1"/>
                    </a:lnTo>
                    <a:lnTo>
                      <a:pt x="8" y="0"/>
                    </a:lnTo>
                    <a:lnTo>
                      <a:pt x="3" y="0"/>
                    </a:lnTo>
                    <a:lnTo>
                      <a:pt x="0" y="4"/>
                    </a:lnTo>
                    <a:lnTo>
                      <a:pt x="6" y="9"/>
                    </a:lnTo>
                    <a:lnTo>
                      <a:pt x="8" y="10"/>
                    </a:lnTo>
                    <a:lnTo>
                      <a:pt x="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3" name="Freeform 39">
                <a:extLst>
                  <a:ext uri="{FF2B5EF4-FFF2-40B4-BE49-F238E27FC236}">
                    <a16:creationId xmlns:a16="http://schemas.microsoft.com/office/drawing/2014/main" id="{2A1F235F-30D2-4263-9123-30DC6C356881}"/>
                  </a:ext>
                </a:extLst>
              </p:cNvPr>
              <p:cNvSpPr>
                <a:spLocks/>
              </p:cNvSpPr>
              <p:nvPr/>
            </p:nvSpPr>
            <p:spPr bwMode="auto">
              <a:xfrm>
                <a:off x="2503" y="1398"/>
                <a:ext cx="14" cy="4"/>
              </a:xfrm>
              <a:custGeom>
                <a:avLst/>
                <a:gdLst>
                  <a:gd name="T0" fmla="*/ 5 w 14"/>
                  <a:gd name="T1" fmla="*/ 0 h 4"/>
                  <a:gd name="T2" fmla="*/ 0 w 14"/>
                  <a:gd name="T3" fmla="*/ 2 h 4"/>
                  <a:gd name="T4" fmla="*/ 0 w 14"/>
                  <a:gd name="T5" fmla="*/ 4 h 4"/>
                  <a:gd name="T6" fmla="*/ 11 w 14"/>
                  <a:gd name="T7" fmla="*/ 2 h 4"/>
                  <a:gd name="T8" fmla="*/ 14 w 14"/>
                  <a:gd name="T9" fmla="*/ 0 h 4"/>
                  <a:gd name="T10" fmla="*/ 8 w 14"/>
                  <a:gd name="T11" fmla="*/ 0 h 4"/>
                  <a:gd name="T12" fmla="*/ 5 w 14"/>
                  <a:gd name="T13" fmla="*/ 0 h 4"/>
                  <a:gd name="T14" fmla="*/ 5 w 1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
                    <a:moveTo>
                      <a:pt x="5" y="0"/>
                    </a:moveTo>
                    <a:lnTo>
                      <a:pt x="0" y="2"/>
                    </a:lnTo>
                    <a:lnTo>
                      <a:pt x="0" y="4"/>
                    </a:lnTo>
                    <a:lnTo>
                      <a:pt x="11" y="2"/>
                    </a:lnTo>
                    <a:lnTo>
                      <a:pt x="14" y="0"/>
                    </a:lnTo>
                    <a:lnTo>
                      <a:pt x="8"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4" name="Freeform 40">
                <a:extLst>
                  <a:ext uri="{FF2B5EF4-FFF2-40B4-BE49-F238E27FC236}">
                    <a16:creationId xmlns:a16="http://schemas.microsoft.com/office/drawing/2014/main" id="{3A73ED96-723F-43F7-A967-B6335B2F1230}"/>
                  </a:ext>
                </a:extLst>
              </p:cNvPr>
              <p:cNvSpPr>
                <a:spLocks/>
              </p:cNvSpPr>
              <p:nvPr/>
            </p:nvSpPr>
            <p:spPr bwMode="auto">
              <a:xfrm>
                <a:off x="2278" y="1542"/>
                <a:ext cx="87" cy="70"/>
              </a:xfrm>
              <a:custGeom>
                <a:avLst/>
                <a:gdLst>
                  <a:gd name="T0" fmla="*/ 87 w 87"/>
                  <a:gd name="T1" fmla="*/ 41 h 70"/>
                  <a:gd name="T2" fmla="*/ 85 w 87"/>
                  <a:gd name="T3" fmla="*/ 33 h 70"/>
                  <a:gd name="T4" fmla="*/ 78 w 87"/>
                  <a:gd name="T5" fmla="*/ 33 h 70"/>
                  <a:gd name="T6" fmla="*/ 74 w 87"/>
                  <a:gd name="T7" fmla="*/ 27 h 70"/>
                  <a:gd name="T8" fmla="*/ 63 w 87"/>
                  <a:gd name="T9" fmla="*/ 25 h 70"/>
                  <a:gd name="T10" fmla="*/ 59 w 87"/>
                  <a:gd name="T11" fmla="*/ 27 h 70"/>
                  <a:gd name="T12" fmla="*/ 74 w 87"/>
                  <a:gd name="T13" fmla="*/ 16 h 70"/>
                  <a:gd name="T14" fmla="*/ 72 w 87"/>
                  <a:gd name="T15" fmla="*/ 11 h 70"/>
                  <a:gd name="T16" fmla="*/ 79 w 87"/>
                  <a:gd name="T17" fmla="*/ 7 h 70"/>
                  <a:gd name="T18" fmla="*/ 65 w 87"/>
                  <a:gd name="T19" fmla="*/ 4 h 70"/>
                  <a:gd name="T20" fmla="*/ 54 w 87"/>
                  <a:gd name="T21" fmla="*/ 6 h 70"/>
                  <a:gd name="T22" fmla="*/ 46 w 87"/>
                  <a:gd name="T23" fmla="*/ 5 h 70"/>
                  <a:gd name="T24" fmla="*/ 37 w 87"/>
                  <a:gd name="T25" fmla="*/ 0 h 70"/>
                  <a:gd name="T26" fmla="*/ 37 w 87"/>
                  <a:gd name="T27" fmla="*/ 5 h 70"/>
                  <a:gd name="T28" fmla="*/ 29 w 87"/>
                  <a:gd name="T29" fmla="*/ 4 h 70"/>
                  <a:gd name="T30" fmla="*/ 22 w 87"/>
                  <a:gd name="T31" fmla="*/ 7 h 70"/>
                  <a:gd name="T32" fmla="*/ 29 w 87"/>
                  <a:gd name="T33" fmla="*/ 13 h 70"/>
                  <a:gd name="T34" fmla="*/ 26 w 87"/>
                  <a:gd name="T35" fmla="*/ 12 h 70"/>
                  <a:gd name="T36" fmla="*/ 18 w 87"/>
                  <a:gd name="T37" fmla="*/ 12 h 70"/>
                  <a:gd name="T38" fmla="*/ 24 w 87"/>
                  <a:gd name="T39" fmla="*/ 19 h 70"/>
                  <a:gd name="T40" fmla="*/ 35 w 87"/>
                  <a:gd name="T41" fmla="*/ 17 h 70"/>
                  <a:gd name="T42" fmla="*/ 37 w 87"/>
                  <a:gd name="T43" fmla="*/ 21 h 70"/>
                  <a:gd name="T44" fmla="*/ 33 w 87"/>
                  <a:gd name="T45" fmla="*/ 22 h 70"/>
                  <a:gd name="T46" fmla="*/ 34 w 87"/>
                  <a:gd name="T47" fmla="*/ 29 h 70"/>
                  <a:gd name="T48" fmla="*/ 33 w 87"/>
                  <a:gd name="T49" fmla="*/ 32 h 70"/>
                  <a:gd name="T50" fmla="*/ 24 w 87"/>
                  <a:gd name="T51" fmla="*/ 33 h 70"/>
                  <a:gd name="T52" fmla="*/ 16 w 87"/>
                  <a:gd name="T53" fmla="*/ 29 h 70"/>
                  <a:gd name="T54" fmla="*/ 10 w 87"/>
                  <a:gd name="T55" fmla="*/ 24 h 70"/>
                  <a:gd name="T56" fmla="*/ 3 w 87"/>
                  <a:gd name="T57" fmla="*/ 25 h 70"/>
                  <a:gd name="T58" fmla="*/ 0 w 87"/>
                  <a:gd name="T59" fmla="*/ 33 h 70"/>
                  <a:gd name="T60" fmla="*/ 11 w 87"/>
                  <a:gd name="T61" fmla="*/ 39 h 70"/>
                  <a:gd name="T62" fmla="*/ 14 w 87"/>
                  <a:gd name="T63" fmla="*/ 45 h 70"/>
                  <a:gd name="T64" fmla="*/ 22 w 87"/>
                  <a:gd name="T65" fmla="*/ 45 h 70"/>
                  <a:gd name="T66" fmla="*/ 29 w 87"/>
                  <a:gd name="T67" fmla="*/ 48 h 70"/>
                  <a:gd name="T68" fmla="*/ 45 w 87"/>
                  <a:gd name="T69" fmla="*/ 62 h 70"/>
                  <a:gd name="T70" fmla="*/ 53 w 87"/>
                  <a:gd name="T71" fmla="*/ 70 h 70"/>
                  <a:gd name="T72" fmla="*/ 61 w 87"/>
                  <a:gd name="T73" fmla="*/ 67 h 70"/>
                  <a:gd name="T74" fmla="*/ 59 w 87"/>
                  <a:gd name="T75" fmla="*/ 59 h 70"/>
                  <a:gd name="T76" fmla="*/ 60 w 87"/>
                  <a:gd name="T77" fmla="*/ 57 h 70"/>
                  <a:gd name="T78" fmla="*/ 70 w 87"/>
                  <a:gd name="T79" fmla="*/ 62 h 70"/>
                  <a:gd name="T80" fmla="*/ 80 w 87"/>
                  <a:gd name="T81" fmla="*/ 56 h 70"/>
                  <a:gd name="T82" fmla="*/ 82 w 87"/>
                  <a:gd name="T83" fmla="*/ 54 h 70"/>
                  <a:gd name="T84" fmla="*/ 86 w 87"/>
                  <a:gd name="T85"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 h="70">
                    <a:moveTo>
                      <a:pt x="85" y="47"/>
                    </a:moveTo>
                    <a:lnTo>
                      <a:pt x="82" y="44"/>
                    </a:lnTo>
                    <a:lnTo>
                      <a:pt x="87" y="41"/>
                    </a:lnTo>
                    <a:lnTo>
                      <a:pt x="87" y="39"/>
                    </a:lnTo>
                    <a:lnTo>
                      <a:pt x="86" y="36"/>
                    </a:lnTo>
                    <a:lnTo>
                      <a:pt x="85" y="33"/>
                    </a:lnTo>
                    <a:lnTo>
                      <a:pt x="79" y="34"/>
                    </a:lnTo>
                    <a:lnTo>
                      <a:pt x="77" y="36"/>
                    </a:lnTo>
                    <a:lnTo>
                      <a:pt x="78" y="33"/>
                    </a:lnTo>
                    <a:lnTo>
                      <a:pt x="76" y="31"/>
                    </a:lnTo>
                    <a:lnTo>
                      <a:pt x="73" y="30"/>
                    </a:lnTo>
                    <a:lnTo>
                      <a:pt x="74" y="27"/>
                    </a:lnTo>
                    <a:lnTo>
                      <a:pt x="69" y="25"/>
                    </a:lnTo>
                    <a:lnTo>
                      <a:pt x="65" y="24"/>
                    </a:lnTo>
                    <a:lnTo>
                      <a:pt x="63" y="25"/>
                    </a:lnTo>
                    <a:lnTo>
                      <a:pt x="61" y="27"/>
                    </a:lnTo>
                    <a:lnTo>
                      <a:pt x="59" y="30"/>
                    </a:lnTo>
                    <a:lnTo>
                      <a:pt x="59" y="27"/>
                    </a:lnTo>
                    <a:lnTo>
                      <a:pt x="63" y="22"/>
                    </a:lnTo>
                    <a:lnTo>
                      <a:pt x="69" y="17"/>
                    </a:lnTo>
                    <a:lnTo>
                      <a:pt x="74" y="16"/>
                    </a:lnTo>
                    <a:lnTo>
                      <a:pt x="76" y="13"/>
                    </a:lnTo>
                    <a:lnTo>
                      <a:pt x="70" y="14"/>
                    </a:lnTo>
                    <a:lnTo>
                      <a:pt x="72" y="11"/>
                    </a:lnTo>
                    <a:lnTo>
                      <a:pt x="74" y="12"/>
                    </a:lnTo>
                    <a:lnTo>
                      <a:pt x="78" y="10"/>
                    </a:lnTo>
                    <a:lnTo>
                      <a:pt x="79" y="7"/>
                    </a:lnTo>
                    <a:lnTo>
                      <a:pt x="77" y="4"/>
                    </a:lnTo>
                    <a:lnTo>
                      <a:pt x="71" y="3"/>
                    </a:lnTo>
                    <a:lnTo>
                      <a:pt x="65" y="4"/>
                    </a:lnTo>
                    <a:lnTo>
                      <a:pt x="62" y="4"/>
                    </a:lnTo>
                    <a:lnTo>
                      <a:pt x="56" y="5"/>
                    </a:lnTo>
                    <a:lnTo>
                      <a:pt x="54" y="6"/>
                    </a:lnTo>
                    <a:lnTo>
                      <a:pt x="51" y="6"/>
                    </a:lnTo>
                    <a:lnTo>
                      <a:pt x="48" y="7"/>
                    </a:lnTo>
                    <a:lnTo>
                      <a:pt x="46" y="5"/>
                    </a:lnTo>
                    <a:lnTo>
                      <a:pt x="41" y="3"/>
                    </a:lnTo>
                    <a:lnTo>
                      <a:pt x="37" y="0"/>
                    </a:lnTo>
                    <a:lnTo>
                      <a:pt x="37" y="0"/>
                    </a:lnTo>
                    <a:lnTo>
                      <a:pt x="35" y="2"/>
                    </a:lnTo>
                    <a:lnTo>
                      <a:pt x="37" y="4"/>
                    </a:lnTo>
                    <a:lnTo>
                      <a:pt x="37" y="5"/>
                    </a:lnTo>
                    <a:lnTo>
                      <a:pt x="35" y="5"/>
                    </a:lnTo>
                    <a:lnTo>
                      <a:pt x="31" y="4"/>
                    </a:lnTo>
                    <a:lnTo>
                      <a:pt x="29" y="4"/>
                    </a:lnTo>
                    <a:lnTo>
                      <a:pt x="26" y="4"/>
                    </a:lnTo>
                    <a:lnTo>
                      <a:pt x="24" y="5"/>
                    </a:lnTo>
                    <a:lnTo>
                      <a:pt x="22" y="7"/>
                    </a:lnTo>
                    <a:lnTo>
                      <a:pt x="26" y="8"/>
                    </a:lnTo>
                    <a:lnTo>
                      <a:pt x="28" y="10"/>
                    </a:lnTo>
                    <a:lnTo>
                      <a:pt x="29" y="13"/>
                    </a:lnTo>
                    <a:lnTo>
                      <a:pt x="31" y="15"/>
                    </a:lnTo>
                    <a:lnTo>
                      <a:pt x="29" y="14"/>
                    </a:lnTo>
                    <a:lnTo>
                      <a:pt x="26" y="12"/>
                    </a:lnTo>
                    <a:lnTo>
                      <a:pt x="24" y="11"/>
                    </a:lnTo>
                    <a:lnTo>
                      <a:pt x="20" y="10"/>
                    </a:lnTo>
                    <a:lnTo>
                      <a:pt x="18" y="12"/>
                    </a:lnTo>
                    <a:lnTo>
                      <a:pt x="16" y="14"/>
                    </a:lnTo>
                    <a:lnTo>
                      <a:pt x="18" y="15"/>
                    </a:lnTo>
                    <a:lnTo>
                      <a:pt x="24" y="19"/>
                    </a:lnTo>
                    <a:lnTo>
                      <a:pt x="27" y="19"/>
                    </a:lnTo>
                    <a:lnTo>
                      <a:pt x="31" y="17"/>
                    </a:lnTo>
                    <a:lnTo>
                      <a:pt x="35" y="17"/>
                    </a:lnTo>
                    <a:lnTo>
                      <a:pt x="37" y="20"/>
                    </a:lnTo>
                    <a:lnTo>
                      <a:pt x="41" y="20"/>
                    </a:lnTo>
                    <a:lnTo>
                      <a:pt x="37" y="21"/>
                    </a:lnTo>
                    <a:lnTo>
                      <a:pt x="31" y="19"/>
                    </a:lnTo>
                    <a:lnTo>
                      <a:pt x="30" y="21"/>
                    </a:lnTo>
                    <a:lnTo>
                      <a:pt x="33" y="22"/>
                    </a:lnTo>
                    <a:lnTo>
                      <a:pt x="35" y="25"/>
                    </a:lnTo>
                    <a:lnTo>
                      <a:pt x="36" y="28"/>
                    </a:lnTo>
                    <a:lnTo>
                      <a:pt x="34" y="29"/>
                    </a:lnTo>
                    <a:lnTo>
                      <a:pt x="31" y="27"/>
                    </a:lnTo>
                    <a:lnTo>
                      <a:pt x="31" y="29"/>
                    </a:lnTo>
                    <a:lnTo>
                      <a:pt x="33" y="32"/>
                    </a:lnTo>
                    <a:lnTo>
                      <a:pt x="29" y="32"/>
                    </a:lnTo>
                    <a:lnTo>
                      <a:pt x="26" y="32"/>
                    </a:lnTo>
                    <a:lnTo>
                      <a:pt x="24" y="33"/>
                    </a:lnTo>
                    <a:lnTo>
                      <a:pt x="20" y="33"/>
                    </a:lnTo>
                    <a:lnTo>
                      <a:pt x="18" y="31"/>
                    </a:lnTo>
                    <a:lnTo>
                      <a:pt x="16" y="29"/>
                    </a:lnTo>
                    <a:lnTo>
                      <a:pt x="13" y="28"/>
                    </a:lnTo>
                    <a:lnTo>
                      <a:pt x="11" y="24"/>
                    </a:lnTo>
                    <a:lnTo>
                      <a:pt x="10" y="24"/>
                    </a:lnTo>
                    <a:lnTo>
                      <a:pt x="9" y="23"/>
                    </a:lnTo>
                    <a:lnTo>
                      <a:pt x="5" y="24"/>
                    </a:lnTo>
                    <a:lnTo>
                      <a:pt x="3" y="25"/>
                    </a:lnTo>
                    <a:lnTo>
                      <a:pt x="2" y="28"/>
                    </a:lnTo>
                    <a:lnTo>
                      <a:pt x="0" y="30"/>
                    </a:lnTo>
                    <a:lnTo>
                      <a:pt x="0" y="33"/>
                    </a:lnTo>
                    <a:lnTo>
                      <a:pt x="5" y="37"/>
                    </a:lnTo>
                    <a:lnTo>
                      <a:pt x="10" y="39"/>
                    </a:lnTo>
                    <a:lnTo>
                      <a:pt x="11" y="39"/>
                    </a:lnTo>
                    <a:lnTo>
                      <a:pt x="12" y="42"/>
                    </a:lnTo>
                    <a:lnTo>
                      <a:pt x="11" y="42"/>
                    </a:lnTo>
                    <a:lnTo>
                      <a:pt x="14" y="45"/>
                    </a:lnTo>
                    <a:lnTo>
                      <a:pt x="17" y="45"/>
                    </a:lnTo>
                    <a:lnTo>
                      <a:pt x="19" y="44"/>
                    </a:lnTo>
                    <a:lnTo>
                      <a:pt x="22" y="45"/>
                    </a:lnTo>
                    <a:lnTo>
                      <a:pt x="24" y="47"/>
                    </a:lnTo>
                    <a:lnTo>
                      <a:pt x="27" y="47"/>
                    </a:lnTo>
                    <a:lnTo>
                      <a:pt x="29" y="48"/>
                    </a:lnTo>
                    <a:lnTo>
                      <a:pt x="35" y="53"/>
                    </a:lnTo>
                    <a:lnTo>
                      <a:pt x="39" y="57"/>
                    </a:lnTo>
                    <a:lnTo>
                      <a:pt x="45" y="62"/>
                    </a:lnTo>
                    <a:lnTo>
                      <a:pt x="47" y="67"/>
                    </a:lnTo>
                    <a:lnTo>
                      <a:pt x="51" y="67"/>
                    </a:lnTo>
                    <a:lnTo>
                      <a:pt x="53" y="70"/>
                    </a:lnTo>
                    <a:lnTo>
                      <a:pt x="55" y="70"/>
                    </a:lnTo>
                    <a:lnTo>
                      <a:pt x="59" y="70"/>
                    </a:lnTo>
                    <a:lnTo>
                      <a:pt x="61" y="67"/>
                    </a:lnTo>
                    <a:lnTo>
                      <a:pt x="63" y="64"/>
                    </a:lnTo>
                    <a:lnTo>
                      <a:pt x="61" y="62"/>
                    </a:lnTo>
                    <a:lnTo>
                      <a:pt x="59" y="59"/>
                    </a:lnTo>
                    <a:lnTo>
                      <a:pt x="59" y="56"/>
                    </a:lnTo>
                    <a:lnTo>
                      <a:pt x="62" y="55"/>
                    </a:lnTo>
                    <a:lnTo>
                      <a:pt x="60" y="57"/>
                    </a:lnTo>
                    <a:lnTo>
                      <a:pt x="61" y="61"/>
                    </a:lnTo>
                    <a:lnTo>
                      <a:pt x="64" y="61"/>
                    </a:lnTo>
                    <a:lnTo>
                      <a:pt x="70" y="62"/>
                    </a:lnTo>
                    <a:lnTo>
                      <a:pt x="72" y="62"/>
                    </a:lnTo>
                    <a:lnTo>
                      <a:pt x="74" y="61"/>
                    </a:lnTo>
                    <a:lnTo>
                      <a:pt x="80" y="56"/>
                    </a:lnTo>
                    <a:lnTo>
                      <a:pt x="84" y="56"/>
                    </a:lnTo>
                    <a:lnTo>
                      <a:pt x="86" y="54"/>
                    </a:lnTo>
                    <a:lnTo>
                      <a:pt x="82" y="54"/>
                    </a:lnTo>
                    <a:lnTo>
                      <a:pt x="86" y="51"/>
                    </a:lnTo>
                    <a:lnTo>
                      <a:pt x="82" y="51"/>
                    </a:lnTo>
                    <a:lnTo>
                      <a:pt x="86" y="49"/>
                    </a:lnTo>
                    <a:lnTo>
                      <a:pt x="8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5" name="Freeform 41">
                <a:extLst>
                  <a:ext uri="{FF2B5EF4-FFF2-40B4-BE49-F238E27FC236}">
                    <a16:creationId xmlns:a16="http://schemas.microsoft.com/office/drawing/2014/main" id="{B0B7E97C-0206-42E2-8E9D-1ABCDA87C935}"/>
                  </a:ext>
                </a:extLst>
              </p:cNvPr>
              <p:cNvSpPr>
                <a:spLocks/>
              </p:cNvSpPr>
              <p:nvPr/>
            </p:nvSpPr>
            <p:spPr bwMode="auto">
              <a:xfrm>
                <a:off x="2270" y="1487"/>
                <a:ext cx="18" cy="7"/>
              </a:xfrm>
              <a:custGeom>
                <a:avLst/>
                <a:gdLst>
                  <a:gd name="T0" fmla="*/ 18 w 18"/>
                  <a:gd name="T1" fmla="*/ 1 h 7"/>
                  <a:gd name="T2" fmla="*/ 12 w 18"/>
                  <a:gd name="T3" fmla="*/ 2 h 7"/>
                  <a:gd name="T4" fmla="*/ 11 w 18"/>
                  <a:gd name="T5" fmla="*/ 6 h 7"/>
                  <a:gd name="T6" fmla="*/ 5 w 18"/>
                  <a:gd name="T7" fmla="*/ 7 h 7"/>
                  <a:gd name="T8" fmla="*/ 0 w 18"/>
                  <a:gd name="T9" fmla="*/ 7 h 7"/>
                  <a:gd name="T10" fmla="*/ 5 w 18"/>
                  <a:gd name="T11" fmla="*/ 2 h 7"/>
                  <a:gd name="T12" fmla="*/ 8 w 18"/>
                  <a:gd name="T13" fmla="*/ 1 h 7"/>
                  <a:gd name="T14" fmla="*/ 13 w 18"/>
                  <a:gd name="T15" fmla="*/ 0 h 7"/>
                  <a:gd name="T16" fmla="*/ 17 w 18"/>
                  <a:gd name="T17" fmla="*/ 0 h 7"/>
                  <a:gd name="T18" fmla="*/ 18 w 18"/>
                  <a:gd name="T19" fmla="*/ 1 h 7"/>
                  <a:gd name="T20" fmla="*/ 18 w 18"/>
                  <a:gd name="T21" fmla="*/ 1 h 7"/>
                  <a:gd name="T22" fmla="*/ 18 w 18"/>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
                    <a:moveTo>
                      <a:pt x="18" y="1"/>
                    </a:moveTo>
                    <a:lnTo>
                      <a:pt x="12" y="2"/>
                    </a:lnTo>
                    <a:lnTo>
                      <a:pt x="11" y="6"/>
                    </a:lnTo>
                    <a:lnTo>
                      <a:pt x="5" y="7"/>
                    </a:lnTo>
                    <a:lnTo>
                      <a:pt x="0" y="7"/>
                    </a:lnTo>
                    <a:lnTo>
                      <a:pt x="5" y="2"/>
                    </a:lnTo>
                    <a:lnTo>
                      <a:pt x="8" y="1"/>
                    </a:lnTo>
                    <a:lnTo>
                      <a:pt x="13" y="0"/>
                    </a:lnTo>
                    <a:lnTo>
                      <a:pt x="17" y="0"/>
                    </a:lnTo>
                    <a:lnTo>
                      <a:pt x="18" y="1"/>
                    </a:lnTo>
                    <a:lnTo>
                      <a:pt x="18" y="1"/>
                    </a:lnTo>
                    <a:lnTo>
                      <a:pt x="1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6" name="Freeform 42">
                <a:extLst>
                  <a:ext uri="{FF2B5EF4-FFF2-40B4-BE49-F238E27FC236}">
                    <a16:creationId xmlns:a16="http://schemas.microsoft.com/office/drawing/2014/main" id="{0EAF2E22-830E-42B9-A0AA-94DB685FDC85}"/>
                  </a:ext>
                </a:extLst>
              </p:cNvPr>
              <p:cNvSpPr>
                <a:spLocks/>
              </p:cNvSpPr>
              <p:nvPr/>
            </p:nvSpPr>
            <p:spPr bwMode="auto">
              <a:xfrm>
                <a:off x="2286" y="1476"/>
                <a:ext cx="2" cy="4"/>
              </a:xfrm>
              <a:custGeom>
                <a:avLst/>
                <a:gdLst>
                  <a:gd name="T0" fmla="*/ 2 w 2"/>
                  <a:gd name="T1" fmla="*/ 4 h 4"/>
                  <a:gd name="T2" fmla="*/ 0 w 2"/>
                  <a:gd name="T3" fmla="*/ 4 h 4"/>
                  <a:gd name="T4" fmla="*/ 1 w 2"/>
                  <a:gd name="T5" fmla="*/ 1 h 4"/>
                  <a:gd name="T6" fmla="*/ 2 w 2"/>
                  <a:gd name="T7" fmla="*/ 0 h 4"/>
                  <a:gd name="T8" fmla="*/ 2 w 2"/>
                  <a:gd name="T9" fmla="*/ 4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lnTo>
                      <a:pt x="0" y="4"/>
                    </a:lnTo>
                    <a:lnTo>
                      <a:pt x="1" y="1"/>
                    </a:lnTo>
                    <a:lnTo>
                      <a:pt x="2" y="0"/>
                    </a:lnTo>
                    <a:lnTo>
                      <a:pt x="2" y="4"/>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7" name="Freeform 43">
                <a:extLst>
                  <a:ext uri="{FF2B5EF4-FFF2-40B4-BE49-F238E27FC236}">
                    <a16:creationId xmlns:a16="http://schemas.microsoft.com/office/drawing/2014/main" id="{E83523CC-0ACA-49B4-9CE3-4B0ED40115D1}"/>
                  </a:ext>
                </a:extLst>
              </p:cNvPr>
              <p:cNvSpPr>
                <a:spLocks/>
              </p:cNvSpPr>
              <p:nvPr/>
            </p:nvSpPr>
            <p:spPr bwMode="auto">
              <a:xfrm>
                <a:off x="2518" y="1737"/>
                <a:ext cx="8" cy="10"/>
              </a:xfrm>
              <a:custGeom>
                <a:avLst/>
                <a:gdLst>
                  <a:gd name="T0" fmla="*/ 3 w 8"/>
                  <a:gd name="T1" fmla="*/ 0 h 10"/>
                  <a:gd name="T2" fmla="*/ 3 w 8"/>
                  <a:gd name="T3" fmla="*/ 0 h 10"/>
                  <a:gd name="T4" fmla="*/ 0 w 8"/>
                  <a:gd name="T5" fmla="*/ 1 h 10"/>
                  <a:gd name="T6" fmla="*/ 1 w 8"/>
                  <a:gd name="T7" fmla="*/ 4 h 10"/>
                  <a:gd name="T8" fmla="*/ 1 w 8"/>
                  <a:gd name="T9" fmla="*/ 7 h 10"/>
                  <a:gd name="T10" fmla="*/ 4 w 8"/>
                  <a:gd name="T11" fmla="*/ 8 h 10"/>
                  <a:gd name="T12" fmla="*/ 6 w 8"/>
                  <a:gd name="T13" fmla="*/ 10 h 10"/>
                  <a:gd name="T14" fmla="*/ 8 w 8"/>
                  <a:gd name="T15" fmla="*/ 9 h 10"/>
                  <a:gd name="T16" fmla="*/ 6 w 8"/>
                  <a:gd name="T17" fmla="*/ 4 h 10"/>
                  <a:gd name="T18" fmla="*/ 3 w 8"/>
                  <a:gd name="T19" fmla="*/ 0 h 10"/>
                  <a:gd name="T20" fmla="*/ 3 w 8"/>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3" y="0"/>
                    </a:moveTo>
                    <a:lnTo>
                      <a:pt x="3" y="0"/>
                    </a:lnTo>
                    <a:lnTo>
                      <a:pt x="0" y="1"/>
                    </a:lnTo>
                    <a:lnTo>
                      <a:pt x="1" y="4"/>
                    </a:lnTo>
                    <a:lnTo>
                      <a:pt x="1" y="7"/>
                    </a:lnTo>
                    <a:lnTo>
                      <a:pt x="4" y="8"/>
                    </a:lnTo>
                    <a:lnTo>
                      <a:pt x="6" y="10"/>
                    </a:lnTo>
                    <a:lnTo>
                      <a:pt x="8" y="9"/>
                    </a:lnTo>
                    <a:lnTo>
                      <a:pt x="6" y="4"/>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8" name="Freeform 44">
                <a:extLst>
                  <a:ext uri="{FF2B5EF4-FFF2-40B4-BE49-F238E27FC236}">
                    <a16:creationId xmlns:a16="http://schemas.microsoft.com/office/drawing/2014/main" id="{7D07BD7B-9470-4467-9562-B3A3CEEC7D05}"/>
                  </a:ext>
                </a:extLst>
              </p:cNvPr>
              <p:cNvSpPr>
                <a:spLocks/>
              </p:cNvSpPr>
              <p:nvPr/>
            </p:nvSpPr>
            <p:spPr bwMode="auto">
              <a:xfrm>
                <a:off x="2535" y="1804"/>
                <a:ext cx="27" cy="17"/>
              </a:xfrm>
              <a:custGeom>
                <a:avLst/>
                <a:gdLst>
                  <a:gd name="T0" fmla="*/ 0 w 27"/>
                  <a:gd name="T1" fmla="*/ 11 h 17"/>
                  <a:gd name="T2" fmla="*/ 3 w 27"/>
                  <a:gd name="T3" fmla="*/ 17 h 17"/>
                  <a:gd name="T4" fmla="*/ 6 w 27"/>
                  <a:gd name="T5" fmla="*/ 17 h 17"/>
                  <a:gd name="T6" fmla="*/ 9 w 27"/>
                  <a:gd name="T7" fmla="*/ 16 h 17"/>
                  <a:gd name="T8" fmla="*/ 11 w 27"/>
                  <a:gd name="T9" fmla="*/ 17 h 17"/>
                  <a:gd name="T10" fmla="*/ 17 w 27"/>
                  <a:gd name="T11" fmla="*/ 15 h 17"/>
                  <a:gd name="T12" fmla="*/ 21 w 27"/>
                  <a:gd name="T13" fmla="*/ 9 h 17"/>
                  <a:gd name="T14" fmla="*/ 25 w 27"/>
                  <a:gd name="T15" fmla="*/ 8 h 17"/>
                  <a:gd name="T16" fmla="*/ 27 w 27"/>
                  <a:gd name="T17" fmla="*/ 7 h 17"/>
                  <a:gd name="T18" fmla="*/ 27 w 27"/>
                  <a:gd name="T19" fmla="*/ 1 h 17"/>
                  <a:gd name="T20" fmla="*/ 25 w 27"/>
                  <a:gd name="T21" fmla="*/ 0 h 17"/>
                  <a:gd name="T22" fmla="*/ 17 w 27"/>
                  <a:gd name="T23" fmla="*/ 1 h 17"/>
                  <a:gd name="T24" fmla="*/ 13 w 27"/>
                  <a:gd name="T25" fmla="*/ 3 h 17"/>
                  <a:gd name="T26" fmla="*/ 11 w 27"/>
                  <a:gd name="T27" fmla="*/ 3 h 17"/>
                  <a:gd name="T28" fmla="*/ 9 w 27"/>
                  <a:gd name="T29" fmla="*/ 2 h 17"/>
                  <a:gd name="T30" fmla="*/ 6 w 27"/>
                  <a:gd name="T31" fmla="*/ 5 h 17"/>
                  <a:gd name="T32" fmla="*/ 4 w 27"/>
                  <a:gd name="T33" fmla="*/ 7 h 17"/>
                  <a:gd name="T34" fmla="*/ 0 w 27"/>
                  <a:gd name="T35" fmla="*/ 11 h 17"/>
                  <a:gd name="T36" fmla="*/ 0 w 27"/>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0" y="11"/>
                    </a:moveTo>
                    <a:lnTo>
                      <a:pt x="3" y="17"/>
                    </a:lnTo>
                    <a:lnTo>
                      <a:pt x="6" y="17"/>
                    </a:lnTo>
                    <a:lnTo>
                      <a:pt x="9" y="16"/>
                    </a:lnTo>
                    <a:lnTo>
                      <a:pt x="11" y="17"/>
                    </a:lnTo>
                    <a:lnTo>
                      <a:pt x="17" y="15"/>
                    </a:lnTo>
                    <a:lnTo>
                      <a:pt x="21" y="9"/>
                    </a:lnTo>
                    <a:lnTo>
                      <a:pt x="25" y="8"/>
                    </a:lnTo>
                    <a:lnTo>
                      <a:pt x="27" y="7"/>
                    </a:lnTo>
                    <a:lnTo>
                      <a:pt x="27" y="1"/>
                    </a:lnTo>
                    <a:lnTo>
                      <a:pt x="25" y="0"/>
                    </a:lnTo>
                    <a:lnTo>
                      <a:pt x="17" y="1"/>
                    </a:lnTo>
                    <a:lnTo>
                      <a:pt x="13" y="3"/>
                    </a:lnTo>
                    <a:lnTo>
                      <a:pt x="11" y="3"/>
                    </a:lnTo>
                    <a:lnTo>
                      <a:pt x="9" y="2"/>
                    </a:lnTo>
                    <a:lnTo>
                      <a:pt x="6" y="5"/>
                    </a:lnTo>
                    <a:lnTo>
                      <a:pt x="4" y="7"/>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9" name="Freeform 45">
                <a:extLst>
                  <a:ext uri="{FF2B5EF4-FFF2-40B4-BE49-F238E27FC236}">
                    <a16:creationId xmlns:a16="http://schemas.microsoft.com/office/drawing/2014/main" id="{B8EAFAB0-1EF5-4593-ACC9-D3AAB5DD3C6C}"/>
                  </a:ext>
                </a:extLst>
              </p:cNvPr>
              <p:cNvSpPr>
                <a:spLocks/>
              </p:cNvSpPr>
              <p:nvPr/>
            </p:nvSpPr>
            <p:spPr bwMode="auto">
              <a:xfrm>
                <a:off x="2561" y="1999"/>
                <a:ext cx="19" cy="9"/>
              </a:xfrm>
              <a:custGeom>
                <a:avLst/>
                <a:gdLst>
                  <a:gd name="T0" fmla="*/ 14 w 19"/>
                  <a:gd name="T1" fmla="*/ 1 h 9"/>
                  <a:gd name="T2" fmla="*/ 10 w 19"/>
                  <a:gd name="T3" fmla="*/ 0 h 9"/>
                  <a:gd name="T4" fmla="*/ 2 w 19"/>
                  <a:gd name="T5" fmla="*/ 1 h 9"/>
                  <a:gd name="T6" fmla="*/ 0 w 19"/>
                  <a:gd name="T7" fmla="*/ 3 h 9"/>
                  <a:gd name="T8" fmla="*/ 2 w 19"/>
                  <a:gd name="T9" fmla="*/ 4 h 9"/>
                  <a:gd name="T10" fmla="*/ 11 w 19"/>
                  <a:gd name="T11" fmla="*/ 7 h 9"/>
                  <a:gd name="T12" fmla="*/ 14 w 19"/>
                  <a:gd name="T13" fmla="*/ 8 h 9"/>
                  <a:gd name="T14" fmla="*/ 19 w 19"/>
                  <a:gd name="T15" fmla="*/ 9 h 9"/>
                  <a:gd name="T16" fmla="*/ 18 w 19"/>
                  <a:gd name="T17" fmla="*/ 6 h 9"/>
                  <a:gd name="T18" fmla="*/ 14 w 19"/>
                  <a:gd name="T19" fmla="*/ 1 h 9"/>
                  <a:gd name="T20" fmla="*/ 14 w 1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
                    <a:moveTo>
                      <a:pt x="14" y="1"/>
                    </a:moveTo>
                    <a:lnTo>
                      <a:pt x="10" y="0"/>
                    </a:lnTo>
                    <a:lnTo>
                      <a:pt x="2" y="1"/>
                    </a:lnTo>
                    <a:lnTo>
                      <a:pt x="0" y="3"/>
                    </a:lnTo>
                    <a:lnTo>
                      <a:pt x="2" y="4"/>
                    </a:lnTo>
                    <a:lnTo>
                      <a:pt x="11" y="7"/>
                    </a:lnTo>
                    <a:lnTo>
                      <a:pt x="14" y="8"/>
                    </a:lnTo>
                    <a:lnTo>
                      <a:pt x="19" y="9"/>
                    </a:lnTo>
                    <a:lnTo>
                      <a:pt x="18" y="6"/>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0" name="Freeform 46">
                <a:extLst>
                  <a:ext uri="{FF2B5EF4-FFF2-40B4-BE49-F238E27FC236}">
                    <a16:creationId xmlns:a16="http://schemas.microsoft.com/office/drawing/2014/main" id="{35C0A3BF-BA3B-4DB7-9001-31A3DD569CDD}"/>
                  </a:ext>
                </a:extLst>
              </p:cNvPr>
              <p:cNvSpPr>
                <a:spLocks/>
              </p:cNvSpPr>
              <p:nvPr/>
            </p:nvSpPr>
            <p:spPr bwMode="auto">
              <a:xfrm>
                <a:off x="2578" y="1648"/>
                <a:ext cx="19" cy="8"/>
              </a:xfrm>
              <a:custGeom>
                <a:avLst/>
                <a:gdLst>
                  <a:gd name="T0" fmla="*/ 11 w 19"/>
                  <a:gd name="T1" fmla="*/ 7 h 8"/>
                  <a:gd name="T2" fmla="*/ 11 w 19"/>
                  <a:gd name="T3" fmla="*/ 4 h 8"/>
                  <a:gd name="T4" fmla="*/ 13 w 19"/>
                  <a:gd name="T5" fmla="*/ 5 h 8"/>
                  <a:gd name="T6" fmla="*/ 17 w 19"/>
                  <a:gd name="T7" fmla="*/ 5 h 8"/>
                  <a:gd name="T8" fmla="*/ 19 w 19"/>
                  <a:gd name="T9" fmla="*/ 3 h 8"/>
                  <a:gd name="T10" fmla="*/ 19 w 19"/>
                  <a:gd name="T11" fmla="*/ 1 h 8"/>
                  <a:gd name="T12" fmla="*/ 16 w 19"/>
                  <a:gd name="T13" fmla="*/ 0 h 8"/>
                  <a:gd name="T14" fmla="*/ 11 w 19"/>
                  <a:gd name="T15" fmla="*/ 2 h 8"/>
                  <a:gd name="T16" fmla="*/ 8 w 19"/>
                  <a:gd name="T17" fmla="*/ 1 h 8"/>
                  <a:gd name="T18" fmla="*/ 6 w 19"/>
                  <a:gd name="T19" fmla="*/ 1 h 8"/>
                  <a:gd name="T20" fmla="*/ 6 w 19"/>
                  <a:gd name="T21" fmla="*/ 3 h 8"/>
                  <a:gd name="T22" fmla="*/ 3 w 19"/>
                  <a:gd name="T23" fmla="*/ 2 h 8"/>
                  <a:gd name="T24" fmla="*/ 0 w 19"/>
                  <a:gd name="T25" fmla="*/ 3 h 8"/>
                  <a:gd name="T26" fmla="*/ 6 w 19"/>
                  <a:gd name="T27" fmla="*/ 4 h 8"/>
                  <a:gd name="T28" fmla="*/ 9 w 19"/>
                  <a:gd name="T29" fmla="*/ 7 h 8"/>
                  <a:gd name="T30" fmla="*/ 11 w 19"/>
                  <a:gd name="T31" fmla="*/ 8 h 8"/>
                  <a:gd name="T32" fmla="*/ 11 w 19"/>
                  <a:gd name="T33" fmla="*/ 7 h 8"/>
                  <a:gd name="T34" fmla="*/ 11 w 19"/>
                  <a:gd name="T3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8">
                    <a:moveTo>
                      <a:pt x="11" y="7"/>
                    </a:moveTo>
                    <a:lnTo>
                      <a:pt x="11" y="4"/>
                    </a:lnTo>
                    <a:lnTo>
                      <a:pt x="13" y="5"/>
                    </a:lnTo>
                    <a:lnTo>
                      <a:pt x="17" y="5"/>
                    </a:lnTo>
                    <a:lnTo>
                      <a:pt x="19" y="3"/>
                    </a:lnTo>
                    <a:lnTo>
                      <a:pt x="19" y="1"/>
                    </a:lnTo>
                    <a:lnTo>
                      <a:pt x="16" y="0"/>
                    </a:lnTo>
                    <a:lnTo>
                      <a:pt x="11" y="2"/>
                    </a:lnTo>
                    <a:lnTo>
                      <a:pt x="8" y="1"/>
                    </a:lnTo>
                    <a:lnTo>
                      <a:pt x="6" y="1"/>
                    </a:lnTo>
                    <a:lnTo>
                      <a:pt x="6" y="3"/>
                    </a:lnTo>
                    <a:lnTo>
                      <a:pt x="3" y="2"/>
                    </a:lnTo>
                    <a:lnTo>
                      <a:pt x="0" y="3"/>
                    </a:lnTo>
                    <a:lnTo>
                      <a:pt x="6" y="4"/>
                    </a:lnTo>
                    <a:lnTo>
                      <a:pt x="9" y="7"/>
                    </a:lnTo>
                    <a:lnTo>
                      <a:pt x="11" y="8"/>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1" name="Freeform 47">
                <a:extLst>
                  <a:ext uri="{FF2B5EF4-FFF2-40B4-BE49-F238E27FC236}">
                    <a16:creationId xmlns:a16="http://schemas.microsoft.com/office/drawing/2014/main" id="{0C813FEA-57B6-408B-9913-C1EEF24DB7CB}"/>
                  </a:ext>
                </a:extLst>
              </p:cNvPr>
              <p:cNvSpPr>
                <a:spLocks/>
              </p:cNvSpPr>
              <p:nvPr/>
            </p:nvSpPr>
            <p:spPr bwMode="auto">
              <a:xfrm>
                <a:off x="2585" y="1817"/>
                <a:ext cx="14" cy="18"/>
              </a:xfrm>
              <a:custGeom>
                <a:avLst/>
                <a:gdLst>
                  <a:gd name="T0" fmla="*/ 4 w 14"/>
                  <a:gd name="T1" fmla="*/ 14 h 18"/>
                  <a:gd name="T2" fmla="*/ 6 w 14"/>
                  <a:gd name="T3" fmla="*/ 18 h 18"/>
                  <a:gd name="T4" fmla="*/ 10 w 14"/>
                  <a:gd name="T5" fmla="*/ 14 h 18"/>
                  <a:gd name="T6" fmla="*/ 12 w 14"/>
                  <a:gd name="T7" fmla="*/ 10 h 18"/>
                  <a:gd name="T8" fmla="*/ 13 w 14"/>
                  <a:gd name="T9" fmla="*/ 6 h 18"/>
                  <a:gd name="T10" fmla="*/ 14 w 14"/>
                  <a:gd name="T11" fmla="*/ 4 h 18"/>
                  <a:gd name="T12" fmla="*/ 12 w 14"/>
                  <a:gd name="T13" fmla="*/ 1 h 18"/>
                  <a:gd name="T14" fmla="*/ 10 w 14"/>
                  <a:gd name="T15" fmla="*/ 0 h 18"/>
                  <a:gd name="T16" fmla="*/ 4 w 14"/>
                  <a:gd name="T17" fmla="*/ 1 h 18"/>
                  <a:gd name="T18" fmla="*/ 1 w 14"/>
                  <a:gd name="T19" fmla="*/ 5 h 18"/>
                  <a:gd name="T20" fmla="*/ 0 w 14"/>
                  <a:gd name="T21" fmla="*/ 7 h 18"/>
                  <a:gd name="T22" fmla="*/ 2 w 14"/>
                  <a:gd name="T23" fmla="*/ 13 h 18"/>
                  <a:gd name="T24" fmla="*/ 4 w 14"/>
                  <a:gd name="T25" fmla="*/ 14 h 18"/>
                  <a:gd name="T26" fmla="*/ 4 w 14"/>
                  <a:gd name="T2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8">
                    <a:moveTo>
                      <a:pt x="4" y="14"/>
                    </a:moveTo>
                    <a:lnTo>
                      <a:pt x="6" y="18"/>
                    </a:lnTo>
                    <a:lnTo>
                      <a:pt x="10" y="14"/>
                    </a:lnTo>
                    <a:lnTo>
                      <a:pt x="12" y="10"/>
                    </a:lnTo>
                    <a:lnTo>
                      <a:pt x="13" y="6"/>
                    </a:lnTo>
                    <a:lnTo>
                      <a:pt x="14" y="4"/>
                    </a:lnTo>
                    <a:lnTo>
                      <a:pt x="12" y="1"/>
                    </a:lnTo>
                    <a:lnTo>
                      <a:pt x="10" y="0"/>
                    </a:lnTo>
                    <a:lnTo>
                      <a:pt x="4" y="1"/>
                    </a:lnTo>
                    <a:lnTo>
                      <a:pt x="1" y="5"/>
                    </a:lnTo>
                    <a:lnTo>
                      <a:pt x="0" y="7"/>
                    </a:lnTo>
                    <a:lnTo>
                      <a:pt x="2" y="13"/>
                    </a:lnTo>
                    <a:lnTo>
                      <a:pt x="4"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2" name="Freeform 48">
                <a:extLst>
                  <a:ext uri="{FF2B5EF4-FFF2-40B4-BE49-F238E27FC236}">
                    <a16:creationId xmlns:a16="http://schemas.microsoft.com/office/drawing/2014/main" id="{16D7E10F-B288-45F1-A84F-AE71E5AA3C55}"/>
                  </a:ext>
                </a:extLst>
              </p:cNvPr>
              <p:cNvSpPr>
                <a:spLocks/>
              </p:cNvSpPr>
              <p:nvPr/>
            </p:nvSpPr>
            <p:spPr bwMode="auto">
              <a:xfrm>
                <a:off x="2597" y="1659"/>
                <a:ext cx="16" cy="13"/>
              </a:xfrm>
              <a:custGeom>
                <a:avLst/>
                <a:gdLst>
                  <a:gd name="T0" fmla="*/ 13 w 16"/>
                  <a:gd name="T1" fmla="*/ 0 h 13"/>
                  <a:gd name="T2" fmla="*/ 10 w 16"/>
                  <a:gd name="T3" fmla="*/ 0 h 13"/>
                  <a:gd name="T4" fmla="*/ 7 w 16"/>
                  <a:gd name="T5" fmla="*/ 6 h 13"/>
                  <a:gd name="T6" fmla="*/ 4 w 16"/>
                  <a:gd name="T7" fmla="*/ 7 h 13"/>
                  <a:gd name="T8" fmla="*/ 1 w 16"/>
                  <a:gd name="T9" fmla="*/ 9 h 13"/>
                  <a:gd name="T10" fmla="*/ 0 w 16"/>
                  <a:gd name="T11" fmla="*/ 13 h 13"/>
                  <a:gd name="T12" fmla="*/ 4 w 16"/>
                  <a:gd name="T13" fmla="*/ 13 h 13"/>
                  <a:gd name="T14" fmla="*/ 8 w 16"/>
                  <a:gd name="T15" fmla="*/ 10 h 13"/>
                  <a:gd name="T16" fmla="*/ 13 w 16"/>
                  <a:gd name="T17" fmla="*/ 5 h 13"/>
                  <a:gd name="T18" fmla="*/ 16 w 16"/>
                  <a:gd name="T19" fmla="*/ 2 h 13"/>
                  <a:gd name="T20" fmla="*/ 15 w 16"/>
                  <a:gd name="T21" fmla="*/ 0 h 13"/>
                  <a:gd name="T22" fmla="*/ 13 w 16"/>
                  <a:gd name="T23" fmla="*/ 0 h 13"/>
                  <a:gd name="T24" fmla="*/ 13 w 16"/>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3">
                    <a:moveTo>
                      <a:pt x="13" y="0"/>
                    </a:moveTo>
                    <a:lnTo>
                      <a:pt x="10" y="0"/>
                    </a:lnTo>
                    <a:lnTo>
                      <a:pt x="7" y="6"/>
                    </a:lnTo>
                    <a:lnTo>
                      <a:pt x="4" y="7"/>
                    </a:lnTo>
                    <a:lnTo>
                      <a:pt x="1" y="9"/>
                    </a:lnTo>
                    <a:lnTo>
                      <a:pt x="0" y="13"/>
                    </a:lnTo>
                    <a:lnTo>
                      <a:pt x="4" y="13"/>
                    </a:lnTo>
                    <a:lnTo>
                      <a:pt x="8" y="10"/>
                    </a:lnTo>
                    <a:lnTo>
                      <a:pt x="13" y="5"/>
                    </a:lnTo>
                    <a:lnTo>
                      <a:pt x="16" y="2"/>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3" name="Freeform 49">
                <a:extLst>
                  <a:ext uri="{FF2B5EF4-FFF2-40B4-BE49-F238E27FC236}">
                    <a16:creationId xmlns:a16="http://schemas.microsoft.com/office/drawing/2014/main" id="{32AEE333-9439-4C86-B2EB-AF90B9F75A43}"/>
                  </a:ext>
                </a:extLst>
              </p:cNvPr>
              <p:cNvSpPr>
                <a:spLocks/>
              </p:cNvSpPr>
              <p:nvPr/>
            </p:nvSpPr>
            <p:spPr bwMode="auto">
              <a:xfrm>
                <a:off x="2601" y="1683"/>
                <a:ext cx="3" cy="4"/>
              </a:xfrm>
              <a:custGeom>
                <a:avLst/>
                <a:gdLst>
                  <a:gd name="T0" fmla="*/ 1 w 3"/>
                  <a:gd name="T1" fmla="*/ 0 h 4"/>
                  <a:gd name="T2" fmla="*/ 0 w 3"/>
                  <a:gd name="T3" fmla="*/ 1 h 4"/>
                  <a:gd name="T4" fmla="*/ 0 w 3"/>
                  <a:gd name="T5" fmla="*/ 4 h 4"/>
                  <a:gd name="T6" fmla="*/ 3 w 3"/>
                  <a:gd name="T7" fmla="*/ 3 h 4"/>
                  <a:gd name="T8" fmla="*/ 3 w 3"/>
                  <a:gd name="T9" fmla="*/ 1 h 4"/>
                  <a:gd name="T10" fmla="*/ 1 w 3"/>
                  <a:gd name="T11" fmla="*/ 0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lnTo>
                      <a:pt x="0" y="1"/>
                    </a:lnTo>
                    <a:lnTo>
                      <a:pt x="0" y="4"/>
                    </a:lnTo>
                    <a:lnTo>
                      <a:pt x="3" y="3"/>
                    </a:lnTo>
                    <a:lnTo>
                      <a:pt x="3" y="1"/>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4" name="Freeform 50">
                <a:extLst>
                  <a:ext uri="{FF2B5EF4-FFF2-40B4-BE49-F238E27FC236}">
                    <a16:creationId xmlns:a16="http://schemas.microsoft.com/office/drawing/2014/main" id="{C6E9FB73-B943-4F95-A82E-6158A07AA38C}"/>
                  </a:ext>
                </a:extLst>
              </p:cNvPr>
              <p:cNvSpPr>
                <a:spLocks/>
              </p:cNvSpPr>
              <p:nvPr/>
            </p:nvSpPr>
            <p:spPr bwMode="auto">
              <a:xfrm>
                <a:off x="2606" y="1650"/>
                <a:ext cx="12" cy="6"/>
              </a:xfrm>
              <a:custGeom>
                <a:avLst/>
                <a:gdLst>
                  <a:gd name="T0" fmla="*/ 8 w 12"/>
                  <a:gd name="T1" fmla="*/ 0 h 6"/>
                  <a:gd name="T2" fmla="*/ 2 w 12"/>
                  <a:gd name="T3" fmla="*/ 2 h 6"/>
                  <a:gd name="T4" fmla="*/ 0 w 12"/>
                  <a:gd name="T5" fmla="*/ 5 h 6"/>
                  <a:gd name="T6" fmla="*/ 2 w 12"/>
                  <a:gd name="T7" fmla="*/ 6 h 6"/>
                  <a:gd name="T8" fmla="*/ 12 w 12"/>
                  <a:gd name="T9" fmla="*/ 2 h 6"/>
                  <a:gd name="T10" fmla="*/ 8 w 12"/>
                  <a:gd name="T11" fmla="*/ 0 h 6"/>
                  <a:gd name="T12" fmla="*/ 8 w 1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8" y="0"/>
                    </a:moveTo>
                    <a:lnTo>
                      <a:pt x="2" y="2"/>
                    </a:lnTo>
                    <a:lnTo>
                      <a:pt x="0" y="5"/>
                    </a:lnTo>
                    <a:lnTo>
                      <a:pt x="2" y="6"/>
                    </a:lnTo>
                    <a:lnTo>
                      <a:pt x="12" y="2"/>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5" name="Freeform 51">
                <a:extLst>
                  <a:ext uri="{FF2B5EF4-FFF2-40B4-BE49-F238E27FC236}">
                    <a16:creationId xmlns:a16="http://schemas.microsoft.com/office/drawing/2014/main" id="{EF7B31E3-3B97-4170-90E8-CC2D83D1811B}"/>
                  </a:ext>
                </a:extLst>
              </p:cNvPr>
              <p:cNvSpPr>
                <a:spLocks/>
              </p:cNvSpPr>
              <p:nvPr/>
            </p:nvSpPr>
            <p:spPr bwMode="auto">
              <a:xfrm>
                <a:off x="2611" y="1793"/>
                <a:ext cx="11" cy="9"/>
              </a:xfrm>
              <a:custGeom>
                <a:avLst/>
                <a:gdLst>
                  <a:gd name="T0" fmla="*/ 2 w 11"/>
                  <a:gd name="T1" fmla="*/ 0 h 9"/>
                  <a:gd name="T2" fmla="*/ 0 w 11"/>
                  <a:gd name="T3" fmla="*/ 1 h 9"/>
                  <a:gd name="T4" fmla="*/ 0 w 11"/>
                  <a:gd name="T5" fmla="*/ 3 h 9"/>
                  <a:gd name="T6" fmla="*/ 5 w 11"/>
                  <a:gd name="T7" fmla="*/ 9 h 9"/>
                  <a:gd name="T8" fmla="*/ 8 w 11"/>
                  <a:gd name="T9" fmla="*/ 9 h 9"/>
                  <a:gd name="T10" fmla="*/ 11 w 11"/>
                  <a:gd name="T11" fmla="*/ 8 h 9"/>
                  <a:gd name="T12" fmla="*/ 11 w 11"/>
                  <a:gd name="T13" fmla="*/ 4 h 9"/>
                  <a:gd name="T14" fmla="*/ 10 w 11"/>
                  <a:gd name="T15" fmla="*/ 2 h 9"/>
                  <a:gd name="T16" fmla="*/ 7 w 11"/>
                  <a:gd name="T17" fmla="*/ 1 h 9"/>
                  <a:gd name="T18" fmla="*/ 4 w 11"/>
                  <a:gd name="T19" fmla="*/ 1 h 9"/>
                  <a:gd name="T20" fmla="*/ 2 w 11"/>
                  <a:gd name="T21" fmla="*/ 0 h 9"/>
                  <a:gd name="T22" fmla="*/ 2 w 1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2" y="0"/>
                    </a:moveTo>
                    <a:lnTo>
                      <a:pt x="0" y="1"/>
                    </a:lnTo>
                    <a:lnTo>
                      <a:pt x="0" y="3"/>
                    </a:lnTo>
                    <a:lnTo>
                      <a:pt x="5" y="9"/>
                    </a:lnTo>
                    <a:lnTo>
                      <a:pt x="8" y="9"/>
                    </a:lnTo>
                    <a:lnTo>
                      <a:pt x="11" y="8"/>
                    </a:lnTo>
                    <a:lnTo>
                      <a:pt x="11" y="4"/>
                    </a:lnTo>
                    <a:lnTo>
                      <a:pt x="10" y="2"/>
                    </a:lnTo>
                    <a:lnTo>
                      <a:pt x="7" y="1"/>
                    </a:lnTo>
                    <a:lnTo>
                      <a:pt x="4"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6" name="Freeform 52">
                <a:extLst>
                  <a:ext uri="{FF2B5EF4-FFF2-40B4-BE49-F238E27FC236}">
                    <a16:creationId xmlns:a16="http://schemas.microsoft.com/office/drawing/2014/main" id="{D387E02E-9CF0-4B8A-9946-477BE0A5AF66}"/>
                  </a:ext>
                </a:extLst>
              </p:cNvPr>
              <p:cNvSpPr>
                <a:spLocks/>
              </p:cNvSpPr>
              <p:nvPr/>
            </p:nvSpPr>
            <p:spPr bwMode="auto">
              <a:xfrm>
                <a:off x="2625" y="1657"/>
                <a:ext cx="10" cy="8"/>
              </a:xfrm>
              <a:custGeom>
                <a:avLst/>
                <a:gdLst>
                  <a:gd name="T0" fmla="*/ 4 w 10"/>
                  <a:gd name="T1" fmla="*/ 0 h 8"/>
                  <a:gd name="T2" fmla="*/ 0 w 10"/>
                  <a:gd name="T3" fmla="*/ 1 h 8"/>
                  <a:gd name="T4" fmla="*/ 0 w 10"/>
                  <a:gd name="T5" fmla="*/ 4 h 8"/>
                  <a:gd name="T6" fmla="*/ 0 w 10"/>
                  <a:gd name="T7" fmla="*/ 7 h 8"/>
                  <a:gd name="T8" fmla="*/ 4 w 10"/>
                  <a:gd name="T9" fmla="*/ 8 h 8"/>
                  <a:gd name="T10" fmla="*/ 6 w 10"/>
                  <a:gd name="T11" fmla="*/ 8 h 8"/>
                  <a:gd name="T12" fmla="*/ 7 w 10"/>
                  <a:gd name="T13" fmla="*/ 6 h 8"/>
                  <a:gd name="T14" fmla="*/ 10 w 10"/>
                  <a:gd name="T15" fmla="*/ 3 h 8"/>
                  <a:gd name="T16" fmla="*/ 10 w 10"/>
                  <a:gd name="T17" fmla="*/ 1 h 8"/>
                  <a:gd name="T18" fmla="*/ 6 w 10"/>
                  <a:gd name="T19" fmla="*/ 1 h 8"/>
                  <a:gd name="T20" fmla="*/ 4 w 10"/>
                  <a:gd name="T21" fmla="*/ 0 h 8"/>
                  <a:gd name="T22" fmla="*/ 4 w 10"/>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4" y="0"/>
                    </a:moveTo>
                    <a:lnTo>
                      <a:pt x="0" y="1"/>
                    </a:lnTo>
                    <a:lnTo>
                      <a:pt x="0" y="4"/>
                    </a:lnTo>
                    <a:lnTo>
                      <a:pt x="0" y="7"/>
                    </a:lnTo>
                    <a:lnTo>
                      <a:pt x="4" y="8"/>
                    </a:lnTo>
                    <a:lnTo>
                      <a:pt x="6" y="8"/>
                    </a:lnTo>
                    <a:lnTo>
                      <a:pt x="7" y="6"/>
                    </a:lnTo>
                    <a:lnTo>
                      <a:pt x="10" y="3"/>
                    </a:lnTo>
                    <a:lnTo>
                      <a:pt x="10" y="1"/>
                    </a:lnTo>
                    <a:lnTo>
                      <a:pt x="6"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7" name="Freeform 53">
                <a:extLst>
                  <a:ext uri="{FF2B5EF4-FFF2-40B4-BE49-F238E27FC236}">
                    <a16:creationId xmlns:a16="http://schemas.microsoft.com/office/drawing/2014/main" id="{D450C346-9E69-4B19-9B2B-CBBD9B0ABC24}"/>
                  </a:ext>
                </a:extLst>
              </p:cNvPr>
              <p:cNvSpPr>
                <a:spLocks/>
              </p:cNvSpPr>
              <p:nvPr/>
            </p:nvSpPr>
            <p:spPr bwMode="auto">
              <a:xfrm>
                <a:off x="2627" y="1684"/>
                <a:ext cx="30" cy="26"/>
              </a:xfrm>
              <a:custGeom>
                <a:avLst/>
                <a:gdLst>
                  <a:gd name="T0" fmla="*/ 1 w 30"/>
                  <a:gd name="T1" fmla="*/ 22 h 26"/>
                  <a:gd name="T2" fmla="*/ 2 w 30"/>
                  <a:gd name="T3" fmla="*/ 24 h 26"/>
                  <a:gd name="T4" fmla="*/ 4 w 30"/>
                  <a:gd name="T5" fmla="*/ 25 h 26"/>
                  <a:gd name="T6" fmla="*/ 8 w 30"/>
                  <a:gd name="T7" fmla="*/ 26 h 26"/>
                  <a:gd name="T8" fmla="*/ 15 w 30"/>
                  <a:gd name="T9" fmla="*/ 25 h 26"/>
                  <a:gd name="T10" fmla="*/ 18 w 30"/>
                  <a:gd name="T11" fmla="*/ 25 h 26"/>
                  <a:gd name="T12" fmla="*/ 23 w 30"/>
                  <a:gd name="T13" fmla="*/ 23 h 26"/>
                  <a:gd name="T14" fmla="*/ 27 w 30"/>
                  <a:gd name="T15" fmla="*/ 22 h 26"/>
                  <a:gd name="T16" fmla="*/ 29 w 30"/>
                  <a:gd name="T17" fmla="*/ 19 h 26"/>
                  <a:gd name="T18" fmla="*/ 30 w 30"/>
                  <a:gd name="T19" fmla="*/ 16 h 26"/>
                  <a:gd name="T20" fmla="*/ 29 w 30"/>
                  <a:gd name="T21" fmla="*/ 8 h 26"/>
                  <a:gd name="T22" fmla="*/ 30 w 30"/>
                  <a:gd name="T23" fmla="*/ 6 h 26"/>
                  <a:gd name="T24" fmla="*/ 29 w 30"/>
                  <a:gd name="T25" fmla="*/ 2 h 26"/>
                  <a:gd name="T26" fmla="*/ 21 w 30"/>
                  <a:gd name="T27" fmla="*/ 0 h 26"/>
                  <a:gd name="T28" fmla="*/ 18 w 30"/>
                  <a:gd name="T29" fmla="*/ 0 h 26"/>
                  <a:gd name="T30" fmla="*/ 15 w 30"/>
                  <a:gd name="T31" fmla="*/ 1 h 26"/>
                  <a:gd name="T32" fmla="*/ 12 w 30"/>
                  <a:gd name="T33" fmla="*/ 0 h 26"/>
                  <a:gd name="T34" fmla="*/ 8 w 30"/>
                  <a:gd name="T35" fmla="*/ 2 h 26"/>
                  <a:gd name="T36" fmla="*/ 4 w 30"/>
                  <a:gd name="T37" fmla="*/ 5 h 26"/>
                  <a:gd name="T38" fmla="*/ 1 w 30"/>
                  <a:gd name="T39" fmla="*/ 10 h 26"/>
                  <a:gd name="T40" fmla="*/ 0 w 30"/>
                  <a:gd name="T41" fmla="*/ 13 h 26"/>
                  <a:gd name="T42" fmla="*/ 0 w 30"/>
                  <a:gd name="T43" fmla="*/ 15 h 26"/>
                  <a:gd name="T44" fmla="*/ 0 w 30"/>
                  <a:gd name="T45" fmla="*/ 18 h 26"/>
                  <a:gd name="T46" fmla="*/ 0 w 30"/>
                  <a:gd name="T47" fmla="*/ 20 h 26"/>
                  <a:gd name="T48" fmla="*/ 1 w 30"/>
                  <a:gd name="T49" fmla="*/ 22 h 26"/>
                  <a:gd name="T50" fmla="*/ 1 w 30"/>
                  <a:gd name="T5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6">
                    <a:moveTo>
                      <a:pt x="1" y="22"/>
                    </a:moveTo>
                    <a:lnTo>
                      <a:pt x="2" y="24"/>
                    </a:lnTo>
                    <a:lnTo>
                      <a:pt x="4" y="25"/>
                    </a:lnTo>
                    <a:lnTo>
                      <a:pt x="8" y="26"/>
                    </a:lnTo>
                    <a:lnTo>
                      <a:pt x="15" y="25"/>
                    </a:lnTo>
                    <a:lnTo>
                      <a:pt x="18" y="25"/>
                    </a:lnTo>
                    <a:lnTo>
                      <a:pt x="23" y="23"/>
                    </a:lnTo>
                    <a:lnTo>
                      <a:pt x="27" y="22"/>
                    </a:lnTo>
                    <a:lnTo>
                      <a:pt x="29" y="19"/>
                    </a:lnTo>
                    <a:lnTo>
                      <a:pt x="30" y="16"/>
                    </a:lnTo>
                    <a:lnTo>
                      <a:pt x="29" y="8"/>
                    </a:lnTo>
                    <a:lnTo>
                      <a:pt x="30" y="6"/>
                    </a:lnTo>
                    <a:lnTo>
                      <a:pt x="29" y="2"/>
                    </a:lnTo>
                    <a:lnTo>
                      <a:pt x="21" y="0"/>
                    </a:lnTo>
                    <a:lnTo>
                      <a:pt x="18" y="0"/>
                    </a:lnTo>
                    <a:lnTo>
                      <a:pt x="15" y="1"/>
                    </a:lnTo>
                    <a:lnTo>
                      <a:pt x="12" y="0"/>
                    </a:lnTo>
                    <a:lnTo>
                      <a:pt x="8" y="2"/>
                    </a:lnTo>
                    <a:lnTo>
                      <a:pt x="4" y="5"/>
                    </a:lnTo>
                    <a:lnTo>
                      <a:pt x="1" y="10"/>
                    </a:lnTo>
                    <a:lnTo>
                      <a:pt x="0" y="13"/>
                    </a:lnTo>
                    <a:lnTo>
                      <a:pt x="0" y="15"/>
                    </a:lnTo>
                    <a:lnTo>
                      <a:pt x="0" y="18"/>
                    </a:lnTo>
                    <a:lnTo>
                      <a:pt x="0" y="20"/>
                    </a:lnTo>
                    <a:lnTo>
                      <a:pt x="1" y="22"/>
                    </a:ln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8" name="Freeform 54">
                <a:extLst>
                  <a:ext uri="{FF2B5EF4-FFF2-40B4-BE49-F238E27FC236}">
                    <a16:creationId xmlns:a16="http://schemas.microsoft.com/office/drawing/2014/main" id="{3E6F7BFF-AB25-4F53-A6AB-FBBD1A68B47D}"/>
                  </a:ext>
                </a:extLst>
              </p:cNvPr>
              <p:cNvSpPr>
                <a:spLocks/>
              </p:cNvSpPr>
              <p:nvPr/>
            </p:nvSpPr>
            <p:spPr bwMode="auto">
              <a:xfrm>
                <a:off x="2666" y="1681"/>
                <a:ext cx="4" cy="4"/>
              </a:xfrm>
              <a:custGeom>
                <a:avLst/>
                <a:gdLst>
                  <a:gd name="T0" fmla="*/ 0 w 4"/>
                  <a:gd name="T1" fmla="*/ 0 h 4"/>
                  <a:gd name="T2" fmla="*/ 0 w 4"/>
                  <a:gd name="T3" fmla="*/ 2 h 4"/>
                  <a:gd name="T4" fmla="*/ 4 w 4"/>
                  <a:gd name="T5" fmla="*/ 4 h 4"/>
                  <a:gd name="T6" fmla="*/ 4 w 4"/>
                  <a:gd name="T7" fmla="*/ 2 h 4"/>
                  <a:gd name="T8" fmla="*/ 0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2"/>
                    </a:lnTo>
                    <a:lnTo>
                      <a:pt x="4" y="4"/>
                    </a:lnTo>
                    <a:lnTo>
                      <a:pt x="4"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9" name="Rectangle 55">
                <a:extLst>
                  <a:ext uri="{FF2B5EF4-FFF2-40B4-BE49-F238E27FC236}">
                    <a16:creationId xmlns:a16="http://schemas.microsoft.com/office/drawing/2014/main" id="{05693B65-5043-4CAA-8F7C-35EC90256017}"/>
                  </a:ext>
                </a:extLst>
              </p:cNvPr>
              <p:cNvSpPr>
                <a:spLocks noChangeArrowheads="1"/>
              </p:cNvSpPr>
              <p:nvPr/>
            </p:nvSpPr>
            <p:spPr bwMode="auto">
              <a:xfrm>
                <a:off x="2521" y="139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0" name="Freeform 56">
                <a:extLst>
                  <a:ext uri="{FF2B5EF4-FFF2-40B4-BE49-F238E27FC236}">
                    <a16:creationId xmlns:a16="http://schemas.microsoft.com/office/drawing/2014/main" id="{59C07678-88DD-4FC2-BB8E-AB19041FAEB2}"/>
                  </a:ext>
                </a:extLst>
              </p:cNvPr>
              <p:cNvSpPr>
                <a:spLocks/>
              </p:cNvSpPr>
              <p:nvPr/>
            </p:nvSpPr>
            <p:spPr bwMode="auto">
              <a:xfrm>
                <a:off x="2521" y="1331"/>
                <a:ext cx="35" cy="4"/>
              </a:xfrm>
              <a:custGeom>
                <a:avLst/>
                <a:gdLst>
                  <a:gd name="T0" fmla="*/ 0 w 35"/>
                  <a:gd name="T1" fmla="*/ 4 h 4"/>
                  <a:gd name="T2" fmla="*/ 0 w 35"/>
                  <a:gd name="T3" fmla="*/ 3 h 4"/>
                  <a:gd name="T4" fmla="*/ 22 w 35"/>
                  <a:gd name="T5" fmla="*/ 1 h 4"/>
                  <a:gd name="T6" fmla="*/ 30 w 35"/>
                  <a:gd name="T7" fmla="*/ 0 h 4"/>
                  <a:gd name="T8" fmla="*/ 35 w 35"/>
                  <a:gd name="T9" fmla="*/ 0 h 4"/>
                  <a:gd name="T10" fmla="*/ 30 w 35"/>
                  <a:gd name="T11" fmla="*/ 2 h 4"/>
                  <a:gd name="T12" fmla="*/ 24 w 35"/>
                  <a:gd name="T13" fmla="*/ 2 h 4"/>
                  <a:gd name="T14" fmla="*/ 18 w 35"/>
                  <a:gd name="T15" fmla="*/ 3 h 4"/>
                  <a:gd name="T16" fmla="*/ 12 w 35"/>
                  <a:gd name="T17" fmla="*/ 3 h 4"/>
                  <a:gd name="T18" fmla="*/ 4 w 35"/>
                  <a:gd name="T19" fmla="*/ 4 h 4"/>
                  <a:gd name="T20" fmla="*/ 0 w 35"/>
                  <a:gd name="T21" fmla="*/ 4 h 4"/>
                  <a:gd name="T22" fmla="*/ 0 w 35"/>
                  <a:gd name="T23" fmla="*/ 4 h 4"/>
                  <a:gd name="T24" fmla="*/ 0 w 35"/>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
                    <a:moveTo>
                      <a:pt x="0" y="4"/>
                    </a:moveTo>
                    <a:lnTo>
                      <a:pt x="0" y="3"/>
                    </a:lnTo>
                    <a:lnTo>
                      <a:pt x="22" y="1"/>
                    </a:lnTo>
                    <a:lnTo>
                      <a:pt x="30" y="0"/>
                    </a:lnTo>
                    <a:lnTo>
                      <a:pt x="35" y="0"/>
                    </a:lnTo>
                    <a:lnTo>
                      <a:pt x="30" y="2"/>
                    </a:lnTo>
                    <a:lnTo>
                      <a:pt x="24" y="2"/>
                    </a:lnTo>
                    <a:lnTo>
                      <a:pt x="18" y="3"/>
                    </a:lnTo>
                    <a:lnTo>
                      <a:pt x="12" y="3"/>
                    </a:lnTo>
                    <a:lnTo>
                      <a:pt x="4"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1" name="Freeform 57">
                <a:extLst>
                  <a:ext uri="{FF2B5EF4-FFF2-40B4-BE49-F238E27FC236}">
                    <a16:creationId xmlns:a16="http://schemas.microsoft.com/office/drawing/2014/main" id="{8871E57A-C87C-4E9E-B570-B39B06248563}"/>
                  </a:ext>
                </a:extLst>
              </p:cNvPr>
              <p:cNvSpPr>
                <a:spLocks/>
              </p:cNvSpPr>
              <p:nvPr/>
            </p:nvSpPr>
            <p:spPr bwMode="auto">
              <a:xfrm>
                <a:off x="2521" y="1326"/>
                <a:ext cx="3" cy="2"/>
              </a:xfrm>
              <a:custGeom>
                <a:avLst/>
                <a:gdLst>
                  <a:gd name="T0" fmla="*/ 0 w 3"/>
                  <a:gd name="T1" fmla="*/ 2 h 2"/>
                  <a:gd name="T2" fmla="*/ 0 w 3"/>
                  <a:gd name="T3" fmla="*/ 0 h 2"/>
                  <a:gd name="T4" fmla="*/ 0 w 3"/>
                  <a:gd name="T5" fmla="*/ 0 h 2"/>
                  <a:gd name="T6" fmla="*/ 3 w 3"/>
                  <a:gd name="T7" fmla="*/ 2 h 2"/>
                  <a:gd name="T8" fmla="*/ 0 w 3"/>
                  <a:gd name="T9" fmla="*/ 2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0"/>
                    </a:lnTo>
                    <a:lnTo>
                      <a:pt x="0" y="0"/>
                    </a:lnTo>
                    <a:lnTo>
                      <a:pt x="3"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2" name="Freeform 58">
                <a:extLst>
                  <a:ext uri="{FF2B5EF4-FFF2-40B4-BE49-F238E27FC236}">
                    <a16:creationId xmlns:a16="http://schemas.microsoft.com/office/drawing/2014/main" id="{FB3AD00B-F17B-46D0-B697-2A9F0CF8A53F}"/>
                  </a:ext>
                </a:extLst>
              </p:cNvPr>
              <p:cNvSpPr>
                <a:spLocks/>
              </p:cNvSpPr>
              <p:nvPr/>
            </p:nvSpPr>
            <p:spPr bwMode="auto">
              <a:xfrm>
                <a:off x="2521" y="1306"/>
                <a:ext cx="0" cy="1"/>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3" name="Freeform 59">
                <a:extLst>
                  <a:ext uri="{FF2B5EF4-FFF2-40B4-BE49-F238E27FC236}">
                    <a16:creationId xmlns:a16="http://schemas.microsoft.com/office/drawing/2014/main" id="{5836CE95-0722-48D7-90FA-5397E9E2B7E7}"/>
                  </a:ext>
                </a:extLst>
              </p:cNvPr>
              <p:cNvSpPr>
                <a:spLocks/>
              </p:cNvSpPr>
              <p:nvPr/>
            </p:nvSpPr>
            <p:spPr bwMode="auto">
              <a:xfrm>
                <a:off x="2520" y="1305"/>
                <a:ext cx="1" cy="1"/>
              </a:xfrm>
              <a:custGeom>
                <a:avLst/>
                <a:gdLst>
                  <a:gd name="T0" fmla="*/ 1 w 1"/>
                  <a:gd name="T1" fmla="*/ 1 h 1"/>
                  <a:gd name="T2" fmla="*/ 0 w 1"/>
                  <a:gd name="T3" fmla="*/ 0 h 1"/>
                  <a:gd name="T4" fmla="*/ 1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0" y="0"/>
                    </a:lnTo>
                    <a:lnTo>
                      <a:pt x="1" y="0"/>
                    </a:lnTo>
                    <a:lnTo>
                      <a:pt x="1" y="1"/>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4" name="Freeform 60">
                <a:extLst>
                  <a:ext uri="{FF2B5EF4-FFF2-40B4-BE49-F238E27FC236}">
                    <a16:creationId xmlns:a16="http://schemas.microsoft.com/office/drawing/2014/main" id="{F5D52485-CD94-4315-A196-0187B8D89760}"/>
                  </a:ext>
                </a:extLst>
              </p:cNvPr>
              <p:cNvSpPr>
                <a:spLocks/>
              </p:cNvSpPr>
              <p:nvPr/>
            </p:nvSpPr>
            <p:spPr bwMode="auto">
              <a:xfrm>
                <a:off x="2521" y="1304"/>
                <a:ext cx="3" cy="3"/>
              </a:xfrm>
              <a:custGeom>
                <a:avLst/>
                <a:gdLst>
                  <a:gd name="T0" fmla="*/ 0 w 3"/>
                  <a:gd name="T1" fmla="*/ 1 h 3"/>
                  <a:gd name="T2" fmla="*/ 0 w 3"/>
                  <a:gd name="T3" fmla="*/ 0 h 3"/>
                  <a:gd name="T4" fmla="*/ 0 w 3"/>
                  <a:gd name="T5" fmla="*/ 0 h 3"/>
                  <a:gd name="T6" fmla="*/ 3 w 3"/>
                  <a:gd name="T7" fmla="*/ 1 h 3"/>
                  <a:gd name="T8" fmla="*/ 3 w 3"/>
                  <a:gd name="T9" fmla="*/ 3 h 3"/>
                  <a:gd name="T10" fmla="*/ 1 w 3"/>
                  <a:gd name="T11" fmla="*/ 1 h 3"/>
                  <a:gd name="T12" fmla="*/ 0 w 3"/>
                  <a:gd name="T13" fmla="*/ 1 h 3"/>
                  <a:gd name="T14" fmla="*/ 0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1"/>
                    </a:moveTo>
                    <a:lnTo>
                      <a:pt x="0" y="0"/>
                    </a:lnTo>
                    <a:lnTo>
                      <a:pt x="0" y="0"/>
                    </a:lnTo>
                    <a:lnTo>
                      <a:pt x="3" y="1"/>
                    </a:lnTo>
                    <a:lnTo>
                      <a:pt x="3" y="3"/>
                    </a:lnTo>
                    <a:lnTo>
                      <a:pt x="1"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5" name="Freeform 61">
                <a:extLst>
                  <a:ext uri="{FF2B5EF4-FFF2-40B4-BE49-F238E27FC236}">
                    <a16:creationId xmlns:a16="http://schemas.microsoft.com/office/drawing/2014/main" id="{B2A3A276-92D4-4797-A9C8-3D93477906DE}"/>
                  </a:ext>
                </a:extLst>
              </p:cNvPr>
              <p:cNvSpPr>
                <a:spLocks/>
              </p:cNvSpPr>
              <p:nvPr/>
            </p:nvSpPr>
            <p:spPr bwMode="auto">
              <a:xfrm>
                <a:off x="2764" y="2549"/>
                <a:ext cx="21" cy="8"/>
              </a:xfrm>
              <a:custGeom>
                <a:avLst/>
                <a:gdLst>
                  <a:gd name="T0" fmla="*/ 18 w 21"/>
                  <a:gd name="T1" fmla="*/ 8 h 8"/>
                  <a:gd name="T2" fmla="*/ 19 w 21"/>
                  <a:gd name="T3" fmla="*/ 7 h 8"/>
                  <a:gd name="T4" fmla="*/ 21 w 21"/>
                  <a:gd name="T5" fmla="*/ 5 h 8"/>
                  <a:gd name="T6" fmla="*/ 20 w 21"/>
                  <a:gd name="T7" fmla="*/ 2 h 8"/>
                  <a:gd name="T8" fmla="*/ 18 w 21"/>
                  <a:gd name="T9" fmla="*/ 1 h 8"/>
                  <a:gd name="T10" fmla="*/ 2 w 21"/>
                  <a:gd name="T11" fmla="*/ 0 h 8"/>
                  <a:gd name="T12" fmla="*/ 0 w 21"/>
                  <a:gd name="T13" fmla="*/ 2 h 8"/>
                  <a:gd name="T14" fmla="*/ 2 w 21"/>
                  <a:gd name="T15" fmla="*/ 8 h 8"/>
                  <a:gd name="T16" fmla="*/ 4 w 21"/>
                  <a:gd name="T17" fmla="*/ 8 h 8"/>
                  <a:gd name="T18" fmla="*/ 6 w 21"/>
                  <a:gd name="T19" fmla="*/ 8 h 8"/>
                  <a:gd name="T20" fmla="*/ 12 w 21"/>
                  <a:gd name="T21" fmla="*/ 8 h 8"/>
                  <a:gd name="T22" fmla="*/ 14 w 21"/>
                  <a:gd name="T23" fmla="*/ 8 h 8"/>
                  <a:gd name="T24" fmla="*/ 18 w 21"/>
                  <a:gd name="T25" fmla="*/ 8 h 8"/>
                  <a:gd name="T26" fmla="*/ 18 w 21"/>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8">
                    <a:moveTo>
                      <a:pt x="18" y="8"/>
                    </a:moveTo>
                    <a:lnTo>
                      <a:pt x="19" y="7"/>
                    </a:lnTo>
                    <a:lnTo>
                      <a:pt x="21" y="5"/>
                    </a:lnTo>
                    <a:lnTo>
                      <a:pt x="20" y="2"/>
                    </a:lnTo>
                    <a:lnTo>
                      <a:pt x="18" y="1"/>
                    </a:lnTo>
                    <a:lnTo>
                      <a:pt x="2" y="0"/>
                    </a:lnTo>
                    <a:lnTo>
                      <a:pt x="0" y="2"/>
                    </a:lnTo>
                    <a:lnTo>
                      <a:pt x="2" y="8"/>
                    </a:lnTo>
                    <a:lnTo>
                      <a:pt x="4" y="8"/>
                    </a:lnTo>
                    <a:lnTo>
                      <a:pt x="6" y="8"/>
                    </a:lnTo>
                    <a:lnTo>
                      <a:pt x="12" y="8"/>
                    </a:lnTo>
                    <a:lnTo>
                      <a:pt x="14" y="8"/>
                    </a:lnTo>
                    <a:lnTo>
                      <a:pt x="18" y="8"/>
                    </a:lnTo>
                    <a:lnTo>
                      <a:pt x="1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6" name="Freeform 62">
                <a:extLst>
                  <a:ext uri="{FF2B5EF4-FFF2-40B4-BE49-F238E27FC236}">
                    <a16:creationId xmlns:a16="http://schemas.microsoft.com/office/drawing/2014/main" id="{E178C496-CC02-49FA-A473-AF8315BC1855}"/>
                  </a:ext>
                </a:extLst>
              </p:cNvPr>
              <p:cNvSpPr>
                <a:spLocks/>
              </p:cNvSpPr>
              <p:nvPr/>
            </p:nvSpPr>
            <p:spPr bwMode="auto">
              <a:xfrm>
                <a:off x="2802" y="2111"/>
                <a:ext cx="33" cy="17"/>
              </a:xfrm>
              <a:custGeom>
                <a:avLst/>
                <a:gdLst>
                  <a:gd name="T0" fmla="*/ 29 w 33"/>
                  <a:gd name="T1" fmla="*/ 8 h 17"/>
                  <a:gd name="T2" fmla="*/ 18 w 33"/>
                  <a:gd name="T3" fmla="*/ 9 h 17"/>
                  <a:gd name="T4" fmla="*/ 13 w 33"/>
                  <a:gd name="T5" fmla="*/ 7 h 17"/>
                  <a:gd name="T6" fmla="*/ 10 w 33"/>
                  <a:gd name="T7" fmla="*/ 8 h 17"/>
                  <a:gd name="T8" fmla="*/ 7 w 33"/>
                  <a:gd name="T9" fmla="*/ 8 h 17"/>
                  <a:gd name="T10" fmla="*/ 8 w 33"/>
                  <a:gd name="T11" fmla="*/ 6 h 17"/>
                  <a:gd name="T12" fmla="*/ 5 w 33"/>
                  <a:gd name="T13" fmla="*/ 3 h 17"/>
                  <a:gd name="T14" fmla="*/ 7 w 33"/>
                  <a:gd name="T15" fmla="*/ 1 h 17"/>
                  <a:gd name="T16" fmla="*/ 4 w 33"/>
                  <a:gd name="T17" fmla="*/ 0 h 17"/>
                  <a:gd name="T18" fmla="*/ 0 w 33"/>
                  <a:gd name="T19" fmla="*/ 6 h 17"/>
                  <a:gd name="T20" fmla="*/ 4 w 33"/>
                  <a:gd name="T21" fmla="*/ 6 h 17"/>
                  <a:gd name="T22" fmla="*/ 5 w 33"/>
                  <a:gd name="T23" fmla="*/ 9 h 17"/>
                  <a:gd name="T24" fmla="*/ 10 w 33"/>
                  <a:gd name="T25" fmla="*/ 10 h 17"/>
                  <a:gd name="T26" fmla="*/ 10 w 33"/>
                  <a:gd name="T27" fmla="*/ 12 h 17"/>
                  <a:gd name="T28" fmla="*/ 13 w 33"/>
                  <a:gd name="T29" fmla="*/ 14 h 17"/>
                  <a:gd name="T30" fmla="*/ 16 w 33"/>
                  <a:gd name="T31" fmla="*/ 14 h 17"/>
                  <a:gd name="T32" fmla="*/ 18 w 33"/>
                  <a:gd name="T33" fmla="*/ 12 h 17"/>
                  <a:gd name="T34" fmla="*/ 22 w 33"/>
                  <a:gd name="T35" fmla="*/ 14 h 17"/>
                  <a:gd name="T36" fmla="*/ 22 w 33"/>
                  <a:gd name="T37" fmla="*/ 17 h 17"/>
                  <a:gd name="T38" fmla="*/ 24 w 33"/>
                  <a:gd name="T39" fmla="*/ 17 h 17"/>
                  <a:gd name="T40" fmla="*/ 27 w 33"/>
                  <a:gd name="T41" fmla="*/ 17 h 17"/>
                  <a:gd name="T42" fmla="*/ 27 w 33"/>
                  <a:gd name="T43" fmla="*/ 14 h 17"/>
                  <a:gd name="T44" fmla="*/ 29 w 33"/>
                  <a:gd name="T45" fmla="*/ 11 h 17"/>
                  <a:gd name="T46" fmla="*/ 33 w 33"/>
                  <a:gd name="T47" fmla="*/ 9 h 17"/>
                  <a:gd name="T48" fmla="*/ 31 w 33"/>
                  <a:gd name="T49" fmla="*/ 8 h 17"/>
                  <a:gd name="T50" fmla="*/ 29 w 33"/>
                  <a:gd name="T51" fmla="*/ 8 h 17"/>
                  <a:gd name="T52" fmla="*/ 29 w 33"/>
                  <a:gd name="T5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17">
                    <a:moveTo>
                      <a:pt x="29" y="8"/>
                    </a:moveTo>
                    <a:lnTo>
                      <a:pt x="18" y="9"/>
                    </a:lnTo>
                    <a:lnTo>
                      <a:pt x="13" y="7"/>
                    </a:lnTo>
                    <a:lnTo>
                      <a:pt x="10" y="8"/>
                    </a:lnTo>
                    <a:lnTo>
                      <a:pt x="7" y="8"/>
                    </a:lnTo>
                    <a:lnTo>
                      <a:pt x="8" y="6"/>
                    </a:lnTo>
                    <a:lnTo>
                      <a:pt x="5" y="3"/>
                    </a:lnTo>
                    <a:lnTo>
                      <a:pt x="7" y="1"/>
                    </a:lnTo>
                    <a:lnTo>
                      <a:pt x="4" y="0"/>
                    </a:lnTo>
                    <a:lnTo>
                      <a:pt x="0" y="6"/>
                    </a:lnTo>
                    <a:lnTo>
                      <a:pt x="4" y="6"/>
                    </a:lnTo>
                    <a:lnTo>
                      <a:pt x="5" y="9"/>
                    </a:lnTo>
                    <a:lnTo>
                      <a:pt x="10" y="10"/>
                    </a:lnTo>
                    <a:lnTo>
                      <a:pt x="10" y="12"/>
                    </a:lnTo>
                    <a:lnTo>
                      <a:pt x="13" y="14"/>
                    </a:lnTo>
                    <a:lnTo>
                      <a:pt x="16" y="14"/>
                    </a:lnTo>
                    <a:lnTo>
                      <a:pt x="18" y="12"/>
                    </a:lnTo>
                    <a:lnTo>
                      <a:pt x="22" y="14"/>
                    </a:lnTo>
                    <a:lnTo>
                      <a:pt x="22" y="17"/>
                    </a:lnTo>
                    <a:lnTo>
                      <a:pt x="24" y="17"/>
                    </a:lnTo>
                    <a:lnTo>
                      <a:pt x="27" y="17"/>
                    </a:lnTo>
                    <a:lnTo>
                      <a:pt x="27" y="14"/>
                    </a:lnTo>
                    <a:lnTo>
                      <a:pt x="29" y="11"/>
                    </a:lnTo>
                    <a:lnTo>
                      <a:pt x="33" y="9"/>
                    </a:lnTo>
                    <a:lnTo>
                      <a:pt x="31" y="8"/>
                    </a:lnTo>
                    <a:lnTo>
                      <a:pt x="29" y="8"/>
                    </a:lnTo>
                    <a:lnTo>
                      <a:pt x="2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7" name="Freeform 63">
                <a:extLst>
                  <a:ext uri="{FF2B5EF4-FFF2-40B4-BE49-F238E27FC236}">
                    <a16:creationId xmlns:a16="http://schemas.microsoft.com/office/drawing/2014/main" id="{8C6FF026-562C-46D3-A913-28CE0024F00E}"/>
                  </a:ext>
                </a:extLst>
              </p:cNvPr>
              <p:cNvSpPr>
                <a:spLocks/>
              </p:cNvSpPr>
              <p:nvPr/>
            </p:nvSpPr>
            <p:spPr bwMode="auto">
              <a:xfrm>
                <a:off x="2932" y="1636"/>
                <a:ext cx="42" cy="27"/>
              </a:xfrm>
              <a:custGeom>
                <a:avLst/>
                <a:gdLst>
                  <a:gd name="T0" fmla="*/ 4 w 42"/>
                  <a:gd name="T1" fmla="*/ 7 h 27"/>
                  <a:gd name="T2" fmla="*/ 10 w 42"/>
                  <a:gd name="T3" fmla="*/ 10 h 27"/>
                  <a:gd name="T4" fmla="*/ 4 w 42"/>
                  <a:gd name="T5" fmla="*/ 8 h 27"/>
                  <a:gd name="T6" fmla="*/ 2 w 42"/>
                  <a:gd name="T7" fmla="*/ 10 h 27"/>
                  <a:gd name="T8" fmla="*/ 0 w 42"/>
                  <a:gd name="T9" fmla="*/ 12 h 27"/>
                  <a:gd name="T10" fmla="*/ 4 w 42"/>
                  <a:gd name="T11" fmla="*/ 13 h 27"/>
                  <a:gd name="T12" fmla="*/ 6 w 42"/>
                  <a:gd name="T13" fmla="*/ 15 h 27"/>
                  <a:gd name="T14" fmla="*/ 4 w 42"/>
                  <a:gd name="T15" fmla="*/ 14 h 27"/>
                  <a:gd name="T16" fmla="*/ 0 w 42"/>
                  <a:gd name="T17" fmla="*/ 16 h 27"/>
                  <a:gd name="T18" fmla="*/ 4 w 42"/>
                  <a:gd name="T19" fmla="*/ 17 h 27"/>
                  <a:gd name="T20" fmla="*/ 6 w 42"/>
                  <a:gd name="T21" fmla="*/ 19 h 27"/>
                  <a:gd name="T22" fmla="*/ 12 w 42"/>
                  <a:gd name="T23" fmla="*/ 19 h 27"/>
                  <a:gd name="T24" fmla="*/ 17 w 42"/>
                  <a:gd name="T25" fmla="*/ 21 h 27"/>
                  <a:gd name="T26" fmla="*/ 20 w 42"/>
                  <a:gd name="T27" fmla="*/ 19 h 27"/>
                  <a:gd name="T28" fmla="*/ 22 w 42"/>
                  <a:gd name="T29" fmla="*/ 21 h 27"/>
                  <a:gd name="T30" fmla="*/ 19 w 42"/>
                  <a:gd name="T31" fmla="*/ 21 h 27"/>
                  <a:gd name="T32" fmla="*/ 16 w 42"/>
                  <a:gd name="T33" fmla="*/ 22 h 27"/>
                  <a:gd name="T34" fmla="*/ 13 w 42"/>
                  <a:gd name="T35" fmla="*/ 21 h 27"/>
                  <a:gd name="T36" fmla="*/ 11 w 42"/>
                  <a:gd name="T37" fmla="*/ 23 h 27"/>
                  <a:gd name="T38" fmla="*/ 13 w 42"/>
                  <a:gd name="T39" fmla="*/ 24 h 27"/>
                  <a:gd name="T40" fmla="*/ 16 w 42"/>
                  <a:gd name="T41" fmla="*/ 25 h 27"/>
                  <a:gd name="T42" fmla="*/ 20 w 42"/>
                  <a:gd name="T43" fmla="*/ 27 h 27"/>
                  <a:gd name="T44" fmla="*/ 37 w 42"/>
                  <a:gd name="T45" fmla="*/ 21 h 27"/>
                  <a:gd name="T46" fmla="*/ 39 w 42"/>
                  <a:gd name="T47" fmla="*/ 20 h 27"/>
                  <a:gd name="T48" fmla="*/ 42 w 42"/>
                  <a:gd name="T49" fmla="*/ 17 h 27"/>
                  <a:gd name="T50" fmla="*/ 41 w 42"/>
                  <a:gd name="T51" fmla="*/ 15 h 27"/>
                  <a:gd name="T52" fmla="*/ 40 w 42"/>
                  <a:gd name="T53" fmla="*/ 12 h 27"/>
                  <a:gd name="T54" fmla="*/ 31 w 42"/>
                  <a:gd name="T55" fmla="*/ 10 h 27"/>
                  <a:gd name="T56" fmla="*/ 29 w 42"/>
                  <a:gd name="T57" fmla="*/ 7 h 27"/>
                  <a:gd name="T58" fmla="*/ 27 w 42"/>
                  <a:gd name="T59" fmla="*/ 5 h 27"/>
                  <a:gd name="T60" fmla="*/ 21 w 42"/>
                  <a:gd name="T61" fmla="*/ 2 h 27"/>
                  <a:gd name="T62" fmla="*/ 10 w 42"/>
                  <a:gd name="T63" fmla="*/ 0 h 27"/>
                  <a:gd name="T64" fmla="*/ 7 w 42"/>
                  <a:gd name="T65" fmla="*/ 0 h 27"/>
                  <a:gd name="T66" fmla="*/ 4 w 42"/>
                  <a:gd name="T67" fmla="*/ 0 h 27"/>
                  <a:gd name="T68" fmla="*/ 2 w 42"/>
                  <a:gd name="T69" fmla="*/ 4 h 27"/>
                  <a:gd name="T70" fmla="*/ 2 w 42"/>
                  <a:gd name="T71" fmla="*/ 6 h 27"/>
                  <a:gd name="T72" fmla="*/ 4 w 42"/>
                  <a:gd name="T73" fmla="*/ 7 h 27"/>
                  <a:gd name="T74" fmla="*/ 4 w 42"/>
                  <a:gd name="T7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27">
                    <a:moveTo>
                      <a:pt x="4" y="7"/>
                    </a:moveTo>
                    <a:lnTo>
                      <a:pt x="10" y="10"/>
                    </a:lnTo>
                    <a:lnTo>
                      <a:pt x="4" y="8"/>
                    </a:lnTo>
                    <a:lnTo>
                      <a:pt x="2" y="10"/>
                    </a:lnTo>
                    <a:lnTo>
                      <a:pt x="0" y="12"/>
                    </a:lnTo>
                    <a:lnTo>
                      <a:pt x="4" y="13"/>
                    </a:lnTo>
                    <a:lnTo>
                      <a:pt x="6" y="15"/>
                    </a:lnTo>
                    <a:lnTo>
                      <a:pt x="4" y="14"/>
                    </a:lnTo>
                    <a:lnTo>
                      <a:pt x="0" y="16"/>
                    </a:lnTo>
                    <a:lnTo>
                      <a:pt x="4" y="17"/>
                    </a:lnTo>
                    <a:lnTo>
                      <a:pt x="6" y="19"/>
                    </a:lnTo>
                    <a:lnTo>
                      <a:pt x="12" y="19"/>
                    </a:lnTo>
                    <a:lnTo>
                      <a:pt x="17" y="21"/>
                    </a:lnTo>
                    <a:lnTo>
                      <a:pt x="20" y="19"/>
                    </a:lnTo>
                    <a:lnTo>
                      <a:pt x="22" y="21"/>
                    </a:lnTo>
                    <a:lnTo>
                      <a:pt x="19" y="21"/>
                    </a:lnTo>
                    <a:lnTo>
                      <a:pt x="16" y="22"/>
                    </a:lnTo>
                    <a:lnTo>
                      <a:pt x="13" y="21"/>
                    </a:lnTo>
                    <a:lnTo>
                      <a:pt x="11" y="23"/>
                    </a:lnTo>
                    <a:lnTo>
                      <a:pt x="13" y="24"/>
                    </a:lnTo>
                    <a:lnTo>
                      <a:pt x="16" y="25"/>
                    </a:lnTo>
                    <a:lnTo>
                      <a:pt x="20" y="27"/>
                    </a:lnTo>
                    <a:lnTo>
                      <a:pt x="37" y="21"/>
                    </a:lnTo>
                    <a:lnTo>
                      <a:pt x="39" y="20"/>
                    </a:lnTo>
                    <a:lnTo>
                      <a:pt x="42" y="17"/>
                    </a:lnTo>
                    <a:lnTo>
                      <a:pt x="41" y="15"/>
                    </a:lnTo>
                    <a:lnTo>
                      <a:pt x="40" y="12"/>
                    </a:lnTo>
                    <a:lnTo>
                      <a:pt x="31" y="10"/>
                    </a:lnTo>
                    <a:lnTo>
                      <a:pt x="29" y="7"/>
                    </a:lnTo>
                    <a:lnTo>
                      <a:pt x="27" y="5"/>
                    </a:lnTo>
                    <a:lnTo>
                      <a:pt x="21" y="2"/>
                    </a:lnTo>
                    <a:lnTo>
                      <a:pt x="10" y="0"/>
                    </a:lnTo>
                    <a:lnTo>
                      <a:pt x="7" y="0"/>
                    </a:lnTo>
                    <a:lnTo>
                      <a:pt x="4" y="0"/>
                    </a:lnTo>
                    <a:lnTo>
                      <a:pt x="2" y="4"/>
                    </a:lnTo>
                    <a:lnTo>
                      <a:pt x="2" y="6"/>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8" name="Freeform 64">
                <a:extLst>
                  <a:ext uri="{FF2B5EF4-FFF2-40B4-BE49-F238E27FC236}">
                    <a16:creationId xmlns:a16="http://schemas.microsoft.com/office/drawing/2014/main" id="{8E380526-3F9A-4776-9823-97AB252C2678}"/>
                  </a:ext>
                </a:extLst>
              </p:cNvPr>
              <p:cNvSpPr>
                <a:spLocks/>
              </p:cNvSpPr>
              <p:nvPr/>
            </p:nvSpPr>
            <p:spPr bwMode="auto">
              <a:xfrm>
                <a:off x="2801" y="2059"/>
                <a:ext cx="39" cy="15"/>
              </a:xfrm>
              <a:custGeom>
                <a:avLst/>
                <a:gdLst>
                  <a:gd name="T0" fmla="*/ 35 w 39"/>
                  <a:gd name="T1" fmla="*/ 10 h 15"/>
                  <a:gd name="T2" fmla="*/ 33 w 39"/>
                  <a:gd name="T3" fmla="*/ 9 h 15"/>
                  <a:gd name="T4" fmla="*/ 27 w 39"/>
                  <a:gd name="T5" fmla="*/ 6 h 15"/>
                  <a:gd name="T6" fmla="*/ 19 w 39"/>
                  <a:gd name="T7" fmla="*/ 2 h 15"/>
                  <a:gd name="T8" fmla="*/ 16 w 39"/>
                  <a:gd name="T9" fmla="*/ 2 h 15"/>
                  <a:gd name="T10" fmla="*/ 14 w 39"/>
                  <a:gd name="T11" fmla="*/ 1 h 15"/>
                  <a:gd name="T12" fmla="*/ 9 w 39"/>
                  <a:gd name="T13" fmla="*/ 1 h 15"/>
                  <a:gd name="T14" fmla="*/ 6 w 39"/>
                  <a:gd name="T15" fmla="*/ 0 h 15"/>
                  <a:gd name="T16" fmla="*/ 0 w 39"/>
                  <a:gd name="T17" fmla="*/ 1 h 15"/>
                  <a:gd name="T18" fmla="*/ 3 w 39"/>
                  <a:gd name="T19" fmla="*/ 2 h 15"/>
                  <a:gd name="T20" fmla="*/ 9 w 39"/>
                  <a:gd name="T21" fmla="*/ 4 h 15"/>
                  <a:gd name="T22" fmla="*/ 11 w 39"/>
                  <a:gd name="T23" fmla="*/ 7 h 15"/>
                  <a:gd name="T24" fmla="*/ 13 w 39"/>
                  <a:gd name="T25" fmla="*/ 9 h 15"/>
                  <a:gd name="T26" fmla="*/ 16 w 39"/>
                  <a:gd name="T27" fmla="*/ 10 h 15"/>
                  <a:gd name="T28" fmla="*/ 24 w 39"/>
                  <a:gd name="T29" fmla="*/ 13 h 15"/>
                  <a:gd name="T30" fmla="*/ 32 w 39"/>
                  <a:gd name="T31" fmla="*/ 15 h 15"/>
                  <a:gd name="T32" fmla="*/ 37 w 39"/>
                  <a:gd name="T33" fmla="*/ 15 h 15"/>
                  <a:gd name="T34" fmla="*/ 39 w 39"/>
                  <a:gd name="T35" fmla="*/ 12 h 15"/>
                  <a:gd name="T36" fmla="*/ 35 w 39"/>
                  <a:gd name="T3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5">
                    <a:moveTo>
                      <a:pt x="35" y="10"/>
                    </a:moveTo>
                    <a:lnTo>
                      <a:pt x="33" y="9"/>
                    </a:lnTo>
                    <a:lnTo>
                      <a:pt x="27" y="6"/>
                    </a:lnTo>
                    <a:lnTo>
                      <a:pt x="19" y="2"/>
                    </a:lnTo>
                    <a:lnTo>
                      <a:pt x="16" y="2"/>
                    </a:lnTo>
                    <a:lnTo>
                      <a:pt x="14" y="1"/>
                    </a:lnTo>
                    <a:lnTo>
                      <a:pt x="9" y="1"/>
                    </a:lnTo>
                    <a:lnTo>
                      <a:pt x="6" y="0"/>
                    </a:lnTo>
                    <a:lnTo>
                      <a:pt x="0" y="1"/>
                    </a:lnTo>
                    <a:lnTo>
                      <a:pt x="3" y="2"/>
                    </a:lnTo>
                    <a:lnTo>
                      <a:pt x="9" y="4"/>
                    </a:lnTo>
                    <a:lnTo>
                      <a:pt x="11" y="7"/>
                    </a:lnTo>
                    <a:lnTo>
                      <a:pt x="13" y="9"/>
                    </a:lnTo>
                    <a:lnTo>
                      <a:pt x="16" y="10"/>
                    </a:lnTo>
                    <a:lnTo>
                      <a:pt x="24" y="13"/>
                    </a:lnTo>
                    <a:lnTo>
                      <a:pt x="32" y="15"/>
                    </a:lnTo>
                    <a:lnTo>
                      <a:pt x="37" y="15"/>
                    </a:lnTo>
                    <a:lnTo>
                      <a:pt x="39" y="12"/>
                    </a:lnTo>
                    <a:lnTo>
                      <a:pt x="3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9" name="Freeform 65">
                <a:extLst>
                  <a:ext uri="{FF2B5EF4-FFF2-40B4-BE49-F238E27FC236}">
                    <a16:creationId xmlns:a16="http://schemas.microsoft.com/office/drawing/2014/main" id="{FA4EC948-76CD-40D8-9E15-F1256DAF2967}"/>
                  </a:ext>
                </a:extLst>
              </p:cNvPr>
              <p:cNvSpPr>
                <a:spLocks/>
              </p:cNvSpPr>
              <p:nvPr/>
            </p:nvSpPr>
            <p:spPr bwMode="auto">
              <a:xfrm>
                <a:off x="3022" y="1274"/>
                <a:ext cx="11" cy="4"/>
              </a:xfrm>
              <a:custGeom>
                <a:avLst/>
                <a:gdLst>
                  <a:gd name="T0" fmla="*/ 1 w 11"/>
                  <a:gd name="T1" fmla="*/ 4 h 4"/>
                  <a:gd name="T2" fmla="*/ 8 w 11"/>
                  <a:gd name="T3" fmla="*/ 4 h 4"/>
                  <a:gd name="T4" fmla="*/ 11 w 11"/>
                  <a:gd name="T5" fmla="*/ 2 h 4"/>
                  <a:gd name="T6" fmla="*/ 9 w 11"/>
                  <a:gd name="T7" fmla="*/ 1 h 4"/>
                  <a:gd name="T8" fmla="*/ 2 w 11"/>
                  <a:gd name="T9" fmla="*/ 0 h 4"/>
                  <a:gd name="T10" fmla="*/ 0 w 11"/>
                  <a:gd name="T11" fmla="*/ 1 h 4"/>
                  <a:gd name="T12" fmla="*/ 1 w 11"/>
                  <a:gd name="T13" fmla="*/ 4 h 4"/>
                  <a:gd name="T14" fmla="*/ 1 w 1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1" y="4"/>
                    </a:moveTo>
                    <a:lnTo>
                      <a:pt x="8" y="4"/>
                    </a:lnTo>
                    <a:lnTo>
                      <a:pt x="11" y="2"/>
                    </a:lnTo>
                    <a:lnTo>
                      <a:pt x="9" y="1"/>
                    </a:lnTo>
                    <a:lnTo>
                      <a:pt x="2"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0" name="Freeform 66">
                <a:extLst>
                  <a:ext uri="{FF2B5EF4-FFF2-40B4-BE49-F238E27FC236}">
                    <a16:creationId xmlns:a16="http://schemas.microsoft.com/office/drawing/2014/main" id="{A2214696-7645-457F-B97A-5771083B789B}"/>
                  </a:ext>
                </a:extLst>
              </p:cNvPr>
              <p:cNvSpPr>
                <a:spLocks/>
              </p:cNvSpPr>
              <p:nvPr/>
            </p:nvSpPr>
            <p:spPr bwMode="auto">
              <a:xfrm>
                <a:off x="3032" y="1281"/>
                <a:ext cx="43" cy="21"/>
              </a:xfrm>
              <a:custGeom>
                <a:avLst/>
                <a:gdLst>
                  <a:gd name="T0" fmla="*/ 6 w 43"/>
                  <a:gd name="T1" fmla="*/ 6 h 21"/>
                  <a:gd name="T2" fmla="*/ 11 w 43"/>
                  <a:gd name="T3" fmla="*/ 11 h 21"/>
                  <a:gd name="T4" fmla="*/ 28 w 43"/>
                  <a:gd name="T5" fmla="*/ 16 h 21"/>
                  <a:gd name="T6" fmla="*/ 31 w 43"/>
                  <a:gd name="T7" fmla="*/ 17 h 21"/>
                  <a:gd name="T8" fmla="*/ 34 w 43"/>
                  <a:gd name="T9" fmla="*/ 20 h 21"/>
                  <a:gd name="T10" fmla="*/ 36 w 43"/>
                  <a:gd name="T11" fmla="*/ 21 h 21"/>
                  <a:gd name="T12" fmla="*/ 39 w 43"/>
                  <a:gd name="T13" fmla="*/ 20 h 21"/>
                  <a:gd name="T14" fmla="*/ 36 w 43"/>
                  <a:gd name="T15" fmla="*/ 15 h 21"/>
                  <a:gd name="T16" fmla="*/ 39 w 43"/>
                  <a:gd name="T17" fmla="*/ 13 h 21"/>
                  <a:gd name="T18" fmla="*/ 42 w 43"/>
                  <a:gd name="T19" fmla="*/ 12 h 21"/>
                  <a:gd name="T20" fmla="*/ 43 w 43"/>
                  <a:gd name="T21" fmla="*/ 9 h 21"/>
                  <a:gd name="T22" fmla="*/ 41 w 43"/>
                  <a:gd name="T23" fmla="*/ 8 h 21"/>
                  <a:gd name="T24" fmla="*/ 38 w 43"/>
                  <a:gd name="T25" fmla="*/ 7 h 21"/>
                  <a:gd name="T26" fmla="*/ 35 w 43"/>
                  <a:gd name="T27" fmla="*/ 6 h 21"/>
                  <a:gd name="T28" fmla="*/ 24 w 43"/>
                  <a:gd name="T29" fmla="*/ 2 h 21"/>
                  <a:gd name="T30" fmla="*/ 18 w 43"/>
                  <a:gd name="T31" fmla="*/ 0 h 21"/>
                  <a:gd name="T32" fmla="*/ 13 w 43"/>
                  <a:gd name="T33" fmla="*/ 0 h 21"/>
                  <a:gd name="T34" fmla="*/ 9 w 43"/>
                  <a:gd name="T35" fmla="*/ 1 h 21"/>
                  <a:gd name="T36" fmla="*/ 0 w 43"/>
                  <a:gd name="T37" fmla="*/ 1 h 21"/>
                  <a:gd name="T38" fmla="*/ 6 w 43"/>
                  <a:gd name="T39" fmla="*/ 6 h 21"/>
                  <a:gd name="T40" fmla="*/ 6 w 43"/>
                  <a:gd name="T4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21">
                    <a:moveTo>
                      <a:pt x="6" y="6"/>
                    </a:moveTo>
                    <a:lnTo>
                      <a:pt x="11" y="11"/>
                    </a:lnTo>
                    <a:lnTo>
                      <a:pt x="28" y="16"/>
                    </a:lnTo>
                    <a:lnTo>
                      <a:pt x="31" y="17"/>
                    </a:lnTo>
                    <a:lnTo>
                      <a:pt x="34" y="20"/>
                    </a:lnTo>
                    <a:lnTo>
                      <a:pt x="36" y="21"/>
                    </a:lnTo>
                    <a:lnTo>
                      <a:pt x="39" y="20"/>
                    </a:lnTo>
                    <a:lnTo>
                      <a:pt x="36" y="15"/>
                    </a:lnTo>
                    <a:lnTo>
                      <a:pt x="39" y="13"/>
                    </a:lnTo>
                    <a:lnTo>
                      <a:pt x="42" y="12"/>
                    </a:lnTo>
                    <a:lnTo>
                      <a:pt x="43" y="9"/>
                    </a:lnTo>
                    <a:lnTo>
                      <a:pt x="41" y="8"/>
                    </a:lnTo>
                    <a:lnTo>
                      <a:pt x="38" y="7"/>
                    </a:lnTo>
                    <a:lnTo>
                      <a:pt x="35" y="6"/>
                    </a:lnTo>
                    <a:lnTo>
                      <a:pt x="24" y="2"/>
                    </a:lnTo>
                    <a:lnTo>
                      <a:pt x="18" y="0"/>
                    </a:lnTo>
                    <a:lnTo>
                      <a:pt x="13" y="0"/>
                    </a:lnTo>
                    <a:lnTo>
                      <a:pt x="9" y="1"/>
                    </a:lnTo>
                    <a:lnTo>
                      <a:pt x="0" y="1"/>
                    </a:lnTo>
                    <a:lnTo>
                      <a:pt x="6"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1" name="Freeform 67">
                <a:extLst>
                  <a:ext uri="{FF2B5EF4-FFF2-40B4-BE49-F238E27FC236}">
                    <a16:creationId xmlns:a16="http://schemas.microsoft.com/office/drawing/2014/main" id="{085472D6-B955-4D4C-ADE0-869CBCE074B2}"/>
                  </a:ext>
                </a:extLst>
              </p:cNvPr>
              <p:cNvSpPr>
                <a:spLocks/>
              </p:cNvSpPr>
              <p:nvPr/>
            </p:nvSpPr>
            <p:spPr bwMode="auto">
              <a:xfrm>
                <a:off x="3118" y="1264"/>
                <a:ext cx="21" cy="7"/>
              </a:xfrm>
              <a:custGeom>
                <a:avLst/>
                <a:gdLst>
                  <a:gd name="T0" fmla="*/ 21 w 21"/>
                  <a:gd name="T1" fmla="*/ 7 h 7"/>
                  <a:gd name="T2" fmla="*/ 19 w 21"/>
                  <a:gd name="T3" fmla="*/ 6 h 7"/>
                  <a:gd name="T4" fmla="*/ 16 w 21"/>
                  <a:gd name="T5" fmla="*/ 4 h 7"/>
                  <a:gd name="T6" fmla="*/ 13 w 21"/>
                  <a:gd name="T7" fmla="*/ 3 h 7"/>
                  <a:gd name="T8" fmla="*/ 9 w 21"/>
                  <a:gd name="T9" fmla="*/ 2 h 7"/>
                  <a:gd name="T10" fmla="*/ 7 w 21"/>
                  <a:gd name="T11" fmla="*/ 0 h 7"/>
                  <a:gd name="T12" fmla="*/ 4 w 21"/>
                  <a:gd name="T13" fmla="*/ 0 h 7"/>
                  <a:gd name="T14" fmla="*/ 0 w 21"/>
                  <a:gd name="T15" fmla="*/ 1 h 7"/>
                  <a:gd name="T16" fmla="*/ 12 w 21"/>
                  <a:gd name="T17" fmla="*/ 7 h 7"/>
                  <a:gd name="T18" fmla="*/ 21 w 21"/>
                  <a:gd name="T19" fmla="*/ 7 h 7"/>
                  <a:gd name="T20" fmla="*/ 21 w 21"/>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7">
                    <a:moveTo>
                      <a:pt x="21" y="7"/>
                    </a:moveTo>
                    <a:lnTo>
                      <a:pt x="19" y="6"/>
                    </a:lnTo>
                    <a:lnTo>
                      <a:pt x="16" y="4"/>
                    </a:lnTo>
                    <a:lnTo>
                      <a:pt x="13" y="3"/>
                    </a:lnTo>
                    <a:lnTo>
                      <a:pt x="9" y="2"/>
                    </a:lnTo>
                    <a:lnTo>
                      <a:pt x="7" y="0"/>
                    </a:lnTo>
                    <a:lnTo>
                      <a:pt x="4" y="0"/>
                    </a:lnTo>
                    <a:lnTo>
                      <a:pt x="0" y="1"/>
                    </a:lnTo>
                    <a:lnTo>
                      <a:pt x="12" y="7"/>
                    </a:lnTo>
                    <a:lnTo>
                      <a:pt x="21" y="7"/>
                    </a:lnTo>
                    <a:lnTo>
                      <a:pt x="2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2" name="Freeform 68">
                <a:extLst>
                  <a:ext uri="{FF2B5EF4-FFF2-40B4-BE49-F238E27FC236}">
                    <a16:creationId xmlns:a16="http://schemas.microsoft.com/office/drawing/2014/main" id="{9BE2309F-5AF2-4E5A-9513-BFCD9685A5D5}"/>
                  </a:ext>
                </a:extLst>
              </p:cNvPr>
              <p:cNvSpPr>
                <a:spLocks/>
              </p:cNvSpPr>
              <p:nvPr/>
            </p:nvSpPr>
            <p:spPr bwMode="auto">
              <a:xfrm>
                <a:off x="3128" y="1258"/>
                <a:ext cx="26" cy="8"/>
              </a:xfrm>
              <a:custGeom>
                <a:avLst/>
                <a:gdLst>
                  <a:gd name="T0" fmla="*/ 23 w 26"/>
                  <a:gd name="T1" fmla="*/ 8 h 8"/>
                  <a:gd name="T2" fmla="*/ 24 w 26"/>
                  <a:gd name="T3" fmla="*/ 8 h 8"/>
                  <a:gd name="T4" fmla="*/ 26 w 26"/>
                  <a:gd name="T5" fmla="*/ 8 h 8"/>
                  <a:gd name="T6" fmla="*/ 24 w 26"/>
                  <a:gd name="T7" fmla="*/ 6 h 8"/>
                  <a:gd name="T8" fmla="*/ 17 w 26"/>
                  <a:gd name="T9" fmla="*/ 5 h 8"/>
                  <a:gd name="T10" fmla="*/ 15 w 26"/>
                  <a:gd name="T11" fmla="*/ 5 h 8"/>
                  <a:gd name="T12" fmla="*/ 12 w 26"/>
                  <a:gd name="T13" fmla="*/ 3 h 8"/>
                  <a:gd name="T14" fmla="*/ 3 w 26"/>
                  <a:gd name="T15" fmla="*/ 0 h 8"/>
                  <a:gd name="T16" fmla="*/ 0 w 26"/>
                  <a:gd name="T17" fmla="*/ 4 h 8"/>
                  <a:gd name="T18" fmla="*/ 8 w 26"/>
                  <a:gd name="T19" fmla="*/ 4 h 8"/>
                  <a:gd name="T20" fmla="*/ 12 w 26"/>
                  <a:gd name="T21" fmla="*/ 6 h 8"/>
                  <a:gd name="T22" fmla="*/ 15 w 26"/>
                  <a:gd name="T23" fmla="*/ 7 h 8"/>
                  <a:gd name="T24" fmla="*/ 23 w 26"/>
                  <a:gd name="T25" fmla="*/ 8 h 8"/>
                  <a:gd name="T26" fmla="*/ 23 w 2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8">
                    <a:moveTo>
                      <a:pt x="23" y="8"/>
                    </a:moveTo>
                    <a:lnTo>
                      <a:pt x="24" y="8"/>
                    </a:lnTo>
                    <a:lnTo>
                      <a:pt x="26" y="8"/>
                    </a:lnTo>
                    <a:lnTo>
                      <a:pt x="24" y="6"/>
                    </a:lnTo>
                    <a:lnTo>
                      <a:pt x="17" y="5"/>
                    </a:lnTo>
                    <a:lnTo>
                      <a:pt x="15" y="5"/>
                    </a:lnTo>
                    <a:lnTo>
                      <a:pt x="12" y="3"/>
                    </a:lnTo>
                    <a:lnTo>
                      <a:pt x="3" y="0"/>
                    </a:lnTo>
                    <a:lnTo>
                      <a:pt x="0" y="4"/>
                    </a:lnTo>
                    <a:lnTo>
                      <a:pt x="8" y="4"/>
                    </a:lnTo>
                    <a:lnTo>
                      <a:pt x="12" y="6"/>
                    </a:lnTo>
                    <a:lnTo>
                      <a:pt x="15" y="7"/>
                    </a:lnTo>
                    <a:lnTo>
                      <a:pt x="23" y="8"/>
                    </a:lnTo>
                    <a:lnTo>
                      <a:pt x="2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3" name="Freeform 69">
                <a:extLst>
                  <a:ext uri="{FF2B5EF4-FFF2-40B4-BE49-F238E27FC236}">
                    <a16:creationId xmlns:a16="http://schemas.microsoft.com/office/drawing/2014/main" id="{52DE0D83-8AC6-4EF8-9F77-DF012902F0A9}"/>
                  </a:ext>
                </a:extLst>
              </p:cNvPr>
              <p:cNvSpPr>
                <a:spLocks/>
              </p:cNvSpPr>
              <p:nvPr/>
            </p:nvSpPr>
            <p:spPr bwMode="auto">
              <a:xfrm>
                <a:off x="3131" y="1264"/>
                <a:ext cx="16" cy="7"/>
              </a:xfrm>
              <a:custGeom>
                <a:avLst/>
                <a:gdLst>
                  <a:gd name="T0" fmla="*/ 11 w 16"/>
                  <a:gd name="T1" fmla="*/ 7 h 7"/>
                  <a:gd name="T2" fmla="*/ 13 w 16"/>
                  <a:gd name="T3" fmla="*/ 6 h 7"/>
                  <a:gd name="T4" fmla="*/ 16 w 16"/>
                  <a:gd name="T5" fmla="*/ 3 h 7"/>
                  <a:gd name="T6" fmla="*/ 9 w 16"/>
                  <a:gd name="T7" fmla="*/ 2 h 7"/>
                  <a:gd name="T8" fmla="*/ 6 w 16"/>
                  <a:gd name="T9" fmla="*/ 1 h 7"/>
                  <a:gd name="T10" fmla="*/ 3 w 16"/>
                  <a:gd name="T11" fmla="*/ 0 h 7"/>
                  <a:gd name="T12" fmla="*/ 0 w 16"/>
                  <a:gd name="T13" fmla="*/ 2 h 7"/>
                  <a:gd name="T14" fmla="*/ 3 w 16"/>
                  <a:gd name="T15" fmla="*/ 3 h 7"/>
                  <a:gd name="T16" fmla="*/ 5 w 16"/>
                  <a:gd name="T17" fmla="*/ 3 h 7"/>
                  <a:gd name="T18" fmla="*/ 9 w 16"/>
                  <a:gd name="T19" fmla="*/ 6 h 7"/>
                  <a:gd name="T20" fmla="*/ 11 w 16"/>
                  <a:gd name="T21" fmla="*/ 7 h 7"/>
                  <a:gd name="T22" fmla="*/ 11 w 16"/>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7">
                    <a:moveTo>
                      <a:pt x="11" y="7"/>
                    </a:moveTo>
                    <a:lnTo>
                      <a:pt x="13" y="6"/>
                    </a:lnTo>
                    <a:lnTo>
                      <a:pt x="16" y="3"/>
                    </a:lnTo>
                    <a:lnTo>
                      <a:pt x="9" y="2"/>
                    </a:lnTo>
                    <a:lnTo>
                      <a:pt x="6" y="1"/>
                    </a:lnTo>
                    <a:lnTo>
                      <a:pt x="3" y="0"/>
                    </a:lnTo>
                    <a:lnTo>
                      <a:pt x="0" y="2"/>
                    </a:lnTo>
                    <a:lnTo>
                      <a:pt x="3" y="3"/>
                    </a:lnTo>
                    <a:lnTo>
                      <a:pt x="5" y="3"/>
                    </a:lnTo>
                    <a:lnTo>
                      <a:pt x="9" y="6"/>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4" name="Freeform 70">
                <a:extLst>
                  <a:ext uri="{FF2B5EF4-FFF2-40B4-BE49-F238E27FC236}">
                    <a16:creationId xmlns:a16="http://schemas.microsoft.com/office/drawing/2014/main" id="{288B03A0-BD4B-49AE-852E-E2AC3582635F}"/>
                  </a:ext>
                </a:extLst>
              </p:cNvPr>
              <p:cNvSpPr>
                <a:spLocks/>
              </p:cNvSpPr>
              <p:nvPr/>
            </p:nvSpPr>
            <p:spPr bwMode="auto">
              <a:xfrm>
                <a:off x="2965" y="1297"/>
                <a:ext cx="18" cy="8"/>
              </a:xfrm>
              <a:custGeom>
                <a:avLst/>
                <a:gdLst>
                  <a:gd name="T0" fmla="*/ 0 w 18"/>
                  <a:gd name="T1" fmla="*/ 5 h 8"/>
                  <a:gd name="T2" fmla="*/ 0 w 18"/>
                  <a:gd name="T3" fmla="*/ 0 h 8"/>
                  <a:gd name="T4" fmla="*/ 3 w 18"/>
                  <a:gd name="T5" fmla="*/ 1 h 8"/>
                  <a:gd name="T6" fmla="*/ 6 w 18"/>
                  <a:gd name="T7" fmla="*/ 1 h 8"/>
                  <a:gd name="T8" fmla="*/ 9 w 18"/>
                  <a:gd name="T9" fmla="*/ 2 h 8"/>
                  <a:gd name="T10" fmla="*/ 17 w 18"/>
                  <a:gd name="T11" fmla="*/ 7 h 8"/>
                  <a:gd name="T12" fmla="*/ 18 w 18"/>
                  <a:gd name="T13" fmla="*/ 8 h 8"/>
                  <a:gd name="T14" fmla="*/ 13 w 18"/>
                  <a:gd name="T15" fmla="*/ 8 h 8"/>
                  <a:gd name="T16" fmla="*/ 9 w 18"/>
                  <a:gd name="T17" fmla="*/ 8 h 8"/>
                  <a:gd name="T18" fmla="*/ 0 w 18"/>
                  <a:gd name="T19" fmla="*/ 5 h 8"/>
                  <a:gd name="T20" fmla="*/ 0 w 18"/>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8">
                    <a:moveTo>
                      <a:pt x="0" y="5"/>
                    </a:moveTo>
                    <a:lnTo>
                      <a:pt x="0" y="0"/>
                    </a:lnTo>
                    <a:lnTo>
                      <a:pt x="3" y="1"/>
                    </a:lnTo>
                    <a:lnTo>
                      <a:pt x="6" y="1"/>
                    </a:lnTo>
                    <a:lnTo>
                      <a:pt x="9" y="2"/>
                    </a:lnTo>
                    <a:lnTo>
                      <a:pt x="17" y="7"/>
                    </a:lnTo>
                    <a:lnTo>
                      <a:pt x="18" y="8"/>
                    </a:lnTo>
                    <a:lnTo>
                      <a:pt x="13" y="8"/>
                    </a:lnTo>
                    <a:lnTo>
                      <a:pt x="9"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5" name="Freeform 71">
                <a:extLst>
                  <a:ext uri="{FF2B5EF4-FFF2-40B4-BE49-F238E27FC236}">
                    <a16:creationId xmlns:a16="http://schemas.microsoft.com/office/drawing/2014/main" id="{011ED35D-E51C-4D5E-82C0-B821E0AD9F1F}"/>
                  </a:ext>
                </a:extLst>
              </p:cNvPr>
              <p:cNvSpPr>
                <a:spLocks/>
              </p:cNvSpPr>
              <p:nvPr/>
            </p:nvSpPr>
            <p:spPr bwMode="auto">
              <a:xfrm>
                <a:off x="2954" y="1293"/>
                <a:ext cx="11" cy="9"/>
              </a:xfrm>
              <a:custGeom>
                <a:avLst/>
                <a:gdLst>
                  <a:gd name="T0" fmla="*/ 11 w 11"/>
                  <a:gd name="T1" fmla="*/ 9 h 9"/>
                  <a:gd name="T2" fmla="*/ 3 w 11"/>
                  <a:gd name="T3" fmla="*/ 7 h 9"/>
                  <a:gd name="T4" fmla="*/ 1 w 11"/>
                  <a:gd name="T5" fmla="*/ 5 h 9"/>
                  <a:gd name="T6" fmla="*/ 0 w 11"/>
                  <a:gd name="T7" fmla="*/ 3 h 9"/>
                  <a:gd name="T8" fmla="*/ 3 w 11"/>
                  <a:gd name="T9" fmla="*/ 0 h 9"/>
                  <a:gd name="T10" fmla="*/ 7 w 11"/>
                  <a:gd name="T11" fmla="*/ 0 h 9"/>
                  <a:gd name="T12" fmla="*/ 9 w 11"/>
                  <a:gd name="T13" fmla="*/ 0 h 9"/>
                  <a:gd name="T14" fmla="*/ 11 w 11"/>
                  <a:gd name="T15" fmla="*/ 4 h 9"/>
                  <a:gd name="T16" fmla="*/ 11 w 11"/>
                  <a:gd name="T17" fmla="*/ 4 h 9"/>
                  <a:gd name="T18" fmla="*/ 11 w 11"/>
                  <a:gd name="T19" fmla="*/ 9 h 9"/>
                  <a:gd name="T20" fmla="*/ 11 w 11"/>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
                    <a:moveTo>
                      <a:pt x="11" y="9"/>
                    </a:moveTo>
                    <a:lnTo>
                      <a:pt x="3" y="7"/>
                    </a:lnTo>
                    <a:lnTo>
                      <a:pt x="1" y="5"/>
                    </a:lnTo>
                    <a:lnTo>
                      <a:pt x="0" y="3"/>
                    </a:lnTo>
                    <a:lnTo>
                      <a:pt x="3" y="0"/>
                    </a:lnTo>
                    <a:lnTo>
                      <a:pt x="7" y="0"/>
                    </a:lnTo>
                    <a:lnTo>
                      <a:pt x="9" y="0"/>
                    </a:lnTo>
                    <a:lnTo>
                      <a:pt x="11" y="4"/>
                    </a:lnTo>
                    <a:lnTo>
                      <a:pt x="11" y="4"/>
                    </a:lnTo>
                    <a:lnTo>
                      <a:pt x="11" y="9"/>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6" name="Freeform 72">
                <a:extLst>
                  <a:ext uri="{FF2B5EF4-FFF2-40B4-BE49-F238E27FC236}">
                    <a16:creationId xmlns:a16="http://schemas.microsoft.com/office/drawing/2014/main" id="{76FD86AE-8D79-4E4B-B45D-D64704ECE7E9}"/>
                  </a:ext>
                </a:extLst>
              </p:cNvPr>
              <p:cNvSpPr>
                <a:spLocks/>
              </p:cNvSpPr>
              <p:nvPr/>
            </p:nvSpPr>
            <p:spPr bwMode="auto">
              <a:xfrm>
                <a:off x="3252" y="1297"/>
                <a:ext cx="15" cy="1"/>
              </a:xfrm>
              <a:custGeom>
                <a:avLst/>
                <a:gdLst>
                  <a:gd name="T0" fmla="*/ 12 w 15"/>
                  <a:gd name="T1" fmla="*/ 1 h 1"/>
                  <a:gd name="T2" fmla="*/ 15 w 15"/>
                  <a:gd name="T3" fmla="*/ 1 h 1"/>
                  <a:gd name="T4" fmla="*/ 6 w 15"/>
                  <a:gd name="T5" fmla="*/ 1 h 1"/>
                  <a:gd name="T6" fmla="*/ 0 w 15"/>
                  <a:gd name="T7" fmla="*/ 1 h 1"/>
                  <a:gd name="T8" fmla="*/ 9 w 15"/>
                  <a:gd name="T9" fmla="*/ 0 h 1"/>
                  <a:gd name="T10" fmla="*/ 12 w 15"/>
                  <a:gd name="T11" fmla="*/ 1 h 1"/>
                  <a:gd name="T12" fmla="*/ 12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2" y="1"/>
                    </a:moveTo>
                    <a:lnTo>
                      <a:pt x="15" y="1"/>
                    </a:lnTo>
                    <a:lnTo>
                      <a:pt x="6" y="1"/>
                    </a:lnTo>
                    <a:lnTo>
                      <a:pt x="0" y="1"/>
                    </a:lnTo>
                    <a:lnTo>
                      <a:pt x="9" y="0"/>
                    </a:lnTo>
                    <a:lnTo>
                      <a:pt x="12" y="1"/>
                    </a:lnTo>
                    <a:lnTo>
                      <a:pt x="1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7" name="Freeform 73">
                <a:extLst>
                  <a:ext uri="{FF2B5EF4-FFF2-40B4-BE49-F238E27FC236}">
                    <a16:creationId xmlns:a16="http://schemas.microsoft.com/office/drawing/2014/main" id="{6E36D2D7-CEE2-4400-90C5-28A1334107A1}"/>
                  </a:ext>
                </a:extLst>
              </p:cNvPr>
              <p:cNvSpPr>
                <a:spLocks/>
              </p:cNvSpPr>
              <p:nvPr/>
            </p:nvSpPr>
            <p:spPr bwMode="auto">
              <a:xfrm>
                <a:off x="3302" y="1617"/>
                <a:ext cx="36" cy="16"/>
              </a:xfrm>
              <a:custGeom>
                <a:avLst/>
                <a:gdLst>
                  <a:gd name="T0" fmla="*/ 31 w 36"/>
                  <a:gd name="T1" fmla="*/ 0 h 16"/>
                  <a:gd name="T2" fmla="*/ 28 w 36"/>
                  <a:gd name="T3" fmla="*/ 1 h 16"/>
                  <a:gd name="T4" fmla="*/ 25 w 36"/>
                  <a:gd name="T5" fmla="*/ 2 h 16"/>
                  <a:gd name="T6" fmla="*/ 22 w 36"/>
                  <a:gd name="T7" fmla="*/ 4 h 16"/>
                  <a:gd name="T8" fmla="*/ 20 w 36"/>
                  <a:gd name="T9" fmla="*/ 5 h 16"/>
                  <a:gd name="T10" fmla="*/ 12 w 36"/>
                  <a:gd name="T11" fmla="*/ 5 h 16"/>
                  <a:gd name="T12" fmla="*/ 9 w 36"/>
                  <a:gd name="T13" fmla="*/ 7 h 16"/>
                  <a:gd name="T14" fmla="*/ 7 w 36"/>
                  <a:gd name="T15" fmla="*/ 8 h 16"/>
                  <a:gd name="T16" fmla="*/ 3 w 36"/>
                  <a:gd name="T17" fmla="*/ 10 h 16"/>
                  <a:gd name="T18" fmla="*/ 1 w 36"/>
                  <a:gd name="T19" fmla="*/ 12 h 16"/>
                  <a:gd name="T20" fmla="*/ 0 w 36"/>
                  <a:gd name="T21" fmla="*/ 14 h 16"/>
                  <a:gd name="T22" fmla="*/ 2 w 36"/>
                  <a:gd name="T23" fmla="*/ 16 h 16"/>
                  <a:gd name="T24" fmla="*/ 11 w 36"/>
                  <a:gd name="T25" fmla="*/ 15 h 16"/>
                  <a:gd name="T26" fmla="*/ 13 w 36"/>
                  <a:gd name="T27" fmla="*/ 14 h 16"/>
                  <a:gd name="T28" fmla="*/ 19 w 36"/>
                  <a:gd name="T29" fmla="*/ 14 h 16"/>
                  <a:gd name="T30" fmla="*/ 21 w 36"/>
                  <a:gd name="T31" fmla="*/ 13 h 16"/>
                  <a:gd name="T32" fmla="*/ 25 w 36"/>
                  <a:gd name="T33" fmla="*/ 13 h 16"/>
                  <a:gd name="T34" fmla="*/ 27 w 36"/>
                  <a:gd name="T35" fmla="*/ 13 h 16"/>
                  <a:gd name="T36" fmla="*/ 29 w 36"/>
                  <a:gd name="T37" fmla="*/ 12 h 16"/>
                  <a:gd name="T38" fmla="*/ 35 w 36"/>
                  <a:gd name="T39" fmla="*/ 10 h 16"/>
                  <a:gd name="T40" fmla="*/ 36 w 36"/>
                  <a:gd name="T41" fmla="*/ 8 h 16"/>
                  <a:gd name="T42" fmla="*/ 35 w 36"/>
                  <a:gd name="T43" fmla="*/ 5 h 16"/>
                  <a:gd name="T44" fmla="*/ 33 w 36"/>
                  <a:gd name="T45" fmla="*/ 2 h 16"/>
                  <a:gd name="T46" fmla="*/ 31 w 36"/>
                  <a:gd name="T47" fmla="*/ 0 h 16"/>
                  <a:gd name="T48" fmla="*/ 31 w 36"/>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16">
                    <a:moveTo>
                      <a:pt x="31" y="0"/>
                    </a:moveTo>
                    <a:lnTo>
                      <a:pt x="28" y="1"/>
                    </a:lnTo>
                    <a:lnTo>
                      <a:pt x="25" y="2"/>
                    </a:lnTo>
                    <a:lnTo>
                      <a:pt x="22" y="4"/>
                    </a:lnTo>
                    <a:lnTo>
                      <a:pt x="20" y="5"/>
                    </a:lnTo>
                    <a:lnTo>
                      <a:pt x="12" y="5"/>
                    </a:lnTo>
                    <a:lnTo>
                      <a:pt x="9" y="7"/>
                    </a:lnTo>
                    <a:lnTo>
                      <a:pt x="7" y="8"/>
                    </a:lnTo>
                    <a:lnTo>
                      <a:pt x="3" y="10"/>
                    </a:lnTo>
                    <a:lnTo>
                      <a:pt x="1" y="12"/>
                    </a:lnTo>
                    <a:lnTo>
                      <a:pt x="0" y="14"/>
                    </a:lnTo>
                    <a:lnTo>
                      <a:pt x="2" y="16"/>
                    </a:lnTo>
                    <a:lnTo>
                      <a:pt x="11" y="15"/>
                    </a:lnTo>
                    <a:lnTo>
                      <a:pt x="13" y="14"/>
                    </a:lnTo>
                    <a:lnTo>
                      <a:pt x="19" y="14"/>
                    </a:lnTo>
                    <a:lnTo>
                      <a:pt x="21" y="13"/>
                    </a:lnTo>
                    <a:lnTo>
                      <a:pt x="25" y="13"/>
                    </a:lnTo>
                    <a:lnTo>
                      <a:pt x="27" y="13"/>
                    </a:lnTo>
                    <a:lnTo>
                      <a:pt x="29" y="12"/>
                    </a:lnTo>
                    <a:lnTo>
                      <a:pt x="35" y="10"/>
                    </a:lnTo>
                    <a:lnTo>
                      <a:pt x="36" y="8"/>
                    </a:lnTo>
                    <a:lnTo>
                      <a:pt x="35" y="5"/>
                    </a:lnTo>
                    <a:lnTo>
                      <a:pt x="33" y="2"/>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8" name="Freeform 74">
                <a:extLst>
                  <a:ext uri="{FF2B5EF4-FFF2-40B4-BE49-F238E27FC236}">
                    <a16:creationId xmlns:a16="http://schemas.microsoft.com/office/drawing/2014/main" id="{C7406DA9-2DF5-4E66-AB8F-FED2481AEA73}"/>
                  </a:ext>
                </a:extLst>
              </p:cNvPr>
              <p:cNvSpPr>
                <a:spLocks/>
              </p:cNvSpPr>
              <p:nvPr/>
            </p:nvSpPr>
            <p:spPr bwMode="auto">
              <a:xfrm>
                <a:off x="3305" y="1622"/>
                <a:ext cx="6" cy="3"/>
              </a:xfrm>
              <a:custGeom>
                <a:avLst/>
                <a:gdLst>
                  <a:gd name="T0" fmla="*/ 6 w 6"/>
                  <a:gd name="T1" fmla="*/ 0 h 3"/>
                  <a:gd name="T2" fmla="*/ 2 w 6"/>
                  <a:gd name="T3" fmla="*/ 0 h 3"/>
                  <a:gd name="T4" fmla="*/ 0 w 6"/>
                  <a:gd name="T5" fmla="*/ 1 h 3"/>
                  <a:gd name="T6" fmla="*/ 0 w 6"/>
                  <a:gd name="T7" fmla="*/ 3 h 3"/>
                  <a:gd name="T8" fmla="*/ 4 w 6"/>
                  <a:gd name="T9" fmla="*/ 2 h 3"/>
                  <a:gd name="T10" fmla="*/ 6 w 6"/>
                  <a:gd name="T11" fmla="*/ 0 h 3"/>
                  <a:gd name="T12" fmla="*/ 6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2" y="0"/>
                    </a:lnTo>
                    <a:lnTo>
                      <a:pt x="0" y="1"/>
                    </a:lnTo>
                    <a:lnTo>
                      <a:pt x="0" y="3"/>
                    </a:lnTo>
                    <a:lnTo>
                      <a:pt x="4" y="2"/>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9" name="Freeform 75">
                <a:extLst>
                  <a:ext uri="{FF2B5EF4-FFF2-40B4-BE49-F238E27FC236}">
                    <a16:creationId xmlns:a16="http://schemas.microsoft.com/office/drawing/2014/main" id="{D9F434CB-F1B9-4540-B230-ECF629F5B088}"/>
                  </a:ext>
                </a:extLst>
              </p:cNvPr>
              <p:cNvSpPr>
                <a:spLocks/>
              </p:cNvSpPr>
              <p:nvPr/>
            </p:nvSpPr>
            <p:spPr bwMode="auto">
              <a:xfrm>
                <a:off x="3324" y="1631"/>
                <a:ext cx="4" cy="1"/>
              </a:xfrm>
              <a:custGeom>
                <a:avLst/>
                <a:gdLst>
                  <a:gd name="T0" fmla="*/ 4 w 4"/>
                  <a:gd name="T1" fmla="*/ 0 h 1"/>
                  <a:gd name="T2" fmla="*/ 3 w 4"/>
                  <a:gd name="T3" fmla="*/ 0 h 1"/>
                  <a:gd name="T4" fmla="*/ 0 w 4"/>
                  <a:gd name="T5" fmla="*/ 1 h 1"/>
                  <a:gd name="T6" fmla="*/ 4 w 4"/>
                  <a:gd name="T7" fmla="*/ 0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lnTo>
                      <a:pt x="3" y="0"/>
                    </a:lnTo>
                    <a:lnTo>
                      <a:pt x="0"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0" name="Freeform 76">
                <a:extLst>
                  <a:ext uri="{FF2B5EF4-FFF2-40B4-BE49-F238E27FC236}">
                    <a16:creationId xmlns:a16="http://schemas.microsoft.com/office/drawing/2014/main" id="{5D0F453F-3B7D-4EB9-833E-1778DB4B62D2}"/>
                  </a:ext>
                </a:extLst>
              </p:cNvPr>
              <p:cNvSpPr>
                <a:spLocks/>
              </p:cNvSpPr>
              <p:nvPr/>
            </p:nvSpPr>
            <p:spPr bwMode="auto">
              <a:xfrm>
                <a:off x="3338" y="1571"/>
                <a:ext cx="7" cy="2"/>
              </a:xfrm>
              <a:custGeom>
                <a:avLst/>
                <a:gdLst>
                  <a:gd name="T0" fmla="*/ 7 w 7"/>
                  <a:gd name="T1" fmla="*/ 0 h 2"/>
                  <a:gd name="T2" fmla="*/ 6 w 7"/>
                  <a:gd name="T3" fmla="*/ 0 h 2"/>
                  <a:gd name="T4" fmla="*/ 3 w 7"/>
                  <a:gd name="T5" fmla="*/ 0 h 2"/>
                  <a:gd name="T6" fmla="*/ 0 w 7"/>
                  <a:gd name="T7" fmla="*/ 1 h 2"/>
                  <a:gd name="T8" fmla="*/ 6 w 7"/>
                  <a:gd name="T9" fmla="*/ 2 h 2"/>
                  <a:gd name="T10" fmla="*/ 7 w 7"/>
                  <a:gd name="T11" fmla="*/ 0 h 2"/>
                  <a:gd name="T12" fmla="*/ 7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7" y="0"/>
                    </a:moveTo>
                    <a:lnTo>
                      <a:pt x="6" y="0"/>
                    </a:lnTo>
                    <a:lnTo>
                      <a:pt x="3" y="0"/>
                    </a:lnTo>
                    <a:lnTo>
                      <a:pt x="0" y="1"/>
                    </a:lnTo>
                    <a:lnTo>
                      <a:pt x="6" y="2"/>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1" name="Freeform 77">
                <a:extLst>
                  <a:ext uri="{FF2B5EF4-FFF2-40B4-BE49-F238E27FC236}">
                    <a16:creationId xmlns:a16="http://schemas.microsoft.com/office/drawing/2014/main" id="{1A725826-40EB-4379-84CC-2F2A3B015247}"/>
                  </a:ext>
                </a:extLst>
              </p:cNvPr>
              <p:cNvSpPr>
                <a:spLocks/>
              </p:cNvSpPr>
              <p:nvPr/>
            </p:nvSpPr>
            <p:spPr bwMode="auto">
              <a:xfrm>
                <a:off x="3340" y="1557"/>
                <a:ext cx="24" cy="5"/>
              </a:xfrm>
              <a:custGeom>
                <a:avLst/>
                <a:gdLst>
                  <a:gd name="T0" fmla="*/ 2 w 24"/>
                  <a:gd name="T1" fmla="*/ 2 h 5"/>
                  <a:gd name="T2" fmla="*/ 13 w 24"/>
                  <a:gd name="T3" fmla="*/ 4 h 5"/>
                  <a:gd name="T4" fmla="*/ 18 w 24"/>
                  <a:gd name="T5" fmla="*/ 5 h 5"/>
                  <a:gd name="T6" fmla="*/ 22 w 24"/>
                  <a:gd name="T7" fmla="*/ 5 h 5"/>
                  <a:gd name="T8" fmla="*/ 24 w 24"/>
                  <a:gd name="T9" fmla="*/ 4 h 5"/>
                  <a:gd name="T10" fmla="*/ 18 w 24"/>
                  <a:gd name="T11" fmla="*/ 1 h 5"/>
                  <a:gd name="T12" fmla="*/ 10 w 24"/>
                  <a:gd name="T13" fmla="*/ 0 h 5"/>
                  <a:gd name="T14" fmla="*/ 2 w 24"/>
                  <a:gd name="T15" fmla="*/ 0 h 5"/>
                  <a:gd name="T16" fmla="*/ 0 w 24"/>
                  <a:gd name="T17" fmla="*/ 2 h 5"/>
                  <a:gd name="T18" fmla="*/ 2 w 24"/>
                  <a:gd name="T19" fmla="*/ 2 h 5"/>
                  <a:gd name="T20" fmla="*/ 2 w 24"/>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5">
                    <a:moveTo>
                      <a:pt x="2" y="2"/>
                    </a:moveTo>
                    <a:lnTo>
                      <a:pt x="13" y="4"/>
                    </a:lnTo>
                    <a:lnTo>
                      <a:pt x="18" y="5"/>
                    </a:lnTo>
                    <a:lnTo>
                      <a:pt x="22" y="5"/>
                    </a:lnTo>
                    <a:lnTo>
                      <a:pt x="24" y="4"/>
                    </a:lnTo>
                    <a:lnTo>
                      <a:pt x="18" y="1"/>
                    </a:lnTo>
                    <a:lnTo>
                      <a:pt x="10" y="0"/>
                    </a:lnTo>
                    <a:lnTo>
                      <a:pt x="2" y="0"/>
                    </a:lnTo>
                    <a:lnTo>
                      <a:pt x="0"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2" name="Freeform 78">
                <a:extLst>
                  <a:ext uri="{FF2B5EF4-FFF2-40B4-BE49-F238E27FC236}">
                    <a16:creationId xmlns:a16="http://schemas.microsoft.com/office/drawing/2014/main" id="{B7912520-033D-425C-B561-0C6D87BF7CF6}"/>
                  </a:ext>
                </a:extLst>
              </p:cNvPr>
              <p:cNvSpPr>
                <a:spLocks/>
              </p:cNvSpPr>
              <p:nvPr/>
            </p:nvSpPr>
            <p:spPr bwMode="auto">
              <a:xfrm>
                <a:off x="3350" y="1566"/>
                <a:ext cx="34" cy="9"/>
              </a:xfrm>
              <a:custGeom>
                <a:avLst/>
                <a:gdLst>
                  <a:gd name="T0" fmla="*/ 34 w 34"/>
                  <a:gd name="T1" fmla="*/ 4 h 9"/>
                  <a:gd name="T2" fmla="*/ 28 w 34"/>
                  <a:gd name="T3" fmla="*/ 1 h 9"/>
                  <a:gd name="T4" fmla="*/ 22 w 34"/>
                  <a:gd name="T5" fmla="*/ 1 h 9"/>
                  <a:gd name="T6" fmla="*/ 20 w 34"/>
                  <a:gd name="T7" fmla="*/ 1 h 9"/>
                  <a:gd name="T8" fmla="*/ 16 w 34"/>
                  <a:gd name="T9" fmla="*/ 0 h 9"/>
                  <a:gd name="T10" fmla="*/ 11 w 34"/>
                  <a:gd name="T11" fmla="*/ 1 h 9"/>
                  <a:gd name="T12" fmla="*/ 3 w 34"/>
                  <a:gd name="T13" fmla="*/ 1 h 9"/>
                  <a:gd name="T14" fmla="*/ 0 w 34"/>
                  <a:gd name="T15" fmla="*/ 5 h 9"/>
                  <a:gd name="T16" fmla="*/ 6 w 34"/>
                  <a:gd name="T17" fmla="*/ 4 h 9"/>
                  <a:gd name="T18" fmla="*/ 12 w 34"/>
                  <a:gd name="T19" fmla="*/ 5 h 9"/>
                  <a:gd name="T20" fmla="*/ 20 w 34"/>
                  <a:gd name="T21" fmla="*/ 6 h 9"/>
                  <a:gd name="T22" fmla="*/ 22 w 34"/>
                  <a:gd name="T23" fmla="*/ 7 h 9"/>
                  <a:gd name="T24" fmla="*/ 24 w 34"/>
                  <a:gd name="T25" fmla="*/ 9 h 9"/>
                  <a:gd name="T26" fmla="*/ 29 w 34"/>
                  <a:gd name="T27" fmla="*/ 9 h 9"/>
                  <a:gd name="T28" fmla="*/ 34 w 34"/>
                  <a:gd name="T29" fmla="*/ 9 h 9"/>
                  <a:gd name="T30" fmla="*/ 32 w 34"/>
                  <a:gd name="T31" fmla="*/ 6 h 9"/>
                  <a:gd name="T32" fmla="*/ 34 w 34"/>
                  <a:gd name="T33" fmla="*/ 4 h 9"/>
                  <a:gd name="T34" fmla="*/ 34 w 34"/>
                  <a:gd name="T3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
                    <a:moveTo>
                      <a:pt x="34" y="4"/>
                    </a:moveTo>
                    <a:lnTo>
                      <a:pt x="28" y="1"/>
                    </a:lnTo>
                    <a:lnTo>
                      <a:pt x="22" y="1"/>
                    </a:lnTo>
                    <a:lnTo>
                      <a:pt x="20" y="1"/>
                    </a:lnTo>
                    <a:lnTo>
                      <a:pt x="16" y="0"/>
                    </a:lnTo>
                    <a:lnTo>
                      <a:pt x="11" y="1"/>
                    </a:lnTo>
                    <a:lnTo>
                      <a:pt x="3" y="1"/>
                    </a:lnTo>
                    <a:lnTo>
                      <a:pt x="0" y="5"/>
                    </a:lnTo>
                    <a:lnTo>
                      <a:pt x="6" y="4"/>
                    </a:lnTo>
                    <a:lnTo>
                      <a:pt x="12" y="5"/>
                    </a:lnTo>
                    <a:lnTo>
                      <a:pt x="20" y="6"/>
                    </a:lnTo>
                    <a:lnTo>
                      <a:pt x="22" y="7"/>
                    </a:lnTo>
                    <a:lnTo>
                      <a:pt x="24" y="9"/>
                    </a:lnTo>
                    <a:lnTo>
                      <a:pt x="29" y="9"/>
                    </a:lnTo>
                    <a:lnTo>
                      <a:pt x="34" y="9"/>
                    </a:lnTo>
                    <a:lnTo>
                      <a:pt x="32" y="6"/>
                    </a:lnTo>
                    <a:lnTo>
                      <a:pt x="34" y="4"/>
                    </a:lnTo>
                    <a:lnTo>
                      <a:pt x="3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3" name="Freeform 79">
                <a:extLst>
                  <a:ext uri="{FF2B5EF4-FFF2-40B4-BE49-F238E27FC236}">
                    <a16:creationId xmlns:a16="http://schemas.microsoft.com/office/drawing/2014/main" id="{0E807397-F55E-4146-A8D2-1DA2F5B98E48}"/>
                  </a:ext>
                </a:extLst>
              </p:cNvPr>
              <p:cNvSpPr>
                <a:spLocks/>
              </p:cNvSpPr>
              <p:nvPr/>
            </p:nvSpPr>
            <p:spPr bwMode="auto">
              <a:xfrm>
                <a:off x="3350" y="1571"/>
                <a:ext cx="33" cy="19"/>
              </a:xfrm>
              <a:custGeom>
                <a:avLst/>
                <a:gdLst>
                  <a:gd name="T0" fmla="*/ 26 w 33"/>
                  <a:gd name="T1" fmla="*/ 13 h 19"/>
                  <a:gd name="T2" fmla="*/ 24 w 33"/>
                  <a:gd name="T3" fmla="*/ 13 h 19"/>
                  <a:gd name="T4" fmla="*/ 24 w 33"/>
                  <a:gd name="T5" fmla="*/ 11 h 19"/>
                  <a:gd name="T6" fmla="*/ 26 w 33"/>
                  <a:gd name="T7" fmla="*/ 11 h 19"/>
                  <a:gd name="T8" fmla="*/ 30 w 33"/>
                  <a:gd name="T9" fmla="*/ 11 h 19"/>
                  <a:gd name="T10" fmla="*/ 32 w 33"/>
                  <a:gd name="T11" fmla="*/ 12 h 19"/>
                  <a:gd name="T12" fmla="*/ 33 w 33"/>
                  <a:gd name="T13" fmla="*/ 10 h 19"/>
                  <a:gd name="T14" fmla="*/ 31 w 33"/>
                  <a:gd name="T15" fmla="*/ 10 h 19"/>
                  <a:gd name="T16" fmla="*/ 28 w 33"/>
                  <a:gd name="T17" fmla="*/ 8 h 19"/>
                  <a:gd name="T18" fmla="*/ 25 w 33"/>
                  <a:gd name="T19" fmla="*/ 7 h 19"/>
                  <a:gd name="T20" fmla="*/ 23 w 33"/>
                  <a:gd name="T21" fmla="*/ 5 h 19"/>
                  <a:gd name="T22" fmla="*/ 20 w 33"/>
                  <a:gd name="T23" fmla="*/ 4 h 19"/>
                  <a:gd name="T24" fmla="*/ 17 w 33"/>
                  <a:gd name="T25" fmla="*/ 1 h 19"/>
                  <a:gd name="T26" fmla="*/ 12 w 33"/>
                  <a:gd name="T27" fmla="*/ 1 h 19"/>
                  <a:gd name="T28" fmla="*/ 7 w 33"/>
                  <a:gd name="T29" fmla="*/ 0 h 19"/>
                  <a:gd name="T30" fmla="*/ 2 w 33"/>
                  <a:gd name="T31" fmla="*/ 1 h 19"/>
                  <a:gd name="T32" fmla="*/ 0 w 33"/>
                  <a:gd name="T33" fmla="*/ 3 h 19"/>
                  <a:gd name="T34" fmla="*/ 0 w 33"/>
                  <a:gd name="T35" fmla="*/ 5 h 19"/>
                  <a:gd name="T36" fmla="*/ 3 w 33"/>
                  <a:gd name="T37" fmla="*/ 9 h 19"/>
                  <a:gd name="T38" fmla="*/ 6 w 33"/>
                  <a:gd name="T39" fmla="*/ 9 h 19"/>
                  <a:gd name="T40" fmla="*/ 8 w 33"/>
                  <a:gd name="T41" fmla="*/ 11 h 19"/>
                  <a:gd name="T42" fmla="*/ 16 w 33"/>
                  <a:gd name="T43" fmla="*/ 13 h 19"/>
                  <a:gd name="T44" fmla="*/ 22 w 33"/>
                  <a:gd name="T45" fmla="*/ 17 h 19"/>
                  <a:gd name="T46" fmla="*/ 28 w 33"/>
                  <a:gd name="T47" fmla="*/ 19 h 19"/>
                  <a:gd name="T48" fmla="*/ 30 w 33"/>
                  <a:gd name="T49" fmla="*/ 19 h 19"/>
                  <a:gd name="T50" fmla="*/ 31 w 33"/>
                  <a:gd name="T51" fmla="*/ 17 h 19"/>
                  <a:gd name="T52" fmla="*/ 26 w 33"/>
                  <a:gd name="T53" fmla="*/ 13 h 19"/>
                  <a:gd name="T54" fmla="*/ 26 w 33"/>
                  <a:gd name="T5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19">
                    <a:moveTo>
                      <a:pt x="26" y="13"/>
                    </a:moveTo>
                    <a:lnTo>
                      <a:pt x="24" y="13"/>
                    </a:lnTo>
                    <a:lnTo>
                      <a:pt x="24" y="11"/>
                    </a:lnTo>
                    <a:lnTo>
                      <a:pt x="26" y="11"/>
                    </a:lnTo>
                    <a:lnTo>
                      <a:pt x="30" y="11"/>
                    </a:lnTo>
                    <a:lnTo>
                      <a:pt x="32" y="12"/>
                    </a:lnTo>
                    <a:lnTo>
                      <a:pt x="33" y="10"/>
                    </a:lnTo>
                    <a:lnTo>
                      <a:pt x="31" y="10"/>
                    </a:lnTo>
                    <a:lnTo>
                      <a:pt x="28" y="8"/>
                    </a:lnTo>
                    <a:lnTo>
                      <a:pt x="25" y="7"/>
                    </a:lnTo>
                    <a:lnTo>
                      <a:pt x="23" y="5"/>
                    </a:lnTo>
                    <a:lnTo>
                      <a:pt x="20" y="4"/>
                    </a:lnTo>
                    <a:lnTo>
                      <a:pt x="17" y="1"/>
                    </a:lnTo>
                    <a:lnTo>
                      <a:pt x="12" y="1"/>
                    </a:lnTo>
                    <a:lnTo>
                      <a:pt x="7" y="0"/>
                    </a:lnTo>
                    <a:lnTo>
                      <a:pt x="2" y="1"/>
                    </a:lnTo>
                    <a:lnTo>
                      <a:pt x="0" y="3"/>
                    </a:lnTo>
                    <a:lnTo>
                      <a:pt x="0" y="5"/>
                    </a:lnTo>
                    <a:lnTo>
                      <a:pt x="3" y="9"/>
                    </a:lnTo>
                    <a:lnTo>
                      <a:pt x="6" y="9"/>
                    </a:lnTo>
                    <a:lnTo>
                      <a:pt x="8" y="11"/>
                    </a:lnTo>
                    <a:lnTo>
                      <a:pt x="16" y="13"/>
                    </a:lnTo>
                    <a:lnTo>
                      <a:pt x="22" y="17"/>
                    </a:lnTo>
                    <a:lnTo>
                      <a:pt x="28" y="19"/>
                    </a:lnTo>
                    <a:lnTo>
                      <a:pt x="30" y="19"/>
                    </a:lnTo>
                    <a:lnTo>
                      <a:pt x="31" y="17"/>
                    </a:lnTo>
                    <a:lnTo>
                      <a:pt x="26" y="13"/>
                    </a:lnTo>
                    <a:lnTo>
                      <a:pt x="2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4" name="Freeform 80">
                <a:extLst>
                  <a:ext uri="{FF2B5EF4-FFF2-40B4-BE49-F238E27FC236}">
                    <a16:creationId xmlns:a16="http://schemas.microsoft.com/office/drawing/2014/main" id="{EED43C17-7596-4854-B6E8-CC442970A496}"/>
                  </a:ext>
                </a:extLst>
              </p:cNvPr>
              <p:cNvSpPr>
                <a:spLocks/>
              </p:cNvSpPr>
              <p:nvPr/>
            </p:nvSpPr>
            <p:spPr bwMode="auto">
              <a:xfrm>
                <a:off x="3383" y="1529"/>
                <a:ext cx="26" cy="10"/>
              </a:xfrm>
              <a:custGeom>
                <a:avLst/>
                <a:gdLst>
                  <a:gd name="T0" fmla="*/ 15 w 26"/>
                  <a:gd name="T1" fmla="*/ 0 h 10"/>
                  <a:gd name="T2" fmla="*/ 9 w 26"/>
                  <a:gd name="T3" fmla="*/ 0 h 10"/>
                  <a:gd name="T4" fmla="*/ 4 w 26"/>
                  <a:gd name="T5" fmla="*/ 2 h 10"/>
                  <a:gd name="T6" fmla="*/ 0 w 26"/>
                  <a:gd name="T7" fmla="*/ 6 h 10"/>
                  <a:gd name="T8" fmla="*/ 4 w 26"/>
                  <a:gd name="T9" fmla="*/ 8 h 10"/>
                  <a:gd name="T10" fmla="*/ 12 w 26"/>
                  <a:gd name="T11" fmla="*/ 10 h 10"/>
                  <a:gd name="T12" fmla="*/ 23 w 26"/>
                  <a:gd name="T13" fmla="*/ 8 h 10"/>
                  <a:gd name="T14" fmla="*/ 26 w 26"/>
                  <a:gd name="T15" fmla="*/ 7 h 10"/>
                  <a:gd name="T16" fmla="*/ 23 w 26"/>
                  <a:gd name="T17" fmla="*/ 6 h 10"/>
                  <a:gd name="T18" fmla="*/ 22 w 26"/>
                  <a:gd name="T19" fmla="*/ 3 h 10"/>
                  <a:gd name="T20" fmla="*/ 18 w 26"/>
                  <a:gd name="T21" fmla="*/ 1 h 10"/>
                  <a:gd name="T22" fmla="*/ 15 w 26"/>
                  <a:gd name="T23" fmla="*/ 0 h 10"/>
                  <a:gd name="T24" fmla="*/ 15 w 2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0">
                    <a:moveTo>
                      <a:pt x="15" y="0"/>
                    </a:moveTo>
                    <a:lnTo>
                      <a:pt x="9" y="0"/>
                    </a:lnTo>
                    <a:lnTo>
                      <a:pt x="4" y="2"/>
                    </a:lnTo>
                    <a:lnTo>
                      <a:pt x="0" y="6"/>
                    </a:lnTo>
                    <a:lnTo>
                      <a:pt x="4" y="8"/>
                    </a:lnTo>
                    <a:lnTo>
                      <a:pt x="12" y="10"/>
                    </a:lnTo>
                    <a:lnTo>
                      <a:pt x="23" y="8"/>
                    </a:lnTo>
                    <a:lnTo>
                      <a:pt x="26" y="7"/>
                    </a:lnTo>
                    <a:lnTo>
                      <a:pt x="23" y="6"/>
                    </a:lnTo>
                    <a:lnTo>
                      <a:pt x="22" y="3"/>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5" name="Freeform 81">
                <a:extLst>
                  <a:ext uri="{FF2B5EF4-FFF2-40B4-BE49-F238E27FC236}">
                    <a16:creationId xmlns:a16="http://schemas.microsoft.com/office/drawing/2014/main" id="{0E71C552-842C-4BE9-A6FB-72EC5991F39D}"/>
                  </a:ext>
                </a:extLst>
              </p:cNvPr>
              <p:cNvSpPr>
                <a:spLocks/>
              </p:cNvSpPr>
              <p:nvPr/>
            </p:nvSpPr>
            <p:spPr bwMode="auto">
              <a:xfrm>
                <a:off x="3393" y="1429"/>
                <a:ext cx="3" cy="3"/>
              </a:xfrm>
              <a:custGeom>
                <a:avLst/>
                <a:gdLst>
                  <a:gd name="T0" fmla="*/ 3 w 3"/>
                  <a:gd name="T1" fmla="*/ 0 h 3"/>
                  <a:gd name="T2" fmla="*/ 0 w 3"/>
                  <a:gd name="T3" fmla="*/ 0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0"/>
                    </a:lnTo>
                    <a:lnTo>
                      <a:pt x="0" y="3"/>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6" name="Freeform 82">
                <a:extLst>
                  <a:ext uri="{FF2B5EF4-FFF2-40B4-BE49-F238E27FC236}">
                    <a16:creationId xmlns:a16="http://schemas.microsoft.com/office/drawing/2014/main" id="{5F0BA4A4-E5D8-42A7-950C-05958279628B}"/>
                  </a:ext>
                </a:extLst>
              </p:cNvPr>
              <p:cNvSpPr>
                <a:spLocks/>
              </p:cNvSpPr>
              <p:nvPr/>
            </p:nvSpPr>
            <p:spPr bwMode="auto">
              <a:xfrm>
                <a:off x="3400" y="1298"/>
                <a:ext cx="14" cy="10"/>
              </a:xfrm>
              <a:custGeom>
                <a:avLst/>
                <a:gdLst>
                  <a:gd name="T0" fmla="*/ 8 w 14"/>
                  <a:gd name="T1" fmla="*/ 9 h 10"/>
                  <a:gd name="T2" fmla="*/ 12 w 14"/>
                  <a:gd name="T3" fmla="*/ 10 h 10"/>
                  <a:gd name="T4" fmla="*/ 14 w 14"/>
                  <a:gd name="T5" fmla="*/ 9 h 10"/>
                  <a:gd name="T6" fmla="*/ 12 w 14"/>
                  <a:gd name="T7" fmla="*/ 6 h 10"/>
                  <a:gd name="T8" fmla="*/ 9 w 14"/>
                  <a:gd name="T9" fmla="*/ 4 h 10"/>
                  <a:gd name="T10" fmla="*/ 7 w 14"/>
                  <a:gd name="T11" fmla="*/ 1 h 10"/>
                  <a:gd name="T12" fmla="*/ 4 w 14"/>
                  <a:gd name="T13" fmla="*/ 0 h 10"/>
                  <a:gd name="T14" fmla="*/ 0 w 14"/>
                  <a:gd name="T15" fmla="*/ 2 h 10"/>
                  <a:gd name="T16" fmla="*/ 3 w 14"/>
                  <a:gd name="T17" fmla="*/ 4 h 10"/>
                  <a:gd name="T18" fmla="*/ 8 w 14"/>
                  <a:gd name="T19" fmla="*/ 9 h 10"/>
                  <a:gd name="T20" fmla="*/ 8 w 14"/>
                  <a:gd name="T21"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8" y="9"/>
                    </a:moveTo>
                    <a:lnTo>
                      <a:pt x="12" y="10"/>
                    </a:lnTo>
                    <a:lnTo>
                      <a:pt x="14" y="9"/>
                    </a:lnTo>
                    <a:lnTo>
                      <a:pt x="12" y="6"/>
                    </a:lnTo>
                    <a:lnTo>
                      <a:pt x="9" y="4"/>
                    </a:lnTo>
                    <a:lnTo>
                      <a:pt x="7" y="1"/>
                    </a:lnTo>
                    <a:lnTo>
                      <a:pt x="4" y="0"/>
                    </a:lnTo>
                    <a:lnTo>
                      <a:pt x="0" y="2"/>
                    </a:lnTo>
                    <a:lnTo>
                      <a:pt x="3" y="4"/>
                    </a:lnTo>
                    <a:lnTo>
                      <a:pt x="8" y="9"/>
                    </a:lnTo>
                    <a:lnTo>
                      <a:pt x="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7" name="Freeform 83">
                <a:extLst>
                  <a:ext uri="{FF2B5EF4-FFF2-40B4-BE49-F238E27FC236}">
                    <a16:creationId xmlns:a16="http://schemas.microsoft.com/office/drawing/2014/main" id="{8161EEE9-AFDA-4DCE-8F41-BEA401057CCA}"/>
                  </a:ext>
                </a:extLst>
              </p:cNvPr>
              <p:cNvSpPr>
                <a:spLocks/>
              </p:cNvSpPr>
              <p:nvPr/>
            </p:nvSpPr>
            <p:spPr bwMode="auto">
              <a:xfrm>
                <a:off x="3403" y="1513"/>
                <a:ext cx="11" cy="9"/>
              </a:xfrm>
              <a:custGeom>
                <a:avLst/>
                <a:gdLst>
                  <a:gd name="T0" fmla="*/ 7 w 11"/>
                  <a:gd name="T1" fmla="*/ 3 h 9"/>
                  <a:gd name="T2" fmla="*/ 5 w 11"/>
                  <a:gd name="T3" fmla="*/ 3 h 9"/>
                  <a:gd name="T4" fmla="*/ 7 w 11"/>
                  <a:gd name="T5" fmla="*/ 2 h 9"/>
                  <a:gd name="T6" fmla="*/ 7 w 11"/>
                  <a:gd name="T7" fmla="*/ 1 h 9"/>
                  <a:gd name="T8" fmla="*/ 5 w 11"/>
                  <a:gd name="T9" fmla="*/ 0 h 9"/>
                  <a:gd name="T10" fmla="*/ 2 w 11"/>
                  <a:gd name="T11" fmla="*/ 0 h 9"/>
                  <a:gd name="T12" fmla="*/ 0 w 11"/>
                  <a:gd name="T13" fmla="*/ 2 h 9"/>
                  <a:gd name="T14" fmla="*/ 0 w 11"/>
                  <a:gd name="T15" fmla="*/ 5 h 9"/>
                  <a:gd name="T16" fmla="*/ 0 w 11"/>
                  <a:gd name="T17" fmla="*/ 7 h 9"/>
                  <a:gd name="T18" fmla="*/ 3 w 11"/>
                  <a:gd name="T19" fmla="*/ 9 h 9"/>
                  <a:gd name="T20" fmla="*/ 6 w 11"/>
                  <a:gd name="T21" fmla="*/ 9 h 9"/>
                  <a:gd name="T22" fmla="*/ 7 w 11"/>
                  <a:gd name="T23" fmla="*/ 9 h 9"/>
                  <a:gd name="T24" fmla="*/ 11 w 11"/>
                  <a:gd name="T25" fmla="*/ 7 h 9"/>
                  <a:gd name="T26" fmla="*/ 9 w 11"/>
                  <a:gd name="T27" fmla="*/ 3 h 9"/>
                  <a:gd name="T28" fmla="*/ 7 w 11"/>
                  <a:gd name="T29" fmla="*/ 3 h 9"/>
                  <a:gd name="T30" fmla="*/ 7 w 11"/>
                  <a:gd name="T3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7" y="3"/>
                    </a:moveTo>
                    <a:lnTo>
                      <a:pt x="5" y="3"/>
                    </a:lnTo>
                    <a:lnTo>
                      <a:pt x="7" y="2"/>
                    </a:lnTo>
                    <a:lnTo>
                      <a:pt x="7" y="1"/>
                    </a:lnTo>
                    <a:lnTo>
                      <a:pt x="5" y="0"/>
                    </a:lnTo>
                    <a:lnTo>
                      <a:pt x="2" y="0"/>
                    </a:lnTo>
                    <a:lnTo>
                      <a:pt x="0" y="2"/>
                    </a:lnTo>
                    <a:lnTo>
                      <a:pt x="0" y="5"/>
                    </a:lnTo>
                    <a:lnTo>
                      <a:pt x="0" y="7"/>
                    </a:lnTo>
                    <a:lnTo>
                      <a:pt x="3" y="9"/>
                    </a:lnTo>
                    <a:lnTo>
                      <a:pt x="6" y="9"/>
                    </a:lnTo>
                    <a:lnTo>
                      <a:pt x="7" y="9"/>
                    </a:lnTo>
                    <a:lnTo>
                      <a:pt x="11" y="7"/>
                    </a:lnTo>
                    <a:lnTo>
                      <a:pt x="9" y="3"/>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8" name="Freeform 84">
                <a:extLst>
                  <a:ext uri="{FF2B5EF4-FFF2-40B4-BE49-F238E27FC236}">
                    <a16:creationId xmlns:a16="http://schemas.microsoft.com/office/drawing/2014/main" id="{FC162C67-38BF-4669-A5AC-93F365610A46}"/>
                  </a:ext>
                </a:extLst>
              </p:cNvPr>
              <p:cNvSpPr>
                <a:spLocks/>
              </p:cNvSpPr>
              <p:nvPr/>
            </p:nvSpPr>
            <p:spPr bwMode="auto">
              <a:xfrm>
                <a:off x="3405" y="1429"/>
                <a:ext cx="15" cy="6"/>
              </a:xfrm>
              <a:custGeom>
                <a:avLst/>
                <a:gdLst>
                  <a:gd name="T0" fmla="*/ 5 w 15"/>
                  <a:gd name="T1" fmla="*/ 0 h 6"/>
                  <a:gd name="T2" fmla="*/ 0 w 15"/>
                  <a:gd name="T3" fmla="*/ 0 h 6"/>
                  <a:gd name="T4" fmla="*/ 3 w 15"/>
                  <a:gd name="T5" fmla="*/ 3 h 6"/>
                  <a:gd name="T6" fmla="*/ 5 w 15"/>
                  <a:gd name="T7" fmla="*/ 4 h 6"/>
                  <a:gd name="T8" fmla="*/ 9 w 15"/>
                  <a:gd name="T9" fmla="*/ 5 h 6"/>
                  <a:gd name="T10" fmla="*/ 13 w 15"/>
                  <a:gd name="T11" fmla="*/ 6 h 6"/>
                  <a:gd name="T12" fmla="*/ 15 w 15"/>
                  <a:gd name="T13" fmla="*/ 4 h 6"/>
                  <a:gd name="T14" fmla="*/ 9 w 15"/>
                  <a:gd name="T15" fmla="*/ 4 h 6"/>
                  <a:gd name="T16" fmla="*/ 5 w 15"/>
                  <a:gd name="T17" fmla="*/ 1 h 6"/>
                  <a:gd name="T18" fmla="*/ 5 w 15"/>
                  <a:gd name="T19" fmla="*/ 0 h 6"/>
                  <a:gd name="T20" fmla="*/ 5 w 1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5" y="0"/>
                    </a:moveTo>
                    <a:lnTo>
                      <a:pt x="0" y="0"/>
                    </a:lnTo>
                    <a:lnTo>
                      <a:pt x="3" y="3"/>
                    </a:lnTo>
                    <a:lnTo>
                      <a:pt x="5" y="4"/>
                    </a:lnTo>
                    <a:lnTo>
                      <a:pt x="9" y="5"/>
                    </a:lnTo>
                    <a:lnTo>
                      <a:pt x="13" y="6"/>
                    </a:lnTo>
                    <a:lnTo>
                      <a:pt x="15" y="4"/>
                    </a:lnTo>
                    <a:lnTo>
                      <a:pt x="9" y="4"/>
                    </a:lnTo>
                    <a:lnTo>
                      <a:pt x="5"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9" name="Freeform 85">
                <a:extLst>
                  <a:ext uri="{FF2B5EF4-FFF2-40B4-BE49-F238E27FC236}">
                    <a16:creationId xmlns:a16="http://schemas.microsoft.com/office/drawing/2014/main" id="{AE4C2F7B-F594-45D6-BA3D-B38134A51D92}"/>
                  </a:ext>
                </a:extLst>
              </p:cNvPr>
              <p:cNvSpPr>
                <a:spLocks/>
              </p:cNvSpPr>
              <p:nvPr/>
            </p:nvSpPr>
            <p:spPr bwMode="auto">
              <a:xfrm>
                <a:off x="3423" y="1310"/>
                <a:ext cx="10" cy="6"/>
              </a:xfrm>
              <a:custGeom>
                <a:avLst/>
                <a:gdLst>
                  <a:gd name="T0" fmla="*/ 8 w 10"/>
                  <a:gd name="T1" fmla="*/ 6 h 6"/>
                  <a:gd name="T2" fmla="*/ 10 w 10"/>
                  <a:gd name="T3" fmla="*/ 4 h 6"/>
                  <a:gd name="T4" fmla="*/ 4 w 10"/>
                  <a:gd name="T5" fmla="*/ 0 h 6"/>
                  <a:gd name="T6" fmla="*/ 2 w 10"/>
                  <a:gd name="T7" fmla="*/ 0 h 6"/>
                  <a:gd name="T8" fmla="*/ 0 w 10"/>
                  <a:gd name="T9" fmla="*/ 1 h 6"/>
                  <a:gd name="T10" fmla="*/ 8 w 10"/>
                  <a:gd name="T11" fmla="*/ 6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10" y="4"/>
                    </a:lnTo>
                    <a:lnTo>
                      <a:pt x="4" y="0"/>
                    </a:lnTo>
                    <a:lnTo>
                      <a:pt x="2" y="0"/>
                    </a:lnTo>
                    <a:lnTo>
                      <a:pt x="0" y="1"/>
                    </a:lnTo>
                    <a:lnTo>
                      <a:pt x="8"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0" name="Freeform 86">
                <a:extLst>
                  <a:ext uri="{FF2B5EF4-FFF2-40B4-BE49-F238E27FC236}">
                    <a16:creationId xmlns:a16="http://schemas.microsoft.com/office/drawing/2014/main" id="{00DB7028-B639-43B2-BCE4-ED21E1683A6C}"/>
                  </a:ext>
                </a:extLst>
              </p:cNvPr>
              <p:cNvSpPr>
                <a:spLocks/>
              </p:cNvSpPr>
              <p:nvPr/>
            </p:nvSpPr>
            <p:spPr bwMode="auto">
              <a:xfrm>
                <a:off x="3426" y="1503"/>
                <a:ext cx="22" cy="12"/>
              </a:xfrm>
              <a:custGeom>
                <a:avLst/>
                <a:gdLst>
                  <a:gd name="T0" fmla="*/ 14 w 22"/>
                  <a:gd name="T1" fmla="*/ 0 h 12"/>
                  <a:gd name="T2" fmla="*/ 11 w 22"/>
                  <a:gd name="T3" fmla="*/ 2 h 12"/>
                  <a:gd name="T4" fmla="*/ 8 w 22"/>
                  <a:gd name="T5" fmla="*/ 3 h 12"/>
                  <a:gd name="T6" fmla="*/ 5 w 22"/>
                  <a:gd name="T7" fmla="*/ 1 h 12"/>
                  <a:gd name="T8" fmla="*/ 0 w 22"/>
                  <a:gd name="T9" fmla="*/ 2 h 12"/>
                  <a:gd name="T10" fmla="*/ 1 w 22"/>
                  <a:gd name="T11" fmla="*/ 6 h 12"/>
                  <a:gd name="T12" fmla="*/ 0 w 22"/>
                  <a:gd name="T13" fmla="*/ 11 h 12"/>
                  <a:gd name="T14" fmla="*/ 6 w 22"/>
                  <a:gd name="T15" fmla="*/ 12 h 12"/>
                  <a:gd name="T16" fmla="*/ 8 w 22"/>
                  <a:gd name="T17" fmla="*/ 11 h 12"/>
                  <a:gd name="T18" fmla="*/ 11 w 22"/>
                  <a:gd name="T19" fmla="*/ 11 h 12"/>
                  <a:gd name="T20" fmla="*/ 16 w 22"/>
                  <a:gd name="T21" fmla="*/ 11 h 12"/>
                  <a:gd name="T22" fmla="*/ 20 w 22"/>
                  <a:gd name="T23" fmla="*/ 12 h 12"/>
                  <a:gd name="T24" fmla="*/ 22 w 22"/>
                  <a:gd name="T25" fmla="*/ 10 h 12"/>
                  <a:gd name="T26" fmla="*/ 22 w 22"/>
                  <a:gd name="T27" fmla="*/ 8 h 12"/>
                  <a:gd name="T28" fmla="*/ 20 w 22"/>
                  <a:gd name="T29" fmla="*/ 8 h 12"/>
                  <a:gd name="T30" fmla="*/ 16 w 22"/>
                  <a:gd name="T31" fmla="*/ 9 h 12"/>
                  <a:gd name="T32" fmla="*/ 14 w 22"/>
                  <a:gd name="T33" fmla="*/ 8 h 12"/>
                  <a:gd name="T34" fmla="*/ 13 w 22"/>
                  <a:gd name="T35" fmla="*/ 4 h 12"/>
                  <a:gd name="T36" fmla="*/ 9 w 22"/>
                  <a:gd name="T37" fmla="*/ 6 h 12"/>
                  <a:gd name="T38" fmla="*/ 13 w 22"/>
                  <a:gd name="T39" fmla="*/ 4 h 12"/>
                  <a:gd name="T40" fmla="*/ 15 w 22"/>
                  <a:gd name="T41" fmla="*/ 3 h 12"/>
                  <a:gd name="T42" fmla="*/ 14 w 22"/>
                  <a:gd name="T43" fmla="*/ 0 h 12"/>
                  <a:gd name="T44" fmla="*/ 14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14" y="0"/>
                    </a:moveTo>
                    <a:lnTo>
                      <a:pt x="11" y="2"/>
                    </a:lnTo>
                    <a:lnTo>
                      <a:pt x="8" y="3"/>
                    </a:lnTo>
                    <a:lnTo>
                      <a:pt x="5" y="1"/>
                    </a:lnTo>
                    <a:lnTo>
                      <a:pt x="0" y="2"/>
                    </a:lnTo>
                    <a:lnTo>
                      <a:pt x="1" y="6"/>
                    </a:lnTo>
                    <a:lnTo>
                      <a:pt x="0" y="11"/>
                    </a:lnTo>
                    <a:lnTo>
                      <a:pt x="6" y="12"/>
                    </a:lnTo>
                    <a:lnTo>
                      <a:pt x="8" y="11"/>
                    </a:lnTo>
                    <a:lnTo>
                      <a:pt x="11" y="11"/>
                    </a:lnTo>
                    <a:lnTo>
                      <a:pt x="16" y="11"/>
                    </a:lnTo>
                    <a:lnTo>
                      <a:pt x="20" y="12"/>
                    </a:lnTo>
                    <a:lnTo>
                      <a:pt x="22" y="10"/>
                    </a:lnTo>
                    <a:lnTo>
                      <a:pt x="22" y="8"/>
                    </a:lnTo>
                    <a:lnTo>
                      <a:pt x="20" y="8"/>
                    </a:lnTo>
                    <a:lnTo>
                      <a:pt x="16" y="9"/>
                    </a:lnTo>
                    <a:lnTo>
                      <a:pt x="14" y="8"/>
                    </a:lnTo>
                    <a:lnTo>
                      <a:pt x="13" y="4"/>
                    </a:lnTo>
                    <a:lnTo>
                      <a:pt x="9" y="6"/>
                    </a:lnTo>
                    <a:lnTo>
                      <a:pt x="13" y="4"/>
                    </a:lnTo>
                    <a:lnTo>
                      <a:pt x="15" y="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1" name="Freeform 87">
                <a:extLst>
                  <a:ext uri="{FF2B5EF4-FFF2-40B4-BE49-F238E27FC236}">
                    <a16:creationId xmlns:a16="http://schemas.microsoft.com/office/drawing/2014/main" id="{D9DEFA48-8289-4954-A706-330203BA5EF9}"/>
                  </a:ext>
                </a:extLst>
              </p:cNvPr>
              <p:cNvSpPr>
                <a:spLocks/>
              </p:cNvSpPr>
              <p:nvPr/>
            </p:nvSpPr>
            <p:spPr bwMode="auto">
              <a:xfrm>
                <a:off x="3797" y="2207"/>
                <a:ext cx="22" cy="39"/>
              </a:xfrm>
              <a:custGeom>
                <a:avLst/>
                <a:gdLst>
                  <a:gd name="T0" fmla="*/ 4 w 22"/>
                  <a:gd name="T1" fmla="*/ 25 h 39"/>
                  <a:gd name="T2" fmla="*/ 3 w 22"/>
                  <a:gd name="T3" fmla="*/ 25 h 39"/>
                  <a:gd name="T4" fmla="*/ 2 w 22"/>
                  <a:gd name="T5" fmla="*/ 35 h 39"/>
                  <a:gd name="T6" fmla="*/ 5 w 22"/>
                  <a:gd name="T7" fmla="*/ 35 h 39"/>
                  <a:gd name="T8" fmla="*/ 5 w 22"/>
                  <a:gd name="T9" fmla="*/ 39 h 39"/>
                  <a:gd name="T10" fmla="*/ 9 w 22"/>
                  <a:gd name="T11" fmla="*/ 38 h 39"/>
                  <a:gd name="T12" fmla="*/ 11 w 22"/>
                  <a:gd name="T13" fmla="*/ 35 h 39"/>
                  <a:gd name="T14" fmla="*/ 12 w 22"/>
                  <a:gd name="T15" fmla="*/ 33 h 39"/>
                  <a:gd name="T16" fmla="*/ 11 w 22"/>
                  <a:gd name="T17" fmla="*/ 32 h 39"/>
                  <a:gd name="T18" fmla="*/ 12 w 22"/>
                  <a:gd name="T19" fmla="*/ 33 h 39"/>
                  <a:gd name="T20" fmla="*/ 16 w 22"/>
                  <a:gd name="T21" fmla="*/ 33 h 39"/>
                  <a:gd name="T22" fmla="*/ 19 w 22"/>
                  <a:gd name="T23" fmla="*/ 33 h 39"/>
                  <a:gd name="T24" fmla="*/ 20 w 22"/>
                  <a:gd name="T25" fmla="*/ 27 h 39"/>
                  <a:gd name="T26" fmla="*/ 20 w 22"/>
                  <a:gd name="T27" fmla="*/ 21 h 39"/>
                  <a:gd name="T28" fmla="*/ 20 w 22"/>
                  <a:gd name="T29" fmla="*/ 19 h 39"/>
                  <a:gd name="T30" fmla="*/ 19 w 22"/>
                  <a:gd name="T31" fmla="*/ 17 h 39"/>
                  <a:gd name="T32" fmla="*/ 20 w 22"/>
                  <a:gd name="T33" fmla="*/ 14 h 39"/>
                  <a:gd name="T34" fmla="*/ 22 w 22"/>
                  <a:gd name="T35" fmla="*/ 12 h 39"/>
                  <a:gd name="T36" fmla="*/ 19 w 22"/>
                  <a:gd name="T37" fmla="*/ 4 h 39"/>
                  <a:gd name="T38" fmla="*/ 17 w 22"/>
                  <a:gd name="T39" fmla="*/ 1 h 39"/>
                  <a:gd name="T40" fmla="*/ 13 w 22"/>
                  <a:gd name="T41" fmla="*/ 0 h 39"/>
                  <a:gd name="T42" fmla="*/ 11 w 22"/>
                  <a:gd name="T43" fmla="*/ 1 h 39"/>
                  <a:gd name="T44" fmla="*/ 9 w 22"/>
                  <a:gd name="T45" fmla="*/ 5 h 39"/>
                  <a:gd name="T46" fmla="*/ 5 w 22"/>
                  <a:gd name="T47" fmla="*/ 6 h 39"/>
                  <a:gd name="T48" fmla="*/ 3 w 22"/>
                  <a:gd name="T49" fmla="*/ 7 h 39"/>
                  <a:gd name="T50" fmla="*/ 0 w 22"/>
                  <a:gd name="T51" fmla="*/ 5 h 39"/>
                  <a:gd name="T52" fmla="*/ 0 w 22"/>
                  <a:gd name="T53" fmla="*/ 9 h 39"/>
                  <a:gd name="T54" fmla="*/ 2 w 22"/>
                  <a:gd name="T55" fmla="*/ 13 h 39"/>
                  <a:gd name="T56" fmla="*/ 4 w 22"/>
                  <a:gd name="T57" fmla="*/ 15 h 39"/>
                  <a:gd name="T58" fmla="*/ 3 w 22"/>
                  <a:gd name="T59" fmla="*/ 21 h 39"/>
                  <a:gd name="T60" fmla="*/ 4 w 22"/>
                  <a:gd name="T61" fmla="*/ 22 h 39"/>
                  <a:gd name="T62" fmla="*/ 4 w 22"/>
                  <a:gd name="T63" fmla="*/ 25 h 39"/>
                  <a:gd name="T64" fmla="*/ 4 w 22"/>
                  <a:gd name="T65"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9">
                    <a:moveTo>
                      <a:pt x="4" y="25"/>
                    </a:moveTo>
                    <a:lnTo>
                      <a:pt x="3" y="25"/>
                    </a:lnTo>
                    <a:lnTo>
                      <a:pt x="2" y="35"/>
                    </a:lnTo>
                    <a:lnTo>
                      <a:pt x="5" y="35"/>
                    </a:lnTo>
                    <a:lnTo>
                      <a:pt x="5" y="39"/>
                    </a:lnTo>
                    <a:lnTo>
                      <a:pt x="9" y="38"/>
                    </a:lnTo>
                    <a:lnTo>
                      <a:pt x="11" y="35"/>
                    </a:lnTo>
                    <a:lnTo>
                      <a:pt x="12" y="33"/>
                    </a:lnTo>
                    <a:lnTo>
                      <a:pt x="11" y="32"/>
                    </a:lnTo>
                    <a:lnTo>
                      <a:pt x="12" y="33"/>
                    </a:lnTo>
                    <a:lnTo>
                      <a:pt x="16" y="33"/>
                    </a:lnTo>
                    <a:lnTo>
                      <a:pt x="19" y="33"/>
                    </a:lnTo>
                    <a:lnTo>
                      <a:pt x="20" y="27"/>
                    </a:lnTo>
                    <a:lnTo>
                      <a:pt x="20" y="21"/>
                    </a:lnTo>
                    <a:lnTo>
                      <a:pt x="20" y="19"/>
                    </a:lnTo>
                    <a:lnTo>
                      <a:pt x="19" y="17"/>
                    </a:lnTo>
                    <a:lnTo>
                      <a:pt x="20" y="14"/>
                    </a:lnTo>
                    <a:lnTo>
                      <a:pt x="22" y="12"/>
                    </a:lnTo>
                    <a:lnTo>
                      <a:pt x="19" y="4"/>
                    </a:lnTo>
                    <a:lnTo>
                      <a:pt x="17" y="1"/>
                    </a:lnTo>
                    <a:lnTo>
                      <a:pt x="13" y="0"/>
                    </a:lnTo>
                    <a:lnTo>
                      <a:pt x="11" y="1"/>
                    </a:lnTo>
                    <a:lnTo>
                      <a:pt x="9" y="5"/>
                    </a:lnTo>
                    <a:lnTo>
                      <a:pt x="5" y="6"/>
                    </a:lnTo>
                    <a:lnTo>
                      <a:pt x="3" y="7"/>
                    </a:lnTo>
                    <a:lnTo>
                      <a:pt x="0" y="5"/>
                    </a:lnTo>
                    <a:lnTo>
                      <a:pt x="0" y="9"/>
                    </a:lnTo>
                    <a:lnTo>
                      <a:pt x="2" y="13"/>
                    </a:lnTo>
                    <a:lnTo>
                      <a:pt x="4" y="15"/>
                    </a:lnTo>
                    <a:lnTo>
                      <a:pt x="3" y="21"/>
                    </a:lnTo>
                    <a:lnTo>
                      <a:pt x="4" y="22"/>
                    </a:lnTo>
                    <a:lnTo>
                      <a:pt x="4" y="25"/>
                    </a:ln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2" name="Freeform 88">
                <a:extLst>
                  <a:ext uri="{FF2B5EF4-FFF2-40B4-BE49-F238E27FC236}">
                    <a16:creationId xmlns:a16="http://schemas.microsoft.com/office/drawing/2014/main" id="{99A5D240-3D54-4A9A-8D38-760A85DB75F7}"/>
                  </a:ext>
                </a:extLst>
              </p:cNvPr>
              <p:cNvSpPr>
                <a:spLocks/>
              </p:cNvSpPr>
              <p:nvPr/>
            </p:nvSpPr>
            <p:spPr bwMode="auto">
              <a:xfrm>
                <a:off x="3802" y="2178"/>
                <a:ext cx="14" cy="27"/>
              </a:xfrm>
              <a:custGeom>
                <a:avLst/>
                <a:gdLst>
                  <a:gd name="T0" fmla="*/ 0 w 14"/>
                  <a:gd name="T1" fmla="*/ 10 h 27"/>
                  <a:gd name="T2" fmla="*/ 2 w 14"/>
                  <a:gd name="T3" fmla="*/ 12 h 27"/>
                  <a:gd name="T4" fmla="*/ 0 w 14"/>
                  <a:gd name="T5" fmla="*/ 17 h 27"/>
                  <a:gd name="T6" fmla="*/ 3 w 14"/>
                  <a:gd name="T7" fmla="*/ 18 h 27"/>
                  <a:gd name="T8" fmla="*/ 2 w 14"/>
                  <a:gd name="T9" fmla="*/ 21 h 27"/>
                  <a:gd name="T10" fmla="*/ 4 w 14"/>
                  <a:gd name="T11" fmla="*/ 22 h 27"/>
                  <a:gd name="T12" fmla="*/ 5 w 14"/>
                  <a:gd name="T13" fmla="*/ 25 h 27"/>
                  <a:gd name="T14" fmla="*/ 8 w 14"/>
                  <a:gd name="T15" fmla="*/ 27 h 27"/>
                  <a:gd name="T16" fmla="*/ 9 w 14"/>
                  <a:gd name="T17" fmla="*/ 27 h 27"/>
                  <a:gd name="T18" fmla="*/ 12 w 14"/>
                  <a:gd name="T19" fmla="*/ 21 h 27"/>
                  <a:gd name="T20" fmla="*/ 12 w 14"/>
                  <a:gd name="T21" fmla="*/ 18 h 27"/>
                  <a:gd name="T22" fmla="*/ 13 w 14"/>
                  <a:gd name="T23" fmla="*/ 15 h 27"/>
                  <a:gd name="T24" fmla="*/ 14 w 14"/>
                  <a:gd name="T25" fmla="*/ 13 h 27"/>
                  <a:gd name="T26" fmla="*/ 13 w 14"/>
                  <a:gd name="T27" fmla="*/ 8 h 27"/>
                  <a:gd name="T28" fmla="*/ 12 w 14"/>
                  <a:gd name="T29" fmla="*/ 5 h 27"/>
                  <a:gd name="T30" fmla="*/ 13 w 14"/>
                  <a:gd name="T31" fmla="*/ 3 h 27"/>
                  <a:gd name="T32" fmla="*/ 12 w 14"/>
                  <a:gd name="T33" fmla="*/ 0 h 27"/>
                  <a:gd name="T34" fmla="*/ 11 w 14"/>
                  <a:gd name="T35" fmla="*/ 2 h 27"/>
                  <a:gd name="T36" fmla="*/ 9 w 14"/>
                  <a:gd name="T37" fmla="*/ 5 h 27"/>
                  <a:gd name="T38" fmla="*/ 7 w 14"/>
                  <a:gd name="T39" fmla="*/ 4 h 27"/>
                  <a:gd name="T40" fmla="*/ 2 w 14"/>
                  <a:gd name="T41" fmla="*/ 8 h 27"/>
                  <a:gd name="T42" fmla="*/ 0 w 14"/>
                  <a:gd name="T43" fmla="*/ 10 h 27"/>
                  <a:gd name="T44" fmla="*/ 0 w 14"/>
                  <a:gd name="T4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7">
                    <a:moveTo>
                      <a:pt x="0" y="10"/>
                    </a:moveTo>
                    <a:lnTo>
                      <a:pt x="2" y="12"/>
                    </a:lnTo>
                    <a:lnTo>
                      <a:pt x="0" y="17"/>
                    </a:lnTo>
                    <a:lnTo>
                      <a:pt x="3" y="18"/>
                    </a:lnTo>
                    <a:lnTo>
                      <a:pt x="2" y="21"/>
                    </a:lnTo>
                    <a:lnTo>
                      <a:pt x="4" y="22"/>
                    </a:lnTo>
                    <a:lnTo>
                      <a:pt x="5" y="25"/>
                    </a:lnTo>
                    <a:lnTo>
                      <a:pt x="8" y="27"/>
                    </a:lnTo>
                    <a:lnTo>
                      <a:pt x="9" y="27"/>
                    </a:lnTo>
                    <a:lnTo>
                      <a:pt x="12" y="21"/>
                    </a:lnTo>
                    <a:lnTo>
                      <a:pt x="12" y="18"/>
                    </a:lnTo>
                    <a:lnTo>
                      <a:pt x="13" y="15"/>
                    </a:lnTo>
                    <a:lnTo>
                      <a:pt x="14" y="13"/>
                    </a:lnTo>
                    <a:lnTo>
                      <a:pt x="13" y="8"/>
                    </a:lnTo>
                    <a:lnTo>
                      <a:pt x="12" y="5"/>
                    </a:lnTo>
                    <a:lnTo>
                      <a:pt x="13" y="3"/>
                    </a:lnTo>
                    <a:lnTo>
                      <a:pt x="12" y="0"/>
                    </a:lnTo>
                    <a:lnTo>
                      <a:pt x="11" y="2"/>
                    </a:lnTo>
                    <a:lnTo>
                      <a:pt x="9" y="5"/>
                    </a:lnTo>
                    <a:lnTo>
                      <a:pt x="7" y="4"/>
                    </a:lnTo>
                    <a:lnTo>
                      <a:pt x="2" y="8"/>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3" name="Freeform 89">
                <a:extLst>
                  <a:ext uri="{FF2B5EF4-FFF2-40B4-BE49-F238E27FC236}">
                    <a16:creationId xmlns:a16="http://schemas.microsoft.com/office/drawing/2014/main" id="{41A4B892-96EE-4043-9105-806C0DD24206}"/>
                  </a:ext>
                </a:extLst>
              </p:cNvPr>
              <p:cNvSpPr>
                <a:spLocks/>
              </p:cNvSpPr>
              <p:nvPr/>
            </p:nvSpPr>
            <p:spPr bwMode="auto">
              <a:xfrm>
                <a:off x="3856" y="2255"/>
                <a:ext cx="42" cy="25"/>
              </a:xfrm>
              <a:custGeom>
                <a:avLst/>
                <a:gdLst>
                  <a:gd name="T0" fmla="*/ 26 w 42"/>
                  <a:gd name="T1" fmla="*/ 20 h 25"/>
                  <a:gd name="T2" fmla="*/ 26 w 42"/>
                  <a:gd name="T3" fmla="*/ 21 h 25"/>
                  <a:gd name="T4" fmla="*/ 29 w 42"/>
                  <a:gd name="T5" fmla="*/ 24 h 25"/>
                  <a:gd name="T6" fmla="*/ 34 w 42"/>
                  <a:gd name="T7" fmla="*/ 25 h 25"/>
                  <a:gd name="T8" fmla="*/ 36 w 42"/>
                  <a:gd name="T9" fmla="*/ 25 h 25"/>
                  <a:gd name="T10" fmla="*/ 36 w 42"/>
                  <a:gd name="T11" fmla="*/ 21 h 25"/>
                  <a:gd name="T12" fmla="*/ 38 w 42"/>
                  <a:gd name="T13" fmla="*/ 19 h 25"/>
                  <a:gd name="T14" fmla="*/ 37 w 42"/>
                  <a:gd name="T15" fmla="*/ 17 h 25"/>
                  <a:gd name="T16" fmla="*/ 36 w 42"/>
                  <a:gd name="T17" fmla="*/ 15 h 25"/>
                  <a:gd name="T18" fmla="*/ 35 w 42"/>
                  <a:gd name="T19" fmla="*/ 12 h 25"/>
                  <a:gd name="T20" fmla="*/ 37 w 42"/>
                  <a:gd name="T21" fmla="*/ 8 h 25"/>
                  <a:gd name="T22" fmla="*/ 42 w 42"/>
                  <a:gd name="T23" fmla="*/ 2 h 25"/>
                  <a:gd name="T24" fmla="*/ 42 w 42"/>
                  <a:gd name="T25" fmla="*/ 0 h 25"/>
                  <a:gd name="T26" fmla="*/ 37 w 42"/>
                  <a:gd name="T27" fmla="*/ 2 h 25"/>
                  <a:gd name="T28" fmla="*/ 31 w 42"/>
                  <a:gd name="T29" fmla="*/ 2 h 25"/>
                  <a:gd name="T30" fmla="*/ 26 w 42"/>
                  <a:gd name="T31" fmla="*/ 4 h 25"/>
                  <a:gd name="T32" fmla="*/ 20 w 42"/>
                  <a:gd name="T33" fmla="*/ 3 h 25"/>
                  <a:gd name="T34" fmla="*/ 17 w 42"/>
                  <a:gd name="T35" fmla="*/ 4 h 25"/>
                  <a:gd name="T36" fmla="*/ 12 w 42"/>
                  <a:gd name="T37" fmla="*/ 1 h 25"/>
                  <a:gd name="T38" fmla="*/ 9 w 42"/>
                  <a:gd name="T39" fmla="*/ 1 h 25"/>
                  <a:gd name="T40" fmla="*/ 6 w 42"/>
                  <a:gd name="T41" fmla="*/ 3 h 25"/>
                  <a:gd name="T42" fmla="*/ 4 w 42"/>
                  <a:gd name="T43" fmla="*/ 3 h 25"/>
                  <a:gd name="T44" fmla="*/ 2 w 42"/>
                  <a:gd name="T45" fmla="*/ 3 h 25"/>
                  <a:gd name="T46" fmla="*/ 0 w 42"/>
                  <a:gd name="T47" fmla="*/ 5 h 25"/>
                  <a:gd name="T48" fmla="*/ 0 w 42"/>
                  <a:gd name="T49" fmla="*/ 9 h 25"/>
                  <a:gd name="T50" fmla="*/ 2 w 42"/>
                  <a:gd name="T51" fmla="*/ 11 h 25"/>
                  <a:gd name="T52" fmla="*/ 5 w 42"/>
                  <a:gd name="T53" fmla="*/ 11 h 25"/>
                  <a:gd name="T54" fmla="*/ 14 w 42"/>
                  <a:gd name="T55" fmla="*/ 16 h 25"/>
                  <a:gd name="T56" fmla="*/ 17 w 42"/>
                  <a:gd name="T57" fmla="*/ 18 h 25"/>
                  <a:gd name="T58" fmla="*/ 20 w 42"/>
                  <a:gd name="T59" fmla="*/ 18 h 25"/>
                  <a:gd name="T60" fmla="*/ 22 w 42"/>
                  <a:gd name="T61" fmla="*/ 18 h 25"/>
                  <a:gd name="T62" fmla="*/ 26 w 42"/>
                  <a:gd name="T63" fmla="*/ 20 h 25"/>
                  <a:gd name="T64" fmla="*/ 26 w 42"/>
                  <a:gd name="T6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25">
                    <a:moveTo>
                      <a:pt x="26" y="20"/>
                    </a:moveTo>
                    <a:lnTo>
                      <a:pt x="26" y="21"/>
                    </a:lnTo>
                    <a:lnTo>
                      <a:pt x="29" y="24"/>
                    </a:lnTo>
                    <a:lnTo>
                      <a:pt x="34" y="25"/>
                    </a:lnTo>
                    <a:lnTo>
                      <a:pt x="36" y="25"/>
                    </a:lnTo>
                    <a:lnTo>
                      <a:pt x="36" y="21"/>
                    </a:lnTo>
                    <a:lnTo>
                      <a:pt x="38" y="19"/>
                    </a:lnTo>
                    <a:lnTo>
                      <a:pt x="37" y="17"/>
                    </a:lnTo>
                    <a:lnTo>
                      <a:pt x="36" y="15"/>
                    </a:lnTo>
                    <a:lnTo>
                      <a:pt x="35" y="12"/>
                    </a:lnTo>
                    <a:lnTo>
                      <a:pt x="37" y="8"/>
                    </a:lnTo>
                    <a:lnTo>
                      <a:pt x="42" y="2"/>
                    </a:lnTo>
                    <a:lnTo>
                      <a:pt x="42" y="0"/>
                    </a:lnTo>
                    <a:lnTo>
                      <a:pt x="37" y="2"/>
                    </a:lnTo>
                    <a:lnTo>
                      <a:pt x="31" y="2"/>
                    </a:lnTo>
                    <a:lnTo>
                      <a:pt x="26" y="4"/>
                    </a:lnTo>
                    <a:lnTo>
                      <a:pt x="20" y="3"/>
                    </a:lnTo>
                    <a:lnTo>
                      <a:pt x="17" y="4"/>
                    </a:lnTo>
                    <a:lnTo>
                      <a:pt x="12" y="1"/>
                    </a:lnTo>
                    <a:lnTo>
                      <a:pt x="9" y="1"/>
                    </a:lnTo>
                    <a:lnTo>
                      <a:pt x="6" y="3"/>
                    </a:lnTo>
                    <a:lnTo>
                      <a:pt x="4" y="3"/>
                    </a:lnTo>
                    <a:lnTo>
                      <a:pt x="2" y="3"/>
                    </a:lnTo>
                    <a:lnTo>
                      <a:pt x="0" y="5"/>
                    </a:lnTo>
                    <a:lnTo>
                      <a:pt x="0" y="9"/>
                    </a:lnTo>
                    <a:lnTo>
                      <a:pt x="2" y="11"/>
                    </a:lnTo>
                    <a:lnTo>
                      <a:pt x="5" y="11"/>
                    </a:lnTo>
                    <a:lnTo>
                      <a:pt x="14" y="16"/>
                    </a:lnTo>
                    <a:lnTo>
                      <a:pt x="17" y="18"/>
                    </a:lnTo>
                    <a:lnTo>
                      <a:pt x="20" y="18"/>
                    </a:lnTo>
                    <a:lnTo>
                      <a:pt x="22" y="18"/>
                    </a:lnTo>
                    <a:lnTo>
                      <a:pt x="26" y="20"/>
                    </a:lnTo>
                    <a:lnTo>
                      <a:pt x="2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4" name="Freeform 90">
                <a:extLst>
                  <a:ext uri="{FF2B5EF4-FFF2-40B4-BE49-F238E27FC236}">
                    <a16:creationId xmlns:a16="http://schemas.microsoft.com/office/drawing/2014/main" id="{452BD31F-462A-461D-8E35-0CC6A9704129}"/>
                  </a:ext>
                </a:extLst>
              </p:cNvPr>
              <p:cNvSpPr>
                <a:spLocks noEditPoints="1"/>
              </p:cNvSpPr>
              <p:nvPr/>
            </p:nvSpPr>
            <p:spPr bwMode="auto">
              <a:xfrm>
                <a:off x="3542" y="1894"/>
                <a:ext cx="166" cy="164"/>
              </a:xfrm>
              <a:custGeom>
                <a:avLst/>
                <a:gdLst>
                  <a:gd name="T0" fmla="*/ 51 w 166"/>
                  <a:gd name="T1" fmla="*/ 12 h 164"/>
                  <a:gd name="T2" fmla="*/ 52 w 166"/>
                  <a:gd name="T3" fmla="*/ 6 h 164"/>
                  <a:gd name="T4" fmla="*/ 54 w 166"/>
                  <a:gd name="T5" fmla="*/ 20 h 164"/>
                  <a:gd name="T6" fmla="*/ 62 w 166"/>
                  <a:gd name="T7" fmla="*/ 30 h 164"/>
                  <a:gd name="T8" fmla="*/ 56 w 166"/>
                  <a:gd name="T9" fmla="*/ 47 h 164"/>
                  <a:gd name="T10" fmla="*/ 60 w 166"/>
                  <a:gd name="T11" fmla="*/ 45 h 164"/>
                  <a:gd name="T12" fmla="*/ 148 w 166"/>
                  <a:gd name="T13" fmla="*/ 113 h 164"/>
                  <a:gd name="T14" fmla="*/ 134 w 166"/>
                  <a:gd name="T15" fmla="*/ 96 h 164"/>
                  <a:gd name="T16" fmla="*/ 135 w 166"/>
                  <a:gd name="T17" fmla="*/ 81 h 164"/>
                  <a:gd name="T18" fmla="*/ 118 w 166"/>
                  <a:gd name="T19" fmla="*/ 60 h 164"/>
                  <a:gd name="T20" fmla="*/ 90 w 166"/>
                  <a:gd name="T21" fmla="*/ 51 h 164"/>
                  <a:gd name="T22" fmla="*/ 103 w 166"/>
                  <a:gd name="T23" fmla="*/ 44 h 164"/>
                  <a:gd name="T24" fmla="*/ 115 w 166"/>
                  <a:gd name="T25" fmla="*/ 28 h 164"/>
                  <a:gd name="T26" fmla="*/ 90 w 166"/>
                  <a:gd name="T27" fmla="*/ 21 h 164"/>
                  <a:gd name="T28" fmla="*/ 87 w 166"/>
                  <a:gd name="T29" fmla="*/ 14 h 164"/>
                  <a:gd name="T30" fmla="*/ 87 w 166"/>
                  <a:gd name="T31" fmla="*/ 2 h 164"/>
                  <a:gd name="T32" fmla="*/ 69 w 166"/>
                  <a:gd name="T33" fmla="*/ 9 h 164"/>
                  <a:gd name="T34" fmla="*/ 62 w 166"/>
                  <a:gd name="T35" fmla="*/ 23 h 164"/>
                  <a:gd name="T36" fmla="*/ 69 w 166"/>
                  <a:gd name="T37" fmla="*/ 30 h 164"/>
                  <a:gd name="T38" fmla="*/ 59 w 166"/>
                  <a:gd name="T39" fmla="*/ 39 h 164"/>
                  <a:gd name="T40" fmla="*/ 72 w 166"/>
                  <a:gd name="T41" fmla="*/ 39 h 164"/>
                  <a:gd name="T42" fmla="*/ 67 w 166"/>
                  <a:gd name="T43" fmla="*/ 48 h 164"/>
                  <a:gd name="T44" fmla="*/ 68 w 166"/>
                  <a:gd name="T45" fmla="*/ 61 h 164"/>
                  <a:gd name="T46" fmla="*/ 77 w 166"/>
                  <a:gd name="T47" fmla="*/ 49 h 164"/>
                  <a:gd name="T48" fmla="*/ 78 w 166"/>
                  <a:gd name="T49" fmla="*/ 63 h 164"/>
                  <a:gd name="T50" fmla="*/ 76 w 166"/>
                  <a:gd name="T51" fmla="*/ 78 h 164"/>
                  <a:gd name="T52" fmla="*/ 87 w 166"/>
                  <a:gd name="T53" fmla="*/ 75 h 164"/>
                  <a:gd name="T54" fmla="*/ 96 w 166"/>
                  <a:gd name="T55" fmla="*/ 83 h 164"/>
                  <a:gd name="T56" fmla="*/ 103 w 166"/>
                  <a:gd name="T57" fmla="*/ 96 h 164"/>
                  <a:gd name="T58" fmla="*/ 92 w 166"/>
                  <a:gd name="T59" fmla="*/ 104 h 164"/>
                  <a:gd name="T60" fmla="*/ 80 w 166"/>
                  <a:gd name="T61" fmla="*/ 111 h 164"/>
                  <a:gd name="T62" fmla="*/ 87 w 166"/>
                  <a:gd name="T63" fmla="*/ 118 h 164"/>
                  <a:gd name="T64" fmla="*/ 75 w 166"/>
                  <a:gd name="T65" fmla="*/ 133 h 164"/>
                  <a:gd name="T66" fmla="*/ 84 w 166"/>
                  <a:gd name="T67" fmla="*/ 135 h 164"/>
                  <a:gd name="T68" fmla="*/ 103 w 166"/>
                  <a:gd name="T69" fmla="*/ 135 h 164"/>
                  <a:gd name="T70" fmla="*/ 94 w 166"/>
                  <a:gd name="T71" fmla="*/ 141 h 164"/>
                  <a:gd name="T72" fmla="*/ 71 w 166"/>
                  <a:gd name="T73" fmla="*/ 158 h 164"/>
                  <a:gd name="T74" fmla="*/ 77 w 166"/>
                  <a:gd name="T75" fmla="*/ 159 h 164"/>
                  <a:gd name="T76" fmla="*/ 95 w 166"/>
                  <a:gd name="T77" fmla="*/ 151 h 164"/>
                  <a:gd name="T78" fmla="*/ 122 w 166"/>
                  <a:gd name="T79" fmla="*/ 150 h 164"/>
                  <a:gd name="T80" fmla="*/ 155 w 166"/>
                  <a:gd name="T81" fmla="*/ 147 h 164"/>
                  <a:gd name="T82" fmla="*/ 148 w 166"/>
                  <a:gd name="T83" fmla="*/ 138 h 164"/>
                  <a:gd name="T84" fmla="*/ 157 w 166"/>
                  <a:gd name="T85" fmla="*/ 129 h 164"/>
                  <a:gd name="T86" fmla="*/ 68 w 166"/>
                  <a:gd name="T87" fmla="*/ 83 h 164"/>
                  <a:gd name="T88" fmla="*/ 61 w 166"/>
                  <a:gd name="T89" fmla="*/ 70 h 164"/>
                  <a:gd name="T90" fmla="*/ 43 w 166"/>
                  <a:gd name="T91" fmla="*/ 70 h 164"/>
                  <a:gd name="T92" fmla="*/ 38 w 166"/>
                  <a:gd name="T93" fmla="*/ 71 h 164"/>
                  <a:gd name="T94" fmla="*/ 32 w 166"/>
                  <a:gd name="T95" fmla="*/ 79 h 164"/>
                  <a:gd name="T96" fmla="*/ 17 w 166"/>
                  <a:gd name="T97" fmla="*/ 87 h 164"/>
                  <a:gd name="T98" fmla="*/ 7 w 166"/>
                  <a:gd name="T99" fmla="*/ 92 h 164"/>
                  <a:gd name="T100" fmla="*/ 3 w 166"/>
                  <a:gd name="T101" fmla="*/ 99 h 164"/>
                  <a:gd name="T102" fmla="*/ 16 w 166"/>
                  <a:gd name="T103" fmla="*/ 106 h 164"/>
                  <a:gd name="T104" fmla="*/ 23 w 166"/>
                  <a:gd name="T105" fmla="*/ 115 h 164"/>
                  <a:gd name="T106" fmla="*/ 9 w 166"/>
                  <a:gd name="T107" fmla="*/ 125 h 164"/>
                  <a:gd name="T108" fmla="*/ 6 w 166"/>
                  <a:gd name="T109" fmla="*/ 134 h 164"/>
                  <a:gd name="T110" fmla="*/ 27 w 166"/>
                  <a:gd name="T111" fmla="*/ 130 h 164"/>
                  <a:gd name="T112" fmla="*/ 43 w 166"/>
                  <a:gd name="T113" fmla="*/ 125 h 164"/>
                  <a:gd name="T114" fmla="*/ 55 w 166"/>
                  <a:gd name="T115" fmla="*/ 121 h 164"/>
                  <a:gd name="T116" fmla="*/ 59 w 166"/>
                  <a:gd name="T117" fmla="*/ 100 h 164"/>
                  <a:gd name="T118" fmla="*/ 67 w 166"/>
                  <a:gd name="T119" fmla="*/ 8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6" h="164">
                    <a:moveTo>
                      <a:pt x="50" y="15"/>
                    </a:moveTo>
                    <a:lnTo>
                      <a:pt x="49" y="15"/>
                    </a:lnTo>
                    <a:lnTo>
                      <a:pt x="45" y="17"/>
                    </a:lnTo>
                    <a:lnTo>
                      <a:pt x="49" y="18"/>
                    </a:lnTo>
                    <a:lnTo>
                      <a:pt x="50" y="15"/>
                    </a:lnTo>
                    <a:close/>
                    <a:moveTo>
                      <a:pt x="50" y="15"/>
                    </a:moveTo>
                    <a:lnTo>
                      <a:pt x="51" y="14"/>
                    </a:lnTo>
                    <a:lnTo>
                      <a:pt x="51" y="12"/>
                    </a:lnTo>
                    <a:lnTo>
                      <a:pt x="52" y="14"/>
                    </a:lnTo>
                    <a:lnTo>
                      <a:pt x="54" y="14"/>
                    </a:lnTo>
                    <a:lnTo>
                      <a:pt x="54" y="11"/>
                    </a:lnTo>
                    <a:lnTo>
                      <a:pt x="56" y="9"/>
                    </a:lnTo>
                    <a:lnTo>
                      <a:pt x="58" y="6"/>
                    </a:lnTo>
                    <a:lnTo>
                      <a:pt x="58" y="4"/>
                    </a:lnTo>
                    <a:lnTo>
                      <a:pt x="55" y="4"/>
                    </a:lnTo>
                    <a:lnTo>
                      <a:pt x="52" y="6"/>
                    </a:lnTo>
                    <a:lnTo>
                      <a:pt x="50" y="9"/>
                    </a:lnTo>
                    <a:lnTo>
                      <a:pt x="49" y="11"/>
                    </a:lnTo>
                    <a:lnTo>
                      <a:pt x="46" y="9"/>
                    </a:lnTo>
                    <a:lnTo>
                      <a:pt x="45" y="11"/>
                    </a:lnTo>
                    <a:lnTo>
                      <a:pt x="46" y="14"/>
                    </a:lnTo>
                    <a:lnTo>
                      <a:pt x="50" y="15"/>
                    </a:lnTo>
                    <a:close/>
                    <a:moveTo>
                      <a:pt x="58" y="20"/>
                    </a:moveTo>
                    <a:lnTo>
                      <a:pt x="54" y="20"/>
                    </a:lnTo>
                    <a:lnTo>
                      <a:pt x="55" y="23"/>
                    </a:lnTo>
                    <a:lnTo>
                      <a:pt x="53" y="22"/>
                    </a:lnTo>
                    <a:lnTo>
                      <a:pt x="50" y="23"/>
                    </a:lnTo>
                    <a:lnTo>
                      <a:pt x="51" y="26"/>
                    </a:lnTo>
                    <a:lnTo>
                      <a:pt x="54" y="27"/>
                    </a:lnTo>
                    <a:lnTo>
                      <a:pt x="56" y="30"/>
                    </a:lnTo>
                    <a:lnTo>
                      <a:pt x="59" y="30"/>
                    </a:lnTo>
                    <a:lnTo>
                      <a:pt x="62" y="30"/>
                    </a:lnTo>
                    <a:lnTo>
                      <a:pt x="60" y="32"/>
                    </a:lnTo>
                    <a:lnTo>
                      <a:pt x="63" y="30"/>
                    </a:lnTo>
                    <a:lnTo>
                      <a:pt x="64" y="28"/>
                    </a:lnTo>
                    <a:lnTo>
                      <a:pt x="61" y="28"/>
                    </a:lnTo>
                    <a:lnTo>
                      <a:pt x="59" y="26"/>
                    </a:lnTo>
                    <a:lnTo>
                      <a:pt x="59" y="23"/>
                    </a:lnTo>
                    <a:lnTo>
                      <a:pt x="58" y="20"/>
                    </a:lnTo>
                    <a:close/>
                    <a:moveTo>
                      <a:pt x="56" y="47"/>
                    </a:moveTo>
                    <a:lnTo>
                      <a:pt x="61" y="46"/>
                    </a:lnTo>
                    <a:lnTo>
                      <a:pt x="64" y="46"/>
                    </a:lnTo>
                    <a:lnTo>
                      <a:pt x="64" y="43"/>
                    </a:lnTo>
                    <a:lnTo>
                      <a:pt x="61" y="43"/>
                    </a:lnTo>
                    <a:lnTo>
                      <a:pt x="59" y="39"/>
                    </a:lnTo>
                    <a:lnTo>
                      <a:pt x="58" y="43"/>
                    </a:lnTo>
                    <a:lnTo>
                      <a:pt x="60" y="43"/>
                    </a:lnTo>
                    <a:lnTo>
                      <a:pt x="60" y="45"/>
                    </a:lnTo>
                    <a:lnTo>
                      <a:pt x="56" y="47"/>
                    </a:lnTo>
                    <a:close/>
                    <a:moveTo>
                      <a:pt x="166" y="116"/>
                    </a:moveTo>
                    <a:lnTo>
                      <a:pt x="165" y="113"/>
                    </a:lnTo>
                    <a:lnTo>
                      <a:pt x="160" y="111"/>
                    </a:lnTo>
                    <a:lnTo>
                      <a:pt x="155" y="109"/>
                    </a:lnTo>
                    <a:lnTo>
                      <a:pt x="152" y="109"/>
                    </a:lnTo>
                    <a:lnTo>
                      <a:pt x="149" y="111"/>
                    </a:lnTo>
                    <a:lnTo>
                      <a:pt x="148" y="113"/>
                    </a:lnTo>
                    <a:lnTo>
                      <a:pt x="143" y="112"/>
                    </a:lnTo>
                    <a:lnTo>
                      <a:pt x="147" y="106"/>
                    </a:lnTo>
                    <a:lnTo>
                      <a:pt x="147" y="104"/>
                    </a:lnTo>
                    <a:lnTo>
                      <a:pt x="146" y="101"/>
                    </a:lnTo>
                    <a:lnTo>
                      <a:pt x="138" y="96"/>
                    </a:lnTo>
                    <a:lnTo>
                      <a:pt x="136" y="96"/>
                    </a:lnTo>
                    <a:lnTo>
                      <a:pt x="132" y="96"/>
                    </a:lnTo>
                    <a:lnTo>
                      <a:pt x="134" y="96"/>
                    </a:lnTo>
                    <a:lnTo>
                      <a:pt x="137" y="96"/>
                    </a:lnTo>
                    <a:lnTo>
                      <a:pt x="138" y="96"/>
                    </a:lnTo>
                    <a:lnTo>
                      <a:pt x="143" y="97"/>
                    </a:lnTo>
                    <a:lnTo>
                      <a:pt x="145" y="97"/>
                    </a:lnTo>
                    <a:lnTo>
                      <a:pt x="141" y="92"/>
                    </a:lnTo>
                    <a:lnTo>
                      <a:pt x="140" y="90"/>
                    </a:lnTo>
                    <a:lnTo>
                      <a:pt x="140" y="88"/>
                    </a:lnTo>
                    <a:lnTo>
                      <a:pt x="135" y="81"/>
                    </a:lnTo>
                    <a:lnTo>
                      <a:pt x="132" y="80"/>
                    </a:lnTo>
                    <a:lnTo>
                      <a:pt x="127" y="79"/>
                    </a:lnTo>
                    <a:lnTo>
                      <a:pt x="127" y="78"/>
                    </a:lnTo>
                    <a:lnTo>
                      <a:pt x="124" y="75"/>
                    </a:lnTo>
                    <a:lnTo>
                      <a:pt x="123" y="70"/>
                    </a:lnTo>
                    <a:lnTo>
                      <a:pt x="122" y="69"/>
                    </a:lnTo>
                    <a:lnTo>
                      <a:pt x="120" y="61"/>
                    </a:lnTo>
                    <a:lnTo>
                      <a:pt x="118" y="60"/>
                    </a:lnTo>
                    <a:lnTo>
                      <a:pt x="113" y="54"/>
                    </a:lnTo>
                    <a:lnTo>
                      <a:pt x="111" y="53"/>
                    </a:lnTo>
                    <a:lnTo>
                      <a:pt x="107" y="52"/>
                    </a:lnTo>
                    <a:lnTo>
                      <a:pt x="104" y="52"/>
                    </a:lnTo>
                    <a:lnTo>
                      <a:pt x="102" y="53"/>
                    </a:lnTo>
                    <a:lnTo>
                      <a:pt x="94" y="53"/>
                    </a:lnTo>
                    <a:lnTo>
                      <a:pt x="92" y="52"/>
                    </a:lnTo>
                    <a:lnTo>
                      <a:pt x="90" y="51"/>
                    </a:lnTo>
                    <a:lnTo>
                      <a:pt x="92" y="52"/>
                    </a:lnTo>
                    <a:lnTo>
                      <a:pt x="94" y="52"/>
                    </a:lnTo>
                    <a:lnTo>
                      <a:pt x="96" y="52"/>
                    </a:lnTo>
                    <a:lnTo>
                      <a:pt x="98" y="52"/>
                    </a:lnTo>
                    <a:lnTo>
                      <a:pt x="102" y="48"/>
                    </a:lnTo>
                    <a:lnTo>
                      <a:pt x="104" y="48"/>
                    </a:lnTo>
                    <a:lnTo>
                      <a:pt x="105" y="46"/>
                    </a:lnTo>
                    <a:lnTo>
                      <a:pt x="103" y="44"/>
                    </a:lnTo>
                    <a:lnTo>
                      <a:pt x="98" y="46"/>
                    </a:lnTo>
                    <a:lnTo>
                      <a:pt x="97" y="45"/>
                    </a:lnTo>
                    <a:lnTo>
                      <a:pt x="102" y="44"/>
                    </a:lnTo>
                    <a:lnTo>
                      <a:pt x="105" y="44"/>
                    </a:lnTo>
                    <a:lnTo>
                      <a:pt x="107" y="41"/>
                    </a:lnTo>
                    <a:lnTo>
                      <a:pt x="110" y="38"/>
                    </a:lnTo>
                    <a:lnTo>
                      <a:pt x="113" y="35"/>
                    </a:lnTo>
                    <a:lnTo>
                      <a:pt x="115" y="28"/>
                    </a:lnTo>
                    <a:lnTo>
                      <a:pt x="118" y="26"/>
                    </a:lnTo>
                    <a:lnTo>
                      <a:pt x="118" y="22"/>
                    </a:lnTo>
                    <a:lnTo>
                      <a:pt x="117" y="20"/>
                    </a:lnTo>
                    <a:lnTo>
                      <a:pt x="109" y="20"/>
                    </a:lnTo>
                    <a:lnTo>
                      <a:pt x="103" y="19"/>
                    </a:lnTo>
                    <a:lnTo>
                      <a:pt x="101" y="20"/>
                    </a:lnTo>
                    <a:lnTo>
                      <a:pt x="96" y="19"/>
                    </a:lnTo>
                    <a:lnTo>
                      <a:pt x="90" y="21"/>
                    </a:lnTo>
                    <a:lnTo>
                      <a:pt x="87" y="21"/>
                    </a:lnTo>
                    <a:lnTo>
                      <a:pt x="85" y="23"/>
                    </a:lnTo>
                    <a:lnTo>
                      <a:pt x="85" y="20"/>
                    </a:lnTo>
                    <a:lnTo>
                      <a:pt x="88" y="19"/>
                    </a:lnTo>
                    <a:lnTo>
                      <a:pt x="88" y="17"/>
                    </a:lnTo>
                    <a:lnTo>
                      <a:pt x="86" y="17"/>
                    </a:lnTo>
                    <a:lnTo>
                      <a:pt x="84" y="15"/>
                    </a:lnTo>
                    <a:lnTo>
                      <a:pt x="87" y="14"/>
                    </a:lnTo>
                    <a:lnTo>
                      <a:pt x="88" y="14"/>
                    </a:lnTo>
                    <a:lnTo>
                      <a:pt x="100" y="5"/>
                    </a:lnTo>
                    <a:lnTo>
                      <a:pt x="100" y="1"/>
                    </a:lnTo>
                    <a:lnTo>
                      <a:pt x="97" y="0"/>
                    </a:lnTo>
                    <a:lnTo>
                      <a:pt x="94" y="1"/>
                    </a:lnTo>
                    <a:lnTo>
                      <a:pt x="93" y="1"/>
                    </a:lnTo>
                    <a:lnTo>
                      <a:pt x="89" y="2"/>
                    </a:lnTo>
                    <a:lnTo>
                      <a:pt x="87" y="2"/>
                    </a:lnTo>
                    <a:lnTo>
                      <a:pt x="85" y="3"/>
                    </a:lnTo>
                    <a:lnTo>
                      <a:pt x="81" y="3"/>
                    </a:lnTo>
                    <a:lnTo>
                      <a:pt x="77" y="2"/>
                    </a:lnTo>
                    <a:lnTo>
                      <a:pt x="75" y="1"/>
                    </a:lnTo>
                    <a:lnTo>
                      <a:pt x="75" y="4"/>
                    </a:lnTo>
                    <a:lnTo>
                      <a:pt x="72" y="5"/>
                    </a:lnTo>
                    <a:lnTo>
                      <a:pt x="73" y="9"/>
                    </a:lnTo>
                    <a:lnTo>
                      <a:pt x="69" y="9"/>
                    </a:lnTo>
                    <a:lnTo>
                      <a:pt x="70" y="11"/>
                    </a:lnTo>
                    <a:lnTo>
                      <a:pt x="70" y="13"/>
                    </a:lnTo>
                    <a:lnTo>
                      <a:pt x="71" y="17"/>
                    </a:lnTo>
                    <a:lnTo>
                      <a:pt x="66" y="15"/>
                    </a:lnTo>
                    <a:lnTo>
                      <a:pt x="63" y="18"/>
                    </a:lnTo>
                    <a:lnTo>
                      <a:pt x="64" y="21"/>
                    </a:lnTo>
                    <a:lnTo>
                      <a:pt x="64" y="22"/>
                    </a:lnTo>
                    <a:lnTo>
                      <a:pt x="62" y="23"/>
                    </a:lnTo>
                    <a:lnTo>
                      <a:pt x="64" y="26"/>
                    </a:lnTo>
                    <a:lnTo>
                      <a:pt x="67" y="26"/>
                    </a:lnTo>
                    <a:lnTo>
                      <a:pt x="64" y="27"/>
                    </a:lnTo>
                    <a:lnTo>
                      <a:pt x="68" y="27"/>
                    </a:lnTo>
                    <a:lnTo>
                      <a:pt x="68" y="29"/>
                    </a:lnTo>
                    <a:lnTo>
                      <a:pt x="66" y="28"/>
                    </a:lnTo>
                    <a:lnTo>
                      <a:pt x="66" y="30"/>
                    </a:lnTo>
                    <a:lnTo>
                      <a:pt x="69" y="30"/>
                    </a:lnTo>
                    <a:lnTo>
                      <a:pt x="67" y="30"/>
                    </a:lnTo>
                    <a:lnTo>
                      <a:pt x="63" y="31"/>
                    </a:lnTo>
                    <a:lnTo>
                      <a:pt x="67" y="34"/>
                    </a:lnTo>
                    <a:lnTo>
                      <a:pt x="63" y="32"/>
                    </a:lnTo>
                    <a:lnTo>
                      <a:pt x="63" y="35"/>
                    </a:lnTo>
                    <a:lnTo>
                      <a:pt x="62" y="38"/>
                    </a:lnTo>
                    <a:lnTo>
                      <a:pt x="61" y="37"/>
                    </a:lnTo>
                    <a:lnTo>
                      <a:pt x="59" y="39"/>
                    </a:lnTo>
                    <a:lnTo>
                      <a:pt x="63" y="38"/>
                    </a:lnTo>
                    <a:lnTo>
                      <a:pt x="67" y="39"/>
                    </a:lnTo>
                    <a:lnTo>
                      <a:pt x="63" y="39"/>
                    </a:lnTo>
                    <a:lnTo>
                      <a:pt x="62" y="41"/>
                    </a:lnTo>
                    <a:lnTo>
                      <a:pt x="64" y="43"/>
                    </a:lnTo>
                    <a:lnTo>
                      <a:pt x="68" y="41"/>
                    </a:lnTo>
                    <a:lnTo>
                      <a:pt x="72" y="36"/>
                    </a:lnTo>
                    <a:lnTo>
                      <a:pt x="72" y="39"/>
                    </a:lnTo>
                    <a:lnTo>
                      <a:pt x="75" y="38"/>
                    </a:lnTo>
                    <a:lnTo>
                      <a:pt x="70" y="39"/>
                    </a:lnTo>
                    <a:lnTo>
                      <a:pt x="69" y="41"/>
                    </a:lnTo>
                    <a:lnTo>
                      <a:pt x="69" y="44"/>
                    </a:lnTo>
                    <a:lnTo>
                      <a:pt x="71" y="44"/>
                    </a:lnTo>
                    <a:lnTo>
                      <a:pt x="69" y="44"/>
                    </a:lnTo>
                    <a:lnTo>
                      <a:pt x="67" y="46"/>
                    </a:lnTo>
                    <a:lnTo>
                      <a:pt x="67" y="48"/>
                    </a:lnTo>
                    <a:lnTo>
                      <a:pt x="66" y="51"/>
                    </a:lnTo>
                    <a:lnTo>
                      <a:pt x="66" y="55"/>
                    </a:lnTo>
                    <a:lnTo>
                      <a:pt x="66" y="57"/>
                    </a:lnTo>
                    <a:lnTo>
                      <a:pt x="64" y="61"/>
                    </a:lnTo>
                    <a:lnTo>
                      <a:pt x="63" y="65"/>
                    </a:lnTo>
                    <a:lnTo>
                      <a:pt x="64" y="65"/>
                    </a:lnTo>
                    <a:lnTo>
                      <a:pt x="67" y="63"/>
                    </a:lnTo>
                    <a:lnTo>
                      <a:pt x="68" y="61"/>
                    </a:lnTo>
                    <a:lnTo>
                      <a:pt x="69" y="53"/>
                    </a:lnTo>
                    <a:lnTo>
                      <a:pt x="71" y="49"/>
                    </a:lnTo>
                    <a:lnTo>
                      <a:pt x="75" y="48"/>
                    </a:lnTo>
                    <a:lnTo>
                      <a:pt x="70" y="52"/>
                    </a:lnTo>
                    <a:lnTo>
                      <a:pt x="72" y="54"/>
                    </a:lnTo>
                    <a:lnTo>
                      <a:pt x="72" y="53"/>
                    </a:lnTo>
                    <a:lnTo>
                      <a:pt x="75" y="55"/>
                    </a:lnTo>
                    <a:lnTo>
                      <a:pt x="77" y="49"/>
                    </a:lnTo>
                    <a:lnTo>
                      <a:pt x="77" y="52"/>
                    </a:lnTo>
                    <a:lnTo>
                      <a:pt x="80" y="54"/>
                    </a:lnTo>
                    <a:lnTo>
                      <a:pt x="77" y="53"/>
                    </a:lnTo>
                    <a:lnTo>
                      <a:pt x="77" y="53"/>
                    </a:lnTo>
                    <a:lnTo>
                      <a:pt x="76" y="56"/>
                    </a:lnTo>
                    <a:lnTo>
                      <a:pt x="76" y="58"/>
                    </a:lnTo>
                    <a:lnTo>
                      <a:pt x="79" y="61"/>
                    </a:lnTo>
                    <a:lnTo>
                      <a:pt x="78" y="63"/>
                    </a:lnTo>
                    <a:lnTo>
                      <a:pt x="75" y="69"/>
                    </a:lnTo>
                    <a:lnTo>
                      <a:pt x="73" y="72"/>
                    </a:lnTo>
                    <a:lnTo>
                      <a:pt x="75" y="73"/>
                    </a:lnTo>
                    <a:lnTo>
                      <a:pt x="72" y="71"/>
                    </a:lnTo>
                    <a:lnTo>
                      <a:pt x="72" y="71"/>
                    </a:lnTo>
                    <a:lnTo>
                      <a:pt x="72" y="73"/>
                    </a:lnTo>
                    <a:lnTo>
                      <a:pt x="76" y="79"/>
                    </a:lnTo>
                    <a:lnTo>
                      <a:pt x="76" y="78"/>
                    </a:lnTo>
                    <a:lnTo>
                      <a:pt x="75" y="75"/>
                    </a:lnTo>
                    <a:lnTo>
                      <a:pt x="78" y="74"/>
                    </a:lnTo>
                    <a:lnTo>
                      <a:pt x="80" y="77"/>
                    </a:lnTo>
                    <a:lnTo>
                      <a:pt x="83" y="75"/>
                    </a:lnTo>
                    <a:lnTo>
                      <a:pt x="83" y="73"/>
                    </a:lnTo>
                    <a:lnTo>
                      <a:pt x="85" y="74"/>
                    </a:lnTo>
                    <a:lnTo>
                      <a:pt x="87" y="74"/>
                    </a:lnTo>
                    <a:lnTo>
                      <a:pt x="87" y="75"/>
                    </a:lnTo>
                    <a:lnTo>
                      <a:pt x="88" y="75"/>
                    </a:lnTo>
                    <a:lnTo>
                      <a:pt x="94" y="72"/>
                    </a:lnTo>
                    <a:lnTo>
                      <a:pt x="102" y="72"/>
                    </a:lnTo>
                    <a:lnTo>
                      <a:pt x="98" y="73"/>
                    </a:lnTo>
                    <a:lnTo>
                      <a:pt x="96" y="75"/>
                    </a:lnTo>
                    <a:lnTo>
                      <a:pt x="94" y="79"/>
                    </a:lnTo>
                    <a:lnTo>
                      <a:pt x="93" y="81"/>
                    </a:lnTo>
                    <a:lnTo>
                      <a:pt x="96" y="83"/>
                    </a:lnTo>
                    <a:lnTo>
                      <a:pt x="98" y="86"/>
                    </a:lnTo>
                    <a:lnTo>
                      <a:pt x="100" y="89"/>
                    </a:lnTo>
                    <a:lnTo>
                      <a:pt x="101" y="87"/>
                    </a:lnTo>
                    <a:lnTo>
                      <a:pt x="102" y="87"/>
                    </a:lnTo>
                    <a:lnTo>
                      <a:pt x="104" y="87"/>
                    </a:lnTo>
                    <a:lnTo>
                      <a:pt x="103" y="91"/>
                    </a:lnTo>
                    <a:lnTo>
                      <a:pt x="101" y="94"/>
                    </a:lnTo>
                    <a:lnTo>
                      <a:pt x="103" y="96"/>
                    </a:lnTo>
                    <a:lnTo>
                      <a:pt x="102" y="96"/>
                    </a:lnTo>
                    <a:lnTo>
                      <a:pt x="101" y="99"/>
                    </a:lnTo>
                    <a:lnTo>
                      <a:pt x="102" y="101"/>
                    </a:lnTo>
                    <a:lnTo>
                      <a:pt x="101" y="101"/>
                    </a:lnTo>
                    <a:lnTo>
                      <a:pt x="101" y="105"/>
                    </a:lnTo>
                    <a:lnTo>
                      <a:pt x="96" y="103"/>
                    </a:lnTo>
                    <a:lnTo>
                      <a:pt x="94" y="104"/>
                    </a:lnTo>
                    <a:lnTo>
                      <a:pt x="92" y="104"/>
                    </a:lnTo>
                    <a:lnTo>
                      <a:pt x="86" y="105"/>
                    </a:lnTo>
                    <a:lnTo>
                      <a:pt x="86" y="104"/>
                    </a:lnTo>
                    <a:lnTo>
                      <a:pt x="83" y="101"/>
                    </a:lnTo>
                    <a:lnTo>
                      <a:pt x="80" y="104"/>
                    </a:lnTo>
                    <a:lnTo>
                      <a:pt x="83" y="107"/>
                    </a:lnTo>
                    <a:lnTo>
                      <a:pt x="85" y="105"/>
                    </a:lnTo>
                    <a:lnTo>
                      <a:pt x="83" y="108"/>
                    </a:lnTo>
                    <a:lnTo>
                      <a:pt x="80" y="111"/>
                    </a:lnTo>
                    <a:lnTo>
                      <a:pt x="77" y="113"/>
                    </a:lnTo>
                    <a:lnTo>
                      <a:pt x="81" y="113"/>
                    </a:lnTo>
                    <a:lnTo>
                      <a:pt x="84" y="111"/>
                    </a:lnTo>
                    <a:lnTo>
                      <a:pt x="86" y="112"/>
                    </a:lnTo>
                    <a:lnTo>
                      <a:pt x="87" y="114"/>
                    </a:lnTo>
                    <a:lnTo>
                      <a:pt x="87" y="115"/>
                    </a:lnTo>
                    <a:lnTo>
                      <a:pt x="88" y="117"/>
                    </a:lnTo>
                    <a:lnTo>
                      <a:pt x="87" y="118"/>
                    </a:lnTo>
                    <a:lnTo>
                      <a:pt x="86" y="121"/>
                    </a:lnTo>
                    <a:lnTo>
                      <a:pt x="84" y="123"/>
                    </a:lnTo>
                    <a:lnTo>
                      <a:pt x="79" y="126"/>
                    </a:lnTo>
                    <a:lnTo>
                      <a:pt x="73" y="128"/>
                    </a:lnTo>
                    <a:lnTo>
                      <a:pt x="71" y="130"/>
                    </a:lnTo>
                    <a:lnTo>
                      <a:pt x="71" y="132"/>
                    </a:lnTo>
                    <a:lnTo>
                      <a:pt x="76" y="133"/>
                    </a:lnTo>
                    <a:lnTo>
                      <a:pt x="75" y="133"/>
                    </a:lnTo>
                    <a:lnTo>
                      <a:pt x="75" y="134"/>
                    </a:lnTo>
                    <a:lnTo>
                      <a:pt x="78" y="134"/>
                    </a:lnTo>
                    <a:lnTo>
                      <a:pt x="80" y="132"/>
                    </a:lnTo>
                    <a:lnTo>
                      <a:pt x="83" y="131"/>
                    </a:lnTo>
                    <a:lnTo>
                      <a:pt x="84" y="133"/>
                    </a:lnTo>
                    <a:lnTo>
                      <a:pt x="87" y="133"/>
                    </a:lnTo>
                    <a:lnTo>
                      <a:pt x="87" y="134"/>
                    </a:lnTo>
                    <a:lnTo>
                      <a:pt x="84" y="135"/>
                    </a:lnTo>
                    <a:lnTo>
                      <a:pt x="87" y="135"/>
                    </a:lnTo>
                    <a:lnTo>
                      <a:pt x="89" y="134"/>
                    </a:lnTo>
                    <a:lnTo>
                      <a:pt x="92" y="135"/>
                    </a:lnTo>
                    <a:lnTo>
                      <a:pt x="94" y="138"/>
                    </a:lnTo>
                    <a:lnTo>
                      <a:pt x="95" y="139"/>
                    </a:lnTo>
                    <a:lnTo>
                      <a:pt x="98" y="139"/>
                    </a:lnTo>
                    <a:lnTo>
                      <a:pt x="102" y="135"/>
                    </a:lnTo>
                    <a:lnTo>
                      <a:pt x="103" y="135"/>
                    </a:lnTo>
                    <a:lnTo>
                      <a:pt x="105" y="135"/>
                    </a:lnTo>
                    <a:lnTo>
                      <a:pt x="110" y="131"/>
                    </a:lnTo>
                    <a:lnTo>
                      <a:pt x="105" y="137"/>
                    </a:lnTo>
                    <a:lnTo>
                      <a:pt x="104" y="138"/>
                    </a:lnTo>
                    <a:lnTo>
                      <a:pt x="102" y="140"/>
                    </a:lnTo>
                    <a:lnTo>
                      <a:pt x="102" y="142"/>
                    </a:lnTo>
                    <a:lnTo>
                      <a:pt x="97" y="142"/>
                    </a:lnTo>
                    <a:lnTo>
                      <a:pt x="94" y="141"/>
                    </a:lnTo>
                    <a:lnTo>
                      <a:pt x="88" y="142"/>
                    </a:lnTo>
                    <a:lnTo>
                      <a:pt x="84" y="146"/>
                    </a:lnTo>
                    <a:lnTo>
                      <a:pt x="81" y="146"/>
                    </a:lnTo>
                    <a:lnTo>
                      <a:pt x="79" y="150"/>
                    </a:lnTo>
                    <a:lnTo>
                      <a:pt x="77" y="152"/>
                    </a:lnTo>
                    <a:lnTo>
                      <a:pt x="75" y="154"/>
                    </a:lnTo>
                    <a:lnTo>
                      <a:pt x="73" y="155"/>
                    </a:lnTo>
                    <a:lnTo>
                      <a:pt x="71" y="158"/>
                    </a:lnTo>
                    <a:lnTo>
                      <a:pt x="69" y="159"/>
                    </a:lnTo>
                    <a:lnTo>
                      <a:pt x="67" y="160"/>
                    </a:lnTo>
                    <a:lnTo>
                      <a:pt x="66" y="163"/>
                    </a:lnTo>
                    <a:lnTo>
                      <a:pt x="68" y="161"/>
                    </a:lnTo>
                    <a:lnTo>
                      <a:pt x="71" y="164"/>
                    </a:lnTo>
                    <a:lnTo>
                      <a:pt x="72" y="164"/>
                    </a:lnTo>
                    <a:lnTo>
                      <a:pt x="75" y="161"/>
                    </a:lnTo>
                    <a:lnTo>
                      <a:pt x="77" y="159"/>
                    </a:lnTo>
                    <a:lnTo>
                      <a:pt x="79" y="158"/>
                    </a:lnTo>
                    <a:lnTo>
                      <a:pt x="83" y="157"/>
                    </a:lnTo>
                    <a:lnTo>
                      <a:pt x="85" y="157"/>
                    </a:lnTo>
                    <a:lnTo>
                      <a:pt x="85" y="156"/>
                    </a:lnTo>
                    <a:lnTo>
                      <a:pt x="85" y="157"/>
                    </a:lnTo>
                    <a:lnTo>
                      <a:pt x="92" y="159"/>
                    </a:lnTo>
                    <a:lnTo>
                      <a:pt x="95" y="157"/>
                    </a:lnTo>
                    <a:lnTo>
                      <a:pt x="95" y="151"/>
                    </a:lnTo>
                    <a:lnTo>
                      <a:pt x="96" y="152"/>
                    </a:lnTo>
                    <a:lnTo>
                      <a:pt x="100" y="151"/>
                    </a:lnTo>
                    <a:lnTo>
                      <a:pt x="104" y="150"/>
                    </a:lnTo>
                    <a:lnTo>
                      <a:pt x="109" y="152"/>
                    </a:lnTo>
                    <a:lnTo>
                      <a:pt x="112" y="152"/>
                    </a:lnTo>
                    <a:lnTo>
                      <a:pt x="115" y="150"/>
                    </a:lnTo>
                    <a:lnTo>
                      <a:pt x="115" y="151"/>
                    </a:lnTo>
                    <a:lnTo>
                      <a:pt x="122" y="150"/>
                    </a:lnTo>
                    <a:lnTo>
                      <a:pt x="124" y="148"/>
                    </a:lnTo>
                    <a:lnTo>
                      <a:pt x="130" y="148"/>
                    </a:lnTo>
                    <a:lnTo>
                      <a:pt x="131" y="150"/>
                    </a:lnTo>
                    <a:lnTo>
                      <a:pt x="135" y="149"/>
                    </a:lnTo>
                    <a:lnTo>
                      <a:pt x="140" y="149"/>
                    </a:lnTo>
                    <a:lnTo>
                      <a:pt x="146" y="150"/>
                    </a:lnTo>
                    <a:lnTo>
                      <a:pt x="149" y="148"/>
                    </a:lnTo>
                    <a:lnTo>
                      <a:pt x="155" y="147"/>
                    </a:lnTo>
                    <a:lnTo>
                      <a:pt x="156" y="144"/>
                    </a:lnTo>
                    <a:lnTo>
                      <a:pt x="160" y="143"/>
                    </a:lnTo>
                    <a:lnTo>
                      <a:pt x="162" y="141"/>
                    </a:lnTo>
                    <a:lnTo>
                      <a:pt x="161" y="139"/>
                    </a:lnTo>
                    <a:lnTo>
                      <a:pt x="155" y="140"/>
                    </a:lnTo>
                    <a:lnTo>
                      <a:pt x="151" y="138"/>
                    </a:lnTo>
                    <a:lnTo>
                      <a:pt x="151" y="137"/>
                    </a:lnTo>
                    <a:lnTo>
                      <a:pt x="148" y="138"/>
                    </a:lnTo>
                    <a:lnTo>
                      <a:pt x="149" y="137"/>
                    </a:lnTo>
                    <a:lnTo>
                      <a:pt x="154" y="135"/>
                    </a:lnTo>
                    <a:lnTo>
                      <a:pt x="153" y="133"/>
                    </a:lnTo>
                    <a:lnTo>
                      <a:pt x="154" y="132"/>
                    </a:lnTo>
                    <a:lnTo>
                      <a:pt x="156" y="131"/>
                    </a:lnTo>
                    <a:lnTo>
                      <a:pt x="160" y="131"/>
                    </a:lnTo>
                    <a:lnTo>
                      <a:pt x="160" y="129"/>
                    </a:lnTo>
                    <a:lnTo>
                      <a:pt x="157" y="129"/>
                    </a:lnTo>
                    <a:lnTo>
                      <a:pt x="163" y="126"/>
                    </a:lnTo>
                    <a:lnTo>
                      <a:pt x="165" y="124"/>
                    </a:lnTo>
                    <a:lnTo>
                      <a:pt x="166" y="118"/>
                    </a:lnTo>
                    <a:lnTo>
                      <a:pt x="166" y="116"/>
                    </a:lnTo>
                    <a:close/>
                    <a:moveTo>
                      <a:pt x="66" y="82"/>
                    </a:moveTo>
                    <a:lnTo>
                      <a:pt x="67" y="81"/>
                    </a:lnTo>
                    <a:lnTo>
                      <a:pt x="67" y="83"/>
                    </a:lnTo>
                    <a:lnTo>
                      <a:pt x="68" y="83"/>
                    </a:lnTo>
                    <a:lnTo>
                      <a:pt x="68" y="80"/>
                    </a:lnTo>
                    <a:lnTo>
                      <a:pt x="67" y="78"/>
                    </a:lnTo>
                    <a:lnTo>
                      <a:pt x="64" y="78"/>
                    </a:lnTo>
                    <a:lnTo>
                      <a:pt x="62" y="79"/>
                    </a:lnTo>
                    <a:lnTo>
                      <a:pt x="62" y="78"/>
                    </a:lnTo>
                    <a:lnTo>
                      <a:pt x="64" y="75"/>
                    </a:lnTo>
                    <a:lnTo>
                      <a:pt x="61" y="71"/>
                    </a:lnTo>
                    <a:lnTo>
                      <a:pt x="61" y="70"/>
                    </a:lnTo>
                    <a:lnTo>
                      <a:pt x="60" y="70"/>
                    </a:lnTo>
                    <a:lnTo>
                      <a:pt x="59" y="67"/>
                    </a:lnTo>
                    <a:lnTo>
                      <a:pt x="53" y="67"/>
                    </a:lnTo>
                    <a:lnTo>
                      <a:pt x="50" y="69"/>
                    </a:lnTo>
                    <a:lnTo>
                      <a:pt x="47" y="67"/>
                    </a:lnTo>
                    <a:lnTo>
                      <a:pt x="45" y="71"/>
                    </a:lnTo>
                    <a:lnTo>
                      <a:pt x="43" y="71"/>
                    </a:lnTo>
                    <a:lnTo>
                      <a:pt x="43" y="70"/>
                    </a:lnTo>
                    <a:lnTo>
                      <a:pt x="45" y="69"/>
                    </a:lnTo>
                    <a:lnTo>
                      <a:pt x="45" y="66"/>
                    </a:lnTo>
                    <a:lnTo>
                      <a:pt x="42" y="65"/>
                    </a:lnTo>
                    <a:lnTo>
                      <a:pt x="40" y="66"/>
                    </a:lnTo>
                    <a:lnTo>
                      <a:pt x="40" y="66"/>
                    </a:lnTo>
                    <a:lnTo>
                      <a:pt x="41" y="69"/>
                    </a:lnTo>
                    <a:lnTo>
                      <a:pt x="38" y="71"/>
                    </a:lnTo>
                    <a:lnTo>
                      <a:pt x="38" y="71"/>
                    </a:lnTo>
                    <a:lnTo>
                      <a:pt x="37" y="69"/>
                    </a:lnTo>
                    <a:lnTo>
                      <a:pt x="35" y="69"/>
                    </a:lnTo>
                    <a:lnTo>
                      <a:pt x="29" y="69"/>
                    </a:lnTo>
                    <a:lnTo>
                      <a:pt x="27" y="71"/>
                    </a:lnTo>
                    <a:lnTo>
                      <a:pt x="28" y="74"/>
                    </a:lnTo>
                    <a:lnTo>
                      <a:pt x="26" y="75"/>
                    </a:lnTo>
                    <a:lnTo>
                      <a:pt x="24" y="79"/>
                    </a:lnTo>
                    <a:lnTo>
                      <a:pt x="32" y="79"/>
                    </a:lnTo>
                    <a:lnTo>
                      <a:pt x="30" y="81"/>
                    </a:lnTo>
                    <a:lnTo>
                      <a:pt x="29" y="81"/>
                    </a:lnTo>
                    <a:lnTo>
                      <a:pt x="28" y="81"/>
                    </a:lnTo>
                    <a:lnTo>
                      <a:pt x="24" y="83"/>
                    </a:lnTo>
                    <a:lnTo>
                      <a:pt x="26" y="87"/>
                    </a:lnTo>
                    <a:lnTo>
                      <a:pt x="20" y="84"/>
                    </a:lnTo>
                    <a:lnTo>
                      <a:pt x="18" y="88"/>
                    </a:lnTo>
                    <a:lnTo>
                      <a:pt x="17" y="87"/>
                    </a:lnTo>
                    <a:lnTo>
                      <a:pt x="15" y="84"/>
                    </a:lnTo>
                    <a:lnTo>
                      <a:pt x="11" y="84"/>
                    </a:lnTo>
                    <a:lnTo>
                      <a:pt x="9" y="86"/>
                    </a:lnTo>
                    <a:lnTo>
                      <a:pt x="6" y="84"/>
                    </a:lnTo>
                    <a:lnTo>
                      <a:pt x="6" y="87"/>
                    </a:lnTo>
                    <a:lnTo>
                      <a:pt x="7" y="87"/>
                    </a:lnTo>
                    <a:lnTo>
                      <a:pt x="7" y="89"/>
                    </a:lnTo>
                    <a:lnTo>
                      <a:pt x="7" y="92"/>
                    </a:lnTo>
                    <a:lnTo>
                      <a:pt x="9" y="92"/>
                    </a:lnTo>
                    <a:lnTo>
                      <a:pt x="11" y="95"/>
                    </a:lnTo>
                    <a:lnTo>
                      <a:pt x="9" y="95"/>
                    </a:lnTo>
                    <a:lnTo>
                      <a:pt x="7" y="97"/>
                    </a:lnTo>
                    <a:lnTo>
                      <a:pt x="10" y="98"/>
                    </a:lnTo>
                    <a:lnTo>
                      <a:pt x="6" y="98"/>
                    </a:lnTo>
                    <a:lnTo>
                      <a:pt x="6" y="99"/>
                    </a:lnTo>
                    <a:lnTo>
                      <a:pt x="3" y="99"/>
                    </a:lnTo>
                    <a:lnTo>
                      <a:pt x="6" y="101"/>
                    </a:lnTo>
                    <a:lnTo>
                      <a:pt x="9" y="104"/>
                    </a:lnTo>
                    <a:lnTo>
                      <a:pt x="11" y="101"/>
                    </a:lnTo>
                    <a:lnTo>
                      <a:pt x="13" y="105"/>
                    </a:lnTo>
                    <a:lnTo>
                      <a:pt x="18" y="104"/>
                    </a:lnTo>
                    <a:lnTo>
                      <a:pt x="19" y="106"/>
                    </a:lnTo>
                    <a:lnTo>
                      <a:pt x="18" y="107"/>
                    </a:lnTo>
                    <a:lnTo>
                      <a:pt x="16" y="106"/>
                    </a:lnTo>
                    <a:lnTo>
                      <a:pt x="13" y="109"/>
                    </a:lnTo>
                    <a:lnTo>
                      <a:pt x="13" y="112"/>
                    </a:lnTo>
                    <a:lnTo>
                      <a:pt x="8" y="117"/>
                    </a:lnTo>
                    <a:lnTo>
                      <a:pt x="12" y="116"/>
                    </a:lnTo>
                    <a:lnTo>
                      <a:pt x="18" y="116"/>
                    </a:lnTo>
                    <a:lnTo>
                      <a:pt x="20" y="113"/>
                    </a:lnTo>
                    <a:lnTo>
                      <a:pt x="20" y="115"/>
                    </a:lnTo>
                    <a:lnTo>
                      <a:pt x="23" y="115"/>
                    </a:lnTo>
                    <a:lnTo>
                      <a:pt x="20" y="115"/>
                    </a:lnTo>
                    <a:lnTo>
                      <a:pt x="13" y="117"/>
                    </a:lnTo>
                    <a:lnTo>
                      <a:pt x="8" y="121"/>
                    </a:lnTo>
                    <a:lnTo>
                      <a:pt x="9" y="123"/>
                    </a:lnTo>
                    <a:lnTo>
                      <a:pt x="2" y="123"/>
                    </a:lnTo>
                    <a:lnTo>
                      <a:pt x="0" y="125"/>
                    </a:lnTo>
                    <a:lnTo>
                      <a:pt x="6" y="125"/>
                    </a:lnTo>
                    <a:lnTo>
                      <a:pt x="9" y="125"/>
                    </a:lnTo>
                    <a:lnTo>
                      <a:pt x="6" y="126"/>
                    </a:lnTo>
                    <a:lnTo>
                      <a:pt x="2" y="128"/>
                    </a:lnTo>
                    <a:lnTo>
                      <a:pt x="0" y="130"/>
                    </a:lnTo>
                    <a:lnTo>
                      <a:pt x="3" y="131"/>
                    </a:lnTo>
                    <a:lnTo>
                      <a:pt x="6" y="131"/>
                    </a:lnTo>
                    <a:lnTo>
                      <a:pt x="10" y="131"/>
                    </a:lnTo>
                    <a:lnTo>
                      <a:pt x="6" y="133"/>
                    </a:lnTo>
                    <a:lnTo>
                      <a:pt x="6" y="134"/>
                    </a:lnTo>
                    <a:lnTo>
                      <a:pt x="8" y="133"/>
                    </a:lnTo>
                    <a:lnTo>
                      <a:pt x="13" y="133"/>
                    </a:lnTo>
                    <a:lnTo>
                      <a:pt x="8" y="135"/>
                    </a:lnTo>
                    <a:lnTo>
                      <a:pt x="11" y="137"/>
                    </a:lnTo>
                    <a:lnTo>
                      <a:pt x="13" y="135"/>
                    </a:lnTo>
                    <a:lnTo>
                      <a:pt x="16" y="137"/>
                    </a:lnTo>
                    <a:lnTo>
                      <a:pt x="28" y="132"/>
                    </a:lnTo>
                    <a:lnTo>
                      <a:pt x="27" y="130"/>
                    </a:lnTo>
                    <a:lnTo>
                      <a:pt x="29" y="130"/>
                    </a:lnTo>
                    <a:lnTo>
                      <a:pt x="30" y="131"/>
                    </a:lnTo>
                    <a:lnTo>
                      <a:pt x="33" y="131"/>
                    </a:lnTo>
                    <a:lnTo>
                      <a:pt x="35" y="128"/>
                    </a:lnTo>
                    <a:lnTo>
                      <a:pt x="37" y="129"/>
                    </a:lnTo>
                    <a:lnTo>
                      <a:pt x="38" y="125"/>
                    </a:lnTo>
                    <a:lnTo>
                      <a:pt x="40" y="125"/>
                    </a:lnTo>
                    <a:lnTo>
                      <a:pt x="43" y="125"/>
                    </a:lnTo>
                    <a:lnTo>
                      <a:pt x="44" y="125"/>
                    </a:lnTo>
                    <a:lnTo>
                      <a:pt x="46" y="122"/>
                    </a:lnTo>
                    <a:lnTo>
                      <a:pt x="47" y="125"/>
                    </a:lnTo>
                    <a:lnTo>
                      <a:pt x="50" y="123"/>
                    </a:lnTo>
                    <a:lnTo>
                      <a:pt x="53" y="124"/>
                    </a:lnTo>
                    <a:lnTo>
                      <a:pt x="55" y="124"/>
                    </a:lnTo>
                    <a:lnTo>
                      <a:pt x="54" y="121"/>
                    </a:lnTo>
                    <a:lnTo>
                      <a:pt x="55" y="121"/>
                    </a:lnTo>
                    <a:lnTo>
                      <a:pt x="58" y="116"/>
                    </a:lnTo>
                    <a:lnTo>
                      <a:pt x="59" y="113"/>
                    </a:lnTo>
                    <a:lnTo>
                      <a:pt x="60" y="111"/>
                    </a:lnTo>
                    <a:lnTo>
                      <a:pt x="60" y="108"/>
                    </a:lnTo>
                    <a:lnTo>
                      <a:pt x="59" y="105"/>
                    </a:lnTo>
                    <a:lnTo>
                      <a:pt x="58" y="103"/>
                    </a:lnTo>
                    <a:lnTo>
                      <a:pt x="59" y="101"/>
                    </a:lnTo>
                    <a:lnTo>
                      <a:pt x="59" y="100"/>
                    </a:lnTo>
                    <a:lnTo>
                      <a:pt x="59" y="100"/>
                    </a:lnTo>
                    <a:lnTo>
                      <a:pt x="56" y="96"/>
                    </a:lnTo>
                    <a:lnTo>
                      <a:pt x="56" y="94"/>
                    </a:lnTo>
                    <a:lnTo>
                      <a:pt x="55" y="91"/>
                    </a:lnTo>
                    <a:lnTo>
                      <a:pt x="56" y="88"/>
                    </a:lnTo>
                    <a:lnTo>
                      <a:pt x="60" y="89"/>
                    </a:lnTo>
                    <a:lnTo>
                      <a:pt x="62" y="87"/>
                    </a:lnTo>
                    <a:lnTo>
                      <a:pt x="67" y="83"/>
                    </a:lnTo>
                    <a:lnTo>
                      <a:pt x="6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5" name="Freeform 91">
                <a:extLst>
                  <a:ext uri="{FF2B5EF4-FFF2-40B4-BE49-F238E27FC236}">
                    <a16:creationId xmlns:a16="http://schemas.microsoft.com/office/drawing/2014/main" id="{70597AA3-E3E8-4499-9972-B87FD97F8A05}"/>
                  </a:ext>
                </a:extLst>
              </p:cNvPr>
              <p:cNvSpPr>
                <a:spLocks/>
              </p:cNvSpPr>
              <p:nvPr/>
            </p:nvSpPr>
            <p:spPr bwMode="auto">
              <a:xfrm>
                <a:off x="3818" y="1954"/>
                <a:ext cx="15" cy="11"/>
              </a:xfrm>
              <a:custGeom>
                <a:avLst/>
                <a:gdLst>
                  <a:gd name="T0" fmla="*/ 4 w 15"/>
                  <a:gd name="T1" fmla="*/ 7 h 11"/>
                  <a:gd name="T2" fmla="*/ 9 w 15"/>
                  <a:gd name="T3" fmla="*/ 11 h 11"/>
                  <a:gd name="T4" fmla="*/ 12 w 15"/>
                  <a:gd name="T5" fmla="*/ 10 h 11"/>
                  <a:gd name="T6" fmla="*/ 14 w 15"/>
                  <a:gd name="T7" fmla="*/ 10 h 11"/>
                  <a:gd name="T8" fmla="*/ 15 w 15"/>
                  <a:gd name="T9" fmla="*/ 9 h 11"/>
                  <a:gd name="T10" fmla="*/ 15 w 15"/>
                  <a:gd name="T11" fmla="*/ 5 h 11"/>
                  <a:gd name="T12" fmla="*/ 12 w 15"/>
                  <a:gd name="T13" fmla="*/ 0 h 11"/>
                  <a:gd name="T14" fmla="*/ 12 w 15"/>
                  <a:gd name="T15" fmla="*/ 2 h 11"/>
                  <a:gd name="T16" fmla="*/ 9 w 15"/>
                  <a:gd name="T17" fmla="*/ 3 h 11"/>
                  <a:gd name="T18" fmla="*/ 9 w 15"/>
                  <a:gd name="T19" fmla="*/ 1 h 11"/>
                  <a:gd name="T20" fmla="*/ 6 w 15"/>
                  <a:gd name="T21" fmla="*/ 0 h 11"/>
                  <a:gd name="T22" fmla="*/ 3 w 15"/>
                  <a:gd name="T23" fmla="*/ 2 h 11"/>
                  <a:gd name="T24" fmla="*/ 0 w 15"/>
                  <a:gd name="T25" fmla="*/ 2 h 11"/>
                  <a:gd name="T26" fmla="*/ 4 w 15"/>
                  <a:gd name="T27" fmla="*/ 9 h 11"/>
                  <a:gd name="T28" fmla="*/ 4 w 15"/>
                  <a:gd name="T29" fmla="*/ 7 h 11"/>
                  <a:gd name="T30" fmla="*/ 4 w 15"/>
                  <a:gd name="T3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1">
                    <a:moveTo>
                      <a:pt x="4" y="7"/>
                    </a:moveTo>
                    <a:lnTo>
                      <a:pt x="9" y="11"/>
                    </a:lnTo>
                    <a:lnTo>
                      <a:pt x="12" y="10"/>
                    </a:lnTo>
                    <a:lnTo>
                      <a:pt x="14" y="10"/>
                    </a:lnTo>
                    <a:lnTo>
                      <a:pt x="15" y="9"/>
                    </a:lnTo>
                    <a:lnTo>
                      <a:pt x="15" y="5"/>
                    </a:lnTo>
                    <a:lnTo>
                      <a:pt x="12" y="0"/>
                    </a:lnTo>
                    <a:lnTo>
                      <a:pt x="12" y="2"/>
                    </a:lnTo>
                    <a:lnTo>
                      <a:pt x="9" y="3"/>
                    </a:lnTo>
                    <a:lnTo>
                      <a:pt x="9" y="1"/>
                    </a:lnTo>
                    <a:lnTo>
                      <a:pt x="6" y="0"/>
                    </a:lnTo>
                    <a:lnTo>
                      <a:pt x="3" y="2"/>
                    </a:lnTo>
                    <a:lnTo>
                      <a:pt x="0" y="2"/>
                    </a:lnTo>
                    <a:lnTo>
                      <a:pt x="4" y="9"/>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6" name="Freeform 92">
                <a:extLst>
                  <a:ext uri="{FF2B5EF4-FFF2-40B4-BE49-F238E27FC236}">
                    <a16:creationId xmlns:a16="http://schemas.microsoft.com/office/drawing/2014/main" id="{EA3EE0C3-36EC-46C4-BF50-A8B2149E9F9B}"/>
                  </a:ext>
                </a:extLst>
              </p:cNvPr>
              <p:cNvSpPr>
                <a:spLocks/>
              </p:cNvSpPr>
              <p:nvPr/>
            </p:nvSpPr>
            <p:spPr bwMode="auto">
              <a:xfrm>
                <a:off x="3834" y="1945"/>
                <a:ext cx="24" cy="28"/>
              </a:xfrm>
              <a:custGeom>
                <a:avLst/>
                <a:gdLst>
                  <a:gd name="T0" fmla="*/ 13 w 24"/>
                  <a:gd name="T1" fmla="*/ 24 h 28"/>
                  <a:gd name="T2" fmla="*/ 11 w 24"/>
                  <a:gd name="T3" fmla="*/ 23 h 28"/>
                  <a:gd name="T4" fmla="*/ 7 w 24"/>
                  <a:gd name="T5" fmla="*/ 23 h 28"/>
                  <a:gd name="T6" fmla="*/ 5 w 24"/>
                  <a:gd name="T7" fmla="*/ 21 h 28"/>
                  <a:gd name="T8" fmla="*/ 2 w 24"/>
                  <a:gd name="T9" fmla="*/ 22 h 28"/>
                  <a:gd name="T10" fmla="*/ 1 w 24"/>
                  <a:gd name="T11" fmla="*/ 24 h 28"/>
                  <a:gd name="T12" fmla="*/ 8 w 24"/>
                  <a:gd name="T13" fmla="*/ 28 h 28"/>
                  <a:gd name="T14" fmla="*/ 10 w 24"/>
                  <a:gd name="T15" fmla="*/ 27 h 28"/>
                  <a:gd name="T16" fmla="*/ 13 w 24"/>
                  <a:gd name="T17" fmla="*/ 24 h 28"/>
                  <a:gd name="T18" fmla="*/ 14 w 24"/>
                  <a:gd name="T19" fmla="*/ 26 h 28"/>
                  <a:gd name="T20" fmla="*/ 14 w 24"/>
                  <a:gd name="T21" fmla="*/ 28 h 28"/>
                  <a:gd name="T22" fmla="*/ 15 w 24"/>
                  <a:gd name="T23" fmla="*/ 28 h 28"/>
                  <a:gd name="T24" fmla="*/ 16 w 24"/>
                  <a:gd name="T25" fmla="*/ 22 h 28"/>
                  <a:gd name="T26" fmla="*/ 14 w 24"/>
                  <a:gd name="T27" fmla="*/ 20 h 28"/>
                  <a:gd name="T28" fmla="*/ 17 w 24"/>
                  <a:gd name="T29" fmla="*/ 21 h 28"/>
                  <a:gd name="T30" fmla="*/ 16 w 24"/>
                  <a:gd name="T31" fmla="*/ 18 h 28"/>
                  <a:gd name="T32" fmla="*/ 18 w 24"/>
                  <a:gd name="T33" fmla="*/ 15 h 28"/>
                  <a:gd name="T34" fmla="*/ 20 w 24"/>
                  <a:gd name="T35" fmla="*/ 15 h 28"/>
                  <a:gd name="T36" fmla="*/ 18 w 24"/>
                  <a:gd name="T37" fmla="*/ 10 h 28"/>
                  <a:gd name="T38" fmla="*/ 22 w 24"/>
                  <a:gd name="T39" fmla="*/ 9 h 28"/>
                  <a:gd name="T40" fmla="*/ 23 w 24"/>
                  <a:gd name="T41" fmla="*/ 6 h 28"/>
                  <a:gd name="T42" fmla="*/ 23 w 24"/>
                  <a:gd name="T43" fmla="*/ 2 h 28"/>
                  <a:gd name="T44" fmla="*/ 24 w 24"/>
                  <a:gd name="T45" fmla="*/ 1 h 28"/>
                  <a:gd name="T46" fmla="*/ 20 w 24"/>
                  <a:gd name="T47" fmla="*/ 0 h 28"/>
                  <a:gd name="T48" fmla="*/ 18 w 24"/>
                  <a:gd name="T49" fmla="*/ 0 h 28"/>
                  <a:gd name="T50" fmla="*/ 15 w 24"/>
                  <a:gd name="T51" fmla="*/ 1 h 28"/>
                  <a:gd name="T52" fmla="*/ 16 w 24"/>
                  <a:gd name="T53" fmla="*/ 5 h 28"/>
                  <a:gd name="T54" fmla="*/ 15 w 24"/>
                  <a:gd name="T55" fmla="*/ 6 h 28"/>
                  <a:gd name="T56" fmla="*/ 15 w 24"/>
                  <a:gd name="T57" fmla="*/ 4 h 28"/>
                  <a:gd name="T58" fmla="*/ 11 w 24"/>
                  <a:gd name="T59" fmla="*/ 7 h 28"/>
                  <a:gd name="T60" fmla="*/ 10 w 24"/>
                  <a:gd name="T61" fmla="*/ 5 h 28"/>
                  <a:gd name="T62" fmla="*/ 11 w 24"/>
                  <a:gd name="T63" fmla="*/ 2 h 28"/>
                  <a:gd name="T64" fmla="*/ 6 w 24"/>
                  <a:gd name="T65" fmla="*/ 2 h 28"/>
                  <a:gd name="T66" fmla="*/ 8 w 24"/>
                  <a:gd name="T67" fmla="*/ 4 h 28"/>
                  <a:gd name="T68" fmla="*/ 6 w 24"/>
                  <a:gd name="T69" fmla="*/ 6 h 28"/>
                  <a:gd name="T70" fmla="*/ 0 w 24"/>
                  <a:gd name="T71" fmla="*/ 6 h 28"/>
                  <a:gd name="T72" fmla="*/ 2 w 24"/>
                  <a:gd name="T73" fmla="*/ 9 h 28"/>
                  <a:gd name="T74" fmla="*/ 4 w 24"/>
                  <a:gd name="T75" fmla="*/ 11 h 28"/>
                  <a:gd name="T76" fmla="*/ 2 w 24"/>
                  <a:gd name="T77" fmla="*/ 14 h 28"/>
                  <a:gd name="T78" fmla="*/ 4 w 24"/>
                  <a:gd name="T79" fmla="*/ 14 h 28"/>
                  <a:gd name="T80" fmla="*/ 6 w 24"/>
                  <a:gd name="T81" fmla="*/ 16 h 28"/>
                  <a:gd name="T82" fmla="*/ 11 w 24"/>
                  <a:gd name="T83" fmla="*/ 16 h 28"/>
                  <a:gd name="T84" fmla="*/ 10 w 24"/>
                  <a:gd name="T85" fmla="*/ 19 h 28"/>
                  <a:gd name="T86" fmla="*/ 14 w 24"/>
                  <a:gd name="T87" fmla="*/ 20 h 28"/>
                  <a:gd name="T88" fmla="*/ 11 w 24"/>
                  <a:gd name="T89" fmla="*/ 23 h 28"/>
                  <a:gd name="T90" fmla="*/ 13 w 24"/>
                  <a:gd name="T91" fmla="*/ 24 h 28"/>
                  <a:gd name="T92" fmla="*/ 13 w 24"/>
                  <a:gd name="T9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28">
                    <a:moveTo>
                      <a:pt x="13" y="24"/>
                    </a:moveTo>
                    <a:lnTo>
                      <a:pt x="11" y="23"/>
                    </a:lnTo>
                    <a:lnTo>
                      <a:pt x="7" y="23"/>
                    </a:lnTo>
                    <a:lnTo>
                      <a:pt x="5" y="21"/>
                    </a:lnTo>
                    <a:lnTo>
                      <a:pt x="2" y="22"/>
                    </a:lnTo>
                    <a:lnTo>
                      <a:pt x="1" y="24"/>
                    </a:lnTo>
                    <a:lnTo>
                      <a:pt x="8" y="28"/>
                    </a:lnTo>
                    <a:lnTo>
                      <a:pt x="10" y="27"/>
                    </a:lnTo>
                    <a:lnTo>
                      <a:pt x="13" y="24"/>
                    </a:lnTo>
                    <a:lnTo>
                      <a:pt x="14" y="26"/>
                    </a:lnTo>
                    <a:lnTo>
                      <a:pt x="14" y="28"/>
                    </a:lnTo>
                    <a:lnTo>
                      <a:pt x="15" y="28"/>
                    </a:lnTo>
                    <a:lnTo>
                      <a:pt x="16" y="22"/>
                    </a:lnTo>
                    <a:lnTo>
                      <a:pt x="14" y="20"/>
                    </a:lnTo>
                    <a:lnTo>
                      <a:pt x="17" y="21"/>
                    </a:lnTo>
                    <a:lnTo>
                      <a:pt x="16" y="18"/>
                    </a:lnTo>
                    <a:lnTo>
                      <a:pt x="18" y="15"/>
                    </a:lnTo>
                    <a:lnTo>
                      <a:pt x="20" y="15"/>
                    </a:lnTo>
                    <a:lnTo>
                      <a:pt x="18" y="10"/>
                    </a:lnTo>
                    <a:lnTo>
                      <a:pt x="22" y="9"/>
                    </a:lnTo>
                    <a:lnTo>
                      <a:pt x="23" y="6"/>
                    </a:lnTo>
                    <a:lnTo>
                      <a:pt x="23" y="2"/>
                    </a:lnTo>
                    <a:lnTo>
                      <a:pt x="24" y="1"/>
                    </a:lnTo>
                    <a:lnTo>
                      <a:pt x="20" y="0"/>
                    </a:lnTo>
                    <a:lnTo>
                      <a:pt x="18" y="0"/>
                    </a:lnTo>
                    <a:lnTo>
                      <a:pt x="15" y="1"/>
                    </a:lnTo>
                    <a:lnTo>
                      <a:pt x="16" y="5"/>
                    </a:lnTo>
                    <a:lnTo>
                      <a:pt x="15" y="6"/>
                    </a:lnTo>
                    <a:lnTo>
                      <a:pt x="15" y="4"/>
                    </a:lnTo>
                    <a:lnTo>
                      <a:pt x="11" y="7"/>
                    </a:lnTo>
                    <a:lnTo>
                      <a:pt x="10" y="5"/>
                    </a:lnTo>
                    <a:lnTo>
                      <a:pt x="11" y="2"/>
                    </a:lnTo>
                    <a:lnTo>
                      <a:pt x="6" y="2"/>
                    </a:lnTo>
                    <a:lnTo>
                      <a:pt x="8" y="4"/>
                    </a:lnTo>
                    <a:lnTo>
                      <a:pt x="6" y="6"/>
                    </a:lnTo>
                    <a:lnTo>
                      <a:pt x="0" y="6"/>
                    </a:lnTo>
                    <a:lnTo>
                      <a:pt x="2" y="9"/>
                    </a:lnTo>
                    <a:lnTo>
                      <a:pt x="4" y="11"/>
                    </a:lnTo>
                    <a:lnTo>
                      <a:pt x="2" y="14"/>
                    </a:lnTo>
                    <a:lnTo>
                      <a:pt x="4" y="14"/>
                    </a:lnTo>
                    <a:lnTo>
                      <a:pt x="6" y="16"/>
                    </a:lnTo>
                    <a:lnTo>
                      <a:pt x="11" y="16"/>
                    </a:lnTo>
                    <a:lnTo>
                      <a:pt x="10" y="19"/>
                    </a:lnTo>
                    <a:lnTo>
                      <a:pt x="14" y="20"/>
                    </a:lnTo>
                    <a:lnTo>
                      <a:pt x="11" y="23"/>
                    </a:lnTo>
                    <a:lnTo>
                      <a:pt x="13" y="24"/>
                    </a:lnTo>
                    <a:lnTo>
                      <a:pt x="1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7" name="Freeform 93">
                <a:extLst>
                  <a:ext uri="{FF2B5EF4-FFF2-40B4-BE49-F238E27FC236}">
                    <a16:creationId xmlns:a16="http://schemas.microsoft.com/office/drawing/2014/main" id="{177F0E4E-8EAB-4859-A1E8-6535D6FBFD76}"/>
                  </a:ext>
                </a:extLst>
              </p:cNvPr>
              <p:cNvSpPr>
                <a:spLocks/>
              </p:cNvSpPr>
              <p:nvPr/>
            </p:nvSpPr>
            <p:spPr bwMode="auto">
              <a:xfrm>
                <a:off x="3933" y="1908"/>
                <a:ext cx="12" cy="21"/>
              </a:xfrm>
              <a:custGeom>
                <a:avLst/>
                <a:gdLst>
                  <a:gd name="T0" fmla="*/ 3 w 12"/>
                  <a:gd name="T1" fmla="*/ 18 h 21"/>
                  <a:gd name="T2" fmla="*/ 3 w 12"/>
                  <a:gd name="T3" fmla="*/ 17 h 21"/>
                  <a:gd name="T4" fmla="*/ 6 w 12"/>
                  <a:gd name="T5" fmla="*/ 15 h 21"/>
                  <a:gd name="T6" fmla="*/ 8 w 12"/>
                  <a:gd name="T7" fmla="*/ 13 h 21"/>
                  <a:gd name="T8" fmla="*/ 9 w 12"/>
                  <a:gd name="T9" fmla="*/ 9 h 21"/>
                  <a:gd name="T10" fmla="*/ 9 w 12"/>
                  <a:gd name="T11" fmla="*/ 5 h 21"/>
                  <a:gd name="T12" fmla="*/ 12 w 12"/>
                  <a:gd name="T13" fmla="*/ 4 h 21"/>
                  <a:gd name="T14" fmla="*/ 12 w 12"/>
                  <a:gd name="T15" fmla="*/ 0 h 21"/>
                  <a:gd name="T16" fmla="*/ 9 w 12"/>
                  <a:gd name="T17" fmla="*/ 3 h 21"/>
                  <a:gd name="T18" fmla="*/ 6 w 12"/>
                  <a:gd name="T19" fmla="*/ 3 h 21"/>
                  <a:gd name="T20" fmla="*/ 4 w 12"/>
                  <a:gd name="T21" fmla="*/ 4 h 21"/>
                  <a:gd name="T22" fmla="*/ 1 w 12"/>
                  <a:gd name="T23" fmla="*/ 7 h 21"/>
                  <a:gd name="T24" fmla="*/ 0 w 12"/>
                  <a:gd name="T25" fmla="*/ 9 h 21"/>
                  <a:gd name="T26" fmla="*/ 1 w 12"/>
                  <a:gd name="T27" fmla="*/ 13 h 21"/>
                  <a:gd name="T28" fmla="*/ 1 w 12"/>
                  <a:gd name="T29" fmla="*/ 15 h 21"/>
                  <a:gd name="T30" fmla="*/ 2 w 12"/>
                  <a:gd name="T31" fmla="*/ 17 h 21"/>
                  <a:gd name="T32" fmla="*/ 1 w 12"/>
                  <a:gd name="T33" fmla="*/ 21 h 21"/>
                  <a:gd name="T34" fmla="*/ 3 w 12"/>
                  <a:gd name="T35" fmla="*/ 18 h 21"/>
                  <a:gd name="T36" fmla="*/ 3 w 12"/>
                  <a:gd name="T3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1">
                    <a:moveTo>
                      <a:pt x="3" y="18"/>
                    </a:moveTo>
                    <a:lnTo>
                      <a:pt x="3" y="17"/>
                    </a:lnTo>
                    <a:lnTo>
                      <a:pt x="6" y="15"/>
                    </a:lnTo>
                    <a:lnTo>
                      <a:pt x="8" y="13"/>
                    </a:lnTo>
                    <a:lnTo>
                      <a:pt x="9" y="9"/>
                    </a:lnTo>
                    <a:lnTo>
                      <a:pt x="9" y="5"/>
                    </a:lnTo>
                    <a:lnTo>
                      <a:pt x="12" y="4"/>
                    </a:lnTo>
                    <a:lnTo>
                      <a:pt x="12" y="0"/>
                    </a:lnTo>
                    <a:lnTo>
                      <a:pt x="9" y="3"/>
                    </a:lnTo>
                    <a:lnTo>
                      <a:pt x="6" y="3"/>
                    </a:lnTo>
                    <a:lnTo>
                      <a:pt x="4" y="4"/>
                    </a:lnTo>
                    <a:lnTo>
                      <a:pt x="1" y="7"/>
                    </a:lnTo>
                    <a:lnTo>
                      <a:pt x="0" y="9"/>
                    </a:lnTo>
                    <a:lnTo>
                      <a:pt x="1" y="13"/>
                    </a:lnTo>
                    <a:lnTo>
                      <a:pt x="1" y="15"/>
                    </a:lnTo>
                    <a:lnTo>
                      <a:pt x="2" y="17"/>
                    </a:lnTo>
                    <a:lnTo>
                      <a:pt x="1" y="21"/>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8" name="Freeform 94">
                <a:extLst>
                  <a:ext uri="{FF2B5EF4-FFF2-40B4-BE49-F238E27FC236}">
                    <a16:creationId xmlns:a16="http://schemas.microsoft.com/office/drawing/2014/main" id="{2198F8DE-799A-48A3-A081-BA0F82D08EDA}"/>
                  </a:ext>
                </a:extLst>
              </p:cNvPr>
              <p:cNvSpPr>
                <a:spLocks/>
              </p:cNvSpPr>
              <p:nvPr/>
            </p:nvSpPr>
            <p:spPr bwMode="auto">
              <a:xfrm>
                <a:off x="3985" y="1895"/>
                <a:ext cx="18" cy="14"/>
              </a:xfrm>
              <a:custGeom>
                <a:avLst/>
                <a:gdLst>
                  <a:gd name="T0" fmla="*/ 1 w 18"/>
                  <a:gd name="T1" fmla="*/ 14 h 14"/>
                  <a:gd name="T2" fmla="*/ 4 w 18"/>
                  <a:gd name="T3" fmla="*/ 11 h 14"/>
                  <a:gd name="T4" fmla="*/ 4 w 18"/>
                  <a:gd name="T5" fmla="*/ 9 h 14"/>
                  <a:gd name="T6" fmla="*/ 8 w 18"/>
                  <a:gd name="T7" fmla="*/ 8 h 14"/>
                  <a:gd name="T8" fmla="*/ 10 w 18"/>
                  <a:gd name="T9" fmla="*/ 8 h 14"/>
                  <a:gd name="T10" fmla="*/ 16 w 18"/>
                  <a:gd name="T11" fmla="*/ 4 h 14"/>
                  <a:gd name="T12" fmla="*/ 18 w 18"/>
                  <a:gd name="T13" fmla="*/ 3 h 14"/>
                  <a:gd name="T14" fmla="*/ 17 w 18"/>
                  <a:gd name="T15" fmla="*/ 1 h 14"/>
                  <a:gd name="T16" fmla="*/ 13 w 18"/>
                  <a:gd name="T17" fmla="*/ 0 h 14"/>
                  <a:gd name="T18" fmla="*/ 11 w 18"/>
                  <a:gd name="T19" fmla="*/ 1 h 14"/>
                  <a:gd name="T20" fmla="*/ 8 w 18"/>
                  <a:gd name="T21" fmla="*/ 0 h 14"/>
                  <a:gd name="T22" fmla="*/ 5 w 18"/>
                  <a:gd name="T23" fmla="*/ 1 h 14"/>
                  <a:gd name="T24" fmla="*/ 3 w 18"/>
                  <a:gd name="T25" fmla="*/ 2 h 14"/>
                  <a:gd name="T26" fmla="*/ 0 w 18"/>
                  <a:gd name="T27" fmla="*/ 2 h 14"/>
                  <a:gd name="T28" fmla="*/ 1 w 18"/>
                  <a:gd name="T29" fmla="*/ 4 h 14"/>
                  <a:gd name="T30" fmla="*/ 0 w 18"/>
                  <a:gd name="T31" fmla="*/ 8 h 14"/>
                  <a:gd name="T32" fmla="*/ 2 w 18"/>
                  <a:gd name="T33" fmla="*/ 9 h 14"/>
                  <a:gd name="T34" fmla="*/ 1 w 18"/>
                  <a:gd name="T35" fmla="*/ 14 h 14"/>
                  <a:gd name="T36" fmla="*/ 1 w 18"/>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4">
                    <a:moveTo>
                      <a:pt x="1" y="14"/>
                    </a:moveTo>
                    <a:lnTo>
                      <a:pt x="4" y="11"/>
                    </a:lnTo>
                    <a:lnTo>
                      <a:pt x="4" y="9"/>
                    </a:lnTo>
                    <a:lnTo>
                      <a:pt x="8" y="8"/>
                    </a:lnTo>
                    <a:lnTo>
                      <a:pt x="10" y="8"/>
                    </a:lnTo>
                    <a:lnTo>
                      <a:pt x="16" y="4"/>
                    </a:lnTo>
                    <a:lnTo>
                      <a:pt x="18" y="3"/>
                    </a:lnTo>
                    <a:lnTo>
                      <a:pt x="17" y="1"/>
                    </a:lnTo>
                    <a:lnTo>
                      <a:pt x="13" y="0"/>
                    </a:lnTo>
                    <a:lnTo>
                      <a:pt x="11" y="1"/>
                    </a:lnTo>
                    <a:lnTo>
                      <a:pt x="8" y="0"/>
                    </a:lnTo>
                    <a:lnTo>
                      <a:pt x="5" y="1"/>
                    </a:lnTo>
                    <a:lnTo>
                      <a:pt x="3" y="2"/>
                    </a:lnTo>
                    <a:lnTo>
                      <a:pt x="0" y="2"/>
                    </a:lnTo>
                    <a:lnTo>
                      <a:pt x="1" y="4"/>
                    </a:lnTo>
                    <a:lnTo>
                      <a:pt x="0" y="8"/>
                    </a:lnTo>
                    <a:lnTo>
                      <a:pt x="2" y="9"/>
                    </a:lnTo>
                    <a:lnTo>
                      <a:pt x="1" y="14"/>
                    </a:ln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9" name="Freeform 95">
                <a:extLst>
                  <a:ext uri="{FF2B5EF4-FFF2-40B4-BE49-F238E27FC236}">
                    <a16:creationId xmlns:a16="http://schemas.microsoft.com/office/drawing/2014/main" id="{6BA6FA1D-8393-45DF-8AF6-7133BA5CBE23}"/>
                  </a:ext>
                </a:extLst>
              </p:cNvPr>
              <p:cNvSpPr>
                <a:spLocks/>
              </p:cNvSpPr>
              <p:nvPr/>
            </p:nvSpPr>
            <p:spPr bwMode="auto">
              <a:xfrm>
                <a:off x="3987" y="1886"/>
                <a:ext cx="12" cy="8"/>
              </a:xfrm>
              <a:custGeom>
                <a:avLst/>
                <a:gdLst>
                  <a:gd name="T0" fmla="*/ 8 w 12"/>
                  <a:gd name="T1" fmla="*/ 0 h 8"/>
                  <a:gd name="T2" fmla="*/ 6 w 12"/>
                  <a:gd name="T3" fmla="*/ 2 h 8"/>
                  <a:gd name="T4" fmla="*/ 0 w 12"/>
                  <a:gd name="T5" fmla="*/ 3 h 8"/>
                  <a:gd name="T6" fmla="*/ 6 w 12"/>
                  <a:gd name="T7" fmla="*/ 4 h 8"/>
                  <a:gd name="T8" fmla="*/ 7 w 12"/>
                  <a:gd name="T9" fmla="*/ 8 h 8"/>
                  <a:gd name="T10" fmla="*/ 12 w 12"/>
                  <a:gd name="T11" fmla="*/ 4 h 8"/>
                  <a:gd name="T12" fmla="*/ 10 w 12"/>
                  <a:gd name="T13" fmla="*/ 1 h 8"/>
                  <a:gd name="T14" fmla="*/ 8 w 12"/>
                  <a:gd name="T15" fmla="*/ 0 h 8"/>
                  <a:gd name="T16" fmla="*/ 8 w 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8" y="0"/>
                    </a:moveTo>
                    <a:lnTo>
                      <a:pt x="6" y="2"/>
                    </a:lnTo>
                    <a:lnTo>
                      <a:pt x="0" y="3"/>
                    </a:lnTo>
                    <a:lnTo>
                      <a:pt x="6" y="4"/>
                    </a:lnTo>
                    <a:lnTo>
                      <a:pt x="7" y="8"/>
                    </a:lnTo>
                    <a:lnTo>
                      <a:pt x="12" y="4"/>
                    </a:lnTo>
                    <a:lnTo>
                      <a:pt x="10"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0" name="Freeform 96">
                <a:extLst>
                  <a:ext uri="{FF2B5EF4-FFF2-40B4-BE49-F238E27FC236}">
                    <a16:creationId xmlns:a16="http://schemas.microsoft.com/office/drawing/2014/main" id="{06D9D89C-97A7-45E6-BDC7-DAC1DFE95032}"/>
                  </a:ext>
                </a:extLst>
              </p:cNvPr>
              <p:cNvSpPr>
                <a:spLocks noEditPoints="1"/>
              </p:cNvSpPr>
              <p:nvPr/>
            </p:nvSpPr>
            <p:spPr bwMode="auto">
              <a:xfrm>
                <a:off x="3831" y="1352"/>
                <a:ext cx="226" cy="119"/>
              </a:xfrm>
              <a:custGeom>
                <a:avLst/>
                <a:gdLst>
                  <a:gd name="T0" fmla="*/ 130 w 226"/>
                  <a:gd name="T1" fmla="*/ 47 h 119"/>
                  <a:gd name="T2" fmla="*/ 111 w 226"/>
                  <a:gd name="T3" fmla="*/ 39 h 119"/>
                  <a:gd name="T4" fmla="*/ 94 w 226"/>
                  <a:gd name="T5" fmla="*/ 35 h 119"/>
                  <a:gd name="T6" fmla="*/ 84 w 226"/>
                  <a:gd name="T7" fmla="*/ 21 h 119"/>
                  <a:gd name="T8" fmla="*/ 72 w 226"/>
                  <a:gd name="T9" fmla="*/ 19 h 119"/>
                  <a:gd name="T10" fmla="*/ 73 w 226"/>
                  <a:gd name="T11" fmla="*/ 42 h 119"/>
                  <a:gd name="T12" fmla="*/ 54 w 226"/>
                  <a:gd name="T13" fmla="*/ 23 h 119"/>
                  <a:gd name="T14" fmla="*/ 45 w 226"/>
                  <a:gd name="T15" fmla="*/ 35 h 119"/>
                  <a:gd name="T16" fmla="*/ 35 w 226"/>
                  <a:gd name="T17" fmla="*/ 26 h 119"/>
                  <a:gd name="T18" fmla="*/ 28 w 226"/>
                  <a:gd name="T19" fmla="*/ 23 h 119"/>
                  <a:gd name="T20" fmla="*/ 10 w 226"/>
                  <a:gd name="T21" fmla="*/ 23 h 119"/>
                  <a:gd name="T22" fmla="*/ 3 w 226"/>
                  <a:gd name="T23" fmla="*/ 33 h 119"/>
                  <a:gd name="T24" fmla="*/ 19 w 226"/>
                  <a:gd name="T25" fmla="*/ 41 h 119"/>
                  <a:gd name="T26" fmla="*/ 5 w 226"/>
                  <a:gd name="T27" fmla="*/ 48 h 119"/>
                  <a:gd name="T28" fmla="*/ 22 w 226"/>
                  <a:gd name="T29" fmla="*/ 61 h 119"/>
                  <a:gd name="T30" fmla="*/ 33 w 226"/>
                  <a:gd name="T31" fmla="*/ 70 h 119"/>
                  <a:gd name="T32" fmla="*/ 48 w 226"/>
                  <a:gd name="T33" fmla="*/ 63 h 119"/>
                  <a:gd name="T34" fmla="*/ 61 w 226"/>
                  <a:gd name="T35" fmla="*/ 52 h 119"/>
                  <a:gd name="T36" fmla="*/ 76 w 226"/>
                  <a:gd name="T37" fmla="*/ 60 h 119"/>
                  <a:gd name="T38" fmla="*/ 87 w 226"/>
                  <a:gd name="T39" fmla="*/ 65 h 119"/>
                  <a:gd name="T40" fmla="*/ 63 w 226"/>
                  <a:gd name="T41" fmla="*/ 70 h 119"/>
                  <a:gd name="T42" fmla="*/ 38 w 226"/>
                  <a:gd name="T43" fmla="*/ 80 h 119"/>
                  <a:gd name="T44" fmla="*/ 60 w 226"/>
                  <a:gd name="T45" fmla="*/ 83 h 119"/>
                  <a:gd name="T46" fmla="*/ 85 w 226"/>
                  <a:gd name="T47" fmla="*/ 80 h 119"/>
                  <a:gd name="T48" fmla="*/ 70 w 226"/>
                  <a:gd name="T49" fmla="*/ 90 h 119"/>
                  <a:gd name="T50" fmla="*/ 55 w 226"/>
                  <a:gd name="T51" fmla="*/ 91 h 119"/>
                  <a:gd name="T52" fmla="*/ 51 w 226"/>
                  <a:gd name="T53" fmla="*/ 101 h 119"/>
                  <a:gd name="T54" fmla="*/ 79 w 226"/>
                  <a:gd name="T55" fmla="*/ 107 h 119"/>
                  <a:gd name="T56" fmla="*/ 73 w 226"/>
                  <a:gd name="T57" fmla="*/ 113 h 119"/>
                  <a:gd name="T58" fmla="*/ 85 w 226"/>
                  <a:gd name="T59" fmla="*/ 112 h 119"/>
                  <a:gd name="T60" fmla="*/ 101 w 226"/>
                  <a:gd name="T61" fmla="*/ 92 h 119"/>
                  <a:gd name="T62" fmla="*/ 113 w 226"/>
                  <a:gd name="T63" fmla="*/ 69 h 119"/>
                  <a:gd name="T64" fmla="*/ 135 w 226"/>
                  <a:gd name="T65" fmla="*/ 58 h 119"/>
                  <a:gd name="T66" fmla="*/ 200 w 226"/>
                  <a:gd name="T67" fmla="*/ 9 h 119"/>
                  <a:gd name="T68" fmla="*/ 182 w 226"/>
                  <a:gd name="T69" fmla="*/ 7 h 119"/>
                  <a:gd name="T70" fmla="*/ 172 w 226"/>
                  <a:gd name="T71" fmla="*/ 3 h 119"/>
                  <a:gd name="T72" fmla="*/ 161 w 226"/>
                  <a:gd name="T73" fmla="*/ 15 h 119"/>
                  <a:gd name="T74" fmla="*/ 139 w 226"/>
                  <a:gd name="T75" fmla="*/ 9 h 119"/>
                  <a:gd name="T76" fmla="*/ 124 w 226"/>
                  <a:gd name="T77" fmla="*/ 7 h 119"/>
                  <a:gd name="T78" fmla="*/ 118 w 226"/>
                  <a:gd name="T79" fmla="*/ 14 h 119"/>
                  <a:gd name="T80" fmla="*/ 112 w 226"/>
                  <a:gd name="T81" fmla="*/ 15 h 119"/>
                  <a:gd name="T82" fmla="*/ 112 w 226"/>
                  <a:gd name="T83" fmla="*/ 24 h 119"/>
                  <a:gd name="T84" fmla="*/ 156 w 226"/>
                  <a:gd name="T85" fmla="*/ 23 h 119"/>
                  <a:gd name="T86" fmla="*/ 141 w 226"/>
                  <a:gd name="T87" fmla="*/ 29 h 119"/>
                  <a:gd name="T88" fmla="*/ 136 w 226"/>
                  <a:gd name="T89" fmla="*/ 33 h 119"/>
                  <a:gd name="T90" fmla="*/ 166 w 226"/>
                  <a:gd name="T91" fmla="*/ 40 h 119"/>
                  <a:gd name="T92" fmla="*/ 206 w 226"/>
                  <a:gd name="T93" fmla="*/ 34 h 119"/>
                  <a:gd name="T94" fmla="*/ 225 w 226"/>
                  <a:gd name="T95" fmla="*/ 16 h 119"/>
                  <a:gd name="T96" fmla="*/ 157 w 226"/>
                  <a:gd name="T97" fmla="*/ 64 h 119"/>
                  <a:gd name="T98" fmla="*/ 135 w 226"/>
                  <a:gd name="T99" fmla="*/ 65 h 119"/>
                  <a:gd name="T100" fmla="*/ 180 w 226"/>
                  <a:gd name="T101" fmla="*/ 81 h 119"/>
                  <a:gd name="T102" fmla="*/ 167 w 226"/>
                  <a:gd name="T103" fmla="*/ 69 h 119"/>
                  <a:gd name="T104" fmla="*/ 149 w 226"/>
                  <a:gd name="T105" fmla="*/ 81 h 119"/>
                  <a:gd name="T106" fmla="*/ 148 w 226"/>
                  <a:gd name="T107" fmla="*/ 92 h 119"/>
                  <a:gd name="T108" fmla="*/ 166 w 226"/>
                  <a:gd name="T109" fmla="*/ 98 h 119"/>
                  <a:gd name="T110" fmla="*/ 193 w 226"/>
                  <a:gd name="T111"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 h="119">
                    <a:moveTo>
                      <a:pt x="135" y="58"/>
                    </a:moveTo>
                    <a:lnTo>
                      <a:pt x="138" y="57"/>
                    </a:lnTo>
                    <a:lnTo>
                      <a:pt x="140" y="58"/>
                    </a:lnTo>
                    <a:lnTo>
                      <a:pt x="146" y="57"/>
                    </a:lnTo>
                    <a:lnTo>
                      <a:pt x="148" y="55"/>
                    </a:lnTo>
                    <a:lnTo>
                      <a:pt x="147" y="51"/>
                    </a:lnTo>
                    <a:lnTo>
                      <a:pt x="136" y="49"/>
                    </a:lnTo>
                    <a:lnTo>
                      <a:pt x="130" y="47"/>
                    </a:lnTo>
                    <a:lnTo>
                      <a:pt x="128" y="47"/>
                    </a:lnTo>
                    <a:lnTo>
                      <a:pt x="124" y="42"/>
                    </a:lnTo>
                    <a:lnTo>
                      <a:pt x="119" y="41"/>
                    </a:lnTo>
                    <a:lnTo>
                      <a:pt x="115" y="42"/>
                    </a:lnTo>
                    <a:lnTo>
                      <a:pt x="113" y="42"/>
                    </a:lnTo>
                    <a:lnTo>
                      <a:pt x="111" y="40"/>
                    </a:lnTo>
                    <a:lnTo>
                      <a:pt x="107" y="39"/>
                    </a:lnTo>
                    <a:lnTo>
                      <a:pt x="111" y="39"/>
                    </a:lnTo>
                    <a:lnTo>
                      <a:pt x="111" y="36"/>
                    </a:lnTo>
                    <a:lnTo>
                      <a:pt x="111" y="33"/>
                    </a:lnTo>
                    <a:lnTo>
                      <a:pt x="110" y="31"/>
                    </a:lnTo>
                    <a:lnTo>
                      <a:pt x="104" y="27"/>
                    </a:lnTo>
                    <a:lnTo>
                      <a:pt x="101" y="30"/>
                    </a:lnTo>
                    <a:lnTo>
                      <a:pt x="99" y="32"/>
                    </a:lnTo>
                    <a:lnTo>
                      <a:pt x="97" y="35"/>
                    </a:lnTo>
                    <a:lnTo>
                      <a:pt x="94" y="35"/>
                    </a:lnTo>
                    <a:lnTo>
                      <a:pt x="96" y="33"/>
                    </a:lnTo>
                    <a:lnTo>
                      <a:pt x="94" y="30"/>
                    </a:lnTo>
                    <a:lnTo>
                      <a:pt x="99" y="26"/>
                    </a:lnTo>
                    <a:lnTo>
                      <a:pt x="99" y="24"/>
                    </a:lnTo>
                    <a:lnTo>
                      <a:pt x="94" y="19"/>
                    </a:lnTo>
                    <a:lnTo>
                      <a:pt x="88" y="18"/>
                    </a:lnTo>
                    <a:lnTo>
                      <a:pt x="85" y="17"/>
                    </a:lnTo>
                    <a:lnTo>
                      <a:pt x="84" y="21"/>
                    </a:lnTo>
                    <a:lnTo>
                      <a:pt x="81" y="19"/>
                    </a:lnTo>
                    <a:lnTo>
                      <a:pt x="80" y="16"/>
                    </a:lnTo>
                    <a:lnTo>
                      <a:pt x="78" y="15"/>
                    </a:lnTo>
                    <a:lnTo>
                      <a:pt x="76" y="15"/>
                    </a:lnTo>
                    <a:lnTo>
                      <a:pt x="74" y="17"/>
                    </a:lnTo>
                    <a:lnTo>
                      <a:pt x="74" y="17"/>
                    </a:lnTo>
                    <a:lnTo>
                      <a:pt x="76" y="21"/>
                    </a:lnTo>
                    <a:lnTo>
                      <a:pt x="72" y="19"/>
                    </a:lnTo>
                    <a:lnTo>
                      <a:pt x="70" y="22"/>
                    </a:lnTo>
                    <a:lnTo>
                      <a:pt x="73" y="31"/>
                    </a:lnTo>
                    <a:lnTo>
                      <a:pt x="74" y="36"/>
                    </a:lnTo>
                    <a:lnTo>
                      <a:pt x="80" y="47"/>
                    </a:lnTo>
                    <a:lnTo>
                      <a:pt x="80" y="50"/>
                    </a:lnTo>
                    <a:lnTo>
                      <a:pt x="78" y="48"/>
                    </a:lnTo>
                    <a:lnTo>
                      <a:pt x="77" y="44"/>
                    </a:lnTo>
                    <a:lnTo>
                      <a:pt x="73" y="42"/>
                    </a:lnTo>
                    <a:lnTo>
                      <a:pt x="71" y="41"/>
                    </a:lnTo>
                    <a:lnTo>
                      <a:pt x="70" y="39"/>
                    </a:lnTo>
                    <a:lnTo>
                      <a:pt x="68" y="36"/>
                    </a:lnTo>
                    <a:lnTo>
                      <a:pt x="65" y="31"/>
                    </a:lnTo>
                    <a:lnTo>
                      <a:pt x="65" y="29"/>
                    </a:lnTo>
                    <a:lnTo>
                      <a:pt x="60" y="24"/>
                    </a:lnTo>
                    <a:lnTo>
                      <a:pt x="56" y="23"/>
                    </a:lnTo>
                    <a:lnTo>
                      <a:pt x="54" y="23"/>
                    </a:lnTo>
                    <a:lnTo>
                      <a:pt x="51" y="25"/>
                    </a:lnTo>
                    <a:lnTo>
                      <a:pt x="51" y="29"/>
                    </a:lnTo>
                    <a:lnTo>
                      <a:pt x="48" y="29"/>
                    </a:lnTo>
                    <a:lnTo>
                      <a:pt x="45" y="31"/>
                    </a:lnTo>
                    <a:lnTo>
                      <a:pt x="48" y="36"/>
                    </a:lnTo>
                    <a:lnTo>
                      <a:pt x="48" y="39"/>
                    </a:lnTo>
                    <a:lnTo>
                      <a:pt x="45" y="38"/>
                    </a:lnTo>
                    <a:lnTo>
                      <a:pt x="45" y="35"/>
                    </a:lnTo>
                    <a:lnTo>
                      <a:pt x="42" y="33"/>
                    </a:lnTo>
                    <a:lnTo>
                      <a:pt x="39" y="33"/>
                    </a:lnTo>
                    <a:lnTo>
                      <a:pt x="36" y="32"/>
                    </a:lnTo>
                    <a:lnTo>
                      <a:pt x="38" y="29"/>
                    </a:lnTo>
                    <a:lnTo>
                      <a:pt x="36" y="29"/>
                    </a:lnTo>
                    <a:lnTo>
                      <a:pt x="30" y="30"/>
                    </a:lnTo>
                    <a:lnTo>
                      <a:pt x="27" y="29"/>
                    </a:lnTo>
                    <a:lnTo>
                      <a:pt x="35" y="26"/>
                    </a:lnTo>
                    <a:lnTo>
                      <a:pt x="38" y="25"/>
                    </a:lnTo>
                    <a:lnTo>
                      <a:pt x="40" y="25"/>
                    </a:lnTo>
                    <a:lnTo>
                      <a:pt x="44" y="25"/>
                    </a:lnTo>
                    <a:lnTo>
                      <a:pt x="46" y="24"/>
                    </a:lnTo>
                    <a:lnTo>
                      <a:pt x="45" y="21"/>
                    </a:lnTo>
                    <a:lnTo>
                      <a:pt x="43" y="21"/>
                    </a:lnTo>
                    <a:lnTo>
                      <a:pt x="37" y="21"/>
                    </a:lnTo>
                    <a:lnTo>
                      <a:pt x="28" y="23"/>
                    </a:lnTo>
                    <a:lnTo>
                      <a:pt x="26" y="23"/>
                    </a:lnTo>
                    <a:lnTo>
                      <a:pt x="22" y="22"/>
                    </a:lnTo>
                    <a:lnTo>
                      <a:pt x="21" y="24"/>
                    </a:lnTo>
                    <a:lnTo>
                      <a:pt x="22" y="26"/>
                    </a:lnTo>
                    <a:lnTo>
                      <a:pt x="20" y="26"/>
                    </a:lnTo>
                    <a:lnTo>
                      <a:pt x="18" y="24"/>
                    </a:lnTo>
                    <a:lnTo>
                      <a:pt x="16" y="21"/>
                    </a:lnTo>
                    <a:lnTo>
                      <a:pt x="10" y="23"/>
                    </a:lnTo>
                    <a:lnTo>
                      <a:pt x="8" y="25"/>
                    </a:lnTo>
                    <a:lnTo>
                      <a:pt x="9" y="27"/>
                    </a:lnTo>
                    <a:lnTo>
                      <a:pt x="7" y="27"/>
                    </a:lnTo>
                    <a:lnTo>
                      <a:pt x="3" y="29"/>
                    </a:lnTo>
                    <a:lnTo>
                      <a:pt x="5" y="30"/>
                    </a:lnTo>
                    <a:lnTo>
                      <a:pt x="3" y="30"/>
                    </a:lnTo>
                    <a:lnTo>
                      <a:pt x="0" y="31"/>
                    </a:lnTo>
                    <a:lnTo>
                      <a:pt x="3" y="33"/>
                    </a:lnTo>
                    <a:lnTo>
                      <a:pt x="3" y="35"/>
                    </a:lnTo>
                    <a:lnTo>
                      <a:pt x="7" y="41"/>
                    </a:lnTo>
                    <a:lnTo>
                      <a:pt x="8" y="44"/>
                    </a:lnTo>
                    <a:lnTo>
                      <a:pt x="11" y="43"/>
                    </a:lnTo>
                    <a:lnTo>
                      <a:pt x="13" y="41"/>
                    </a:lnTo>
                    <a:lnTo>
                      <a:pt x="13" y="38"/>
                    </a:lnTo>
                    <a:lnTo>
                      <a:pt x="19" y="38"/>
                    </a:lnTo>
                    <a:lnTo>
                      <a:pt x="19" y="41"/>
                    </a:lnTo>
                    <a:lnTo>
                      <a:pt x="16" y="42"/>
                    </a:lnTo>
                    <a:lnTo>
                      <a:pt x="16" y="46"/>
                    </a:lnTo>
                    <a:lnTo>
                      <a:pt x="18" y="48"/>
                    </a:lnTo>
                    <a:lnTo>
                      <a:pt x="21" y="50"/>
                    </a:lnTo>
                    <a:lnTo>
                      <a:pt x="18" y="50"/>
                    </a:lnTo>
                    <a:lnTo>
                      <a:pt x="16" y="49"/>
                    </a:lnTo>
                    <a:lnTo>
                      <a:pt x="9" y="47"/>
                    </a:lnTo>
                    <a:lnTo>
                      <a:pt x="5" y="48"/>
                    </a:lnTo>
                    <a:lnTo>
                      <a:pt x="9" y="50"/>
                    </a:lnTo>
                    <a:lnTo>
                      <a:pt x="13" y="52"/>
                    </a:lnTo>
                    <a:lnTo>
                      <a:pt x="11" y="52"/>
                    </a:lnTo>
                    <a:lnTo>
                      <a:pt x="11" y="55"/>
                    </a:lnTo>
                    <a:lnTo>
                      <a:pt x="13" y="58"/>
                    </a:lnTo>
                    <a:lnTo>
                      <a:pt x="17" y="59"/>
                    </a:lnTo>
                    <a:lnTo>
                      <a:pt x="19" y="59"/>
                    </a:lnTo>
                    <a:lnTo>
                      <a:pt x="22" y="61"/>
                    </a:lnTo>
                    <a:lnTo>
                      <a:pt x="25" y="61"/>
                    </a:lnTo>
                    <a:lnTo>
                      <a:pt x="31" y="61"/>
                    </a:lnTo>
                    <a:lnTo>
                      <a:pt x="19" y="63"/>
                    </a:lnTo>
                    <a:lnTo>
                      <a:pt x="22" y="65"/>
                    </a:lnTo>
                    <a:lnTo>
                      <a:pt x="25" y="67"/>
                    </a:lnTo>
                    <a:lnTo>
                      <a:pt x="28" y="68"/>
                    </a:lnTo>
                    <a:lnTo>
                      <a:pt x="29" y="72"/>
                    </a:lnTo>
                    <a:lnTo>
                      <a:pt x="33" y="70"/>
                    </a:lnTo>
                    <a:lnTo>
                      <a:pt x="38" y="72"/>
                    </a:lnTo>
                    <a:lnTo>
                      <a:pt x="40" y="69"/>
                    </a:lnTo>
                    <a:lnTo>
                      <a:pt x="44" y="70"/>
                    </a:lnTo>
                    <a:lnTo>
                      <a:pt x="46" y="68"/>
                    </a:lnTo>
                    <a:lnTo>
                      <a:pt x="47" y="66"/>
                    </a:lnTo>
                    <a:lnTo>
                      <a:pt x="50" y="66"/>
                    </a:lnTo>
                    <a:lnTo>
                      <a:pt x="52" y="64"/>
                    </a:lnTo>
                    <a:lnTo>
                      <a:pt x="48" y="63"/>
                    </a:lnTo>
                    <a:lnTo>
                      <a:pt x="51" y="59"/>
                    </a:lnTo>
                    <a:lnTo>
                      <a:pt x="50" y="57"/>
                    </a:lnTo>
                    <a:lnTo>
                      <a:pt x="52" y="56"/>
                    </a:lnTo>
                    <a:lnTo>
                      <a:pt x="55" y="56"/>
                    </a:lnTo>
                    <a:lnTo>
                      <a:pt x="55" y="59"/>
                    </a:lnTo>
                    <a:lnTo>
                      <a:pt x="57" y="58"/>
                    </a:lnTo>
                    <a:lnTo>
                      <a:pt x="60" y="56"/>
                    </a:lnTo>
                    <a:lnTo>
                      <a:pt x="61" y="52"/>
                    </a:lnTo>
                    <a:lnTo>
                      <a:pt x="64" y="52"/>
                    </a:lnTo>
                    <a:lnTo>
                      <a:pt x="64" y="56"/>
                    </a:lnTo>
                    <a:lnTo>
                      <a:pt x="63" y="58"/>
                    </a:lnTo>
                    <a:lnTo>
                      <a:pt x="61" y="60"/>
                    </a:lnTo>
                    <a:lnTo>
                      <a:pt x="62" y="63"/>
                    </a:lnTo>
                    <a:lnTo>
                      <a:pt x="64" y="64"/>
                    </a:lnTo>
                    <a:lnTo>
                      <a:pt x="70" y="63"/>
                    </a:lnTo>
                    <a:lnTo>
                      <a:pt x="76" y="60"/>
                    </a:lnTo>
                    <a:lnTo>
                      <a:pt x="77" y="58"/>
                    </a:lnTo>
                    <a:lnTo>
                      <a:pt x="80" y="57"/>
                    </a:lnTo>
                    <a:lnTo>
                      <a:pt x="80" y="59"/>
                    </a:lnTo>
                    <a:lnTo>
                      <a:pt x="78" y="61"/>
                    </a:lnTo>
                    <a:lnTo>
                      <a:pt x="78" y="64"/>
                    </a:lnTo>
                    <a:lnTo>
                      <a:pt x="81" y="65"/>
                    </a:lnTo>
                    <a:lnTo>
                      <a:pt x="84" y="66"/>
                    </a:lnTo>
                    <a:lnTo>
                      <a:pt x="87" y="65"/>
                    </a:lnTo>
                    <a:lnTo>
                      <a:pt x="89" y="65"/>
                    </a:lnTo>
                    <a:lnTo>
                      <a:pt x="84" y="67"/>
                    </a:lnTo>
                    <a:lnTo>
                      <a:pt x="81" y="67"/>
                    </a:lnTo>
                    <a:lnTo>
                      <a:pt x="72" y="67"/>
                    </a:lnTo>
                    <a:lnTo>
                      <a:pt x="70" y="67"/>
                    </a:lnTo>
                    <a:lnTo>
                      <a:pt x="67" y="68"/>
                    </a:lnTo>
                    <a:lnTo>
                      <a:pt x="67" y="70"/>
                    </a:lnTo>
                    <a:lnTo>
                      <a:pt x="63" y="70"/>
                    </a:lnTo>
                    <a:lnTo>
                      <a:pt x="55" y="74"/>
                    </a:lnTo>
                    <a:lnTo>
                      <a:pt x="50" y="75"/>
                    </a:lnTo>
                    <a:lnTo>
                      <a:pt x="46" y="74"/>
                    </a:lnTo>
                    <a:lnTo>
                      <a:pt x="46" y="77"/>
                    </a:lnTo>
                    <a:lnTo>
                      <a:pt x="44" y="75"/>
                    </a:lnTo>
                    <a:lnTo>
                      <a:pt x="40" y="75"/>
                    </a:lnTo>
                    <a:lnTo>
                      <a:pt x="38" y="77"/>
                    </a:lnTo>
                    <a:lnTo>
                      <a:pt x="38" y="80"/>
                    </a:lnTo>
                    <a:lnTo>
                      <a:pt x="39" y="83"/>
                    </a:lnTo>
                    <a:lnTo>
                      <a:pt x="40" y="85"/>
                    </a:lnTo>
                    <a:lnTo>
                      <a:pt x="43" y="85"/>
                    </a:lnTo>
                    <a:lnTo>
                      <a:pt x="46" y="84"/>
                    </a:lnTo>
                    <a:lnTo>
                      <a:pt x="48" y="84"/>
                    </a:lnTo>
                    <a:lnTo>
                      <a:pt x="52" y="84"/>
                    </a:lnTo>
                    <a:lnTo>
                      <a:pt x="56" y="83"/>
                    </a:lnTo>
                    <a:lnTo>
                      <a:pt x="60" y="83"/>
                    </a:lnTo>
                    <a:lnTo>
                      <a:pt x="62" y="81"/>
                    </a:lnTo>
                    <a:lnTo>
                      <a:pt x="65" y="81"/>
                    </a:lnTo>
                    <a:lnTo>
                      <a:pt x="68" y="82"/>
                    </a:lnTo>
                    <a:lnTo>
                      <a:pt x="71" y="82"/>
                    </a:lnTo>
                    <a:lnTo>
                      <a:pt x="73" y="82"/>
                    </a:lnTo>
                    <a:lnTo>
                      <a:pt x="79" y="82"/>
                    </a:lnTo>
                    <a:lnTo>
                      <a:pt x="82" y="80"/>
                    </a:lnTo>
                    <a:lnTo>
                      <a:pt x="85" y="80"/>
                    </a:lnTo>
                    <a:lnTo>
                      <a:pt x="84" y="82"/>
                    </a:lnTo>
                    <a:lnTo>
                      <a:pt x="86" y="84"/>
                    </a:lnTo>
                    <a:lnTo>
                      <a:pt x="84" y="83"/>
                    </a:lnTo>
                    <a:lnTo>
                      <a:pt x="69" y="84"/>
                    </a:lnTo>
                    <a:lnTo>
                      <a:pt x="61" y="85"/>
                    </a:lnTo>
                    <a:lnTo>
                      <a:pt x="57" y="86"/>
                    </a:lnTo>
                    <a:lnTo>
                      <a:pt x="55" y="87"/>
                    </a:lnTo>
                    <a:lnTo>
                      <a:pt x="70" y="90"/>
                    </a:lnTo>
                    <a:lnTo>
                      <a:pt x="72" y="92"/>
                    </a:lnTo>
                    <a:lnTo>
                      <a:pt x="74" y="93"/>
                    </a:lnTo>
                    <a:lnTo>
                      <a:pt x="72" y="93"/>
                    </a:lnTo>
                    <a:lnTo>
                      <a:pt x="70" y="91"/>
                    </a:lnTo>
                    <a:lnTo>
                      <a:pt x="67" y="91"/>
                    </a:lnTo>
                    <a:lnTo>
                      <a:pt x="64" y="91"/>
                    </a:lnTo>
                    <a:lnTo>
                      <a:pt x="59" y="90"/>
                    </a:lnTo>
                    <a:lnTo>
                      <a:pt x="55" y="91"/>
                    </a:lnTo>
                    <a:lnTo>
                      <a:pt x="53" y="92"/>
                    </a:lnTo>
                    <a:lnTo>
                      <a:pt x="51" y="90"/>
                    </a:lnTo>
                    <a:lnTo>
                      <a:pt x="47" y="90"/>
                    </a:lnTo>
                    <a:lnTo>
                      <a:pt x="45" y="90"/>
                    </a:lnTo>
                    <a:lnTo>
                      <a:pt x="42" y="91"/>
                    </a:lnTo>
                    <a:lnTo>
                      <a:pt x="43" y="94"/>
                    </a:lnTo>
                    <a:lnTo>
                      <a:pt x="47" y="100"/>
                    </a:lnTo>
                    <a:lnTo>
                      <a:pt x="51" y="101"/>
                    </a:lnTo>
                    <a:lnTo>
                      <a:pt x="53" y="101"/>
                    </a:lnTo>
                    <a:lnTo>
                      <a:pt x="56" y="102"/>
                    </a:lnTo>
                    <a:lnTo>
                      <a:pt x="59" y="104"/>
                    </a:lnTo>
                    <a:lnTo>
                      <a:pt x="62" y="106"/>
                    </a:lnTo>
                    <a:lnTo>
                      <a:pt x="68" y="107"/>
                    </a:lnTo>
                    <a:lnTo>
                      <a:pt x="70" y="104"/>
                    </a:lnTo>
                    <a:lnTo>
                      <a:pt x="73" y="106"/>
                    </a:lnTo>
                    <a:lnTo>
                      <a:pt x="79" y="107"/>
                    </a:lnTo>
                    <a:lnTo>
                      <a:pt x="76" y="108"/>
                    </a:lnTo>
                    <a:lnTo>
                      <a:pt x="73" y="107"/>
                    </a:lnTo>
                    <a:lnTo>
                      <a:pt x="70" y="108"/>
                    </a:lnTo>
                    <a:lnTo>
                      <a:pt x="68" y="108"/>
                    </a:lnTo>
                    <a:lnTo>
                      <a:pt x="64" y="110"/>
                    </a:lnTo>
                    <a:lnTo>
                      <a:pt x="68" y="111"/>
                    </a:lnTo>
                    <a:lnTo>
                      <a:pt x="70" y="112"/>
                    </a:lnTo>
                    <a:lnTo>
                      <a:pt x="73" y="113"/>
                    </a:lnTo>
                    <a:lnTo>
                      <a:pt x="76" y="116"/>
                    </a:lnTo>
                    <a:lnTo>
                      <a:pt x="76" y="119"/>
                    </a:lnTo>
                    <a:lnTo>
                      <a:pt x="79" y="118"/>
                    </a:lnTo>
                    <a:lnTo>
                      <a:pt x="81" y="119"/>
                    </a:lnTo>
                    <a:lnTo>
                      <a:pt x="84" y="118"/>
                    </a:lnTo>
                    <a:lnTo>
                      <a:pt x="87" y="116"/>
                    </a:lnTo>
                    <a:lnTo>
                      <a:pt x="87" y="113"/>
                    </a:lnTo>
                    <a:lnTo>
                      <a:pt x="85" y="112"/>
                    </a:lnTo>
                    <a:lnTo>
                      <a:pt x="89" y="108"/>
                    </a:lnTo>
                    <a:lnTo>
                      <a:pt x="87" y="104"/>
                    </a:lnTo>
                    <a:lnTo>
                      <a:pt x="90" y="104"/>
                    </a:lnTo>
                    <a:lnTo>
                      <a:pt x="93" y="99"/>
                    </a:lnTo>
                    <a:lnTo>
                      <a:pt x="94" y="97"/>
                    </a:lnTo>
                    <a:lnTo>
                      <a:pt x="95" y="93"/>
                    </a:lnTo>
                    <a:lnTo>
                      <a:pt x="98" y="92"/>
                    </a:lnTo>
                    <a:lnTo>
                      <a:pt x="101" y="92"/>
                    </a:lnTo>
                    <a:lnTo>
                      <a:pt x="104" y="90"/>
                    </a:lnTo>
                    <a:lnTo>
                      <a:pt x="105" y="84"/>
                    </a:lnTo>
                    <a:lnTo>
                      <a:pt x="105" y="78"/>
                    </a:lnTo>
                    <a:lnTo>
                      <a:pt x="106" y="76"/>
                    </a:lnTo>
                    <a:lnTo>
                      <a:pt x="112" y="76"/>
                    </a:lnTo>
                    <a:lnTo>
                      <a:pt x="114" y="74"/>
                    </a:lnTo>
                    <a:lnTo>
                      <a:pt x="112" y="72"/>
                    </a:lnTo>
                    <a:lnTo>
                      <a:pt x="113" y="69"/>
                    </a:lnTo>
                    <a:lnTo>
                      <a:pt x="114" y="66"/>
                    </a:lnTo>
                    <a:lnTo>
                      <a:pt x="113" y="64"/>
                    </a:lnTo>
                    <a:lnTo>
                      <a:pt x="119" y="63"/>
                    </a:lnTo>
                    <a:lnTo>
                      <a:pt x="121" y="60"/>
                    </a:lnTo>
                    <a:lnTo>
                      <a:pt x="124" y="59"/>
                    </a:lnTo>
                    <a:lnTo>
                      <a:pt x="128" y="59"/>
                    </a:lnTo>
                    <a:lnTo>
                      <a:pt x="132" y="58"/>
                    </a:lnTo>
                    <a:lnTo>
                      <a:pt x="135" y="58"/>
                    </a:lnTo>
                    <a:close/>
                    <a:moveTo>
                      <a:pt x="226" y="14"/>
                    </a:moveTo>
                    <a:lnTo>
                      <a:pt x="224" y="13"/>
                    </a:lnTo>
                    <a:lnTo>
                      <a:pt x="221" y="10"/>
                    </a:lnTo>
                    <a:lnTo>
                      <a:pt x="218" y="10"/>
                    </a:lnTo>
                    <a:lnTo>
                      <a:pt x="209" y="10"/>
                    </a:lnTo>
                    <a:lnTo>
                      <a:pt x="206" y="10"/>
                    </a:lnTo>
                    <a:lnTo>
                      <a:pt x="204" y="9"/>
                    </a:lnTo>
                    <a:lnTo>
                      <a:pt x="200" y="9"/>
                    </a:lnTo>
                    <a:lnTo>
                      <a:pt x="198" y="8"/>
                    </a:lnTo>
                    <a:lnTo>
                      <a:pt x="195" y="8"/>
                    </a:lnTo>
                    <a:lnTo>
                      <a:pt x="193" y="6"/>
                    </a:lnTo>
                    <a:lnTo>
                      <a:pt x="191" y="7"/>
                    </a:lnTo>
                    <a:lnTo>
                      <a:pt x="188" y="5"/>
                    </a:lnTo>
                    <a:lnTo>
                      <a:pt x="185" y="5"/>
                    </a:lnTo>
                    <a:lnTo>
                      <a:pt x="185" y="7"/>
                    </a:lnTo>
                    <a:lnTo>
                      <a:pt x="182" y="7"/>
                    </a:lnTo>
                    <a:lnTo>
                      <a:pt x="180" y="7"/>
                    </a:lnTo>
                    <a:lnTo>
                      <a:pt x="179" y="9"/>
                    </a:lnTo>
                    <a:lnTo>
                      <a:pt x="176" y="13"/>
                    </a:lnTo>
                    <a:lnTo>
                      <a:pt x="171" y="10"/>
                    </a:lnTo>
                    <a:lnTo>
                      <a:pt x="170" y="8"/>
                    </a:lnTo>
                    <a:lnTo>
                      <a:pt x="173" y="7"/>
                    </a:lnTo>
                    <a:lnTo>
                      <a:pt x="172" y="5"/>
                    </a:lnTo>
                    <a:lnTo>
                      <a:pt x="172" y="3"/>
                    </a:lnTo>
                    <a:lnTo>
                      <a:pt x="166" y="0"/>
                    </a:lnTo>
                    <a:lnTo>
                      <a:pt x="165" y="6"/>
                    </a:lnTo>
                    <a:lnTo>
                      <a:pt x="164" y="3"/>
                    </a:lnTo>
                    <a:lnTo>
                      <a:pt x="162" y="3"/>
                    </a:lnTo>
                    <a:lnTo>
                      <a:pt x="159" y="6"/>
                    </a:lnTo>
                    <a:lnTo>
                      <a:pt x="163" y="7"/>
                    </a:lnTo>
                    <a:lnTo>
                      <a:pt x="161" y="13"/>
                    </a:lnTo>
                    <a:lnTo>
                      <a:pt x="161" y="15"/>
                    </a:lnTo>
                    <a:lnTo>
                      <a:pt x="159" y="16"/>
                    </a:lnTo>
                    <a:lnTo>
                      <a:pt x="157" y="16"/>
                    </a:lnTo>
                    <a:lnTo>
                      <a:pt x="156" y="14"/>
                    </a:lnTo>
                    <a:lnTo>
                      <a:pt x="154" y="13"/>
                    </a:lnTo>
                    <a:lnTo>
                      <a:pt x="150" y="13"/>
                    </a:lnTo>
                    <a:lnTo>
                      <a:pt x="153" y="9"/>
                    </a:lnTo>
                    <a:lnTo>
                      <a:pt x="150" y="7"/>
                    </a:lnTo>
                    <a:lnTo>
                      <a:pt x="139" y="9"/>
                    </a:lnTo>
                    <a:lnTo>
                      <a:pt x="138" y="7"/>
                    </a:lnTo>
                    <a:lnTo>
                      <a:pt x="136" y="7"/>
                    </a:lnTo>
                    <a:lnTo>
                      <a:pt x="133" y="5"/>
                    </a:lnTo>
                    <a:lnTo>
                      <a:pt x="130" y="3"/>
                    </a:lnTo>
                    <a:lnTo>
                      <a:pt x="122" y="0"/>
                    </a:lnTo>
                    <a:lnTo>
                      <a:pt x="120" y="4"/>
                    </a:lnTo>
                    <a:lnTo>
                      <a:pt x="125" y="5"/>
                    </a:lnTo>
                    <a:lnTo>
                      <a:pt x="124" y="7"/>
                    </a:lnTo>
                    <a:lnTo>
                      <a:pt x="122" y="9"/>
                    </a:lnTo>
                    <a:lnTo>
                      <a:pt x="119" y="7"/>
                    </a:lnTo>
                    <a:lnTo>
                      <a:pt x="116" y="6"/>
                    </a:lnTo>
                    <a:lnTo>
                      <a:pt x="113" y="6"/>
                    </a:lnTo>
                    <a:lnTo>
                      <a:pt x="114" y="8"/>
                    </a:lnTo>
                    <a:lnTo>
                      <a:pt x="118" y="10"/>
                    </a:lnTo>
                    <a:lnTo>
                      <a:pt x="120" y="10"/>
                    </a:lnTo>
                    <a:lnTo>
                      <a:pt x="118" y="14"/>
                    </a:lnTo>
                    <a:lnTo>
                      <a:pt x="112" y="10"/>
                    </a:lnTo>
                    <a:lnTo>
                      <a:pt x="110" y="10"/>
                    </a:lnTo>
                    <a:lnTo>
                      <a:pt x="101" y="10"/>
                    </a:lnTo>
                    <a:lnTo>
                      <a:pt x="97" y="12"/>
                    </a:lnTo>
                    <a:lnTo>
                      <a:pt x="103" y="14"/>
                    </a:lnTo>
                    <a:lnTo>
                      <a:pt x="106" y="15"/>
                    </a:lnTo>
                    <a:lnTo>
                      <a:pt x="108" y="15"/>
                    </a:lnTo>
                    <a:lnTo>
                      <a:pt x="112" y="15"/>
                    </a:lnTo>
                    <a:lnTo>
                      <a:pt x="111" y="16"/>
                    </a:lnTo>
                    <a:lnTo>
                      <a:pt x="108" y="16"/>
                    </a:lnTo>
                    <a:lnTo>
                      <a:pt x="105" y="18"/>
                    </a:lnTo>
                    <a:lnTo>
                      <a:pt x="103" y="18"/>
                    </a:lnTo>
                    <a:lnTo>
                      <a:pt x="104" y="22"/>
                    </a:lnTo>
                    <a:lnTo>
                      <a:pt x="106" y="23"/>
                    </a:lnTo>
                    <a:lnTo>
                      <a:pt x="110" y="24"/>
                    </a:lnTo>
                    <a:lnTo>
                      <a:pt x="112" y="24"/>
                    </a:lnTo>
                    <a:lnTo>
                      <a:pt x="119" y="24"/>
                    </a:lnTo>
                    <a:lnTo>
                      <a:pt x="121" y="25"/>
                    </a:lnTo>
                    <a:lnTo>
                      <a:pt x="128" y="24"/>
                    </a:lnTo>
                    <a:lnTo>
                      <a:pt x="133" y="23"/>
                    </a:lnTo>
                    <a:lnTo>
                      <a:pt x="141" y="22"/>
                    </a:lnTo>
                    <a:lnTo>
                      <a:pt x="150" y="22"/>
                    </a:lnTo>
                    <a:lnTo>
                      <a:pt x="154" y="24"/>
                    </a:lnTo>
                    <a:lnTo>
                      <a:pt x="156" y="23"/>
                    </a:lnTo>
                    <a:lnTo>
                      <a:pt x="159" y="23"/>
                    </a:lnTo>
                    <a:lnTo>
                      <a:pt x="156" y="24"/>
                    </a:lnTo>
                    <a:lnTo>
                      <a:pt x="154" y="24"/>
                    </a:lnTo>
                    <a:lnTo>
                      <a:pt x="150" y="25"/>
                    </a:lnTo>
                    <a:lnTo>
                      <a:pt x="141" y="25"/>
                    </a:lnTo>
                    <a:lnTo>
                      <a:pt x="136" y="26"/>
                    </a:lnTo>
                    <a:lnTo>
                      <a:pt x="139" y="29"/>
                    </a:lnTo>
                    <a:lnTo>
                      <a:pt x="141" y="29"/>
                    </a:lnTo>
                    <a:lnTo>
                      <a:pt x="133" y="29"/>
                    </a:lnTo>
                    <a:lnTo>
                      <a:pt x="130" y="27"/>
                    </a:lnTo>
                    <a:lnTo>
                      <a:pt x="128" y="27"/>
                    </a:lnTo>
                    <a:lnTo>
                      <a:pt x="124" y="27"/>
                    </a:lnTo>
                    <a:lnTo>
                      <a:pt x="123" y="31"/>
                    </a:lnTo>
                    <a:lnTo>
                      <a:pt x="128" y="32"/>
                    </a:lnTo>
                    <a:lnTo>
                      <a:pt x="130" y="33"/>
                    </a:lnTo>
                    <a:lnTo>
                      <a:pt x="136" y="33"/>
                    </a:lnTo>
                    <a:lnTo>
                      <a:pt x="141" y="35"/>
                    </a:lnTo>
                    <a:lnTo>
                      <a:pt x="147" y="35"/>
                    </a:lnTo>
                    <a:lnTo>
                      <a:pt x="149" y="35"/>
                    </a:lnTo>
                    <a:lnTo>
                      <a:pt x="153" y="35"/>
                    </a:lnTo>
                    <a:lnTo>
                      <a:pt x="158" y="34"/>
                    </a:lnTo>
                    <a:lnTo>
                      <a:pt x="164" y="35"/>
                    </a:lnTo>
                    <a:lnTo>
                      <a:pt x="164" y="38"/>
                    </a:lnTo>
                    <a:lnTo>
                      <a:pt x="166" y="40"/>
                    </a:lnTo>
                    <a:lnTo>
                      <a:pt x="170" y="41"/>
                    </a:lnTo>
                    <a:lnTo>
                      <a:pt x="175" y="41"/>
                    </a:lnTo>
                    <a:lnTo>
                      <a:pt x="181" y="41"/>
                    </a:lnTo>
                    <a:lnTo>
                      <a:pt x="183" y="41"/>
                    </a:lnTo>
                    <a:lnTo>
                      <a:pt x="185" y="38"/>
                    </a:lnTo>
                    <a:lnTo>
                      <a:pt x="195" y="35"/>
                    </a:lnTo>
                    <a:lnTo>
                      <a:pt x="197" y="38"/>
                    </a:lnTo>
                    <a:lnTo>
                      <a:pt x="206" y="34"/>
                    </a:lnTo>
                    <a:lnTo>
                      <a:pt x="208" y="32"/>
                    </a:lnTo>
                    <a:lnTo>
                      <a:pt x="208" y="30"/>
                    </a:lnTo>
                    <a:lnTo>
                      <a:pt x="210" y="27"/>
                    </a:lnTo>
                    <a:lnTo>
                      <a:pt x="216" y="25"/>
                    </a:lnTo>
                    <a:lnTo>
                      <a:pt x="222" y="22"/>
                    </a:lnTo>
                    <a:lnTo>
                      <a:pt x="225" y="21"/>
                    </a:lnTo>
                    <a:lnTo>
                      <a:pt x="226" y="18"/>
                    </a:lnTo>
                    <a:lnTo>
                      <a:pt x="225" y="16"/>
                    </a:lnTo>
                    <a:lnTo>
                      <a:pt x="226" y="14"/>
                    </a:lnTo>
                    <a:close/>
                    <a:moveTo>
                      <a:pt x="139" y="70"/>
                    </a:moveTo>
                    <a:lnTo>
                      <a:pt x="142" y="72"/>
                    </a:lnTo>
                    <a:lnTo>
                      <a:pt x="145" y="70"/>
                    </a:lnTo>
                    <a:lnTo>
                      <a:pt x="150" y="69"/>
                    </a:lnTo>
                    <a:lnTo>
                      <a:pt x="156" y="69"/>
                    </a:lnTo>
                    <a:lnTo>
                      <a:pt x="157" y="67"/>
                    </a:lnTo>
                    <a:lnTo>
                      <a:pt x="157" y="64"/>
                    </a:lnTo>
                    <a:lnTo>
                      <a:pt x="157" y="61"/>
                    </a:lnTo>
                    <a:lnTo>
                      <a:pt x="150" y="59"/>
                    </a:lnTo>
                    <a:lnTo>
                      <a:pt x="148" y="60"/>
                    </a:lnTo>
                    <a:lnTo>
                      <a:pt x="145" y="59"/>
                    </a:lnTo>
                    <a:lnTo>
                      <a:pt x="139" y="60"/>
                    </a:lnTo>
                    <a:lnTo>
                      <a:pt x="131" y="63"/>
                    </a:lnTo>
                    <a:lnTo>
                      <a:pt x="129" y="63"/>
                    </a:lnTo>
                    <a:lnTo>
                      <a:pt x="135" y="65"/>
                    </a:lnTo>
                    <a:lnTo>
                      <a:pt x="135" y="67"/>
                    </a:lnTo>
                    <a:lnTo>
                      <a:pt x="137" y="68"/>
                    </a:lnTo>
                    <a:lnTo>
                      <a:pt x="137" y="70"/>
                    </a:lnTo>
                    <a:lnTo>
                      <a:pt x="139" y="70"/>
                    </a:lnTo>
                    <a:close/>
                    <a:moveTo>
                      <a:pt x="188" y="81"/>
                    </a:moveTo>
                    <a:lnTo>
                      <a:pt x="184" y="81"/>
                    </a:lnTo>
                    <a:lnTo>
                      <a:pt x="182" y="81"/>
                    </a:lnTo>
                    <a:lnTo>
                      <a:pt x="180" y="81"/>
                    </a:lnTo>
                    <a:lnTo>
                      <a:pt x="176" y="81"/>
                    </a:lnTo>
                    <a:lnTo>
                      <a:pt x="174" y="78"/>
                    </a:lnTo>
                    <a:lnTo>
                      <a:pt x="171" y="77"/>
                    </a:lnTo>
                    <a:lnTo>
                      <a:pt x="170" y="75"/>
                    </a:lnTo>
                    <a:lnTo>
                      <a:pt x="172" y="74"/>
                    </a:lnTo>
                    <a:lnTo>
                      <a:pt x="173" y="72"/>
                    </a:lnTo>
                    <a:lnTo>
                      <a:pt x="171" y="70"/>
                    </a:lnTo>
                    <a:lnTo>
                      <a:pt x="167" y="69"/>
                    </a:lnTo>
                    <a:lnTo>
                      <a:pt x="162" y="70"/>
                    </a:lnTo>
                    <a:lnTo>
                      <a:pt x="159" y="72"/>
                    </a:lnTo>
                    <a:lnTo>
                      <a:pt x="154" y="70"/>
                    </a:lnTo>
                    <a:lnTo>
                      <a:pt x="148" y="72"/>
                    </a:lnTo>
                    <a:lnTo>
                      <a:pt x="139" y="74"/>
                    </a:lnTo>
                    <a:lnTo>
                      <a:pt x="142" y="76"/>
                    </a:lnTo>
                    <a:lnTo>
                      <a:pt x="148" y="78"/>
                    </a:lnTo>
                    <a:lnTo>
                      <a:pt x="149" y="81"/>
                    </a:lnTo>
                    <a:lnTo>
                      <a:pt x="146" y="84"/>
                    </a:lnTo>
                    <a:lnTo>
                      <a:pt x="145" y="86"/>
                    </a:lnTo>
                    <a:lnTo>
                      <a:pt x="141" y="90"/>
                    </a:lnTo>
                    <a:lnTo>
                      <a:pt x="139" y="91"/>
                    </a:lnTo>
                    <a:lnTo>
                      <a:pt x="139" y="93"/>
                    </a:lnTo>
                    <a:lnTo>
                      <a:pt x="141" y="93"/>
                    </a:lnTo>
                    <a:lnTo>
                      <a:pt x="145" y="93"/>
                    </a:lnTo>
                    <a:lnTo>
                      <a:pt x="148" y="92"/>
                    </a:lnTo>
                    <a:lnTo>
                      <a:pt x="156" y="92"/>
                    </a:lnTo>
                    <a:lnTo>
                      <a:pt x="158" y="90"/>
                    </a:lnTo>
                    <a:lnTo>
                      <a:pt x="162" y="90"/>
                    </a:lnTo>
                    <a:lnTo>
                      <a:pt x="164" y="90"/>
                    </a:lnTo>
                    <a:lnTo>
                      <a:pt x="162" y="93"/>
                    </a:lnTo>
                    <a:lnTo>
                      <a:pt x="161" y="99"/>
                    </a:lnTo>
                    <a:lnTo>
                      <a:pt x="163" y="99"/>
                    </a:lnTo>
                    <a:lnTo>
                      <a:pt x="166" y="98"/>
                    </a:lnTo>
                    <a:lnTo>
                      <a:pt x="168" y="95"/>
                    </a:lnTo>
                    <a:lnTo>
                      <a:pt x="172" y="94"/>
                    </a:lnTo>
                    <a:lnTo>
                      <a:pt x="174" y="95"/>
                    </a:lnTo>
                    <a:lnTo>
                      <a:pt x="178" y="94"/>
                    </a:lnTo>
                    <a:lnTo>
                      <a:pt x="180" y="92"/>
                    </a:lnTo>
                    <a:lnTo>
                      <a:pt x="184" y="86"/>
                    </a:lnTo>
                    <a:lnTo>
                      <a:pt x="190" y="85"/>
                    </a:lnTo>
                    <a:lnTo>
                      <a:pt x="193" y="85"/>
                    </a:lnTo>
                    <a:lnTo>
                      <a:pt x="190" y="82"/>
                    </a:lnTo>
                    <a:lnTo>
                      <a:pt x="18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1" name="Freeform 97">
                <a:extLst>
                  <a:ext uri="{FF2B5EF4-FFF2-40B4-BE49-F238E27FC236}">
                    <a16:creationId xmlns:a16="http://schemas.microsoft.com/office/drawing/2014/main" id="{8B390230-6883-44AE-8AB5-BF57980BDD44}"/>
                  </a:ext>
                </a:extLst>
              </p:cNvPr>
              <p:cNvSpPr>
                <a:spLocks/>
              </p:cNvSpPr>
              <p:nvPr/>
            </p:nvSpPr>
            <p:spPr bwMode="auto">
              <a:xfrm>
                <a:off x="3798" y="1912"/>
                <a:ext cx="32" cy="21"/>
              </a:xfrm>
              <a:custGeom>
                <a:avLst/>
                <a:gdLst>
                  <a:gd name="T0" fmla="*/ 2 w 32"/>
                  <a:gd name="T1" fmla="*/ 21 h 21"/>
                  <a:gd name="T2" fmla="*/ 0 w 32"/>
                  <a:gd name="T3" fmla="*/ 19 h 21"/>
                  <a:gd name="T4" fmla="*/ 1 w 32"/>
                  <a:gd name="T5" fmla="*/ 16 h 21"/>
                  <a:gd name="T6" fmla="*/ 4 w 32"/>
                  <a:gd name="T7" fmla="*/ 13 h 21"/>
                  <a:gd name="T8" fmla="*/ 6 w 32"/>
                  <a:gd name="T9" fmla="*/ 12 h 21"/>
                  <a:gd name="T10" fmla="*/ 8 w 32"/>
                  <a:gd name="T11" fmla="*/ 12 h 21"/>
                  <a:gd name="T12" fmla="*/ 10 w 32"/>
                  <a:gd name="T13" fmla="*/ 12 h 21"/>
                  <a:gd name="T14" fmla="*/ 13 w 32"/>
                  <a:gd name="T15" fmla="*/ 12 h 21"/>
                  <a:gd name="T16" fmla="*/ 16 w 32"/>
                  <a:gd name="T17" fmla="*/ 12 h 21"/>
                  <a:gd name="T18" fmla="*/ 19 w 32"/>
                  <a:gd name="T19" fmla="*/ 9 h 21"/>
                  <a:gd name="T20" fmla="*/ 20 w 32"/>
                  <a:gd name="T21" fmla="*/ 6 h 21"/>
                  <a:gd name="T22" fmla="*/ 24 w 32"/>
                  <a:gd name="T23" fmla="*/ 3 h 21"/>
                  <a:gd name="T24" fmla="*/ 26 w 32"/>
                  <a:gd name="T25" fmla="*/ 3 h 21"/>
                  <a:gd name="T26" fmla="*/ 32 w 32"/>
                  <a:gd name="T27" fmla="*/ 0 h 21"/>
                  <a:gd name="T28" fmla="*/ 29 w 32"/>
                  <a:gd name="T29" fmla="*/ 3 h 21"/>
                  <a:gd name="T30" fmla="*/ 30 w 32"/>
                  <a:gd name="T31" fmla="*/ 5 h 21"/>
                  <a:gd name="T32" fmla="*/ 30 w 32"/>
                  <a:gd name="T33" fmla="*/ 10 h 21"/>
                  <a:gd name="T34" fmla="*/ 29 w 32"/>
                  <a:gd name="T35" fmla="*/ 13 h 21"/>
                  <a:gd name="T36" fmla="*/ 26 w 32"/>
                  <a:gd name="T37" fmla="*/ 14 h 21"/>
                  <a:gd name="T38" fmla="*/ 24 w 32"/>
                  <a:gd name="T39" fmla="*/ 13 h 21"/>
                  <a:gd name="T40" fmla="*/ 24 w 32"/>
                  <a:gd name="T41" fmla="*/ 13 h 21"/>
                  <a:gd name="T42" fmla="*/ 23 w 32"/>
                  <a:gd name="T43" fmla="*/ 13 h 21"/>
                  <a:gd name="T44" fmla="*/ 20 w 32"/>
                  <a:gd name="T45" fmla="*/ 13 h 21"/>
                  <a:gd name="T46" fmla="*/ 13 w 32"/>
                  <a:gd name="T47" fmla="*/ 14 h 21"/>
                  <a:gd name="T48" fmla="*/ 11 w 32"/>
                  <a:gd name="T49" fmla="*/ 13 h 21"/>
                  <a:gd name="T50" fmla="*/ 11 w 32"/>
                  <a:gd name="T51" fmla="*/ 14 h 21"/>
                  <a:gd name="T52" fmla="*/ 6 w 32"/>
                  <a:gd name="T53" fmla="*/ 16 h 21"/>
                  <a:gd name="T54" fmla="*/ 2 w 32"/>
                  <a:gd name="T55" fmla="*/ 21 h 21"/>
                  <a:gd name="T56" fmla="*/ 2 w 32"/>
                  <a:gd name="T5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1">
                    <a:moveTo>
                      <a:pt x="2" y="21"/>
                    </a:moveTo>
                    <a:lnTo>
                      <a:pt x="0" y="19"/>
                    </a:lnTo>
                    <a:lnTo>
                      <a:pt x="1" y="16"/>
                    </a:lnTo>
                    <a:lnTo>
                      <a:pt x="4" y="13"/>
                    </a:lnTo>
                    <a:lnTo>
                      <a:pt x="6" y="12"/>
                    </a:lnTo>
                    <a:lnTo>
                      <a:pt x="8" y="12"/>
                    </a:lnTo>
                    <a:lnTo>
                      <a:pt x="10" y="12"/>
                    </a:lnTo>
                    <a:lnTo>
                      <a:pt x="13" y="12"/>
                    </a:lnTo>
                    <a:lnTo>
                      <a:pt x="16" y="12"/>
                    </a:lnTo>
                    <a:lnTo>
                      <a:pt x="19" y="9"/>
                    </a:lnTo>
                    <a:lnTo>
                      <a:pt x="20" y="6"/>
                    </a:lnTo>
                    <a:lnTo>
                      <a:pt x="24" y="3"/>
                    </a:lnTo>
                    <a:lnTo>
                      <a:pt x="26" y="3"/>
                    </a:lnTo>
                    <a:lnTo>
                      <a:pt x="32" y="0"/>
                    </a:lnTo>
                    <a:lnTo>
                      <a:pt x="29" y="3"/>
                    </a:lnTo>
                    <a:lnTo>
                      <a:pt x="30" y="5"/>
                    </a:lnTo>
                    <a:lnTo>
                      <a:pt x="30" y="10"/>
                    </a:lnTo>
                    <a:lnTo>
                      <a:pt x="29" y="13"/>
                    </a:lnTo>
                    <a:lnTo>
                      <a:pt x="26" y="14"/>
                    </a:lnTo>
                    <a:lnTo>
                      <a:pt x="24" y="13"/>
                    </a:lnTo>
                    <a:lnTo>
                      <a:pt x="24" y="13"/>
                    </a:lnTo>
                    <a:lnTo>
                      <a:pt x="23" y="13"/>
                    </a:lnTo>
                    <a:lnTo>
                      <a:pt x="20" y="13"/>
                    </a:lnTo>
                    <a:lnTo>
                      <a:pt x="13" y="14"/>
                    </a:lnTo>
                    <a:lnTo>
                      <a:pt x="11" y="13"/>
                    </a:lnTo>
                    <a:lnTo>
                      <a:pt x="11" y="14"/>
                    </a:lnTo>
                    <a:lnTo>
                      <a:pt x="6" y="16"/>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2" name="Freeform 98">
                <a:extLst>
                  <a:ext uri="{FF2B5EF4-FFF2-40B4-BE49-F238E27FC236}">
                    <a16:creationId xmlns:a16="http://schemas.microsoft.com/office/drawing/2014/main" id="{EAB55EFF-F9DE-40A2-AEFB-CE3BA4B8AF61}"/>
                  </a:ext>
                </a:extLst>
              </p:cNvPr>
              <p:cNvSpPr>
                <a:spLocks/>
              </p:cNvSpPr>
              <p:nvPr/>
            </p:nvSpPr>
            <p:spPr bwMode="auto">
              <a:xfrm>
                <a:off x="3835" y="1966"/>
                <a:ext cx="12" cy="7"/>
              </a:xfrm>
              <a:custGeom>
                <a:avLst/>
                <a:gdLst>
                  <a:gd name="T0" fmla="*/ 12 w 12"/>
                  <a:gd name="T1" fmla="*/ 3 h 7"/>
                  <a:gd name="T2" fmla="*/ 9 w 12"/>
                  <a:gd name="T3" fmla="*/ 6 h 7"/>
                  <a:gd name="T4" fmla="*/ 7 w 12"/>
                  <a:gd name="T5" fmla="*/ 7 h 7"/>
                  <a:gd name="T6" fmla="*/ 0 w 12"/>
                  <a:gd name="T7" fmla="*/ 3 h 7"/>
                  <a:gd name="T8" fmla="*/ 1 w 12"/>
                  <a:gd name="T9" fmla="*/ 1 h 7"/>
                  <a:gd name="T10" fmla="*/ 4 w 12"/>
                  <a:gd name="T11" fmla="*/ 0 h 7"/>
                  <a:gd name="T12" fmla="*/ 6 w 12"/>
                  <a:gd name="T13" fmla="*/ 2 h 7"/>
                  <a:gd name="T14" fmla="*/ 10 w 12"/>
                  <a:gd name="T15" fmla="*/ 2 h 7"/>
                  <a:gd name="T16" fmla="*/ 12 w 12"/>
                  <a:gd name="T17" fmla="*/ 3 h 7"/>
                  <a:gd name="T18" fmla="*/ 12 w 12"/>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12" y="3"/>
                    </a:moveTo>
                    <a:lnTo>
                      <a:pt x="9" y="6"/>
                    </a:lnTo>
                    <a:lnTo>
                      <a:pt x="7" y="7"/>
                    </a:lnTo>
                    <a:lnTo>
                      <a:pt x="0" y="3"/>
                    </a:lnTo>
                    <a:lnTo>
                      <a:pt x="1" y="1"/>
                    </a:lnTo>
                    <a:lnTo>
                      <a:pt x="4" y="0"/>
                    </a:lnTo>
                    <a:lnTo>
                      <a:pt x="6" y="2"/>
                    </a:lnTo>
                    <a:lnTo>
                      <a:pt x="10" y="2"/>
                    </a:lnTo>
                    <a:lnTo>
                      <a:pt x="12" y="3"/>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3" name="Freeform 99">
                <a:extLst>
                  <a:ext uri="{FF2B5EF4-FFF2-40B4-BE49-F238E27FC236}">
                    <a16:creationId xmlns:a16="http://schemas.microsoft.com/office/drawing/2014/main" id="{9FE0C78A-1BB4-4481-AB6B-3BF19C488BF1}"/>
                  </a:ext>
                </a:extLst>
              </p:cNvPr>
              <p:cNvSpPr>
                <a:spLocks/>
              </p:cNvSpPr>
              <p:nvPr/>
            </p:nvSpPr>
            <p:spPr bwMode="auto">
              <a:xfrm>
                <a:off x="4007" y="2297"/>
                <a:ext cx="38" cy="10"/>
              </a:xfrm>
              <a:custGeom>
                <a:avLst/>
                <a:gdLst>
                  <a:gd name="T0" fmla="*/ 36 w 38"/>
                  <a:gd name="T1" fmla="*/ 9 h 10"/>
                  <a:gd name="T2" fmla="*/ 36 w 38"/>
                  <a:gd name="T3" fmla="*/ 9 h 10"/>
                  <a:gd name="T4" fmla="*/ 38 w 38"/>
                  <a:gd name="T5" fmla="*/ 8 h 10"/>
                  <a:gd name="T6" fmla="*/ 38 w 38"/>
                  <a:gd name="T7" fmla="*/ 4 h 10"/>
                  <a:gd name="T8" fmla="*/ 36 w 38"/>
                  <a:gd name="T9" fmla="*/ 5 h 10"/>
                  <a:gd name="T10" fmla="*/ 30 w 38"/>
                  <a:gd name="T11" fmla="*/ 6 h 10"/>
                  <a:gd name="T12" fmla="*/ 30 w 38"/>
                  <a:gd name="T13" fmla="*/ 4 h 10"/>
                  <a:gd name="T14" fmla="*/ 26 w 38"/>
                  <a:gd name="T15" fmla="*/ 4 h 10"/>
                  <a:gd name="T16" fmla="*/ 23 w 38"/>
                  <a:gd name="T17" fmla="*/ 4 h 10"/>
                  <a:gd name="T18" fmla="*/ 20 w 38"/>
                  <a:gd name="T19" fmla="*/ 3 h 10"/>
                  <a:gd name="T20" fmla="*/ 16 w 38"/>
                  <a:gd name="T21" fmla="*/ 2 h 10"/>
                  <a:gd name="T22" fmla="*/ 11 w 38"/>
                  <a:gd name="T23" fmla="*/ 4 h 10"/>
                  <a:gd name="T24" fmla="*/ 9 w 38"/>
                  <a:gd name="T25" fmla="*/ 3 h 10"/>
                  <a:gd name="T26" fmla="*/ 8 w 38"/>
                  <a:gd name="T27" fmla="*/ 1 h 10"/>
                  <a:gd name="T28" fmla="*/ 6 w 38"/>
                  <a:gd name="T29" fmla="*/ 1 h 10"/>
                  <a:gd name="T30" fmla="*/ 0 w 38"/>
                  <a:gd name="T31" fmla="*/ 0 h 10"/>
                  <a:gd name="T32" fmla="*/ 0 w 38"/>
                  <a:gd name="T33" fmla="*/ 5 h 10"/>
                  <a:gd name="T34" fmla="*/ 11 w 38"/>
                  <a:gd name="T35" fmla="*/ 6 h 10"/>
                  <a:gd name="T36" fmla="*/ 16 w 38"/>
                  <a:gd name="T37" fmla="*/ 8 h 10"/>
                  <a:gd name="T38" fmla="*/ 16 w 38"/>
                  <a:gd name="T39" fmla="*/ 9 h 10"/>
                  <a:gd name="T40" fmla="*/ 17 w 38"/>
                  <a:gd name="T41" fmla="*/ 10 h 10"/>
                  <a:gd name="T42" fmla="*/ 22 w 38"/>
                  <a:gd name="T43" fmla="*/ 10 h 10"/>
                  <a:gd name="T44" fmla="*/ 25 w 38"/>
                  <a:gd name="T45" fmla="*/ 9 h 10"/>
                  <a:gd name="T46" fmla="*/ 36 w 38"/>
                  <a:gd name="T47" fmla="*/ 9 h 10"/>
                  <a:gd name="T48" fmla="*/ 36 w 38"/>
                  <a:gd name="T4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10">
                    <a:moveTo>
                      <a:pt x="36" y="9"/>
                    </a:moveTo>
                    <a:lnTo>
                      <a:pt x="36" y="9"/>
                    </a:lnTo>
                    <a:lnTo>
                      <a:pt x="38" y="8"/>
                    </a:lnTo>
                    <a:lnTo>
                      <a:pt x="38" y="4"/>
                    </a:lnTo>
                    <a:lnTo>
                      <a:pt x="36" y="5"/>
                    </a:lnTo>
                    <a:lnTo>
                      <a:pt x="30" y="6"/>
                    </a:lnTo>
                    <a:lnTo>
                      <a:pt x="30" y="4"/>
                    </a:lnTo>
                    <a:lnTo>
                      <a:pt x="26" y="4"/>
                    </a:lnTo>
                    <a:lnTo>
                      <a:pt x="23" y="4"/>
                    </a:lnTo>
                    <a:lnTo>
                      <a:pt x="20" y="3"/>
                    </a:lnTo>
                    <a:lnTo>
                      <a:pt x="16" y="2"/>
                    </a:lnTo>
                    <a:lnTo>
                      <a:pt x="11" y="4"/>
                    </a:lnTo>
                    <a:lnTo>
                      <a:pt x="9" y="3"/>
                    </a:lnTo>
                    <a:lnTo>
                      <a:pt x="8" y="1"/>
                    </a:lnTo>
                    <a:lnTo>
                      <a:pt x="6" y="1"/>
                    </a:lnTo>
                    <a:lnTo>
                      <a:pt x="0" y="0"/>
                    </a:lnTo>
                    <a:lnTo>
                      <a:pt x="0" y="5"/>
                    </a:lnTo>
                    <a:lnTo>
                      <a:pt x="11" y="6"/>
                    </a:lnTo>
                    <a:lnTo>
                      <a:pt x="16" y="8"/>
                    </a:lnTo>
                    <a:lnTo>
                      <a:pt x="16" y="9"/>
                    </a:lnTo>
                    <a:lnTo>
                      <a:pt x="17" y="10"/>
                    </a:lnTo>
                    <a:lnTo>
                      <a:pt x="22" y="10"/>
                    </a:lnTo>
                    <a:lnTo>
                      <a:pt x="25" y="9"/>
                    </a:lnTo>
                    <a:lnTo>
                      <a:pt x="36" y="9"/>
                    </a:lnTo>
                    <a:lnTo>
                      <a:pt x="3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4" name="Freeform 100">
                <a:extLst>
                  <a:ext uri="{FF2B5EF4-FFF2-40B4-BE49-F238E27FC236}">
                    <a16:creationId xmlns:a16="http://schemas.microsoft.com/office/drawing/2014/main" id="{5CC346E7-6F69-4751-BB71-3A9169673467}"/>
                  </a:ext>
                </a:extLst>
              </p:cNvPr>
              <p:cNvSpPr>
                <a:spLocks/>
              </p:cNvSpPr>
              <p:nvPr/>
            </p:nvSpPr>
            <p:spPr bwMode="auto">
              <a:xfrm>
                <a:off x="4064" y="2284"/>
                <a:ext cx="7" cy="8"/>
              </a:xfrm>
              <a:custGeom>
                <a:avLst/>
                <a:gdLst>
                  <a:gd name="T0" fmla="*/ 2 w 7"/>
                  <a:gd name="T1" fmla="*/ 7 h 8"/>
                  <a:gd name="T2" fmla="*/ 6 w 7"/>
                  <a:gd name="T3" fmla="*/ 5 h 8"/>
                  <a:gd name="T4" fmla="*/ 7 w 7"/>
                  <a:gd name="T5" fmla="*/ 0 h 8"/>
                  <a:gd name="T6" fmla="*/ 5 w 7"/>
                  <a:gd name="T7" fmla="*/ 0 h 8"/>
                  <a:gd name="T8" fmla="*/ 1 w 7"/>
                  <a:gd name="T9" fmla="*/ 2 h 8"/>
                  <a:gd name="T10" fmla="*/ 0 w 7"/>
                  <a:gd name="T11" fmla="*/ 5 h 8"/>
                  <a:gd name="T12" fmla="*/ 0 w 7"/>
                  <a:gd name="T13" fmla="*/ 8 h 8"/>
                  <a:gd name="T14" fmla="*/ 2 w 7"/>
                  <a:gd name="T15" fmla="*/ 7 h 8"/>
                  <a:gd name="T16" fmla="*/ 2 w 7"/>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7"/>
                    </a:moveTo>
                    <a:lnTo>
                      <a:pt x="6" y="5"/>
                    </a:lnTo>
                    <a:lnTo>
                      <a:pt x="7" y="0"/>
                    </a:lnTo>
                    <a:lnTo>
                      <a:pt x="5" y="0"/>
                    </a:lnTo>
                    <a:lnTo>
                      <a:pt x="1" y="2"/>
                    </a:lnTo>
                    <a:lnTo>
                      <a:pt x="0" y="5"/>
                    </a:lnTo>
                    <a:lnTo>
                      <a:pt x="0" y="8"/>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5" name="Freeform 101">
                <a:extLst>
                  <a:ext uri="{FF2B5EF4-FFF2-40B4-BE49-F238E27FC236}">
                    <a16:creationId xmlns:a16="http://schemas.microsoft.com/office/drawing/2014/main" id="{259AB2AE-FC32-446E-AE0F-BDE7EBEC9FAA}"/>
                  </a:ext>
                </a:extLst>
              </p:cNvPr>
              <p:cNvSpPr>
                <a:spLocks/>
              </p:cNvSpPr>
              <p:nvPr/>
            </p:nvSpPr>
            <p:spPr bwMode="auto">
              <a:xfrm>
                <a:off x="4127" y="2296"/>
                <a:ext cx="31" cy="17"/>
              </a:xfrm>
              <a:custGeom>
                <a:avLst/>
                <a:gdLst>
                  <a:gd name="T0" fmla="*/ 3 w 31"/>
                  <a:gd name="T1" fmla="*/ 14 h 17"/>
                  <a:gd name="T2" fmla="*/ 5 w 31"/>
                  <a:gd name="T3" fmla="*/ 15 h 17"/>
                  <a:gd name="T4" fmla="*/ 8 w 31"/>
                  <a:gd name="T5" fmla="*/ 15 h 17"/>
                  <a:gd name="T6" fmla="*/ 10 w 31"/>
                  <a:gd name="T7" fmla="*/ 17 h 17"/>
                  <a:gd name="T8" fmla="*/ 10 w 31"/>
                  <a:gd name="T9" fmla="*/ 15 h 17"/>
                  <a:gd name="T10" fmla="*/ 11 w 31"/>
                  <a:gd name="T11" fmla="*/ 15 h 17"/>
                  <a:gd name="T12" fmla="*/ 13 w 31"/>
                  <a:gd name="T13" fmla="*/ 14 h 17"/>
                  <a:gd name="T14" fmla="*/ 17 w 31"/>
                  <a:gd name="T15" fmla="*/ 13 h 17"/>
                  <a:gd name="T16" fmla="*/ 19 w 31"/>
                  <a:gd name="T17" fmla="*/ 11 h 17"/>
                  <a:gd name="T18" fmla="*/ 22 w 31"/>
                  <a:gd name="T19" fmla="*/ 11 h 17"/>
                  <a:gd name="T20" fmla="*/ 24 w 31"/>
                  <a:gd name="T21" fmla="*/ 10 h 17"/>
                  <a:gd name="T22" fmla="*/ 22 w 31"/>
                  <a:gd name="T23" fmla="*/ 7 h 17"/>
                  <a:gd name="T24" fmla="*/ 23 w 31"/>
                  <a:gd name="T25" fmla="*/ 5 h 17"/>
                  <a:gd name="T26" fmla="*/ 25 w 31"/>
                  <a:gd name="T27" fmla="*/ 3 h 17"/>
                  <a:gd name="T28" fmla="*/ 29 w 31"/>
                  <a:gd name="T29" fmla="*/ 2 h 17"/>
                  <a:gd name="T30" fmla="*/ 31 w 31"/>
                  <a:gd name="T31" fmla="*/ 0 h 17"/>
                  <a:gd name="T32" fmla="*/ 29 w 31"/>
                  <a:gd name="T33" fmla="*/ 1 h 17"/>
                  <a:gd name="T34" fmla="*/ 24 w 31"/>
                  <a:gd name="T35" fmla="*/ 3 h 17"/>
                  <a:gd name="T36" fmla="*/ 19 w 31"/>
                  <a:gd name="T37" fmla="*/ 4 h 17"/>
                  <a:gd name="T38" fmla="*/ 14 w 31"/>
                  <a:gd name="T39" fmla="*/ 5 h 17"/>
                  <a:gd name="T40" fmla="*/ 12 w 31"/>
                  <a:gd name="T41" fmla="*/ 4 h 17"/>
                  <a:gd name="T42" fmla="*/ 8 w 31"/>
                  <a:gd name="T43" fmla="*/ 6 h 17"/>
                  <a:gd name="T44" fmla="*/ 8 w 31"/>
                  <a:gd name="T45" fmla="*/ 7 h 17"/>
                  <a:gd name="T46" fmla="*/ 4 w 31"/>
                  <a:gd name="T47" fmla="*/ 7 h 17"/>
                  <a:gd name="T48" fmla="*/ 0 w 31"/>
                  <a:gd name="T49" fmla="*/ 10 h 17"/>
                  <a:gd name="T50" fmla="*/ 0 w 31"/>
                  <a:gd name="T51" fmla="*/ 12 h 17"/>
                  <a:gd name="T52" fmla="*/ 3 w 31"/>
                  <a:gd name="T53" fmla="*/ 14 h 17"/>
                  <a:gd name="T54" fmla="*/ 3 w 31"/>
                  <a:gd name="T5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7">
                    <a:moveTo>
                      <a:pt x="3" y="14"/>
                    </a:moveTo>
                    <a:lnTo>
                      <a:pt x="5" y="15"/>
                    </a:lnTo>
                    <a:lnTo>
                      <a:pt x="8" y="15"/>
                    </a:lnTo>
                    <a:lnTo>
                      <a:pt x="10" y="17"/>
                    </a:lnTo>
                    <a:lnTo>
                      <a:pt x="10" y="15"/>
                    </a:lnTo>
                    <a:lnTo>
                      <a:pt x="11" y="15"/>
                    </a:lnTo>
                    <a:lnTo>
                      <a:pt x="13" y="14"/>
                    </a:lnTo>
                    <a:lnTo>
                      <a:pt x="17" y="13"/>
                    </a:lnTo>
                    <a:lnTo>
                      <a:pt x="19" y="11"/>
                    </a:lnTo>
                    <a:lnTo>
                      <a:pt x="22" y="11"/>
                    </a:lnTo>
                    <a:lnTo>
                      <a:pt x="24" y="10"/>
                    </a:lnTo>
                    <a:lnTo>
                      <a:pt x="22" y="7"/>
                    </a:lnTo>
                    <a:lnTo>
                      <a:pt x="23" y="5"/>
                    </a:lnTo>
                    <a:lnTo>
                      <a:pt x="25" y="3"/>
                    </a:lnTo>
                    <a:lnTo>
                      <a:pt x="29" y="2"/>
                    </a:lnTo>
                    <a:lnTo>
                      <a:pt x="31" y="0"/>
                    </a:lnTo>
                    <a:lnTo>
                      <a:pt x="29" y="1"/>
                    </a:lnTo>
                    <a:lnTo>
                      <a:pt x="24" y="3"/>
                    </a:lnTo>
                    <a:lnTo>
                      <a:pt x="19" y="4"/>
                    </a:lnTo>
                    <a:lnTo>
                      <a:pt x="14" y="5"/>
                    </a:lnTo>
                    <a:lnTo>
                      <a:pt x="12" y="4"/>
                    </a:lnTo>
                    <a:lnTo>
                      <a:pt x="8" y="6"/>
                    </a:lnTo>
                    <a:lnTo>
                      <a:pt x="8" y="7"/>
                    </a:lnTo>
                    <a:lnTo>
                      <a:pt x="4" y="7"/>
                    </a:lnTo>
                    <a:lnTo>
                      <a:pt x="0" y="10"/>
                    </a:lnTo>
                    <a:lnTo>
                      <a:pt x="0" y="12"/>
                    </a:lnTo>
                    <a:lnTo>
                      <a:pt x="3" y="14"/>
                    </a:lnTo>
                    <a:lnTo>
                      <a:pt x="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6" name="Freeform 102">
                <a:extLst>
                  <a:ext uri="{FF2B5EF4-FFF2-40B4-BE49-F238E27FC236}">
                    <a16:creationId xmlns:a16="http://schemas.microsoft.com/office/drawing/2014/main" id="{0EB07D70-0670-4C5E-A35D-A2C60B55EAE4}"/>
                  </a:ext>
                </a:extLst>
              </p:cNvPr>
              <p:cNvSpPr>
                <a:spLocks/>
              </p:cNvSpPr>
              <p:nvPr/>
            </p:nvSpPr>
            <p:spPr bwMode="auto">
              <a:xfrm>
                <a:off x="4345" y="1656"/>
                <a:ext cx="29" cy="18"/>
              </a:xfrm>
              <a:custGeom>
                <a:avLst/>
                <a:gdLst>
                  <a:gd name="T0" fmla="*/ 25 w 29"/>
                  <a:gd name="T1" fmla="*/ 10 h 18"/>
                  <a:gd name="T2" fmla="*/ 27 w 29"/>
                  <a:gd name="T3" fmla="*/ 9 h 18"/>
                  <a:gd name="T4" fmla="*/ 26 w 29"/>
                  <a:gd name="T5" fmla="*/ 11 h 18"/>
                  <a:gd name="T6" fmla="*/ 29 w 29"/>
                  <a:gd name="T7" fmla="*/ 9 h 18"/>
                  <a:gd name="T8" fmla="*/ 27 w 29"/>
                  <a:gd name="T9" fmla="*/ 7 h 18"/>
                  <a:gd name="T10" fmla="*/ 25 w 29"/>
                  <a:gd name="T11" fmla="*/ 4 h 18"/>
                  <a:gd name="T12" fmla="*/ 16 w 29"/>
                  <a:gd name="T13" fmla="*/ 1 h 18"/>
                  <a:gd name="T14" fmla="*/ 14 w 29"/>
                  <a:gd name="T15" fmla="*/ 0 h 18"/>
                  <a:gd name="T16" fmla="*/ 10 w 29"/>
                  <a:gd name="T17" fmla="*/ 0 h 18"/>
                  <a:gd name="T18" fmla="*/ 6 w 29"/>
                  <a:gd name="T19" fmla="*/ 1 h 18"/>
                  <a:gd name="T20" fmla="*/ 2 w 29"/>
                  <a:gd name="T21" fmla="*/ 3 h 18"/>
                  <a:gd name="T22" fmla="*/ 1 w 29"/>
                  <a:gd name="T23" fmla="*/ 7 h 18"/>
                  <a:gd name="T24" fmla="*/ 0 w 29"/>
                  <a:gd name="T25" fmla="*/ 12 h 18"/>
                  <a:gd name="T26" fmla="*/ 0 w 29"/>
                  <a:gd name="T27" fmla="*/ 14 h 18"/>
                  <a:gd name="T28" fmla="*/ 6 w 29"/>
                  <a:gd name="T29" fmla="*/ 18 h 18"/>
                  <a:gd name="T30" fmla="*/ 11 w 29"/>
                  <a:gd name="T31" fmla="*/ 18 h 18"/>
                  <a:gd name="T32" fmla="*/ 17 w 29"/>
                  <a:gd name="T33" fmla="*/ 17 h 18"/>
                  <a:gd name="T34" fmla="*/ 19 w 29"/>
                  <a:gd name="T35" fmla="*/ 16 h 18"/>
                  <a:gd name="T36" fmla="*/ 25 w 29"/>
                  <a:gd name="T37" fmla="*/ 10 h 18"/>
                  <a:gd name="T38" fmla="*/ 25 w 29"/>
                  <a:gd name="T3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18">
                    <a:moveTo>
                      <a:pt x="25" y="10"/>
                    </a:moveTo>
                    <a:lnTo>
                      <a:pt x="27" y="9"/>
                    </a:lnTo>
                    <a:lnTo>
                      <a:pt x="26" y="11"/>
                    </a:lnTo>
                    <a:lnTo>
                      <a:pt x="29" y="9"/>
                    </a:lnTo>
                    <a:lnTo>
                      <a:pt x="27" y="7"/>
                    </a:lnTo>
                    <a:lnTo>
                      <a:pt x="25" y="4"/>
                    </a:lnTo>
                    <a:lnTo>
                      <a:pt x="16" y="1"/>
                    </a:lnTo>
                    <a:lnTo>
                      <a:pt x="14" y="0"/>
                    </a:lnTo>
                    <a:lnTo>
                      <a:pt x="10" y="0"/>
                    </a:lnTo>
                    <a:lnTo>
                      <a:pt x="6" y="1"/>
                    </a:lnTo>
                    <a:lnTo>
                      <a:pt x="2" y="3"/>
                    </a:lnTo>
                    <a:lnTo>
                      <a:pt x="1" y="7"/>
                    </a:lnTo>
                    <a:lnTo>
                      <a:pt x="0" y="12"/>
                    </a:lnTo>
                    <a:lnTo>
                      <a:pt x="0" y="14"/>
                    </a:lnTo>
                    <a:lnTo>
                      <a:pt x="6" y="18"/>
                    </a:lnTo>
                    <a:lnTo>
                      <a:pt x="11" y="18"/>
                    </a:lnTo>
                    <a:lnTo>
                      <a:pt x="17" y="17"/>
                    </a:lnTo>
                    <a:lnTo>
                      <a:pt x="19" y="16"/>
                    </a:lnTo>
                    <a:lnTo>
                      <a:pt x="25" y="10"/>
                    </a:lnTo>
                    <a:lnTo>
                      <a:pt x="2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7" name="Freeform 103">
                <a:extLst>
                  <a:ext uri="{FF2B5EF4-FFF2-40B4-BE49-F238E27FC236}">
                    <a16:creationId xmlns:a16="http://schemas.microsoft.com/office/drawing/2014/main" id="{A4105272-A0F1-4815-AB68-50EEF73A62AC}"/>
                  </a:ext>
                </a:extLst>
              </p:cNvPr>
              <p:cNvSpPr>
                <a:spLocks/>
              </p:cNvSpPr>
              <p:nvPr/>
            </p:nvSpPr>
            <p:spPr bwMode="auto">
              <a:xfrm>
                <a:off x="4487" y="1632"/>
                <a:ext cx="27" cy="19"/>
              </a:xfrm>
              <a:custGeom>
                <a:avLst/>
                <a:gdLst>
                  <a:gd name="T0" fmla="*/ 22 w 27"/>
                  <a:gd name="T1" fmla="*/ 11 h 19"/>
                  <a:gd name="T2" fmla="*/ 19 w 27"/>
                  <a:gd name="T3" fmla="*/ 9 h 19"/>
                  <a:gd name="T4" fmla="*/ 17 w 27"/>
                  <a:gd name="T5" fmla="*/ 9 h 19"/>
                  <a:gd name="T6" fmla="*/ 13 w 27"/>
                  <a:gd name="T7" fmla="*/ 7 h 19"/>
                  <a:gd name="T8" fmla="*/ 11 w 27"/>
                  <a:gd name="T9" fmla="*/ 4 h 19"/>
                  <a:gd name="T10" fmla="*/ 5 w 27"/>
                  <a:gd name="T11" fmla="*/ 0 h 19"/>
                  <a:gd name="T12" fmla="*/ 3 w 27"/>
                  <a:gd name="T13" fmla="*/ 1 h 19"/>
                  <a:gd name="T14" fmla="*/ 0 w 27"/>
                  <a:gd name="T15" fmla="*/ 3 h 19"/>
                  <a:gd name="T16" fmla="*/ 3 w 27"/>
                  <a:gd name="T17" fmla="*/ 6 h 19"/>
                  <a:gd name="T18" fmla="*/ 0 w 27"/>
                  <a:gd name="T19" fmla="*/ 6 h 19"/>
                  <a:gd name="T20" fmla="*/ 1 w 27"/>
                  <a:gd name="T21" fmla="*/ 10 h 19"/>
                  <a:gd name="T22" fmla="*/ 2 w 27"/>
                  <a:gd name="T23" fmla="*/ 11 h 19"/>
                  <a:gd name="T24" fmla="*/ 6 w 27"/>
                  <a:gd name="T25" fmla="*/ 15 h 19"/>
                  <a:gd name="T26" fmla="*/ 10 w 27"/>
                  <a:gd name="T27" fmla="*/ 15 h 19"/>
                  <a:gd name="T28" fmla="*/ 12 w 27"/>
                  <a:gd name="T29" fmla="*/ 15 h 19"/>
                  <a:gd name="T30" fmla="*/ 13 w 27"/>
                  <a:gd name="T31" fmla="*/ 18 h 19"/>
                  <a:gd name="T32" fmla="*/ 17 w 27"/>
                  <a:gd name="T33" fmla="*/ 19 h 19"/>
                  <a:gd name="T34" fmla="*/ 19 w 27"/>
                  <a:gd name="T35" fmla="*/ 18 h 19"/>
                  <a:gd name="T36" fmla="*/ 22 w 27"/>
                  <a:gd name="T37" fmla="*/ 19 h 19"/>
                  <a:gd name="T38" fmla="*/ 24 w 27"/>
                  <a:gd name="T39" fmla="*/ 18 h 19"/>
                  <a:gd name="T40" fmla="*/ 27 w 27"/>
                  <a:gd name="T41" fmla="*/ 16 h 19"/>
                  <a:gd name="T42" fmla="*/ 26 w 27"/>
                  <a:gd name="T43" fmla="*/ 12 h 19"/>
                  <a:gd name="T44" fmla="*/ 22 w 27"/>
                  <a:gd name="T45" fmla="*/ 11 h 19"/>
                  <a:gd name="T46" fmla="*/ 22 w 27"/>
                  <a:gd name="T4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9">
                    <a:moveTo>
                      <a:pt x="22" y="11"/>
                    </a:moveTo>
                    <a:lnTo>
                      <a:pt x="19" y="9"/>
                    </a:lnTo>
                    <a:lnTo>
                      <a:pt x="17" y="9"/>
                    </a:lnTo>
                    <a:lnTo>
                      <a:pt x="13" y="7"/>
                    </a:lnTo>
                    <a:lnTo>
                      <a:pt x="11" y="4"/>
                    </a:lnTo>
                    <a:lnTo>
                      <a:pt x="5" y="0"/>
                    </a:lnTo>
                    <a:lnTo>
                      <a:pt x="3" y="1"/>
                    </a:lnTo>
                    <a:lnTo>
                      <a:pt x="0" y="3"/>
                    </a:lnTo>
                    <a:lnTo>
                      <a:pt x="3" y="6"/>
                    </a:lnTo>
                    <a:lnTo>
                      <a:pt x="0" y="6"/>
                    </a:lnTo>
                    <a:lnTo>
                      <a:pt x="1" y="10"/>
                    </a:lnTo>
                    <a:lnTo>
                      <a:pt x="2" y="11"/>
                    </a:lnTo>
                    <a:lnTo>
                      <a:pt x="6" y="15"/>
                    </a:lnTo>
                    <a:lnTo>
                      <a:pt x="10" y="15"/>
                    </a:lnTo>
                    <a:lnTo>
                      <a:pt x="12" y="15"/>
                    </a:lnTo>
                    <a:lnTo>
                      <a:pt x="13" y="18"/>
                    </a:lnTo>
                    <a:lnTo>
                      <a:pt x="17" y="19"/>
                    </a:lnTo>
                    <a:lnTo>
                      <a:pt x="19" y="18"/>
                    </a:lnTo>
                    <a:lnTo>
                      <a:pt x="22" y="19"/>
                    </a:lnTo>
                    <a:lnTo>
                      <a:pt x="24" y="18"/>
                    </a:lnTo>
                    <a:lnTo>
                      <a:pt x="27" y="16"/>
                    </a:lnTo>
                    <a:lnTo>
                      <a:pt x="26" y="12"/>
                    </a:lnTo>
                    <a:lnTo>
                      <a:pt x="22" y="11"/>
                    </a:lnTo>
                    <a:lnTo>
                      <a:pt x="2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8" name="Freeform 104">
                <a:extLst>
                  <a:ext uri="{FF2B5EF4-FFF2-40B4-BE49-F238E27FC236}">
                    <a16:creationId xmlns:a16="http://schemas.microsoft.com/office/drawing/2014/main" id="{092F285C-63E9-4844-AD24-FAFBEF73591D}"/>
                  </a:ext>
                </a:extLst>
              </p:cNvPr>
              <p:cNvSpPr>
                <a:spLocks/>
              </p:cNvSpPr>
              <p:nvPr/>
            </p:nvSpPr>
            <p:spPr bwMode="auto">
              <a:xfrm>
                <a:off x="3998" y="2242"/>
                <a:ext cx="23" cy="17"/>
              </a:xfrm>
              <a:custGeom>
                <a:avLst/>
                <a:gdLst>
                  <a:gd name="T0" fmla="*/ 9 w 23"/>
                  <a:gd name="T1" fmla="*/ 9 h 17"/>
                  <a:gd name="T2" fmla="*/ 8 w 23"/>
                  <a:gd name="T3" fmla="*/ 7 h 17"/>
                  <a:gd name="T4" fmla="*/ 6 w 23"/>
                  <a:gd name="T5" fmla="*/ 5 h 17"/>
                  <a:gd name="T6" fmla="*/ 3 w 23"/>
                  <a:gd name="T7" fmla="*/ 4 h 17"/>
                  <a:gd name="T8" fmla="*/ 0 w 23"/>
                  <a:gd name="T9" fmla="*/ 4 h 17"/>
                  <a:gd name="T10" fmla="*/ 3 w 23"/>
                  <a:gd name="T11" fmla="*/ 1 h 17"/>
                  <a:gd name="T12" fmla="*/ 6 w 23"/>
                  <a:gd name="T13" fmla="*/ 0 h 17"/>
                  <a:gd name="T14" fmla="*/ 8 w 23"/>
                  <a:gd name="T15" fmla="*/ 4 h 17"/>
                  <a:gd name="T16" fmla="*/ 11 w 23"/>
                  <a:gd name="T17" fmla="*/ 5 h 17"/>
                  <a:gd name="T18" fmla="*/ 13 w 23"/>
                  <a:gd name="T19" fmla="*/ 6 h 17"/>
                  <a:gd name="T20" fmla="*/ 16 w 23"/>
                  <a:gd name="T21" fmla="*/ 6 h 17"/>
                  <a:gd name="T22" fmla="*/ 18 w 23"/>
                  <a:gd name="T23" fmla="*/ 9 h 17"/>
                  <a:gd name="T24" fmla="*/ 18 w 23"/>
                  <a:gd name="T25" fmla="*/ 12 h 17"/>
                  <a:gd name="T26" fmla="*/ 20 w 23"/>
                  <a:gd name="T27" fmla="*/ 14 h 17"/>
                  <a:gd name="T28" fmla="*/ 22 w 23"/>
                  <a:gd name="T29" fmla="*/ 15 h 17"/>
                  <a:gd name="T30" fmla="*/ 23 w 23"/>
                  <a:gd name="T31" fmla="*/ 17 h 17"/>
                  <a:gd name="T32" fmla="*/ 22 w 23"/>
                  <a:gd name="T33" fmla="*/ 17 h 17"/>
                  <a:gd name="T34" fmla="*/ 20 w 23"/>
                  <a:gd name="T35" fmla="*/ 16 h 17"/>
                  <a:gd name="T36" fmla="*/ 16 w 23"/>
                  <a:gd name="T37" fmla="*/ 12 h 17"/>
                  <a:gd name="T38" fmla="*/ 11 w 23"/>
                  <a:gd name="T39" fmla="*/ 11 h 17"/>
                  <a:gd name="T40" fmla="*/ 9 w 23"/>
                  <a:gd name="T41" fmla="*/ 9 h 17"/>
                  <a:gd name="T42" fmla="*/ 9 w 23"/>
                  <a:gd name="T4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7">
                    <a:moveTo>
                      <a:pt x="9" y="9"/>
                    </a:moveTo>
                    <a:lnTo>
                      <a:pt x="8" y="7"/>
                    </a:lnTo>
                    <a:lnTo>
                      <a:pt x="6" y="5"/>
                    </a:lnTo>
                    <a:lnTo>
                      <a:pt x="3" y="4"/>
                    </a:lnTo>
                    <a:lnTo>
                      <a:pt x="0" y="4"/>
                    </a:lnTo>
                    <a:lnTo>
                      <a:pt x="3" y="1"/>
                    </a:lnTo>
                    <a:lnTo>
                      <a:pt x="6" y="0"/>
                    </a:lnTo>
                    <a:lnTo>
                      <a:pt x="8" y="4"/>
                    </a:lnTo>
                    <a:lnTo>
                      <a:pt x="11" y="5"/>
                    </a:lnTo>
                    <a:lnTo>
                      <a:pt x="13" y="6"/>
                    </a:lnTo>
                    <a:lnTo>
                      <a:pt x="16" y="6"/>
                    </a:lnTo>
                    <a:lnTo>
                      <a:pt x="18" y="9"/>
                    </a:lnTo>
                    <a:lnTo>
                      <a:pt x="18" y="12"/>
                    </a:lnTo>
                    <a:lnTo>
                      <a:pt x="20" y="14"/>
                    </a:lnTo>
                    <a:lnTo>
                      <a:pt x="22" y="15"/>
                    </a:lnTo>
                    <a:lnTo>
                      <a:pt x="23" y="17"/>
                    </a:lnTo>
                    <a:lnTo>
                      <a:pt x="22" y="17"/>
                    </a:lnTo>
                    <a:lnTo>
                      <a:pt x="20" y="16"/>
                    </a:lnTo>
                    <a:lnTo>
                      <a:pt x="16" y="12"/>
                    </a:lnTo>
                    <a:lnTo>
                      <a:pt x="11" y="11"/>
                    </a:lnTo>
                    <a:lnTo>
                      <a:pt x="9"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9" name="Freeform 105">
                <a:extLst>
                  <a:ext uri="{FF2B5EF4-FFF2-40B4-BE49-F238E27FC236}">
                    <a16:creationId xmlns:a16="http://schemas.microsoft.com/office/drawing/2014/main" id="{D3749DB2-B6CB-4840-BCB6-C0BBFB0E4591}"/>
                  </a:ext>
                </a:extLst>
              </p:cNvPr>
              <p:cNvSpPr>
                <a:spLocks/>
              </p:cNvSpPr>
              <p:nvPr/>
            </p:nvSpPr>
            <p:spPr bwMode="auto">
              <a:xfrm>
                <a:off x="4131" y="2123"/>
                <a:ext cx="55" cy="31"/>
              </a:xfrm>
              <a:custGeom>
                <a:avLst/>
                <a:gdLst>
                  <a:gd name="T0" fmla="*/ 15 w 55"/>
                  <a:gd name="T1" fmla="*/ 3 h 31"/>
                  <a:gd name="T2" fmla="*/ 15 w 55"/>
                  <a:gd name="T3" fmla="*/ 2 h 31"/>
                  <a:gd name="T4" fmla="*/ 15 w 55"/>
                  <a:gd name="T5" fmla="*/ 2 h 31"/>
                  <a:gd name="T6" fmla="*/ 15 w 55"/>
                  <a:gd name="T7" fmla="*/ 0 h 31"/>
                  <a:gd name="T8" fmla="*/ 15 w 55"/>
                  <a:gd name="T9" fmla="*/ 0 h 31"/>
                  <a:gd name="T10" fmla="*/ 18 w 55"/>
                  <a:gd name="T11" fmla="*/ 3 h 31"/>
                  <a:gd name="T12" fmla="*/ 19 w 55"/>
                  <a:gd name="T13" fmla="*/ 3 h 31"/>
                  <a:gd name="T14" fmla="*/ 21 w 55"/>
                  <a:gd name="T15" fmla="*/ 6 h 31"/>
                  <a:gd name="T16" fmla="*/ 25 w 55"/>
                  <a:gd name="T17" fmla="*/ 5 h 31"/>
                  <a:gd name="T18" fmla="*/ 26 w 55"/>
                  <a:gd name="T19" fmla="*/ 6 h 31"/>
                  <a:gd name="T20" fmla="*/ 27 w 55"/>
                  <a:gd name="T21" fmla="*/ 5 h 31"/>
                  <a:gd name="T22" fmla="*/ 26 w 55"/>
                  <a:gd name="T23" fmla="*/ 8 h 31"/>
                  <a:gd name="T24" fmla="*/ 26 w 55"/>
                  <a:gd name="T25" fmla="*/ 8 h 31"/>
                  <a:gd name="T26" fmla="*/ 28 w 55"/>
                  <a:gd name="T27" fmla="*/ 7 h 31"/>
                  <a:gd name="T28" fmla="*/ 33 w 55"/>
                  <a:gd name="T29" fmla="*/ 11 h 31"/>
                  <a:gd name="T30" fmla="*/ 34 w 55"/>
                  <a:gd name="T31" fmla="*/ 14 h 31"/>
                  <a:gd name="T32" fmla="*/ 36 w 55"/>
                  <a:gd name="T33" fmla="*/ 16 h 31"/>
                  <a:gd name="T34" fmla="*/ 36 w 55"/>
                  <a:gd name="T35" fmla="*/ 14 h 31"/>
                  <a:gd name="T36" fmla="*/ 33 w 55"/>
                  <a:gd name="T37" fmla="*/ 11 h 31"/>
                  <a:gd name="T38" fmla="*/ 32 w 55"/>
                  <a:gd name="T39" fmla="*/ 9 h 31"/>
                  <a:gd name="T40" fmla="*/ 33 w 55"/>
                  <a:gd name="T41" fmla="*/ 9 h 31"/>
                  <a:gd name="T42" fmla="*/ 33 w 55"/>
                  <a:gd name="T43" fmla="*/ 8 h 31"/>
                  <a:gd name="T44" fmla="*/ 33 w 55"/>
                  <a:gd name="T45" fmla="*/ 9 h 31"/>
                  <a:gd name="T46" fmla="*/ 37 w 55"/>
                  <a:gd name="T47" fmla="*/ 15 h 31"/>
                  <a:gd name="T48" fmla="*/ 41 w 55"/>
                  <a:gd name="T49" fmla="*/ 16 h 31"/>
                  <a:gd name="T50" fmla="*/ 45 w 55"/>
                  <a:gd name="T51" fmla="*/ 15 h 31"/>
                  <a:gd name="T52" fmla="*/ 47 w 55"/>
                  <a:gd name="T53" fmla="*/ 15 h 31"/>
                  <a:gd name="T54" fmla="*/ 50 w 55"/>
                  <a:gd name="T55" fmla="*/ 14 h 31"/>
                  <a:gd name="T56" fmla="*/ 53 w 55"/>
                  <a:gd name="T57" fmla="*/ 14 h 31"/>
                  <a:gd name="T58" fmla="*/ 55 w 55"/>
                  <a:gd name="T59" fmla="*/ 15 h 31"/>
                  <a:gd name="T60" fmla="*/ 52 w 55"/>
                  <a:gd name="T61" fmla="*/ 19 h 31"/>
                  <a:gd name="T62" fmla="*/ 52 w 55"/>
                  <a:gd name="T63" fmla="*/ 21 h 31"/>
                  <a:gd name="T64" fmla="*/ 44 w 55"/>
                  <a:gd name="T65" fmla="*/ 22 h 31"/>
                  <a:gd name="T66" fmla="*/ 42 w 55"/>
                  <a:gd name="T67" fmla="*/ 20 h 31"/>
                  <a:gd name="T68" fmla="*/ 38 w 55"/>
                  <a:gd name="T69" fmla="*/ 20 h 31"/>
                  <a:gd name="T70" fmla="*/ 38 w 55"/>
                  <a:gd name="T71" fmla="*/ 22 h 31"/>
                  <a:gd name="T72" fmla="*/ 36 w 55"/>
                  <a:gd name="T73" fmla="*/ 23 h 31"/>
                  <a:gd name="T74" fmla="*/ 34 w 55"/>
                  <a:gd name="T75" fmla="*/ 25 h 31"/>
                  <a:gd name="T76" fmla="*/ 33 w 55"/>
                  <a:gd name="T77" fmla="*/ 24 h 31"/>
                  <a:gd name="T78" fmla="*/ 27 w 55"/>
                  <a:gd name="T79" fmla="*/ 25 h 31"/>
                  <a:gd name="T80" fmla="*/ 25 w 55"/>
                  <a:gd name="T81" fmla="*/ 28 h 31"/>
                  <a:gd name="T82" fmla="*/ 23 w 55"/>
                  <a:gd name="T83" fmla="*/ 30 h 31"/>
                  <a:gd name="T84" fmla="*/ 20 w 55"/>
                  <a:gd name="T85" fmla="*/ 31 h 31"/>
                  <a:gd name="T86" fmla="*/ 15 w 55"/>
                  <a:gd name="T87" fmla="*/ 31 h 31"/>
                  <a:gd name="T88" fmla="*/ 13 w 55"/>
                  <a:gd name="T89" fmla="*/ 30 h 31"/>
                  <a:gd name="T90" fmla="*/ 13 w 55"/>
                  <a:gd name="T91" fmla="*/ 30 h 31"/>
                  <a:gd name="T92" fmla="*/ 10 w 55"/>
                  <a:gd name="T93" fmla="*/ 29 h 31"/>
                  <a:gd name="T94" fmla="*/ 12 w 55"/>
                  <a:gd name="T95" fmla="*/ 28 h 31"/>
                  <a:gd name="T96" fmla="*/ 12 w 55"/>
                  <a:gd name="T97" fmla="*/ 25 h 31"/>
                  <a:gd name="T98" fmla="*/ 15 w 55"/>
                  <a:gd name="T99" fmla="*/ 22 h 31"/>
                  <a:gd name="T100" fmla="*/ 11 w 55"/>
                  <a:gd name="T101" fmla="*/ 19 h 31"/>
                  <a:gd name="T102" fmla="*/ 10 w 55"/>
                  <a:gd name="T103" fmla="*/ 19 h 31"/>
                  <a:gd name="T104" fmla="*/ 7 w 55"/>
                  <a:gd name="T105" fmla="*/ 17 h 31"/>
                  <a:gd name="T106" fmla="*/ 4 w 55"/>
                  <a:gd name="T107" fmla="*/ 15 h 31"/>
                  <a:gd name="T108" fmla="*/ 2 w 55"/>
                  <a:gd name="T109" fmla="*/ 15 h 31"/>
                  <a:gd name="T110" fmla="*/ 0 w 55"/>
                  <a:gd name="T111" fmla="*/ 16 h 31"/>
                  <a:gd name="T112" fmla="*/ 0 w 55"/>
                  <a:gd name="T113" fmla="*/ 13 h 31"/>
                  <a:gd name="T114" fmla="*/ 6 w 55"/>
                  <a:gd name="T115" fmla="*/ 11 h 31"/>
                  <a:gd name="T116" fmla="*/ 13 w 55"/>
                  <a:gd name="T117" fmla="*/ 7 h 31"/>
                  <a:gd name="T118" fmla="*/ 16 w 55"/>
                  <a:gd name="T119" fmla="*/ 6 h 31"/>
                  <a:gd name="T120" fmla="*/ 15 w 55"/>
                  <a:gd name="T121" fmla="*/ 3 h 31"/>
                  <a:gd name="T122" fmla="*/ 15 w 55"/>
                  <a:gd name="T123"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31">
                    <a:moveTo>
                      <a:pt x="15" y="3"/>
                    </a:moveTo>
                    <a:lnTo>
                      <a:pt x="15" y="2"/>
                    </a:lnTo>
                    <a:lnTo>
                      <a:pt x="15" y="2"/>
                    </a:lnTo>
                    <a:lnTo>
                      <a:pt x="15" y="0"/>
                    </a:lnTo>
                    <a:lnTo>
                      <a:pt x="15" y="0"/>
                    </a:lnTo>
                    <a:lnTo>
                      <a:pt x="18" y="3"/>
                    </a:lnTo>
                    <a:lnTo>
                      <a:pt x="19" y="3"/>
                    </a:lnTo>
                    <a:lnTo>
                      <a:pt x="21" y="6"/>
                    </a:lnTo>
                    <a:lnTo>
                      <a:pt x="25" y="5"/>
                    </a:lnTo>
                    <a:lnTo>
                      <a:pt x="26" y="6"/>
                    </a:lnTo>
                    <a:lnTo>
                      <a:pt x="27" y="5"/>
                    </a:lnTo>
                    <a:lnTo>
                      <a:pt x="26" y="8"/>
                    </a:lnTo>
                    <a:lnTo>
                      <a:pt x="26" y="8"/>
                    </a:lnTo>
                    <a:lnTo>
                      <a:pt x="28" y="7"/>
                    </a:lnTo>
                    <a:lnTo>
                      <a:pt x="33" y="11"/>
                    </a:lnTo>
                    <a:lnTo>
                      <a:pt x="34" y="14"/>
                    </a:lnTo>
                    <a:lnTo>
                      <a:pt x="36" y="16"/>
                    </a:lnTo>
                    <a:lnTo>
                      <a:pt x="36" y="14"/>
                    </a:lnTo>
                    <a:lnTo>
                      <a:pt x="33" y="11"/>
                    </a:lnTo>
                    <a:lnTo>
                      <a:pt x="32" y="9"/>
                    </a:lnTo>
                    <a:lnTo>
                      <a:pt x="33" y="9"/>
                    </a:lnTo>
                    <a:lnTo>
                      <a:pt x="33" y="8"/>
                    </a:lnTo>
                    <a:lnTo>
                      <a:pt x="33" y="9"/>
                    </a:lnTo>
                    <a:lnTo>
                      <a:pt x="37" y="15"/>
                    </a:lnTo>
                    <a:lnTo>
                      <a:pt x="41" y="16"/>
                    </a:lnTo>
                    <a:lnTo>
                      <a:pt x="45" y="15"/>
                    </a:lnTo>
                    <a:lnTo>
                      <a:pt x="47" y="15"/>
                    </a:lnTo>
                    <a:lnTo>
                      <a:pt x="50" y="14"/>
                    </a:lnTo>
                    <a:lnTo>
                      <a:pt x="53" y="14"/>
                    </a:lnTo>
                    <a:lnTo>
                      <a:pt x="55" y="15"/>
                    </a:lnTo>
                    <a:lnTo>
                      <a:pt x="52" y="19"/>
                    </a:lnTo>
                    <a:lnTo>
                      <a:pt x="52" y="21"/>
                    </a:lnTo>
                    <a:lnTo>
                      <a:pt x="44" y="22"/>
                    </a:lnTo>
                    <a:lnTo>
                      <a:pt x="42" y="20"/>
                    </a:lnTo>
                    <a:lnTo>
                      <a:pt x="38" y="20"/>
                    </a:lnTo>
                    <a:lnTo>
                      <a:pt x="38" y="22"/>
                    </a:lnTo>
                    <a:lnTo>
                      <a:pt x="36" y="23"/>
                    </a:lnTo>
                    <a:lnTo>
                      <a:pt x="34" y="25"/>
                    </a:lnTo>
                    <a:lnTo>
                      <a:pt x="33" y="24"/>
                    </a:lnTo>
                    <a:lnTo>
                      <a:pt x="27" y="25"/>
                    </a:lnTo>
                    <a:lnTo>
                      <a:pt x="25" y="28"/>
                    </a:lnTo>
                    <a:lnTo>
                      <a:pt x="23" y="30"/>
                    </a:lnTo>
                    <a:lnTo>
                      <a:pt x="20" y="31"/>
                    </a:lnTo>
                    <a:lnTo>
                      <a:pt x="15" y="31"/>
                    </a:lnTo>
                    <a:lnTo>
                      <a:pt x="13" y="30"/>
                    </a:lnTo>
                    <a:lnTo>
                      <a:pt x="13" y="30"/>
                    </a:lnTo>
                    <a:lnTo>
                      <a:pt x="10" y="29"/>
                    </a:lnTo>
                    <a:lnTo>
                      <a:pt x="12" y="28"/>
                    </a:lnTo>
                    <a:lnTo>
                      <a:pt x="12" y="25"/>
                    </a:lnTo>
                    <a:lnTo>
                      <a:pt x="15" y="22"/>
                    </a:lnTo>
                    <a:lnTo>
                      <a:pt x="11" y="19"/>
                    </a:lnTo>
                    <a:lnTo>
                      <a:pt x="10" y="19"/>
                    </a:lnTo>
                    <a:lnTo>
                      <a:pt x="7" y="17"/>
                    </a:lnTo>
                    <a:lnTo>
                      <a:pt x="4" y="15"/>
                    </a:lnTo>
                    <a:lnTo>
                      <a:pt x="2" y="15"/>
                    </a:lnTo>
                    <a:lnTo>
                      <a:pt x="0" y="16"/>
                    </a:lnTo>
                    <a:lnTo>
                      <a:pt x="0" y="13"/>
                    </a:lnTo>
                    <a:lnTo>
                      <a:pt x="6" y="11"/>
                    </a:lnTo>
                    <a:lnTo>
                      <a:pt x="13" y="7"/>
                    </a:lnTo>
                    <a:lnTo>
                      <a:pt x="16" y="6"/>
                    </a:lnTo>
                    <a:lnTo>
                      <a:pt x="15" y="3"/>
                    </a:lnTo>
                    <a:lnTo>
                      <a:pt x="1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0" name="Freeform 106">
                <a:extLst>
                  <a:ext uri="{FF2B5EF4-FFF2-40B4-BE49-F238E27FC236}">
                    <a16:creationId xmlns:a16="http://schemas.microsoft.com/office/drawing/2014/main" id="{48B48F5D-8AB8-4FCF-AC26-49936CB165AA}"/>
                  </a:ext>
                </a:extLst>
              </p:cNvPr>
              <p:cNvSpPr>
                <a:spLocks/>
              </p:cNvSpPr>
              <p:nvPr/>
            </p:nvSpPr>
            <p:spPr bwMode="auto">
              <a:xfrm>
                <a:off x="4277" y="2972"/>
                <a:ext cx="99" cy="192"/>
              </a:xfrm>
              <a:custGeom>
                <a:avLst/>
                <a:gdLst>
                  <a:gd name="T0" fmla="*/ 0 w 99"/>
                  <a:gd name="T1" fmla="*/ 146 h 192"/>
                  <a:gd name="T2" fmla="*/ 5 w 99"/>
                  <a:gd name="T3" fmla="*/ 156 h 192"/>
                  <a:gd name="T4" fmla="*/ 6 w 99"/>
                  <a:gd name="T5" fmla="*/ 164 h 192"/>
                  <a:gd name="T6" fmla="*/ 10 w 99"/>
                  <a:gd name="T7" fmla="*/ 181 h 192"/>
                  <a:gd name="T8" fmla="*/ 17 w 99"/>
                  <a:gd name="T9" fmla="*/ 188 h 192"/>
                  <a:gd name="T10" fmla="*/ 32 w 99"/>
                  <a:gd name="T11" fmla="*/ 191 h 192"/>
                  <a:gd name="T12" fmla="*/ 48 w 99"/>
                  <a:gd name="T13" fmla="*/ 185 h 192"/>
                  <a:gd name="T14" fmla="*/ 56 w 99"/>
                  <a:gd name="T15" fmla="*/ 176 h 192"/>
                  <a:gd name="T16" fmla="*/ 60 w 99"/>
                  <a:gd name="T17" fmla="*/ 163 h 192"/>
                  <a:gd name="T18" fmla="*/ 68 w 99"/>
                  <a:gd name="T19" fmla="*/ 134 h 192"/>
                  <a:gd name="T20" fmla="*/ 75 w 99"/>
                  <a:gd name="T21" fmla="*/ 111 h 192"/>
                  <a:gd name="T22" fmla="*/ 84 w 99"/>
                  <a:gd name="T23" fmla="*/ 89 h 192"/>
                  <a:gd name="T24" fmla="*/ 85 w 99"/>
                  <a:gd name="T25" fmla="*/ 82 h 192"/>
                  <a:gd name="T26" fmla="*/ 87 w 99"/>
                  <a:gd name="T27" fmla="*/ 68 h 192"/>
                  <a:gd name="T28" fmla="*/ 88 w 99"/>
                  <a:gd name="T29" fmla="*/ 55 h 192"/>
                  <a:gd name="T30" fmla="*/ 89 w 99"/>
                  <a:gd name="T31" fmla="*/ 46 h 192"/>
                  <a:gd name="T32" fmla="*/ 94 w 99"/>
                  <a:gd name="T33" fmla="*/ 54 h 192"/>
                  <a:gd name="T34" fmla="*/ 99 w 99"/>
                  <a:gd name="T35" fmla="*/ 47 h 192"/>
                  <a:gd name="T36" fmla="*/ 95 w 99"/>
                  <a:gd name="T37" fmla="*/ 37 h 192"/>
                  <a:gd name="T38" fmla="*/ 94 w 99"/>
                  <a:gd name="T39" fmla="*/ 28 h 192"/>
                  <a:gd name="T40" fmla="*/ 91 w 99"/>
                  <a:gd name="T41" fmla="*/ 12 h 192"/>
                  <a:gd name="T42" fmla="*/ 86 w 99"/>
                  <a:gd name="T43" fmla="*/ 5 h 192"/>
                  <a:gd name="T44" fmla="*/ 84 w 99"/>
                  <a:gd name="T45" fmla="*/ 0 h 192"/>
                  <a:gd name="T46" fmla="*/ 78 w 99"/>
                  <a:gd name="T47" fmla="*/ 5 h 192"/>
                  <a:gd name="T48" fmla="*/ 78 w 99"/>
                  <a:gd name="T49" fmla="*/ 10 h 192"/>
                  <a:gd name="T50" fmla="*/ 77 w 99"/>
                  <a:gd name="T51" fmla="*/ 17 h 192"/>
                  <a:gd name="T52" fmla="*/ 69 w 99"/>
                  <a:gd name="T53" fmla="*/ 22 h 192"/>
                  <a:gd name="T54" fmla="*/ 63 w 99"/>
                  <a:gd name="T55" fmla="*/ 23 h 192"/>
                  <a:gd name="T56" fmla="*/ 63 w 99"/>
                  <a:gd name="T57" fmla="*/ 30 h 192"/>
                  <a:gd name="T58" fmla="*/ 65 w 99"/>
                  <a:gd name="T59" fmla="*/ 35 h 192"/>
                  <a:gd name="T60" fmla="*/ 61 w 99"/>
                  <a:gd name="T61" fmla="*/ 37 h 192"/>
                  <a:gd name="T62" fmla="*/ 56 w 99"/>
                  <a:gd name="T63" fmla="*/ 38 h 192"/>
                  <a:gd name="T64" fmla="*/ 54 w 99"/>
                  <a:gd name="T65" fmla="*/ 46 h 192"/>
                  <a:gd name="T66" fmla="*/ 52 w 99"/>
                  <a:gd name="T67" fmla="*/ 47 h 192"/>
                  <a:gd name="T68" fmla="*/ 45 w 99"/>
                  <a:gd name="T69" fmla="*/ 47 h 192"/>
                  <a:gd name="T70" fmla="*/ 44 w 99"/>
                  <a:gd name="T71" fmla="*/ 54 h 192"/>
                  <a:gd name="T72" fmla="*/ 42 w 99"/>
                  <a:gd name="T73" fmla="*/ 53 h 192"/>
                  <a:gd name="T74" fmla="*/ 34 w 99"/>
                  <a:gd name="T75" fmla="*/ 52 h 192"/>
                  <a:gd name="T76" fmla="*/ 24 w 99"/>
                  <a:gd name="T77" fmla="*/ 57 h 192"/>
                  <a:gd name="T78" fmla="*/ 16 w 99"/>
                  <a:gd name="T79" fmla="*/ 57 h 192"/>
                  <a:gd name="T80" fmla="*/ 16 w 99"/>
                  <a:gd name="T81" fmla="*/ 65 h 192"/>
                  <a:gd name="T82" fmla="*/ 10 w 99"/>
                  <a:gd name="T83" fmla="*/ 80 h 192"/>
                  <a:gd name="T84" fmla="*/ 14 w 99"/>
                  <a:gd name="T85" fmla="*/ 94 h 192"/>
                  <a:gd name="T86" fmla="*/ 16 w 99"/>
                  <a:gd name="T87" fmla="*/ 102 h 192"/>
                  <a:gd name="T88" fmla="*/ 16 w 99"/>
                  <a:gd name="T89" fmla="*/ 106 h 192"/>
                  <a:gd name="T90" fmla="*/ 17 w 99"/>
                  <a:gd name="T91" fmla="*/ 111 h 192"/>
                  <a:gd name="T92" fmla="*/ 11 w 99"/>
                  <a:gd name="T93" fmla="*/ 121 h 192"/>
                  <a:gd name="T94" fmla="*/ 7 w 99"/>
                  <a:gd name="T95" fmla="*/ 130 h 192"/>
                  <a:gd name="T96" fmla="*/ 3 w 99"/>
                  <a:gd name="T97" fmla="*/ 133 h 192"/>
                  <a:gd name="T98" fmla="*/ 0 w 99"/>
                  <a:gd name="T99" fmla="*/ 14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 h="192">
                    <a:moveTo>
                      <a:pt x="0" y="141"/>
                    </a:moveTo>
                    <a:lnTo>
                      <a:pt x="0" y="142"/>
                    </a:lnTo>
                    <a:lnTo>
                      <a:pt x="0" y="146"/>
                    </a:lnTo>
                    <a:lnTo>
                      <a:pt x="1" y="150"/>
                    </a:lnTo>
                    <a:lnTo>
                      <a:pt x="2" y="154"/>
                    </a:lnTo>
                    <a:lnTo>
                      <a:pt x="5" y="156"/>
                    </a:lnTo>
                    <a:lnTo>
                      <a:pt x="5" y="158"/>
                    </a:lnTo>
                    <a:lnTo>
                      <a:pt x="7" y="163"/>
                    </a:lnTo>
                    <a:lnTo>
                      <a:pt x="6" y="164"/>
                    </a:lnTo>
                    <a:lnTo>
                      <a:pt x="6" y="173"/>
                    </a:lnTo>
                    <a:lnTo>
                      <a:pt x="9" y="177"/>
                    </a:lnTo>
                    <a:lnTo>
                      <a:pt x="10" y="181"/>
                    </a:lnTo>
                    <a:lnTo>
                      <a:pt x="11" y="184"/>
                    </a:lnTo>
                    <a:lnTo>
                      <a:pt x="14" y="185"/>
                    </a:lnTo>
                    <a:lnTo>
                      <a:pt x="17" y="188"/>
                    </a:lnTo>
                    <a:lnTo>
                      <a:pt x="20" y="188"/>
                    </a:lnTo>
                    <a:lnTo>
                      <a:pt x="26" y="192"/>
                    </a:lnTo>
                    <a:lnTo>
                      <a:pt x="32" y="191"/>
                    </a:lnTo>
                    <a:lnTo>
                      <a:pt x="35" y="189"/>
                    </a:lnTo>
                    <a:lnTo>
                      <a:pt x="41" y="186"/>
                    </a:lnTo>
                    <a:lnTo>
                      <a:pt x="48" y="185"/>
                    </a:lnTo>
                    <a:lnTo>
                      <a:pt x="51" y="184"/>
                    </a:lnTo>
                    <a:lnTo>
                      <a:pt x="53" y="181"/>
                    </a:lnTo>
                    <a:lnTo>
                      <a:pt x="56" y="176"/>
                    </a:lnTo>
                    <a:lnTo>
                      <a:pt x="56" y="173"/>
                    </a:lnTo>
                    <a:lnTo>
                      <a:pt x="59" y="166"/>
                    </a:lnTo>
                    <a:lnTo>
                      <a:pt x="60" y="163"/>
                    </a:lnTo>
                    <a:lnTo>
                      <a:pt x="61" y="157"/>
                    </a:lnTo>
                    <a:lnTo>
                      <a:pt x="65" y="145"/>
                    </a:lnTo>
                    <a:lnTo>
                      <a:pt x="68" y="134"/>
                    </a:lnTo>
                    <a:lnTo>
                      <a:pt x="74" y="116"/>
                    </a:lnTo>
                    <a:lnTo>
                      <a:pt x="76" y="111"/>
                    </a:lnTo>
                    <a:lnTo>
                      <a:pt x="75" y="111"/>
                    </a:lnTo>
                    <a:lnTo>
                      <a:pt x="76" y="111"/>
                    </a:lnTo>
                    <a:lnTo>
                      <a:pt x="79" y="99"/>
                    </a:lnTo>
                    <a:lnTo>
                      <a:pt x="84" y="89"/>
                    </a:lnTo>
                    <a:lnTo>
                      <a:pt x="84" y="86"/>
                    </a:lnTo>
                    <a:lnTo>
                      <a:pt x="85" y="85"/>
                    </a:lnTo>
                    <a:lnTo>
                      <a:pt x="85" y="82"/>
                    </a:lnTo>
                    <a:lnTo>
                      <a:pt x="86" y="80"/>
                    </a:lnTo>
                    <a:lnTo>
                      <a:pt x="85" y="72"/>
                    </a:lnTo>
                    <a:lnTo>
                      <a:pt x="87" y="68"/>
                    </a:lnTo>
                    <a:lnTo>
                      <a:pt x="91" y="62"/>
                    </a:lnTo>
                    <a:lnTo>
                      <a:pt x="91" y="60"/>
                    </a:lnTo>
                    <a:lnTo>
                      <a:pt x="88" y="55"/>
                    </a:lnTo>
                    <a:lnTo>
                      <a:pt x="88" y="52"/>
                    </a:lnTo>
                    <a:lnTo>
                      <a:pt x="87" y="49"/>
                    </a:lnTo>
                    <a:lnTo>
                      <a:pt x="89" y="46"/>
                    </a:lnTo>
                    <a:lnTo>
                      <a:pt x="91" y="48"/>
                    </a:lnTo>
                    <a:lnTo>
                      <a:pt x="93" y="51"/>
                    </a:lnTo>
                    <a:lnTo>
                      <a:pt x="94" y="54"/>
                    </a:lnTo>
                    <a:lnTo>
                      <a:pt x="96" y="53"/>
                    </a:lnTo>
                    <a:lnTo>
                      <a:pt x="97" y="49"/>
                    </a:lnTo>
                    <a:lnTo>
                      <a:pt x="99" y="47"/>
                    </a:lnTo>
                    <a:lnTo>
                      <a:pt x="99" y="44"/>
                    </a:lnTo>
                    <a:lnTo>
                      <a:pt x="96" y="39"/>
                    </a:lnTo>
                    <a:lnTo>
                      <a:pt x="95" y="37"/>
                    </a:lnTo>
                    <a:lnTo>
                      <a:pt x="95" y="34"/>
                    </a:lnTo>
                    <a:lnTo>
                      <a:pt x="95" y="31"/>
                    </a:lnTo>
                    <a:lnTo>
                      <a:pt x="94" y="28"/>
                    </a:lnTo>
                    <a:lnTo>
                      <a:pt x="94" y="23"/>
                    </a:lnTo>
                    <a:lnTo>
                      <a:pt x="92" y="15"/>
                    </a:lnTo>
                    <a:lnTo>
                      <a:pt x="91" y="12"/>
                    </a:lnTo>
                    <a:lnTo>
                      <a:pt x="89" y="10"/>
                    </a:lnTo>
                    <a:lnTo>
                      <a:pt x="87" y="8"/>
                    </a:lnTo>
                    <a:lnTo>
                      <a:pt x="86" y="5"/>
                    </a:lnTo>
                    <a:lnTo>
                      <a:pt x="84" y="2"/>
                    </a:lnTo>
                    <a:lnTo>
                      <a:pt x="82" y="3"/>
                    </a:lnTo>
                    <a:lnTo>
                      <a:pt x="84" y="0"/>
                    </a:lnTo>
                    <a:lnTo>
                      <a:pt x="80" y="0"/>
                    </a:lnTo>
                    <a:lnTo>
                      <a:pt x="80" y="2"/>
                    </a:lnTo>
                    <a:lnTo>
                      <a:pt x="78" y="5"/>
                    </a:lnTo>
                    <a:lnTo>
                      <a:pt x="76" y="4"/>
                    </a:lnTo>
                    <a:lnTo>
                      <a:pt x="77" y="6"/>
                    </a:lnTo>
                    <a:lnTo>
                      <a:pt x="78" y="10"/>
                    </a:lnTo>
                    <a:lnTo>
                      <a:pt x="77" y="12"/>
                    </a:lnTo>
                    <a:lnTo>
                      <a:pt x="77" y="13"/>
                    </a:lnTo>
                    <a:lnTo>
                      <a:pt x="77" y="17"/>
                    </a:lnTo>
                    <a:lnTo>
                      <a:pt x="74" y="19"/>
                    </a:lnTo>
                    <a:lnTo>
                      <a:pt x="71" y="20"/>
                    </a:lnTo>
                    <a:lnTo>
                      <a:pt x="69" y="22"/>
                    </a:lnTo>
                    <a:lnTo>
                      <a:pt x="67" y="21"/>
                    </a:lnTo>
                    <a:lnTo>
                      <a:pt x="63" y="21"/>
                    </a:lnTo>
                    <a:lnTo>
                      <a:pt x="63" y="23"/>
                    </a:lnTo>
                    <a:lnTo>
                      <a:pt x="65" y="26"/>
                    </a:lnTo>
                    <a:lnTo>
                      <a:pt x="66" y="28"/>
                    </a:lnTo>
                    <a:lnTo>
                      <a:pt x="63" y="30"/>
                    </a:lnTo>
                    <a:lnTo>
                      <a:pt x="61" y="31"/>
                    </a:lnTo>
                    <a:lnTo>
                      <a:pt x="62" y="35"/>
                    </a:lnTo>
                    <a:lnTo>
                      <a:pt x="65" y="35"/>
                    </a:lnTo>
                    <a:lnTo>
                      <a:pt x="65" y="37"/>
                    </a:lnTo>
                    <a:lnTo>
                      <a:pt x="63" y="36"/>
                    </a:lnTo>
                    <a:lnTo>
                      <a:pt x="61" y="37"/>
                    </a:lnTo>
                    <a:lnTo>
                      <a:pt x="57" y="42"/>
                    </a:lnTo>
                    <a:lnTo>
                      <a:pt x="58" y="37"/>
                    </a:lnTo>
                    <a:lnTo>
                      <a:pt x="56" y="38"/>
                    </a:lnTo>
                    <a:lnTo>
                      <a:pt x="54" y="42"/>
                    </a:lnTo>
                    <a:lnTo>
                      <a:pt x="52" y="44"/>
                    </a:lnTo>
                    <a:lnTo>
                      <a:pt x="54" y="46"/>
                    </a:lnTo>
                    <a:lnTo>
                      <a:pt x="54" y="47"/>
                    </a:lnTo>
                    <a:lnTo>
                      <a:pt x="53" y="47"/>
                    </a:lnTo>
                    <a:lnTo>
                      <a:pt x="52" y="47"/>
                    </a:lnTo>
                    <a:lnTo>
                      <a:pt x="51" y="46"/>
                    </a:lnTo>
                    <a:lnTo>
                      <a:pt x="51" y="44"/>
                    </a:lnTo>
                    <a:lnTo>
                      <a:pt x="45" y="47"/>
                    </a:lnTo>
                    <a:lnTo>
                      <a:pt x="42" y="49"/>
                    </a:lnTo>
                    <a:lnTo>
                      <a:pt x="42" y="52"/>
                    </a:lnTo>
                    <a:lnTo>
                      <a:pt x="44" y="54"/>
                    </a:lnTo>
                    <a:lnTo>
                      <a:pt x="43" y="54"/>
                    </a:lnTo>
                    <a:lnTo>
                      <a:pt x="42" y="54"/>
                    </a:lnTo>
                    <a:lnTo>
                      <a:pt x="42" y="53"/>
                    </a:lnTo>
                    <a:lnTo>
                      <a:pt x="41" y="51"/>
                    </a:lnTo>
                    <a:lnTo>
                      <a:pt x="37" y="53"/>
                    </a:lnTo>
                    <a:lnTo>
                      <a:pt x="34" y="52"/>
                    </a:lnTo>
                    <a:lnTo>
                      <a:pt x="28" y="56"/>
                    </a:lnTo>
                    <a:lnTo>
                      <a:pt x="26" y="54"/>
                    </a:lnTo>
                    <a:lnTo>
                      <a:pt x="24" y="57"/>
                    </a:lnTo>
                    <a:lnTo>
                      <a:pt x="22" y="57"/>
                    </a:lnTo>
                    <a:lnTo>
                      <a:pt x="19" y="57"/>
                    </a:lnTo>
                    <a:lnTo>
                      <a:pt x="16" y="57"/>
                    </a:lnTo>
                    <a:lnTo>
                      <a:pt x="16" y="60"/>
                    </a:lnTo>
                    <a:lnTo>
                      <a:pt x="16" y="63"/>
                    </a:lnTo>
                    <a:lnTo>
                      <a:pt x="16" y="65"/>
                    </a:lnTo>
                    <a:lnTo>
                      <a:pt x="12" y="70"/>
                    </a:lnTo>
                    <a:lnTo>
                      <a:pt x="9" y="75"/>
                    </a:lnTo>
                    <a:lnTo>
                      <a:pt x="10" y="80"/>
                    </a:lnTo>
                    <a:lnTo>
                      <a:pt x="10" y="82"/>
                    </a:lnTo>
                    <a:lnTo>
                      <a:pt x="11" y="88"/>
                    </a:lnTo>
                    <a:lnTo>
                      <a:pt x="14" y="94"/>
                    </a:lnTo>
                    <a:lnTo>
                      <a:pt x="14" y="96"/>
                    </a:lnTo>
                    <a:lnTo>
                      <a:pt x="14" y="99"/>
                    </a:lnTo>
                    <a:lnTo>
                      <a:pt x="16" y="102"/>
                    </a:lnTo>
                    <a:lnTo>
                      <a:pt x="16" y="102"/>
                    </a:lnTo>
                    <a:lnTo>
                      <a:pt x="17" y="105"/>
                    </a:lnTo>
                    <a:lnTo>
                      <a:pt x="16" y="106"/>
                    </a:lnTo>
                    <a:lnTo>
                      <a:pt x="16" y="108"/>
                    </a:lnTo>
                    <a:lnTo>
                      <a:pt x="16" y="109"/>
                    </a:lnTo>
                    <a:lnTo>
                      <a:pt x="17" y="111"/>
                    </a:lnTo>
                    <a:lnTo>
                      <a:pt x="16" y="112"/>
                    </a:lnTo>
                    <a:lnTo>
                      <a:pt x="14" y="115"/>
                    </a:lnTo>
                    <a:lnTo>
                      <a:pt x="11" y="121"/>
                    </a:lnTo>
                    <a:lnTo>
                      <a:pt x="9" y="124"/>
                    </a:lnTo>
                    <a:lnTo>
                      <a:pt x="8" y="126"/>
                    </a:lnTo>
                    <a:lnTo>
                      <a:pt x="7" y="130"/>
                    </a:lnTo>
                    <a:lnTo>
                      <a:pt x="5" y="129"/>
                    </a:lnTo>
                    <a:lnTo>
                      <a:pt x="3" y="131"/>
                    </a:lnTo>
                    <a:lnTo>
                      <a:pt x="3" y="133"/>
                    </a:lnTo>
                    <a:lnTo>
                      <a:pt x="1" y="137"/>
                    </a:lnTo>
                    <a:lnTo>
                      <a:pt x="0" y="141"/>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1" name="Freeform 107">
                <a:extLst>
                  <a:ext uri="{FF2B5EF4-FFF2-40B4-BE49-F238E27FC236}">
                    <a16:creationId xmlns:a16="http://schemas.microsoft.com/office/drawing/2014/main" id="{88F03789-D113-423D-9396-C173EA35EF63}"/>
                  </a:ext>
                </a:extLst>
              </p:cNvPr>
              <p:cNvSpPr>
                <a:spLocks/>
              </p:cNvSpPr>
              <p:nvPr/>
            </p:nvSpPr>
            <p:spPr bwMode="auto">
              <a:xfrm>
                <a:off x="4301" y="1341"/>
                <a:ext cx="51" cy="14"/>
              </a:xfrm>
              <a:custGeom>
                <a:avLst/>
                <a:gdLst>
                  <a:gd name="T0" fmla="*/ 0 w 51"/>
                  <a:gd name="T1" fmla="*/ 8 h 14"/>
                  <a:gd name="T2" fmla="*/ 0 w 51"/>
                  <a:gd name="T3" fmla="*/ 9 h 14"/>
                  <a:gd name="T4" fmla="*/ 3 w 51"/>
                  <a:gd name="T5" fmla="*/ 9 h 14"/>
                  <a:gd name="T6" fmla="*/ 9 w 51"/>
                  <a:gd name="T7" fmla="*/ 10 h 14"/>
                  <a:gd name="T8" fmla="*/ 11 w 51"/>
                  <a:gd name="T9" fmla="*/ 10 h 14"/>
                  <a:gd name="T10" fmla="*/ 15 w 51"/>
                  <a:gd name="T11" fmla="*/ 11 h 14"/>
                  <a:gd name="T12" fmla="*/ 15 w 51"/>
                  <a:gd name="T13" fmla="*/ 14 h 14"/>
                  <a:gd name="T14" fmla="*/ 18 w 51"/>
                  <a:gd name="T15" fmla="*/ 14 h 14"/>
                  <a:gd name="T16" fmla="*/ 22 w 51"/>
                  <a:gd name="T17" fmla="*/ 10 h 14"/>
                  <a:gd name="T18" fmla="*/ 26 w 51"/>
                  <a:gd name="T19" fmla="*/ 10 h 14"/>
                  <a:gd name="T20" fmla="*/ 32 w 51"/>
                  <a:gd name="T21" fmla="*/ 7 h 14"/>
                  <a:gd name="T22" fmla="*/ 34 w 51"/>
                  <a:gd name="T23" fmla="*/ 4 h 14"/>
                  <a:gd name="T24" fmla="*/ 37 w 51"/>
                  <a:gd name="T25" fmla="*/ 3 h 14"/>
                  <a:gd name="T26" fmla="*/ 43 w 51"/>
                  <a:gd name="T27" fmla="*/ 7 h 14"/>
                  <a:gd name="T28" fmla="*/ 51 w 51"/>
                  <a:gd name="T29" fmla="*/ 8 h 14"/>
                  <a:gd name="T30" fmla="*/ 50 w 51"/>
                  <a:gd name="T31" fmla="*/ 6 h 14"/>
                  <a:gd name="T32" fmla="*/ 48 w 51"/>
                  <a:gd name="T33" fmla="*/ 2 h 14"/>
                  <a:gd name="T34" fmla="*/ 46 w 51"/>
                  <a:gd name="T35" fmla="*/ 1 h 14"/>
                  <a:gd name="T36" fmla="*/ 39 w 51"/>
                  <a:gd name="T37" fmla="*/ 2 h 14"/>
                  <a:gd name="T38" fmla="*/ 34 w 51"/>
                  <a:gd name="T39" fmla="*/ 0 h 14"/>
                  <a:gd name="T40" fmla="*/ 32 w 51"/>
                  <a:gd name="T41" fmla="*/ 1 h 14"/>
                  <a:gd name="T42" fmla="*/ 28 w 51"/>
                  <a:gd name="T43" fmla="*/ 3 h 14"/>
                  <a:gd name="T44" fmla="*/ 26 w 51"/>
                  <a:gd name="T45" fmla="*/ 3 h 14"/>
                  <a:gd name="T46" fmla="*/ 22 w 51"/>
                  <a:gd name="T47" fmla="*/ 3 h 14"/>
                  <a:gd name="T48" fmla="*/ 17 w 51"/>
                  <a:gd name="T49" fmla="*/ 6 h 14"/>
                  <a:gd name="T50" fmla="*/ 0 w 51"/>
                  <a:gd name="T51" fmla="*/ 8 h 14"/>
                  <a:gd name="T52" fmla="*/ 0 w 51"/>
                  <a:gd name="T5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8"/>
                    </a:moveTo>
                    <a:lnTo>
                      <a:pt x="0" y="9"/>
                    </a:lnTo>
                    <a:lnTo>
                      <a:pt x="3" y="9"/>
                    </a:lnTo>
                    <a:lnTo>
                      <a:pt x="9" y="10"/>
                    </a:lnTo>
                    <a:lnTo>
                      <a:pt x="11" y="10"/>
                    </a:lnTo>
                    <a:lnTo>
                      <a:pt x="15" y="11"/>
                    </a:lnTo>
                    <a:lnTo>
                      <a:pt x="15" y="14"/>
                    </a:lnTo>
                    <a:lnTo>
                      <a:pt x="18" y="14"/>
                    </a:lnTo>
                    <a:lnTo>
                      <a:pt x="22" y="10"/>
                    </a:lnTo>
                    <a:lnTo>
                      <a:pt x="26" y="10"/>
                    </a:lnTo>
                    <a:lnTo>
                      <a:pt x="32" y="7"/>
                    </a:lnTo>
                    <a:lnTo>
                      <a:pt x="34" y="4"/>
                    </a:lnTo>
                    <a:lnTo>
                      <a:pt x="37" y="3"/>
                    </a:lnTo>
                    <a:lnTo>
                      <a:pt x="43" y="7"/>
                    </a:lnTo>
                    <a:lnTo>
                      <a:pt x="51" y="8"/>
                    </a:lnTo>
                    <a:lnTo>
                      <a:pt x="50" y="6"/>
                    </a:lnTo>
                    <a:lnTo>
                      <a:pt x="48" y="2"/>
                    </a:lnTo>
                    <a:lnTo>
                      <a:pt x="46" y="1"/>
                    </a:lnTo>
                    <a:lnTo>
                      <a:pt x="39" y="2"/>
                    </a:lnTo>
                    <a:lnTo>
                      <a:pt x="34" y="0"/>
                    </a:lnTo>
                    <a:lnTo>
                      <a:pt x="32" y="1"/>
                    </a:lnTo>
                    <a:lnTo>
                      <a:pt x="28" y="3"/>
                    </a:lnTo>
                    <a:lnTo>
                      <a:pt x="26" y="3"/>
                    </a:lnTo>
                    <a:lnTo>
                      <a:pt x="22" y="3"/>
                    </a:lnTo>
                    <a:lnTo>
                      <a:pt x="17" y="6"/>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2" name="Freeform 108">
                <a:extLst>
                  <a:ext uri="{FF2B5EF4-FFF2-40B4-BE49-F238E27FC236}">
                    <a16:creationId xmlns:a16="http://schemas.microsoft.com/office/drawing/2014/main" id="{1A92046C-A7DD-4066-8B97-E8BD4A240453}"/>
                  </a:ext>
                </a:extLst>
              </p:cNvPr>
              <p:cNvSpPr>
                <a:spLocks/>
              </p:cNvSpPr>
              <p:nvPr/>
            </p:nvSpPr>
            <p:spPr bwMode="auto">
              <a:xfrm>
                <a:off x="4325" y="1340"/>
                <a:ext cx="68" cy="26"/>
              </a:xfrm>
              <a:custGeom>
                <a:avLst/>
                <a:gdLst>
                  <a:gd name="T0" fmla="*/ 14 w 68"/>
                  <a:gd name="T1" fmla="*/ 26 h 26"/>
                  <a:gd name="T2" fmla="*/ 23 w 68"/>
                  <a:gd name="T3" fmla="*/ 25 h 26"/>
                  <a:gd name="T4" fmla="*/ 29 w 68"/>
                  <a:gd name="T5" fmla="*/ 24 h 26"/>
                  <a:gd name="T6" fmla="*/ 28 w 68"/>
                  <a:gd name="T7" fmla="*/ 19 h 26"/>
                  <a:gd name="T8" fmla="*/ 39 w 68"/>
                  <a:gd name="T9" fmla="*/ 17 h 26"/>
                  <a:gd name="T10" fmla="*/ 41 w 68"/>
                  <a:gd name="T11" fmla="*/ 13 h 26"/>
                  <a:gd name="T12" fmla="*/ 55 w 68"/>
                  <a:gd name="T13" fmla="*/ 11 h 26"/>
                  <a:gd name="T14" fmla="*/ 62 w 68"/>
                  <a:gd name="T15" fmla="*/ 9 h 26"/>
                  <a:gd name="T16" fmla="*/ 68 w 68"/>
                  <a:gd name="T17" fmla="*/ 8 h 26"/>
                  <a:gd name="T18" fmla="*/ 61 w 68"/>
                  <a:gd name="T19" fmla="*/ 3 h 26"/>
                  <a:gd name="T20" fmla="*/ 53 w 68"/>
                  <a:gd name="T21" fmla="*/ 4 h 26"/>
                  <a:gd name="T22" fmla="*/ 51 w 68"/>
                  <a:gd name="T23" fmla="*/ 3 h 26"/>
                  <a:gd name="T24" fmla="*/ 56 w 68"/>
                  <a:gd name="T25" fmla="*/ 0 h 26"/>
                  <a:gd name="T26" fmla="*/ 45 w 68"/>
                  <a:gd name="T27" fmla="*/ 1 h 26"/>
                  <a:gd name="T28" fmla="*/ 45 w 68"/>
                  <a:gd name="T29" fmla="*/ 0 h 26"/>
                  <a:gd name="T30" fmla="*/ 39 w 68"/>
                  <a:gd name="T31" fmla="*/ 1 h 26"/>
                  <a:gd name="T32" fmla="*/ 34 w 68"/>
                  <a:gd name="T33" fmla="*/ 5 h 26"/>
                  <a:gd name="T34" fmla="*/ 39 w 68"/>
                  <a:gd name="T35" fmla="*/ 5 h 26"/>
                  <a:gd name="T36" fmla="*/ 36 w 68"/>
                  <a:gd name="T37" fmla="*/ 8 h 26"/>
                  <a:gd name="T38" fmla="*/ 31 w 68"/>
                  <a:gd name="T39" fmla="*/ 12 h 26"/>
                  <a:gd name="T40" fmla="*/ 26 w 68"/>
                  <a:gd name="T41" fmla="*/ 12 h 26"/>
                  <a:gd name="T42" fmla="*/ 20 w 68"/>
                  <a:gd name="T43" fmla="*/ 11 h 26"/>
                  <a:gd name="T44" fmla="*/ 9 w 68"/>
                  <a:gd name="T45" fmla="*/ 15 h 26"/>
                  <a:gd name="T46" fmla="*/ 18 w 68"/>
                  <a:gd name="T47" fmla="*/ 13 h 26"/>
                  <a:gd name="T48" fmla="*/ 14 w 68"/>
                  <a:gd name="T49" fmla="*/ 16 h 26"/>
                  <a:gd name="T50" fmla="*/ 14 w 68"/>
                  <a:gd name="T51" fmla="*/ 19 h 26"/>
                  <a:gd name="T52" fmla="*/ 3 w 68"/>
                  <a:gd name="T53" fmla="*/ 17 h 26"/>
                  <a:gd name="T54" fmla="*/ 1 w 68"/>
                  <a:gd name="T55" fmla="*/ 20 h 26"/>
                  <a:gd name="T56" fmla="*/ 10 w 68"/>
                  <a:gd name="T57" fmla="*/ 21 h 26"/>
                  <a:gd name="T58" fmla="*/ 15 w 68"/>
                  <a:gd name="T59" fmla="*/ 20 h 26"/>
                  <a:gd name="T60" fmla="*/ 15 w 68"/>
                  <a:gd name="T61" fmla="*/ 22 h 26"/>
                  <a:gd name="T62" fmla="*/ 12 w 68"/>
                  <a:gd name="T63"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26">
                    <a:moveTo>
                      <a:pt x="12" y="25"/>
                    </a:moveTo>
                    <a:lnTo>
                      <a:pt x="14" y="26"/>
                    </a:lnTo>
                    <a:lnTo>
                      <a:pt x="20" y="25"/>
                    </a:lnTo>
                    <a:lnTo>
                      <a:pt x="23" y="25"/>
                    </a:lnTo>
                    <a:lnTo>
                      <a:pt x="23" y="22"/>
                    </a:lnTo>
                    <a:lnTo>
                      <a:pt x="29" y="24"/>
                    </a:lnTo>
                    <a:lnTo>
                      <a:pt x="31" y="21"/>
                    </a:lnTo>
                    <a:lnTo>
                      <a:pt x="28" y="19"/>
                    </a:lnTo>
                    <a:lnTo>
                      <a:pt x="28" y="17"/>
                    </a:lnTo>
                    <a:lnTo>
                      <a:pt x="39" y="17"/>
                    </a:lnTo>
                    <a:lnTo>
                      <a:pt x="43" y="16"/>
                    </a:lnTo>
                    <a:lnTo>
                      <a:pt x="41" y="13"/>
                    </a:lnTo>
                    <a:lnTo>
                      <a:pt x="46" y="12"/>
                    </a:lnTo>
                    <a:lnTo>
                      <a:pt x="55" y="11"/>
                    </a:lnTo>
                    <a:lnTo>
                      <a:pt x="58" y="11"/>
                    </a:lnTo>
                    <a:lnTo>
                      <a:pt x="62" y="9"/>
                    </a:lnTo>
                    <a:lnTo>
                      <a:pt x="64" y="9"/>
                    </a:lnTo>
                    <a:lnTo>
                      <a:pt x="68" y="8"/>
                    </a:lnTo>
                    <a:lnTo>
                      <a:pt x="64" y="5"/>
                    </a:lnTo>
                    <a:lnTo>
                      <a:pt x="61" y="3"/>
                    </a:lnTo>
                    <a:lnTo>
                      <a:pt x="55" y="4"/>
                    </a:lnTo>
                    <a:lnTo>
                      <a:pt x="53" y="4"/>
                    </a:lnTo>
                    <a:lnTo>
                      <a:pt x="49" y="5"/>
                    </a:lnTo>
                    <a:lnTo>
                      <a:pt x="51" y="3"/>
                    </a:lnTo>
                    <a:lnTo>
                      <a:pt x="57" y="2"/>
                    </a:lnTo>
                    <a:lnTo>
                      <a:pt x="56" y="0"/>
                    </a:lnTo>
                    <a:lnTo>
                      <a:pt x="47" y="1"/>
                    </a:lnTo>
                    <a:lnTo>
                      <a:pt x="45" y="1"/>
                    </a:lnTo>
                    <a:lnTo>
                      <a:pt x="48" y="0"/>
                    </a:lnTo>
                    <a:lnTo>
                      <a:pt x="45" y="0"/>
                    </a:lnTo>
                    <a:lnTo>
                      <a:pt x="43" y="0"/>
                    </a:lnTo>
                    <a:lnTo>
                      <a:pt x="39" y="1"/>
                    </a:lnTo>
                    <a:lnTo>
                      <a:pt x="31" y="3"/>
                    </a:lnTo>
                    <a:lnTo>
                      <a:pt x="34" y="5"/>
                    </a:lnTo>
                    <a:lnTo>
                      <a:pt x="37" y="5"/>
                    </a:lnTo>
                    <a:lnTo>
                      <a:pt x="39" y="5"/>
                    </a:lnTo>
                    <a:lnTo>
                      <a:pt x="39" y="8"/>
                    </a:lnTo>
                    <a:lnTo>
                      <a:pt x="36" y="8"/>
                    </a:lnTo>
                    <a:lnTo>
                      <a:pt x="34" y="10"/>
                    </a:lnTo>
                    <a:lnTo>
                      <a:pt x="31" y="12"/>
                    </a:lnTo>
                    <a:lnTo>
                      <a:pt x="28" y="12"/>
                    </a:lnTo>
                    <a:lnTo>
                      <a:pt x="26" y="12"/>
                    </a:lnTo>
                    <a:lnTo>
                      <a:pt x="22" y="10"/>
                    </a:lnTo>
                    <a:lnTo>
                      <a:pt x="20" y="11"/>
                    </a:lnTo>
                    <a:lnTo>
                      <a:pt x="17" y="11"/>
                    </a:lnTo>
                    <a:lnTo>
                      <a:pt x="9" y="15"/>
                    </a:lnTo>
                    <a:lnTo>
                      <a:pt x="14" y="13"/>
                    </a:lnTo>
                    <a:lnTo>
                      <a:pt x="18" y="13"/>
                    </a:lnTo>
                    <a:lnTo>
                      <a:pt x="20" y="15"/>
                    </a:lnTo>
                    <a:lnTo>
                      <a:pt x="14" y="16"/>
                    </a:lnTo>
                    <a:lnTo>
                      <a:pt x="17" y="17"/>
                    </a:lnTo>
                    <a:lnTo>
                      <a:pt x="14" y="19"/>
                    </a:lnTo>
                    <a:lnTo>
                      <a:pt x="6" y="19"/>
                    </a:lnTo>
                    <a:lnTo>
                      <a:pt x="3" y="17"/>
                    </a:lnTo>
                    <a:lnTo>
                      <a:pt x="0" y="18"/>
                    </a:lnTo>
                    <a:lnTo>
                      <a:pt x="1" y="20"/>
                    </a:lnTo>
                    <a:lnTo>
                      <a:pt x="4" y="22"/>
                    </a:lnTo>
                    <a:lnTo>
                      <a:pt x="10" y="21"/>
                    </a:lnTo>
                    <a:lnTo>
                      <a:pt x="12" y="20"/>
                    </a:lnTo>
                    <a:lnTo>
                      <a:pt x="15" y="20"/>
                    </a:lnTo>
                    <a:lnTo>
                      <a:pt x="18" y="22"/>
                    </a:lnTo>
                    <a:lnTo>
                      <a:pt x="15" y="22"/>
                    </a:lnTo>
                    <a:lnTo>
                      <a:pt x="12" y="25"/>
                    </a:lnTo>
                    <a:lnTo>
                      <a:pt x="12" y="25"/>
                    </a:lnTo>
                    <a:lnTo>
                      <a:pt x="1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3" name="Freeform 109">
                <a:extLst>
                  <a:ext uri="{FF2B5EF4-FFF2-40B4-BE49-F238E27FC236}">
                    <a16:creationId xmlns:a16="http://schemas.microsoft.com/office/drawing/2014/main" id="{B979AC05-9150-4342-BBF3-93C8120C5BA4}"/>
                  </a:ext>
                </a:extLst>
              </p:cNvPr>
              <p:cNvSpPr>
                <a:spLocks/>
              </p:cNvSpPr>
              <p:nvPr/>
            </p:nvSpPr>
            <p:spPr bwMode="auto">
              <a:xfrm>
                <a:off x="4365" y="1361"/>
                <a:ext cx="7" cy="6"/>
              </a:xfrm>
              <a:custGeom>
                <a:avLst/>
                <a:gdLst>
                  <a:gd name="T0" fmla="*/ 3 w 7"/>
                  <a:gd name="T1" fmla="*/ 5 h 6"/>
                  <a:gd name="T2" fmla="*/ 3 w 7"/>
                  <a:gd name="T3" fmla="*/ 6 h 6"/>
                  <a:gd name="T4" fmla="*/ 6 w 7"/>
                  <a:gd name="T5" fmla="*/ 4 h 6"/>
                  <a:gd name="T6" fmla="*/ 7 w 7"/>
                  <a:gd name="T7" fmla="*/ 0 h 6"/>
                  <a:gd name="T8" fmla="*/ 5 w 7"/>
                  <a:gd name="T9" fmla="*/ 0 h 6"/>
                  <a:gd name="T10" fmla="*/ 1 w 7"/>
                  <a:gd name="T11" fmla="*/ 0 h 6"/>
                  <a:gd name="T12" fmla="*/ 0 w 7"/>
                  <a:gd name="T13" fmla="*/ 4 h 6"/>
                  <a:gd name="T14" fmla="*/ 3 w 7"/>
                  <a:gd name="T15" fmla="*/ 5 h 6"/>
                  <a:gd name="T16" fmla="*/ 3 w 7"/>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5"/>
                    </a:moveTo>
                    <a:lnTo>
                      <a:pt x="3" y="6"/>
                    </a:lnTo>
                    <a:lnTo>
                      <a:pt x="6" y="4"/>
                    </a:lnTo>
                    <a:lnTo>
                      <a:pt x="7" y="0"/>
                    </a:lnTo>
                    <a:lnTo>
                      <a:pt x="5" y="0"/>
                    </a:lnTo>
                    <a:lnTo>
                      <a:pt x="1" y="0"/>
                    </a:lnTo>
                    <a:lnTo>
                      <a:pt x="0" y="4"/>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4" name="Freeform 110">
                <a:extLst>
                  <a:ext uri="{FF2B5EF4-FFF2-40B4-BE49-F238E27FC236}">
                    <a16:creationId xmlns:a16="http://schemas.microsoft.com/office/drawing/2014/main" id="{99600106-7BC6-49C7-B50E-5975D0B6046F}"/>
                  </a:ext>
                </a:extLst>
              </p:cNvPr>
              <p:cNvSpPr>
                <a:spLocks/>
              </p:cNvSpPr>
              <p:nvPr/>
            </p:nvSpPr>
            <p:spPr bwMode="auto">
              <a:xfrm>
                <a:off x="4371" y="1365"/>
                <a:ext cx="18" cy="5"/>
              </a:xfrm>
              <a:custGeom>
                <a:avLst/>
                <a:gdLst>
                  <a:gd name="T0" fmla="*/ 7 w 18"/>
                  <a:gd name="T1" fmla="*/ 3 h 5"/>
                  <a:gd name="T2" fmla="*/ 6 w 18"/>
                  <a:gd name="T3" fmla="*/ 4 h 5"/>
                  <a:gd name="T4" fmla="*/ 2 w 18"/>
                  <a:gd name="T5" fmla="*/ 3 h 5"/>
                  <a:gd name="T6" fmla="*/ 0 w 18"/>
                  <a:gd name="T7" fmla="*/ 4 h 5"/>
                  <a:gd name="T8" fmla="*/ 3 w 18"/>
                  <a:gd name="T9" fmla="*/ 5 h 5"/>
                  <a:gd name="T10" fmla="*/ 15 w 18"/>
                  <a:gd name="T11" fmla="*/ 5 h 5"/>
                  <a:gd name="T12" fmla="*/ 18 w 18"/>
                  <a:gd name="T13" fmla="*/ 5 h 5"/>
                  <a:gd name="T14" fmla="*/ 15 w 18"/>
                  <a:gd name="T15" fmla="*/ 3 h 5"/>
                  <a:gd name="T16" fmla="*/ 15 w 18"/>
                  <a:gd name="T17" fmla="*/ 2 h 5"/>
                  <a:gd name="T18" fmla="*/ 12 w 18"/>
                  <a:gd name="T19" fmla="*/ 0 h 5"/>
                  <a:gd name="T20" fmla="*/ 9 w 18"/>
                  <a:gd name="T21" fmla="*/ 2 h 5"/>
                  <a:gd name="T22" fmla="*/ 7 w 18"/>
                  <a:gd name="T23" fmla="*/ 3 h 5"/>
                  <a:gd name="T24" fmla="*/ 7 w 18"/>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5">
                    <a:moveTo>
                      <a:pt x="7" y="3"/>
                    </a:moveTo>
                    <a:lnTo>
                      <a:pt x="6" y="4"/>
                    </a:lnTo>
                    <a:lnTo>
                      <a:pt x="2" y="3"/>
                    </a:lnTo>
                    <a:lnTo>
                      <a:pt x="0" y="4"/>
                    </a:lnTo>
                    <a:lnTo>
                      <a:pt x="3" y="5"/>
                    </a:lnTo>
                    <a:lnTo>
                      <a:pt x="15" y="5"/>
                    </a:lnTo>
                    <a:lnTo>
                      <a:pt x="18" y="5"/>
                    </a:lnTo>
                    <a:lnTo>
                      <a:pt x="15" y="3"/>
                    </a:lnTo>
                    <a:lnTo>
                      <a:pt x="15" y="2"/>
                    </a:lnTo>
                    <a:lnTo>
                      <a:pt x="12" y="0"/>
                    </a:lnTo>
                    <a:lnTo>
                      <a:pt x="9" y="2"/>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5" name="Freeform 111">
                <a:extLst>
                  <a:ext uri="{FF2B5EF4-FFF2-40B4-BE49-F238E27FC236}">
                    <a16:creationId xmlns:a16="http://schemas.microsoft.com/office/drawing/2014/main" id="{ABEA6274-FBB3-4F3E-A4B9-534662087E9E}"/>
                  </a:ext>
                </a:extLst>
              </p:cNvPr>
              <p:cNvSpPr>
                <a:spLocks/>
              </p:cNvSpPr>
              <p:nvPr/>
            </p:nvSpPr>
            <p:spPr bwMode="auto">
              <a:xfrm>
                <a:off x="4374" y="1332"/>
                <a:ext cx="8" cy="4"/>
              </a:xfrm>
              <a:custGeom>
                <a:avLst/>
                <a:gdLst>
                  <a:gd name="T0" fmla="*/ 2 w 8"/>
                  <a:gd name="T1" fmla="*/ 3 h 4"/>
                  <a:gd name="T2" fmla="*/ 0 w 8"/>
                  <a:gd name="T3" fmla="*/ 4 h 4"/>
                  <a:gd name="T4" fmla="*/ 6 w 8"/>
                  <a:gd name="T5" fmla="*/ 2 h 4"/>
                  <a:gd name="T6" fmla="*/ 8 w 8"/>
                  <a:gd name="T7" fmla="*/ 1 h 4"/>
                  <a:gd name="T8" fmla="*/ 6 w 8"/>
                  <a:gd name="T9" fmla="*/ 0 h 4"/>
                  <a:gd name="T10" fmla="*/ 4 w 8"/>
                  <a:gd name="T11" fmla="*/ 0 h 4"/>
                  <a:gd name="T12" fmla="*/ 0 w 8"/>
                  <a:gd name="T13" fmla="*/ 1 h 4"/>
                  <a:gd name="T14" fmla="*/ 2 w 8"/>
                  <a:gd name="T15" fmla="*/ 3 h 4"/>
                  <a:gd name="T16" fmla="*/ 2 w 8"/>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2" y="3"/>
                    </a:moveTo>
                    <a:lnTo>
                      <a:pt x="0" y="4"/>
                    </a:lnTo>
                    <a:lnTo>
                      <a:pt x="6" y="2"/>
                    </a:lnTo>
                    <a:lnTo>
                      <a:pt x="8" y="1"/>
                    </a:lnTo>
                    <a:lnTo>
                      <a:pt x="6" y="0"/>
                    </a:lnTo>
                    <a:lnTo>
                      <a:pt x="4" y="0"/>
                    </a:lnTo>
                    <a:lnTo>
                      <a:pt x="0" y="1"/>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6" name="Freeform 112">
                <a:extLst>
                  <a:ext uri="{FF2B5EF4-FFF2-40B4-BE49-F238E27FC236}">
                    <a16:creationId xmlns:a16="http://schemas.microsoft.com/office/drawing/2014/main" id="{C7E71EBB-725C-4D5A-A786-F3F55B274BB8}"/>
                  </a:ext>
                </a:extLst>
              </p:cNvPr>
              <p:cNvSpPr>
                <a:spLocks/>
              </p:cNvSpPr>
              <p:nvPr/>
            </p:nvSpPr>
            <p:spPr bwMode="auto">
              <a:xfrm>
                <a:off x="4389" y="1458"/>
                <a:ext cx="239" cy="172"/>
              </a:xfrm>
              <a:custGeom>
                <a:avLst/>
                <a:gdLst>
                  <a:gd name="T0" fmla="*/ 24 w 239"/>
                  <a:gd name="T1" fmla="*/ 111 h 172"/>
                  <a:gd name="T2" fmla="*/ 14 w 239"/>
                  <a:gd name="T3" fmla="*/ 117 h 172"/>
                  <a:gd name="T4" fmla="*/ 23 w 239"/>
                  <a:gd name="T5" fmla="*/ 121 h 172"/>
                  <a:gd name="T6" fmla="*/ 14 w 239"/>
                  <a:gd name="T7" fmla="*/ 131 h 172"/>
                  <a:gd name="T8" fmla="*/ 2 w 239"/>
                  <a:gd name="T9" fmla="*/ 134 h 172"/>
                  <a:gd name="T10" fmla="*/ 5 w 239"/>
                  <a:gd name="T11" fmla="*/ 149 h 172"/>
                  <a:gd name="T12" fmla="*/ 21 w 239"/>
                  <a:gd name="T13" fmla="*/ 150 h 172"/>
                  <a:gd name="T14" fmla="*/ 33 w 239"/>
                  <a:gd name="T15" fmla="*/ 150 h 172"/>
                  <a:gd name="T16" fmla="*/ 38 w 239"/>
                  <a:gd name="T17" fmla="*/ 158 h 172"/>
                  <a:gd name="T18" fmla="*/ 26 w 239"/>
                  <a:gd name="T19" fmla="*/ 165 h 172"/>
                  <a:gd name="T20" fmla="*/ 40 w 239"/>
                  <a:gd name="T21" fmla="*/ 167 h 172"/>
                  <a:gd name="T22" fmla="*/ 52 w 239"/>
                  <a:gd name="T23" fmla="*/ 172 h 172"/>
                  <a:gd name="T24" fmla="*/ 60 w 239"/>
                  <a:gd name="T25" fmla="*/ 168 h 172"/>
                  <a:gd name="T26" fmla="*/ 69 w 239"/>
                  <a:gd name="T27" fmla="*/ 167 h 172"/>
                  <a:gd name="T28" fmla="*/ 77 w 239"/>
                  <a:gd name="T29" fmla="*/ 169 h 172"/>
                  <a:gd name="T30" fmla="*/ 65 w 239"/>
                  <a:gd name="T31" fmla="*/ 155 h 172"/>
                  <a:gd name="T32" fmla="*/ 55 w 239"/>
                  <a:gd name="T33" fmla="*/ 135 h 172"/>
                  <a:gd name="T34" fmla="*/ 51 w 239"/>
                  <a:gd name="T35" fmla="*/ 124 h 172"/>
                  <a:gd name="T36" fmla="*/ 60 w 239"/>
                  <a:gd name="T37" fmla="*/ 116 h 172"/>
                  <a:gd name="T38" fmla="*/ 65 w 239"/>
                  <a:gd name="T39" fmla="*/ 111 h 172"/>
                  <a:gd name="T40" fmla="*/ 61 w 239"/>
                  <a:gd name="T41" fmla="*/ 108 h 172"/>
                  <a:gd name="T42" fmla="*/ 59 w 239"/>
                  <a:gd name="T43" fmla="*/ 101 h 172"/>
                  <a:gd name="T44" fmla="*/ 47 w 239"/>
                  <a:gd name="T45" fmla="*/ 98 h 172"/>
                  <a:gd name="T46" fmla="*/ 64 w 239"/>
                  <a:gd name="T47" fmla="*/ 99 h 172"/>
                  <a:gd name="T48" fmla="*/ 78 w 239"/>
                  <a:gd name="T49" fmla="*/ 99 h 172"/>
                  <a:gd name="T50" fmla="*/ 79 w 239"/>
                  <a:gd name="T51" fmla="*/ 95 h 172"/>
                  <a:gd name="T52" fmla="*/ 70 w 239"/>
                  <a:gd name="T53" fmla="*/ 87 h 172"/>
                  <a:gd name="T54" fmla="*/ 87 w 239"/>
                  <a:gd name="T55" fmla="*/ 84 h 172"/>
                  <a:gd name="T56" fmla="*/ 88 w 239"/>
                  <a:gd name="T57" fmla="*/ 83 h 172"/>
                  <a:gd name="T58" fmla="*/ 100 w 239"/>
                  <a:gd name="T59" fmla="*/ 77 h 172"/>
                  <a:gd name="T60" fmla="*/ 105 w 239"/>
                  <a:gd name="T61" fmla="*/ 70 h 172"/>
                  <a:gd name="T62" fmla="*/ 115 w 239"/>
                  <a:gd name="T63" fmla="*/ 64 h 172"/>
                  <a:gd name="T64" fmla="*/ 122 w 239"/>
                  <a:gd name="T65" fmla="*/ 61 h 172"/>
                  <a:gd name="T66" fmla="*/ 117 w 239"/>
                  <a:gd name="T67" fmla="*/ 56 h 172"/>
                  <a:gd name="T68" fmla="*/ 136 w 239"/>
                  <a:gd name="T69" fmla="*/ 49 h 172"/>
                  <a:gd name="T70" fmla="*/ 155 w 239"/>
                  <a:gd name="T71" fmla="*/ 41 h 172"/>
                  <a:gd name="T72" fmla="*/ 170 w 239"/>
                  <a:gd name="T73" fmla="*/ 38 h 172"/>
                  <a:gd name="T74" fmla="*/ 201 w 239"/>
                  <a:gd name="T75" fmla="*/ 30 h 172"/>
                  <a:gd name="T76" fmla="*/ 220 w 239"/>
                  <a:gd name="T77" fmla="*/ 23 h 172"/>
                  <a:gd name="T78" fmla="*/ 237 w 239"/>
                  <a:gd name="T79" fmla="*/ 14 h 172"/>
                  <a:gd name="T80" fmla="*/ 232 w 239"/>
                  <a:gd name="T81" fmla="*/ 2 h 172"/>
                  <a:gd name="T82" fmla="*/ 209 w 239"/>
                  <a:gd name="T83" fmla="*/ 3 h 172"/>
                  <a:gd name="T84" fmla="*/ 190 w 239"/>
                  <a:gd name="T85" fmla="*/ 14 h 172"/>
                  <a:gd name="T86" fmla="*/ 168 w 239"/>
                  <a:gd name="T87" fmla="*/ 19 h 172"/>
                  <a:gd name="T88" fmla="*/ 149 w 239"/>
                  <a:gd name="T89" fmla="*/ 21 h 172"/>
                  <a:gd name="T90" fmla="*/ 132 w 239"/>
                  <a:gd name="T91" fmla="*/ 27 h 172"/>
                  <a:gd name="T92" fmla="*/ 120 w 239"/>
                  <a:gd name="T93" fmla="*/ 29 h 172"/>
                  <a:gd name="T94" fmla="*/ 103 w 239"/>
                  <a:gd name="T95" fmla="*/ 32 h 172"/>
                  <a:gd name="T96" fmla="*/ 85 w 239"/>
                  <a:gd name="T97" fmla="*/ 41 h 172"/>
                  <a:gd name="T98" fmla="*/ 74 w 239"/>
                  <a:gd name="T99" fmla="*/ 47 h 172"/>
                  <a:gd name="T100" fmla="*/ 61 w 239"/>
                  <a:gd name="T101" fmla="*/ 52 h 172"/>
                  <a:gd name="T102" fmla="*/ 72 w 239"/>
                  <a:gd name="T103" fmla="*/ 57 h 172"/>
                  <a:gd name="T104" fmla="*/ 72 w 239"/>
                  <a:gd name="T105" fmla="*/ 65 h 172"/>
                  <a:gd name="T106" fmla="*/ 56 w 239"/>
                  <a:gd name="T107" fmla="*/ 69 h 172"/>
                  <a:gd name="T108" fmla="*/ 52 w 239"/>
                  <a:gd name="T109" fmla="*/ 74 h 172"/>
                  <a:gd name="T110" fmla="*/ 56 w 239"/>
                  <a:gd name="T111" fmla="*/ 78 h 172"/>
                  <a:gd name="T112" fmla="*/ 42 w 239"/>
                  <a:gd name="T113" fmla="*/ 84 h 172"/>
                  <a:gd name="T114" fmla="*/ 33 w 239"/>
                  <a:gd name="T115" fmla="*/ 92 h 172"/>
                  <a:gd name="T116" fmla="*/ 48 w 239"/>
                  <a:gd name="T117" fmla="*/ 91 h 172"/>
                  <a:gd name="T118" fmla="*/ 39 w 239"/>
                  <a:gd name="T119" fmla="*/ 101 h 172"/>
                  <a:gd name="T120" fmla="*/ 28 w 239"/>
                  <a:gd name="T121" fmla="*/ 10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172">
                    <a:moveTo>
                      <a:pt x="26" y="104"/>
                    </a:moveTo>
                    <a:lnTo>
                      <a:pt x="25" y="105"/>
                    </a:lnTo>
                    <a:lnTo>
                      <a:pt x="24" y="108"/>
                    </a:lnTo>
                    <a:lnTo>
                      <a:pt x="26" y="109"/>
                    </a:lnTo>
                    <a:lnTo>
                      <a:pt x="24" y="111"/>
                    </a:lnTo>
                    <a:lnTo>
                      <a:pt x="26" y="113"/>
                    </a:lnTo>
                    <a:lnTo>
                      <a:pt x="21" y="112"/>
                    </a:lnTo>
                    <a:lnTo>
                      <a:pt x="17" y="113"/>
                    </a:lnTo>
                    <a:lnTo>
                      <a:pt x="15" y="115"/>
                    </a:lnTo>
                    <a:lnTo>
                      <a:pt x="14" y="117"/>
                    </a:lnTo>
                    <a:lnTo>
                      <a:pt x="17" y="118"/>
                    </a:lnTo>
                    <a:lnTo>
                      <a:pt x="19" y="118"/>
                    </a:lnTo>
                    <a:lnTo>
                      <a:pt x="23" y="118"/>
                    </a:lnTo>
                    <a:lnTo>
                      <a:pt x="19" y="121"/>
                    </a:lnTo>
                    <a:lnTo>
                      <a:pt x="23" y="121"/>
                    </a:lnTo>
                    <a:lnTo>
                      <a:pt x="17" y="124"/>
                    </a:lnTo>
                    <a:lnTo>
                      <a:pt x="19" y="126"/>
                    </a:lnTo>
                    <a:lnTo>
                      <a:pt x="16" y="128"/>
                    </a:lnTo>
                    <a:lnTo>
                      <a:pt x="14" y="129"/>
                    </a:lnTo>
                    <a:lnTo>
                      <a:pt x="14" y="131"/>
                    </a:lnTo>
                    <a:lnTo>
                      <a:pt x="13" y="134"/>
                    </a:lnTo>
                    <a:lnTo>
                      <a:pt x="10" y="132"/>
                    </a:lnTo>
                    <a:lnTo>
                      <a:pt x="7" y="133"/>
                    </a:lnTo>
                    <a:lnTo>
                      <a:pt x="5" y="132"/>
                    </a:lnTo>
                    <a:lnTo>
                      <a:pt x="2" y="134"/>
                    </a:lnTo>
                    <a:lnTo>
                      <a:pt x="0" y="137"/>
                    </a:lnTo>
                    <a:lnTo>
                      <a:pt x="0" y="139"/>
                    </a:lnTo>
                    <a:lnTo>
                      <a:pt x="0" y="142"/>
                    </a:lnTo>
                    <a:lnTo>
                      <a:pt x="2" y="148"/>
                    </a:lnTo>
                    <a:lnTo>
                      <a:pt x="5" y="149"/>
                    </a:lnTo>
                    <a:lnTo>
                      <a:pt x="8" y="149"/>
                    </a:lnTo>
                    <a:lnTo>
                      <a:pt x="10" y="147"/>
                    </a:lnTo>
                    <a:lnTo>
                      <a:pt x="17" y="147"/>
                    </a:lnTo>
                    <a:lnTo>
                      <a:pt x="18" y="150"/>
                    </a:lnTo>
                    <a:lnTo>
                      <a:pt x="21" y="150"/>
                    </a:lnTo>
                    <a:lnTo>
                      <a:pt x="26" y="148"/>
                    </a:lnTo>
                    <a:lnTo>
                      <a:pt x="26" y="151"/>
                    </a:lnTo>
                    <a:lnTo>
                      <a:pt x="28" y="154"/>
                    </a:lnTo>
                    <a:lnTo>
                      <a:pt x="31" y="151"/>
                    </a:lnTo>
                    <a:lnTo>
                      <a:pt x="33" y="150"/>
                    </a:lnTo>
                    <a:lnTo>
                      <a:pt x="31" y="152"/>
                    </a:lnTo>
                    <a:lnTo>
                      <a:pt x="27" y="155"/>
                    </a:lnTo>
                    <a:lnTo>
                      <a:pt x="31" y="156"/>
                    </a:lnTo>
                    <a:lnTo>
                      <a:pt x="36" y="156"/>
                    </a:lnTo>
                    <a:lnTo>
                      <a:pt x="38" y="158"/>
                    </a:lnTo>
                    <a:lnTo>
                      <a:pt x="34" y="157"/>
                    </a:lnTo>
                    <a:lnTo>
                      <a:pt x="28" y="160"/>
                    </a:lnTo>
                    <a:lnTo>
                      <a:pt x="32" y="163"/>
                    </a:lnTo>
                    <a:lnTo>
                      <a:pt x="28" y="164"/>
                    </a:lnTo>
                    <a:lnTo>
                      <a:pt x="26" y="165"/>
                    </a:lnTo>
                    <a:lnTo>
                      <a:pt x="28" y="165"/>
                    </a:lnTo>
                    <a:lnTo>
                      <a:pt x="32" y="166"/>
                    </a:lnTo>
                    <a:lnTo>
                      <a:pt x="34" y="166"/>
                    </a:lnTo>
                    <a:lnTo>
                      <a:pt x="38" y="167"/>
                    </a:lnTo>
                    <a:lnTo>
                      <a:pt x="40" y="167"/>
                    </a:lnTo>
                    <a:lnTo>
                      <a:pt x="43" y="169"/>
                    </a:lnTo>
                    <a:lnTo>
                      <a:pt x="45" y="169"/>
                    </a:lnTo>
                    <a:lnTo>
                      <a:pt x="43" y="166"/>
                    </a:lnTo>
                    <a:lnTo>
                      <a:pt x="47" y="169"/>
                    </a:lnTo>
                    <a:lnTo>
                      <a:pt x="52" y="172"/>
                    </a:lnTo>
                    <a:lnTo>
                      <a:pt x="52" y="169"/>
                    </a:lnTo>
                    <a:lnTo>
                      <a:pt x="56" y="167"/>
                    </a:lnTo>
                    <a:lnTo>
                      <a:pt x="58" y="171"/>
                    </a:lnTo>
                    <a:lnTo>
                      <a:pt x="64" y="172"/>
                    </a:lnTo>
                    <a:lnTo>
                      <a:pt x="60" y="168"/>
                    </a:lnTo>
                    <a:lnTo>
                      <a:pt x="66" y="171"/>
                    </a:lnTo>
                    <a:lnTo>
                      <a:pt x="69" y="172"/>
                    </a:lnTo>
                    <a:lnTo>
                      <a:pt x="72" y="171"/>
                    </a:lnTo>
                    <a:lnTo>
                      <a:pt x="66" y="167"/>
                    </a:lnTo>
                    <a:lnTo>
                      <a:pt x="69" y="167"/>
                    </a:lnTo>
                    <a:lnTo>
                      <a:pt x="72" y="169"/>
                    </a:lnTo>
                    <a:lnTo>
                      <a:pt x="74" y="171"/>
                    </a:lnTo>
                    <a:lnTo>
                      <a:pt x="79" y="172"/>
                    </a:lnTo>
                    <a:lnTo>
                      <a:pt x="74" y="169"/>
                    </a:lnTo>
                    <a:lnTo>
                      <a:pt x="77" y="169"/>
                    </a:lnTo>
                    <a:lnTo>
                      <a:pt x="81" y="171"/>
                    </a:lnTo>
                    <a:lnTo>
                      <a:pt x="83" y="169"/>
                    </a:lnTo>
                    <a:lnTo>
                      <a:pt x="84" y="167"/>
                    </a:lnTo>
                    <a:lnTo>
                      <a:pt x="75" y="164"/>
                    </a:lnTo>
                    <a:lnTo>
                      <a:pt x="65" y="155"/>
                    </a:lnTo>
                    <a:lnTo>
                      <a:pt x="62" y="152"/>
                    </a:lnTo>
                    <a:lnTo>
                      <a:pt x="59" y="147"/>
                    </a:lnTo>
                    <a:lnTo>
                      <a:pt x="56" y="141"/>
                    </a:lnTo>
                    <a:lnTo>
                      <a:pt x="56" y="138"/>
                    </a:lnTo>
                    <a:lnTo>
                      <a:pt x="55" y="135"/>
                    </a:lnTo>
                    <a:lnTo>
                      <a:pt x="55" y="133"/>
                    </a:lnTo>
                    <a:lnTo>
                      <a:pt x="57" y="130"/>
                    </a:lnTo>
                    <a:lnTo>
                      <a:pt x="55" y="128"/>
                    </a:lnTo>
                    <a:lnTo>
                      <a:pt x="53" y="124"/>
                    </a:lnTo>
                    <a:lnTo>
                      <a:pt x="51" y="124"/>
                    </a:lnTo>
                    <a:lnTo>
                      <a:pt x="57" y="123"/>
                    </a:lnTo>
                    <a:lnTo>
                      <a:pt x="55" y="121"/>
                    </a:lnTo>
                    <a:lnTo>
                      <a:pt x="58" y="121"/>
                    </a:lnTo>
                    <a:lnTo>
                      <a:pt x="58" y="117"/>
                    </a:lnTo>
                    <a:lnTo>
                      <a:pt x="60" y="116"/>
                    </a:lnTo>
                    <a:lnTo>
                      <a:pt x="55" y="115"/>
                    </a:lnTo>
                    <a:lnTo>
                      <a:pt x="60" y="115"/>
                    </a:lnTo>
                    <a:lnTo>
                      <a:pt x="62" y="116"/>
                    </a:lnTo>
                    <a:lnTo>
                      <a:pt x="66" y="114"/>
                    </a:lnTo>
                    <a:lnTo>
                      <a:pt x="65" y="111"/>
                    </a:lnTo>
                    <a:lnTo>
                      <a:pt x="62" y="112"/>
                    </a:lnTo>
                    <a:lnTo>
                      <a:pt x="59" y="111"/>
                    </a:lnTo>
                    <a:lnTo>
                      <a:pt x="65" y="109"/>
                    </a:lnTo>
                    <a:lnTo>
                      <a:pt x="67" y="108"/>
                    </a:lnTo>
                    <a:lnTo>
                      <a:pt x="61" y="108"/>
                    </a:lnTo>
                    <a:lnTo>
                      <a:pt x="67" y="107"/>
                    </a:lnTo>
                    <a:lnTo>
                      <a:pt x="70" y="106"/>
                    </a:lnTo>
                    <a:lnTo>
                      <a:pt x="67" y="104"/>
                    </a:lnTo>
                    <a:lnTo>
                      <a:pt x="62" y="103"/>
                    </a:lnTo>
                    <a:lnTo>
                      <a:pt x="59" y="101"/>
                    </a:lnTo>
                    <a:lnTo>
                      <a:pt x="53" y="101"/>
                    </a:lnTo>
                    <a:lnTo>
                      <a:pt x="51" y="99"/>
                    </a:lnTo>
                    <a:lnTo>
                      <a:pt x="48" y="99"/>
                    </a:lnTo>
                    <a:lnTo>
                      <a:pt x="43" y="100"/>
                    </a:lnTo>
                    <a:lnTo>
                      <a:pt x="47" y="98"/>
                    </a:lnTo>
                    <a:lnTo>
                      <a:pt x="49" y="98"/>
                    </a:lnTo>
                    <a:lnTo>
                      <a:pt x="55" y="100"/>
                    </a:lnTo>
                    <a:lnTo>
                      <a:pt x="58" y="100"/>
                    </a:lnTo>
                    <a:lnTo>
                      <a:pt x="60" y="101"/>
                    </a:lnTo>
                    <a:lnTo>
                      <a:pt x="64" y="99"/>
                    </a:lnTo>
                    <a:lnTo>
                      <a:pt x="65" y="103"/>
                    </a:lnTo>
                    <a:lnTo>
                      <a:pt x="73" y="103"/>
                    </a:lnTo>
                    <a:lnTo>
                      <a:pt x="73" y="100"/>
                    </a:lnTo>
                    <a:lnTo>
                      <a:pt x="76" y="100"/>
                    </a:lnTo>
                    <a:lnTo>
                      <a:pt x="78" y="99"/>
                    </a:lnTo>
                    <a:lnTo>
                      <a:pt x="78" y="96"/>
                    </a:lnTo>
                    <a:lnTo>
                      <a:pt x="76" y="95"/>
                    </a:lnTo>
                    <a:lnTo>
                      <a:pt x="74" y="92"/>
                    </a:lnTo>
                    <a:lnTo>
                      <a:pt x="76" y="95"/>
                    </a:lnTo>
                    <a:lnTo>
                      <a:pt x="79" y="95"/>
                    </a:lnTo>
                    <a:lnTo>
                      <a:pt x="82" y="95"/>
                    </a:lnTo>
                    <a:lnTo>
                      <a:pt x="85" y="92"/>
                    </a:lnTo>
                    <a:lnTo>
                      <a:pt x="83" y="89"/>
                    </a:lnTo>
                    <a:lnTo>
                      <a:pt x="79" y="88"/>
                    </a:lnTo>
                    <a:lnTo>
                      <a:pt x="70" y="87"/>
                    </a:lnTo>
                    <a:lnTo>
                      <a:pt x="82" y="88"/>
                    </a:lnTo>
                    <a:lnTo>
                      <a:pt x="85" y="90"/>
                    </a:lnTo>
                    <a:lnTo>
                      <a:pt x="87" y="90"/>
                    </a:lnTo>
                    <a:lnTo>
                      <a:pt x="88" y="87"/>
                    </a:lnTo>
                    <a:lnTo>
                      <a:pt x="87" y="84"/>
                    </a:lnTo>
                    <a:lnTo>
                      <a:pt x="84" y="82"/>
                    </a:lnTo>
                    <a:lnTo>
                      <a:pt x="82" y="81"/>
                    </a:lnTo>
                    <a:lnTo>
                      <a:pt x="84" y="79"/>
                    </a:lnTo>
                    <a:lnTo>
                      <a:pt x="86" y="82"/>
                    </a:lnTo>
                    <a:lnTo>
                      <a:pt x="88" y="83"/>
                    </a:lnTo>
                    <a:lnTo>
                      <a:pt x="92" y="81"/>
                    </a:lnTo>
                    <a:lnTo>
                      <a:pt x="94" y="81"/>
                    </a:lnTo>
                    <a:lnTo>
                      <a:pt x="96" y="80"/>
                    </a:lnTo>
                    <a:lnTo>
                      <a:pt x="94" y="79"/>
                    </a:lnTo>
                    <a:lnTo>
                      <a:pt x="100" y="77"/>
                    </a:lnTo>
                    <a:lnTo>
                      <a:pt x="96" y="71"/>
                    </a:lnTo>
                    <a:lnTo>
                      <a:pt x="94" y="69"/>
                    </a:lnTo>
                    <a:lnTo>
                      <a:pt x="100" y="70"/>
                    </a:lnTo>
                    <a:lnTo>
                      <a:pt x="103" y="71"/>
                    </a:lnTo>
                    <a:lnTo>
                      <a:pt x="105" y="70"/>
                    </a:lnTo>
                    <a:lnTo>
                      <a:pt x="107" y="66"/>
                    </a:lnTo>
                    <a:lnTo>
                      <a:pt x="107" y="64"/>
                    </a:lnTo>
                    <a:lnTo>
                      <a:pt x="112" y="68"/>
                    </a:lnTo>
                    <a:lnTo>
                      <a:pt x="115" y="66"/>
                    </a:lnTo>
                    <a:lnTo>
                      <a:pt x="115" y="64"/>
                    </a:lnTo>
                    <a:lnTo>
                      <a:pt x="111" y="62"/>
                    </a:lnTo>
                    <a:lnTo>
                      <a:pt x="115" y="63"/>
                    </a:lnTo>
                    <a:lnTo>
                      <a:pt x="117" y="64"/>
                    </a:lnTo>
                    <a:lnTo>
                      <a:pt x="121" y="63"/>
                    </a:lnTo>
                    <a:lnTo>
                      <a:pt x="122" y="61"/>
                    </a:lnTo>
                    <a:lnTo>
                      <a:pt x="125" y="60"/>
                    </a:lnTo>
                    <a:lnTo>
                      <a:pt x="126" y="57"/>
                    </a:lnTo>
                    <a:lnTo>
                      <a:pt x="120" y="57"/>
                    </a:lnTo>
                    <a:lnTo>
                      <a:pt x="117" y="57"/>
                    </a:lnTo>
                    <a:lnTo>
                      <a:pt x="117" y="56"/>
                    </a:lnTo>
                    <a:lnTo>
                      <a:pt x="122" y="56"/>
                    </a:lnTo>
                    <a:lnTo>
                      <a:pt x="126" y="55"/>
                    </a:lnTo>
                    <a:lnTo>
                      <a:pt x="134" y="51"/>
                    </a:lnTo>
                    <a:lnTo>
                      <a:pt x="136" y="47"/>
                    </a:lnTo>
                    <a:lnTo>
                      <a:pt x="136" y="49"/>
                    </a:lnTo>
                    <a:lnTo>
                      <a:pt x="139" y="48"/>
                    </a:lnTo>
                    <a:lnTo>
                      <a:pt x="145" y="45"/>
                    </a:lnTo>
                    <a:lnTo>
                      <a:pt x="147" y="44"/>
                    </a:lnTo>
                    <a:lnTo>
                      <a:pt x="153" y="43"/>
                    </a:lnTo>
                    <a:lnTo>
                      <a:pt x="155" y="41"/>
                    </a:lnTo>
                    <a:lnTo>
                      <a:pt x="159" y="40"/>
                    </a:lnTo>
                    <a:lnTo>
                      <a:pt x="161" y="40"/>
                    </a:lnTo>
                    <a:lnTo>
                      <a:pt x="164" y="39"/>
                    </a:lnTo>
                    <a:lnTo>
                      <a:pt x="167" y="37"/>
                    </a:lnTo>
                    <a:lnTo>
                      <a:pt x="170" y="38"/>
                    </a:lnTo>
                    <a:lnTo>
                      <a:pt x="175" y="36"/>
                    </a:lnTo>
                    <a:lnTo>
                      <a:pt x="186" y="35"/>
                    </a:lnTo>
                    <a:lnTo>
                      <a:pt x="192" y="31"/>
                    </a:lnTo>
                    <a:lnTo>
                      <a:pt x="197" y="30"/>
                    </a:lnTo>
                    <a:lnTo>
                      <a:pt x="201" y="30"/>
                    </a:lnTo>
                    <a:lnTo>
                      <a:pt x="203" y="29"/>
                    </a:lnTo>
                    <a:lnTo>
                      <a:pt x="205" y="29"/>
                    </a:lnTo>
                    <a:lnTo>
                      <a:pt x="209" y="27"/>
                    </a:lnTo>
                    <a:lnTo>
                      <a:pt x="214" y="26"/>
                    </a:lnTo>
                    <a:lnTo>
                      <a:pt x="220" y="23"/>
                    </a:lnTo>
                    <a:lnTo>
                      <a:pt x="226" y="21"/>
                    </a:lnTo>
                    <a:lnTo>
                      <a:pt x="229" y="21"/>
                    </a:lnTo>
                    <a:lnTo>
                      <a:pt x="231" y="19"/>
                    </a:lnTo>
                    <a:lnTo>
                      <a:pt x="233" y="17"/>
                    </a:lnTo>
                    <a:lnTo>
                      <a:pt x="237" y="14"/>
                    </a:lnTo>
                    <a:lnTo>
                      <a:pt x="238" y="12"/>
                    </a:lnTo>
                    <a:lnTo>
                      <a:pt x="239" y="10"/>
                    </a:lnTo>
                    <a:lnTo>
                      <a:pt x="239" y="6"/>
                    </a:lnTo>
                    <a:lnTo>
                      <a:pt x="238" y="4"/>
                    </a:lnTo>
                    <a:lnTo>
                      <a:pt x="232" y="2"/>
                    </a:lnTo>
                    <a:lnTo>
                      <a:pt x="229" y="1"/>
                    </a:lnTo>
                    <a:lnTo>
                      <a:pt x="227" y="0"/>
                    </a:lnTo>
                    <a:lnTo>
                      <a:pt x="220" y="0"/>
                    </a:lnTo>
                    <a:lnTo>
                      <a:pt x="214" y="2"/>
                    </a:lnTo>
                    <a:lnTo>
                      <a:pt x="209" y="3"/>
                    </a:lnTo>
                    <a:lnTo>
                      <a:pt x="201" y="7"/>
                    </a:lnTo>
                    <a:lnTo>
                      <a:pt x="197" y="9"/>
                    </a:lnTo>
                    <a:lnTo>
                      <a:pt x="198" y="14"/>
                    </a:lnTo>
                    <a:lnTo>
                      <a:pt x="194" y="12"/>
                    </a:lnTo>
                    <a:lnTo>
                      <a:pt x="190" y="14"/>
                    </a:lnTo>
                    <a:lnTo>
                      <a:pt x="187" y="15"/>
                    </a:lnTo>
                    <a:lnTo>
                      <a:pt x="185" y="14"/>
                    </a:lnTo>
                    <a:lnTo>
                      <a:pt x="173" y="20"/>
                    </a:lnTo>
                    <a:lnTo>
                      <a:pt x="171" y="19"/>
                    </a:lnTo>
                    <a:lnTo>
                      <a:pt x="168" y="19"/>
                    </a:lnTo>
                    <a:lnTo>
                      <a:pt x="166" y="20"/>
                    </a:lnTo>
                    <a:lnTo>
                      <a:pt x="160" y="22"/>
                    </a:lnTo>
                    <a:lnTo>
                      <a:pt x="154" y="22"/>
                    </a:lnTo>
                    <a:lnTo>
                      <a:pt x="151" y="23"/>
                    </a:lnTo>
                    <a:lnTo>
                      <a:pt x="149" y="21"/>
                    </a:lnTo>
                    <a:lnTo>
                      <a:pt x="145" y="21"/>
                    </a:lnTo>
                    <a:lnTo>
                      <a:pt x="139" y="20"/>
                    </a:lnTo>
                    <a:lnTo>
                      <a:pt x="132" y="21"/>
                    </a:lnTo>
                    <a:lnTo>
                      <a:pt x="130" y="23"/>
                    </a:lnTo>
                    <a:lnTo>
                      <a:pt x="132" y="27"/>
                    </a:lnTo>
                    <a:lnTo>
                      <a:pt x="126" y="27"/>
                    </a:lnTo>
                    <a:lnTo>
                      <a:pt x="128" y="26"/>
                    </a:lnTo>
                    <a:lnTo>
                      <a:pt x="122" y="26"/>
                    </a:lnTo>
                    <a:lnTo>
                      <a:pt x="120" y="26"/>
                    </a:lnTo>
                    <a:lnTo>
                      <a:pt x="120" y="29"/>
                    </a:lnTo>
                    <a:lnTo>
                      <a:pt x="117" y="29"/>
                    </a:lnTo>
                    <a:lnTo>
                      <a:pt x="115" y="30"/>
                    </a:lnTo>
                    <a:lnTo>
                      <a:pt x="111" y="30"/>
                    </a:lnTo>
                    <a:lnTo>
                      <a:pt x="105" y="32"/>
                    </a:lnTo>
                    <a:lnTo>
                      <a:pt x="103" y="32"/>
                    </a:lnTo>
                    <a:lnTo>
                      <a:pt x="100" y="34"/>
                    </a:lnTo>
                    <a:lnTo>
                      <a:pt x="98" y="36"/>
                    </a:lnTo>
                    <a:lnTo>
                      <a:pt x="90" y="38"/>
                    </a:lnTo>
                    <a:lnTo>
                      <a:pt x="91" y="40"/>
                    </a:lnTo>
                    <a:lnTo>
                      <a:pt x="85" y="41"/>
                    </a:lnTo>
                    <a:lnTo>
                      <a:pt x="85" y="45"/>
                    </a:lnTo>
                    <a:lnTo>
                      <a:pt x="84" y="47"/>
                    </a:lnTo>
                    <a:lnTo>
                      <a:pt x="82" y="46"/>
                    </a:lnTo>
                    <a:lnTo>
                      <a:pt x="76" y="46"/>
                    </a:lnTo>
                    <a:lnTo>
                      <a:pt x="74" y="47"/>
                    </a:lnTo>
                    <a:lnTo>
                      <a:pt x="75" y="51"/>
                    </a:lnTo>
                    <a:lnTo>
                      <a:pt x="69" y="54"/>
                    </a:lnTo>
                    <a:lnTo>
                      <a:pt x="67" y="52"/>
                    </a:lnTo>
                    <a:lnTo>
                      <a:pt x="64" y="51"/>
                    </a:lnTo>
                    <a:lnTo>
                      <a:pt x="61" y="52"/>
                    </a:lnTo>
                    <a:lnTo>
                      <a:pt x="60" y="54"/>
                    </a:lnTo>
                    <a:lnTo>
                      <a:pt x="62" y="56"/>
                    </a:lnTo>
                    <a:lnTo>
                      <a:pt x="66" y="56"/>
                    </a:lnTo>
                    <a:lnTo>
                      <a:pt x="68" y="57"/>
                    </a:lnTo>
                    <a:lnTo>
                      <a:pt x="72" y="57"/>
                    </a:lnTo>
                    <a:lnTo>
                      <a:pt x="62" y="61"/>
                    </a:lnTo>
                    <a:lnTo>
                      <a:pt x="60" y="62"/>
                    </a:lnTo>
                    <a:lnTo>
                      <a:pt x="64" y="62"/>
                    </a:lnTo>
                    <a:lnTo>
                      <a:pt x="66" y="62"/>
                    </a:lnTo>
                    <a:lnTo>
                      <a:pt x="72" y="65"/>
                    </a:lnTo>
                    <a:lnTo>
                      <a:pt x="74" y="65"/>
                    </a:lnTo>
                    <a:lnTo>
                      <a:pt x="72" y="65"/>
                    </a:lnTo>
                    <a:lnTo>
                      <a:pt x="66" y="64"/>
                    </a:lnTo>
                    <a:lnTo>
                      <a:pt x="57" y="65"/>
                    </a:lnTo>
                    <a:lnTo>
                      <a:pt x="56" y="69"/>
                    </a:lnTo>
                    <a:lnTo>
                      <a:pt x="58" y="70"/>
                    </a:lnTo>
                    <a:lnTo>
                      <a:pt x="61" y="69"/>
                    </a:lnTo>
                    <a:lnTo>
                      <a:pt x="65" y="71"/>
                    </a:lnTo>
                    <a:lnTo>
                      <a:pt x="56" y="72"/>
                    </a:lnTo>
                    <a:lnTo>
                      <a:pt x="52" y="74"/>
                    </a:lnTo>
                    <a:lnTo>
                      <a:pt x="56" y="74"/>
                    </a:lnTo>
                    <a:lnTo>
                      <a:pt x="58" y="77"/>
                    </a:lnTo>
                    <a:lnTo>
                      <a:pt x="56" y="75"/>
                    </a:lnTo>
                    <a:lnTo>
                      <a:pt x="50" y="77"/>
                    </a:lnTo>
                    <a:lnTo>
                      <a:pt x="56" y="78"/>
                    </a:lnTo>
                    <a:lnTo>
                      <a:pt x="58" y="80"/>
                    </a:lnTo>
                    <a:lnTo>
                      <a:pt x="50" y="79"/>
                    </a:lnTo>
                    <a:lnTo>
                      <a:pt x="44" y="82"/>
                    </a:lnTo>
                    <a:lnTo>
                      <a:pt x="44" y="84"/>
                    </a:lnTo>
                    <a:lnTo>
                      <a:pt x="42" y="84"/>
                    </a:lnTo>
                    <a:lnTo>
                      <a:pt x="39" y="86"/>
                    </a:lnTo>
                    <a:lnTo>
                      <a:pt x="36" y="88"/>
                    </a:lnTo>
                    <a:lnTo>
                      <a:pt x="33" y="89"/>
                    </a:lnTo>
                    <a:lnTo>
                      <a:pt x="31" y="90"/>
                    </a:lnTo>
                    <a:lnTo>
                      <a:pt x="33" y="92"/>
                    </a:lnTo>
                    <a:lnTo>
                      <a:pt x="36" y="94"/>
                    </a:lnTo>
                    <a:lnTo>
                      <a:pt x="39" y="94"/>
                    </a:lnTo>
                    <a:lnTo>
                      <a:pt x="42" y="91"/>
                    </a:lnTo>
                    <a:lnTo>
                      <a:pt x="44" y="91"/>
                    </a:lnTo>
                    <a:lnTo>
                      <a:pt x="48" y="91"/>
                    </a:lnTo>
                    <a:lnTo>
                      <a:pt x="50" y="91"/>
                    </a:lnTo>
                    <a:lnTo>
                      <a:pt x="42" y="94"/>
                    </a:lnTo>
                    <a:lnTo>
                      <a:pt x="40" y="96"/>
                    </a:lnTo>
                    <a:lnTo>
                      <a:pt x="39" y="98"/>
                    </a:lnTo>
                    <a:lnTo>
                      <a:pt x="39" y="101"/>
                    </a:lnTo>
                    <a:lnTo>
                      <a:pt x="43" y="100"/>
                    </a:lnTo>
                    <a:lnTo>
                      <a:pt x="40" y="101"/>
                    </a:lnTo>
                    <a:lnTo>
                      <a:pt x="38" y="103"/>
                    </a:lnTo>
                    <a:lnTo>
                      <a:pt x="32" y="101"/>
                    </a:lnTo>
                    <a:lnTo>
                      <a:pt x="28" y="104"/>
                    </a:lnTo>
                    <a:lnTo>
                      <a:pt x="26"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7" name="Freeform 113">
                <a:extLst>
                  <a:ext uri="{FF2B5EF4-FFF2-40B4-BE49-F238E27FC236}">
                    <a16:creationId xmlns:a16="http://schemas.microsoft.com/office/drawing/2014/main" id="{85528C43-0005-431A-AB4E-0F28F26A438D}"/>
                  </a:ext>
                </a:extLst>
              </p:cNvPr>
              <p:cNvSpPr>
                <a:spLocks/>
              </p:cNvSpPr>
              <p:nvPr/>
            </p:nvSpPr>
            <p:spPr bwMode="auto">
              <a:xfrm>
                <a:off x="4402" y="1356"/>
                <a:ext cx="18" cy="6"/>
              </a:xfrm>
              <a:custGeom>
                <a:avLst/>
                <a:gdLst>
                  <a:gd name="T0" fmla="*/ 0 w 18"/>
                  <a:gd name="T1" fmla="*/ 5 h 6"/>
                  <a:gd name="T2" fmla="*/ 4 w 18"/>
                  <a:gd name="T3" fmla="*/ 6 h 6"/>
                  <a:gd name="T4" fmla="*/ 13 w 18"/>
                  <a:gd name="T5" fmla="*/ 6 h 6"/>
                  <a:gd name="T6" fmla="*/ 15 w 18"/>
                  <a:gd name="T7" fmla="*/ 6 h 6"/>
                  <a:gd name="T8" fmla="*/ 18 w 18"/>
                  <a:gd name="T9" fmla="*/ 3 h 6"/>
                  <a:gd name="T10" fmla="*/ 15 w 18"/>
                  <a:gd name="T11" fmla="*/ 2 h 6"/>
                  <a:gd name="T12" fmla="*/ 12 w 18"/>
                  <a:gd name="T13" fmla="*/ 0 h 6"/>
                  <a:gd name="T14" fmla="*/ 6 w 18"/>
                  <a:gd name="T15" fmla="*/ 0 h 6"/>
                  <a:gd name="T16" fmla="*/ 4 w 18"/>
                  <a:gd name="T17" fmla="*/ 2 h 6"/>
                  <a:gd name="T18" fmla="*/ 2 w 18"/>
                  <a:gd name="T19" fmla="*/ 3 h 6"/>
                  <a:gd name="T20" fmla="*/ 0 w 18"/>
                  <a:gd name="T21" fmla="*/ 5 h 6"/>
                  <a:gd name="T22" fmla="*/ 0 w 18"/>
                  <a:gd name="T2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6">
                    <a:moveTo>
                      <a:pt x="0" y="5"/>
                    </a:moveTo>
                    <a:lnTo>
                      <a:pt x="4" y="6"/>
                    </a:lnTo>
                    <a:lnTo>
                      <a:pt x="13" y="6"/>
                    </a:lnTo>
                    <a:lnTo>
                      <a:pt x="15" y="6"/>
                    </a:lnTo>
                    <a:lnTo>
                      <a:pt x="18" y="3"/>
                    </a:lnTo>
                    <a:lnTo>
                      <a:pt x="15" y="2"/>
                    </a:lnTo>
                    <a:lnTo>
                      <a:pt x="12" y="0"/>
                    </a:lnTo>
                    <a:lnTo>
                      <a:pt x="6" y="0"/>
                    </a:lnTo>
                    <a:lnTo>
                      <a:pt x="4" y="2"/>
                    </a:lnTo>
                    <a:lnTo>
                      <a:pt x="2" y="3"/>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8" name="Freeform 114">
                <a:extLst>
                  <a:ext uri="{FF2B5EF4-FFF2-40B4-BE49-F238E27FC236}">
                    <a16:creationId xmlns:a16="http://schemas.microsoft.com/office/drawing/2014/main" id="{EFF2A363-285C-497E-898A-64E3E6C78C5E}"/>
                  </a:ext>
                </a:extLst>
              </p:cNvPr>
              <p:cNvSpPr>
                <a:spLocks/>
              </p:cNvSpPr>
              <p:nvPr/>
            </p:nvSpPr>
            <p:spPr bwMode="auto">
              <a:xfrm>
                <a:off x="4422" y="1350"/>
                <a:ext cx="8" cy="5"/>
              </a:xfrm>
              <a:custGeom>
                <a:avLst/>
                <a:gdLst>
                  <a:gd name="T0" fmla="*/ 0 w 8"/>
                  <a:gd name="T1" fmla="*/ 2 h 5"/>
                  <a:gd name="T2" fmla="*/ 1 w 8"/>
                  <a:gd name="T3" fmla="*/ 3 h 5"/>
                  <a:gd name="T4" fmla="*/ 6 w 8"/>
                  <a:gd name="T5" fmla="*/ 5 h 5"/>
                  <a:gd name="T6" fmla="*/ 8 w 8"/>
                  <a:gd name="T7" fmla="*/ 2 h 5"/>
                  <a:gd name="T8" fmla="*/ 6 w 8"/>
                  <a:gd name="T9" fmla="*/ 0 h 5"/>
                  <a:gd name="T10" fmla="*/ 2 w 8"/>
                  <a:gd name="T11" fmla="*/ 0 h 5"/>
                  <a:gd name="T12" fmla="*/ 0 w 8"/>
                  <a:gd name="T13" fmla="*/ 0 h 5"/>
                  <a:gd name="T14" fmla="*/ 0 w 8"/>
                  <a:gd name="T15" fmla="*/ 2 h 5"/>
                  <a:gd name="T16" fmla="*/ 0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0" y="2"/>
                    </a:moveTo>
                    <a:lnTo>
                      <a:pt x="1" y="3"/>
                    </a:lnTo>
                    <a:lnTo>
                      <a:pt x="6" y="5"/>
                    </a:lnTo>
                    <a:lnTo>
                      <a:pt x="8" y="2"/>
                    </a:lnTo>
                    <a:lnTo>
                      <a:pt x="6" y="0"/>
                    </a:lnTo>
                    <a:lnTo>
                      <a:pt x="2"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9" name="Freeform 115">
                <a:extLst>
                  <a:ext uri="{FF2B5EF4-FFF2-40B4-BE49-F238E27FC236}">
                    <a16:creationId xmlns:a16="http://schemas.microsoft.com/office/drawing/2014/main" id="{5DCAC0DB-BCB9-4495-BE5E-2C8A836FD58C}"/>
                  </a:ext>
                </a:extLst>
              </p:cNvPr>
              <p:cNvSpPr>
                <a:spLocks/>
              </p:cNvSpPr>
              <p:nvPr/>
            </p:nvSpPr>
            <p:spPr bwMode="auto">
              <a:xfrm>
                <a:off x="4424" y="1340"/>
                <a:ext cx="27" cy="5"/>
              </a:xfrm>
              <a:custGeom>
                <a:avLst/>
                <a:gdLst>
                  <a:gd name="T0" fmla="*/ 0 w 27"/>
                  <a:gd name="T1" fmla="*/ 2 h 5"/>
                  <a:gd name="T2" fmla="*/ 1 w 27"/>
                  <a:gd name="T3" fmla="*/ 3 h 5"/>
                  <a:gd name="T4" fmla="*/ 7 w 27"/>
                  <a:gd name="T5" fmla="*/ 3 h 5"/>
                  <a:gd name="T6" fmla="*/ 10 w 27"/>
                  <a:gd name="T7" fmla="*/ 5 h 5"/>
                  <a:gd name="T8" fmla="*/ 13 w 27"/>
                  <a:gd name="T9" fmla="*/ 5 h 5"/>
                  <a:gd name="T10" fmla="*/ 18 w 27"/>
                  <a:gd name="T11" fmla="*/ 4 h 5"/>
                  <a:gd name="T12" fmla="*/ 24 w 27"/>
                  <a:gd name="T13" fmla="*/ 3 h 5"/>
                  <a:gd name="T14" fmla="*/ 27 w 27"/>
                  <a:gd name="T15" fmla="*/ 3 h 5"/>
                  <a:gd name="T16" fmla="*/ 15 w 27"/>
                  <a:gd name="T17" fmla="*/ 0 h 5"/>
                  <a:gd name="T18" fmla="*/ 13 w 27"/>
                  <a:gd name="T19" fmla="*/ 2 h 5"/>
                  <a:gd name="T20" fmla="*/ 9 w 27"/>
                  <a:gd name="T21" fmla="*/ 1 h 5"/>
                  <a:gd name="T22" fmla="*/ 7 w 27"/>
                  <a:gd name="T23" fmla="*/ 1 h 5"/>
                  <a:gd name="T24" fmla="*/ 4 w 27"/>
                  <a:gd name="T25" fmla="*/ 1 h 5"/>
                  <a:gd name="T26" fmla="*/ 0 w 27"/>
                  <a:gd name="T27" fmla="*/ 2 h 5"/>
                  <a:gd name="T28" fmla="*/ 0 w 27"/>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
                    <a:moveTo>
                      <a:pt x="0" y="2"/>
                    </a:moveTo>
                    <a:lnTo>
                      <a:pt x="1" y="3"/>
                    </a:lnTo>
                    <a:lnTo>
                      <a:pt x="7" y="3"/>
                    </a:lnTo>
                    <a:lnTo>
                      <a:pt x="10" y="5"/>
                    </a:lnTo>
                    <a:lnTo>
                      <a:pt x="13" y="5"/>
                    </a:lnTo>
                    <a:lnTo>
                      <a:pt x="18" y="4"/>
                    </a:lnTo>
                    <a:lnTo>
                      <a:pt x="24" y="3"/>
                    </a:lnTo>
                    <a:lnTo>
                      <a:pt x="27" y="3"/>
                    </a:lnTo>
                    <a:lnTo>
                      <a:pt x="15" y="0"/>
                    </a:lnTo>
                    <a:lnTo>
                      <a:pt x="13" y="2"/>
                    </a:lnTo>
                    <a:lnTo>
                      <a:pt x="9" y="1"/>
                    </a:lnTo>
                    <a:lnTo>
                      <a:pt x="7" y="1"/>
                    </a:lnTo>
                    <a:lnTo>
                      <a:pt x="4"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0" name="Freeform 116">
                <a:extLst>
                  <a:ext uri="{FF2B5EF4-FFF2-40B4-BE49-F238E27FC236}">
                    <a16:creationId xmlns:a16="http://schemas.microsoft.com/office/drawing/2014/main" id="{D7C91335-D64E-4F2D-8FEE-AC057332EE2C}"/>
                  </a:ext>
                </a:extLst>
              </p:cNvPr>
              <p:cNvSpPr>
                <a:spLocks/>
              </p:cNvSpPr>
              <p:nvPr/>
            </p:nvSpPr>
            <p:spPr bwMode="auto">
              <a:xfrm>
                <a:off x="4430" y="1333"/>
                <a:ext cx="43" cy="14"/>
              </a:xfrm>
              <a:custGeom>
                <a:avLst/>
                <a:gdLst>
                  <a:gd name="T0" fmla="*/ 0 w 43"/>
                  <a:gd name="T1" fmla="*/ 3 h 14"/>
                  <a:gd name="T2" fmla="*/ 0 w 43"/>
                  <a:gd name="T3" fmla="*/ 3 h 14"/>
                  <a:gd name="T4" fmla="*/ 9 w 43"/>
                  <a:gd name="T5" fmla="*/ 5 h 14"/>
                  <a:gd name="T6" fmla="*/ 11 w 43"/>
                  <a:gd name="T7" fmla="*/ 5 h 14"/>
                  <a:gd name="T8" fmla="*/ 15 w 43"/>
                  <a:gd name="T9" fmla="*/ 7 h 14"/>
                  <a:gd name="T10" fmla="*/ 17 w 43"/>
                  <a:gd name="T11" fmla="*/ 7 h 14"/>
                  <a:gd name="T12" fmla="*/ 20 w 43"/>
                  <a:gd name="T13" fmla="*/ 8 h 14"/>
                  <a:gd name="T14" fmla="*/ 28 w 43"/>
                  <a:gd name="T15" fmla="*/ 9 h 14"/>
                  <a:gd name="T16" fmla="*/ 37 w 43"/>
                  <a:gd name="T17" fmla="*/ 14 h 14"/>
                  <a:gd name="T18" fmla="*/ 43 w 43"/>
                  <a:gd name="T19" fmla="*/ 12 h 14"/>
                  <a:gd name="T20" fmla="*/ 43 w 43"/>
                  <a:gd name="T21" fmla="*/ 9 h 14"/>
                  <a:gd name="T22" fmla="*/ 33 w 43"/>
                  <a:gd name="T23" fmla="*/ 7 h 14"/>
                  <a:gd name="T24" fmla="*/ 29 w 43"/>
                  <a:gd name="T25" fmla="*/ 5 h 14"/>
                  <a:gd name="T26" fmla="*/ 24 w 43"/>
                  <a:gd name="T27" fmla="*/ 2 h 14"/>
                  <a:gd name="T28" fmla="*/ 17 w 43"/>
                  <a:gd name="T29" fmla="*/ 3 h 14"/>
                  <a:gd name="T30" fmla="*/ 15 w 43"/>
                  <a:gd name="T31" fmla="*/ 3 h 14"/>
                  <a:gd name="T32" fmla="*/ 11 w 43"/>
                  <a:gd name="T33" fmla="*/ 2 h 14"/>
                  <a:gd name="T34" fmla="*/ 2 w 43"/>
                  <a:gd name="T35" fmla="*/ 0 h 14"/>
                  <a:gd name="T36" fmla="*/ 0 w 43"/>
                  <a:gd name="T37" fmla="*/ 3 h 14"/>
                  <a:gd name="T38" fmla="*/ 0 w 43"/>
                  <a:gd name="T3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14">
                    <a:moveTo>
                      <a:pt x="0" y="3"/>
                    </a:moveTo>
                    <a:lnTo>
                      <a:pt x="0" y="3"/>
                    </a:lnTo>
                    <a:lnTo>
                      <a:pt x="9" y="5"/>
                    </a:lnTo>
                    <a:lnTo>
                      <a:pt x="11" y="5"/>
                    </a:lnTo>
                    <a:lnTo>
                      <a:pt x="15" y="7"/>
                    </a:lnTo>
                    <a:lnTo>
                      <a:pt x="17" y="7"/>
                    </a:lnTo>
                    <a:lnTo>
                      <a:pt x="20" y="8"/>
                    </a:lnTo>
                    <a:lnTo>
                      <a:pt x="28" y="9"/>
                    </a:lnTo>
                    <a:lnTo>
                      <a:pt x="37" y="14"/>
                    </a:lnTo>
                    <a:lnTo>
                      <a:pt x="43" y="12"/>
                    </a:lnTo>
                    <a:lnTo>
                      <a:pt x="43" y="9"/>
                    </a:lnTo>
                    <a:lnTo>
                      <a:pt x="33" y="7"/>
                    </a:lnTo>
                    <a:lnTo>
                      <a:pt x="29" y="5"/>
                    </a:lnTo>
                    <a:lnTo>
                      <a:pt x="24" y="2"/>
                    </a:lnTo>
                    <a:lnTo>
                      <a:pt x="17" y="3"/>
                    </a:lnTo>
                    <a:lnTo>
                      <a:pt x="15" y="3"/>
                    </a:lnTo>
                    <a:lnTo>
                      <a:pt x="11" y="2"/>
                    </a:lnTo>
                    <a:lnTo>
                      <a:pt x="2"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1" name="Freeform 117">
                <a:extLst>
                  <a:ext uri="{FF2B5EF4-FFF2-40B4-BE49-F238E27FC236}">
                    <a16:creationId xmlns:a16="http://schemas.microsoft.com/office/drawing/2014/main" id="{972FDF78-1932-4974-8D3E-3CFF12E77B86}"/>
                  </a:ext>
                </a:extLst>
              </p:cNvPr>
              <p:cNvSpPr>
                <a:spLocks/>
              </p:cNvSpPr>
              <p:nvPr/>
            </p:nvSpPr>
            <p:spPr bwMode="auto">
              <a:xfrm>
                <a:off x="4445" y="1343"/>
                <a:ext cx="19" cy="6"/>
              </a:xfrm>
              <a:custGeom>
                <a:avLst/>
                <a:gdLst>
                  <a:gd name="T0" fmla="*/ 0 w 19"/>
                  <a:gd name="T1" fmla="*/ 2 h 6"/>
                  <a:gd name="T2" fmla="*/ 1 w 19"/>
                  <a:gd name="T3" fmla="*/ 5 h 6"/>
                  <a:gd name="T4" fmla="*/ 4 w 19"/>
                  <a:gd name="T5" fmla="*/ 6 h 6"/>
                  <a:gd name="T6" fmla="*/ 8 w 19"/>
                  <a:gd name="T7" fmla="*/ 6 h 6"/>
                  <a:gd name="T8" fmla="*/ 10 w 19"/>
                  <a:gd name="T9" fmla="*/ 5 h 6"/>
                  <a:gd name="T10" fmla="*/ 17 w 19"/>
                  <a:gd name="T11" fmla="*/ 6 h 6"/>
                  <a:gd name="T12" fmla="*/ 19 w 19"/>
                  <a:gd name="T13" fmla="*/ 5 h 6"/>
                  <a:gd name="T14" fmla="*/ 17 w 19"/>
                  <a:gd name="T15" fmla="*/ 2 h 6"/>
                  <a:gd name="T16" fmla="*/ 14 w 19"/>
                  <a:gd name="T17" fmla="*/ 0 h 6"/>
                  <a:gd name="T18" fmla="*/ 5 w 19"/>
                  <a:gd name="T19" fmla="*/ 1 h 6"/>
                  <a:gd name="T20" fmla="*/ 2 w 19"/>
                  <a:gd name="T21" fmla="*/ 2 h 6"/>
                  <a:gd name="T22" fmla="*/ 0 w 19"/>
                  <a:gd name="T23" fmla="*/ 2 h 6"/>
                  <a:gd name="T24" fmla="*/ 0 w 19"/>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
                    <a:moveTo>
                      <a:pt x="0" y="2"/>
                    </a:moveTo>
                    <a:lnTo>
                      <a:pt x="1" y="5"/>
                    </a:lnTo>
                    <a:lnTo>
                      <a:pt x="4" y="6"/>
                    </a:lnTo>
                    <a:lnTo>
                      <a:pt x="8" y="6"/>
                    </a:lnTo>
                    <a:lnTo>
                      <a:pt x="10" y="5"/>
                    </a:lnTo>
                    <a:lnTo>
                      <a:pt x="17" y="6"/>
                    </a:lnTo>
                    <a:lnTo>
                      <a:pt x="19" y="5"/>
                    </a:lnTo>
                    <a:lnTo>
                      <a:pt x="17" y="2"/>
                    </a:lnTo>
                    <a:lnTo>
                      <a:pt x="14" y="0"/>
                    </a:lnTo>
                    <a:lnTo>
                      <a:pt x="5" y="1"/>
                    </a:lnTo>
                    <a:lnTo>
                      <a:pt x="2"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2" name="Freeform 118">
                <a:extLst>
                  <a:ext uri="{FF2B5EF4-FFF2-40B4-BE49-F238E27FC236}">
                    <a16:creationId xmlns:a16="http://schemas.microsoft.com/office/drawing/2014/main" id="{AD3FF816-A54E-4701-BB7F-E7ACAEA0587C}"/>
                  </a:ext>
                </a:extLst>
              </p:cNvPr>
              <p:cNvSpPr>
                <a:spLocks/>
              </p:cNvSpPr>
              <p:nvPr/>
            </p:nvSpPr>
            <p:spPr bwMode="auto">
              <a:xfrm>
                <a:off x="4445" y="1324"/>
                <a:ext cx="32" cy="7"/>
              </a:xfrm>
              <a:custGeom>
                <a:avLst/>
                <a:gdLst>
                  <a:gd name="T0" fmla="*/ 1 w 32"/>
                  <a:gd name="T1" fmla="*/ 6 h 7"/>
                  <a:gd name="T2" fmla="*/ 1 w 32"/>
                  <a:gd name="T3" fmla="*/ 6 h 7"/>
                  <a:gd name="T4" fmla="*/ 6 w 32"/>
                  <a:gd name="T5" fmla="*/ 7 h 7"/>
                  <a:gd name="T6" fmla="*/ 9 w 32"/>
                  <a:gd name="T7" fmla="*/ 6 h 7"/>
                  <a:gd name="T8" fmla="*/ 12 w 32"/>
                  <a:gd name="T9" fmla="*/ 7 h 7"/>
                  <a:gd name="T10" fmla="*/ 27 w 32"/>
                  <a:gd name="T11" fmla="*/ 3 h 7"/>
                  <a:gd name="T12" fmla="*/ 29 w 32"/>
                  <a:gd name="T13" fmla="*/ 3 h 7"/>
                  <a:gd name="T14" fmla="*/ 32 w 32"/>
                  <a:gd name="T15" fmla="*/ 3 h 7"/>
                  <a:gd name="T16" fmla="*/ 30 w 32"/>
                  <a:gd name="T17" fmla="*/ 2 h 7"/>
                  <a:gd name="T18" fmla="*/ 27 w 32"/>
                  <a:gd name="T19" fmla="*/ 2 h 7"/>
                  <a:gd name="T20" fmla="*/ 21 w 32"/>
                  <a:gd name="T21" fmla="*/ 0 h 7"/>
                  <a:gd name="T22" fmla="*/ 18 w 32"/>
                  <a:gd name="T23" fmla="*/ 0 h 7"/>
                  <a:gd name="T24" fmla="*/ 16 w 32"/>
                  <a:gd name="T25" fmla="*/ 0 h 7"/>
                  <a:gd name="T26" fmla="*/ 12 w 32"/>
                  <a:gd name="T27" fmla="*/ 1 h 7"/>
                  <a:gd name="T28" fmla="*/ 13 w 32"/>
                  <a:gd name="T29" fmla="*/ 4 h 7"/>
                  <a:gd name="T30" fmla="*/ 5 w 32"/>
                  <a:gd name="T31" fmla="*/ 2 h 7"/>
                  <a:gd name="T32" fmla="*/ 3 w 32"/>
                  <a:gd name="T33" fmla="*/ 2 h 7"/>
                  <a:gd name="T34" fmla="*/ 0 w 32"/>
                  <a:gd name="T35" fmla="*/ 2 h 7"/>
                  <a:gd name="T36" fmla="*/ 1 w 32"/>
                  <a:gd name="T37" fmla="*/ 6 h 7"/>
                  <a:gd name="T38" fmla="*/ 1 w 32"/>
                  <a:gd name="T3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7">
                    <a:moveTo>
                      <a:pt x="1" y="6"/>
                    </a:moveTo>
                    <a:lnTo>
                      <a:pt x="1" y="6"/>
                    </a:lnTo>
                    <a:lnTo>
                      <a:pt x="6" y="7"/>
                    </a:lnTo>
                    <a:lnTo>
                      <a:pt x="9" y="6"/>
                    </a:lnTo>
                    <a:lnTo>
                      <a:pt x="12" y="7"/>
                    </a:lnTo>
                    <a:lnTo>
                      <a:pt x="27" y="3"/>
                    </a:lnTo>
                    <a:lnTo>
                      <a:pt x="29" y="3"/>
                    </a:lnTo>
                    <a:lnTo>
                      <a:pt x="32" y="3"/>
                    </a:lnTo>
                    <a:lnTo>
                      <a:pt x="30" y="2"/>
                    </a:lnTo>
                    <a:lnTo>
                      <a:pt x="27" y="2"/>
                    </a:lnTo>
                    <a:lnTo>
                      <a:pt x="21" y="0"/>
                    </a:lnTo>
                    <a:lnTo>
                      <a:pt x="18" y="0"/>
                    </a:lnTo>
                    <a:lnTo>
                      <a:pt x="16" y="0"/>
                    </a:lnTo>
                    <a:lnTo>
                      <a:pt x="12" y="1"/>
                    </a:lnTo>
                    <a:lnTo>
                      <a:pt x="13" y="4"/>
                    </a:lnTo>
                    <a:lnTo>
                      <a:pt x="5" y="2"/>
                    </a:lnTo>
                    <a:lnTo>
                      <a:pt x="3" y="2"/>
                    </a:lnTo>
                    <a:lnTo>
                      <a:pt x="0" y="2"/>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3" name="Freeform 119">
                <a:extLst>
                  <a:ext uri="{FF2B5EF4-FFF2-40B4-BE49-F238E27FC236}">
                    <a16:creationId xmlns:a16="http://schemas.microsoft.com/office/drawing/2014/main" id="{963387CE-EE25-4F0A-AD82-D6987E1ABF47}"/>
                  </a:ext>
                </a:extLst>
              </p:cNvPr>
              <p:cNvSpPr>
                <a:spLocks/>
              </p:cNvSpPr>
              <p:nvPr/>
            </p:nvSpPr>
            <p:spPr bwMode="auto">
              <a:xfrm>
                <a:off x="4449" y="1357"/>
                <a:ext cx="18" cy="9"/>
              </a:xfrm>
              <a:custGeom>
                <a:avLst/>
                <a:gdLst>
                  <a:gd name="T0" fmla="*/ 0 w 18"/>
                  <a:gd name="T1" fmla="*/ 8 h 9"/>
                  <a:gd name="T2" fmla="*/ 0 w 18"/>
                  <a:gd name="T3" fmla="*/ 9 h 9"/>
                  <a:gd name="T4" fmla="*/ 4 w 18"/>
                  <a:gd name="T5" fmla="*/ 9 h 9"/>
                  <a:gd name="T6" fmla="*/ 15 w 18"/>
                  <a:gd name="T7" fmla="*/ 9 h 9"/>
                  <a:gd name="T8" fmla="*/ 17 w 18"/>
                  <a:gd name="T9" fmla="*/ 9 h 9"/>
                  <a:gd name="T10" fmla="*/ 18 w 18"/>
                  <a:gd name="T11" fmla="*/ 5 h 9"/>
                  <a:gd name="T12" fmla="*/ 17 w 18"/>
                  <a:gd name="T13" fmla="*/ 0 h 9"/>
                  <a:gd name="T14" fmla="*/ 14 w 18"/>
                  <a:gd name="T15" fmla="*/ 0 h 9"/>
                  <a:gd name="T16" fmla="*/ 10 w 18"/>
                  <a:gd name="T17" fmla="*/ 1 h 9"/>
                  <a:gd name="T18" fmla="*/ 5 w 18"/>
                  <a:gd name="T19" fmla="*/ 1 h 9"/>
                  <a:gd name="T20" fmla="*/ 2 w 18"/>
                  <a:gd name="T21" fmla="*/ 3 h 9"/>
                  <a:gd name="T22" fmla="*/ 2 w 18"/>
                  <a:gd name="T23" fmla="*/ 5 h 9"/>
                  <a:gd name="T24" fmla="*/ 0 w 18"/>
                  <a:gd name="T25" fmla="*/ 8 h 9"/>
                  <a:gd name="T26" fmla="*/ 0 w 18"/>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9">
                    <a:moveTo>
                      <a:pt x="0" y="8"/>
                    </a:moveTo>
                    <a:lnTo>
                      <a:pt x="0" y="9"/>
                    </a:lnTo>
                    <a:lnTo>
                      <a:pt x="4" y="9"/>
                    </a:lnTo>
                    <a:lnTo>
                      <a:pt x="15" y="9"/>
                    </a:lnTo>
                    <a:lnTo>
                      <a:pt x="17" y="9"/>
                    </a:lnTo>
                    <a:lnTo>
                      <a:pt x="18" y="5"/>
                    </a:lnTo>
                    <a:lnTo>
                      <a:pt x="17" y="0"/>
                    </a:lnTo>
                    <a:lnTo>
                      <a:pt x="14" y="0"/>
                    </a:lnTo>
                    <a:lnTo>
                      <a:pt x="10" y="1"/>
                    </a:lnTo>
                    <a:lnTo>
                      <a:pt x="5" y="1"/>
                    </a:lnTo>
                    <a:lnTo>
                      <a:pt x="2" y="3"/>
                    </a:lnTo>
                    <a:lnTo>
                      <a:pt x="2" y="5"/>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4" name="Freeform 120">
                <a:extLst>
                  <a:ext uri="{FF2B5EF4-FFF2-40B4-BE49-F238E27FC236}">
                    <a16:creationId xmlns:a16="http://schemas.microsoft.com/office/drawing/2014/main" id="{53DE4096-8B28-4BAF-8322-52100EF773EB}"/>
                  </a:ext>
                </a:extLst>
              </p:cNvPr>
              <p:cNvSpPr>
                <a:spLocks/>
              </p:cNvSpPr>
              <p:nvPr/>
            </p:nvSpPr>
            <p:spPr bwMode="auto">
              <a:xfrm>
                <a:off x="4453" y="1333"/>
                <a:ext cx="29" cy="8"/>
              </a:xfrm>
              <a:custGeom>
                <a:avLst/>
                <a:gdLst>
                  <a:gd name="T0" fmla="*/ 0 w 29"/>
                  <a:gd name="T1" fmla="*/ 0 h 8"/>
                  <a:gd name="T2" fmla="*/ 2 w 29"/>
                  <a:gd name="T3" fmla="*/ 1 h 8"/>
                  <a:gd name="T4" fmla="*/ 9 w 29"/>
                  <a:gd name="T5" fmla="*/ 2 h 8"/>
                  <a:gd name="T6" fmla="*/ 11 w 29"/>
                  <a:gd name="T7" fmla="*/ 5 h 8"/>
                  <a:gd name="T8" fmla="*/ 14 w 29"/>
                  <a:gd name="T9" fmla="*/ 5 h 8"/>
                  <a:gd name="T10" fmla="*/ 18 w 29"/>
                  <a:gd name="T11" fmla="*/ 8 h 8"/>
                  <a:gd name="T12" fmla="*/ 23 w 29"/>
                  <a:gd name="T13" fmla="*/ 8 h 8"/>
                  <a:gd name="T14" fmla="*/ 29 w 29"/>
                  <a:gd name="T15" fmla="*/ 6 h 8"/>
                  <a:gd name="T16" fmla="*/ 23 w 29"/>
                  <a:gd name="T17" fmla="*/ 5 h 8"/>
                  <a:gd name="T18" fmla="*/ 20 w 29"/>
                  <a:gd name="T19" fmla="*/ 2 h 8"/>
                  <a:gd name="T20" fmla="*/ 14 w 29"/>
                  <a:gd name="T21" fmla="*/ 2 h 8"/>
                  <a:gd name="T22" fmla="*/ 9 w 29"/>
                  <a:gd name="T23" fmla="*/ 0 h 8"/>
                  <a:gd name="T24" fmla="*/ 0 w 29"/>
                  <a:gd name="T25" fmla="*/ 0 h 8"/>
                  <a:gd name="T26" fmla="*/ 0 w 2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8">
                    <a:moveTo>
                      <a:pt x="0" y="0"/>
                    </a:moveTo>
                    <a:lnTo>
                      <a:pt x="2" y="1"/>
                    </a:lnTo>
                    <a:lnTo>
                      <a:pt x="9" y="2"/>
                    </a:lnTo>
                    <a:lnTo>
                      <a:pt x="11" y="5"/>
                    </a:lnTo>
                    <a:lnTo>
                      <a:pt x="14" y="5"/>
                    </a:lnTo>
                    <a:lnTo>
                      <a:pt x="18" y="8"/>
                    </a:lnTo>
                    <a:lnTo>
                      <a:pt x="23" y="8"/>
                    </a:lnTo>
                    <a:lnTo>
                      <a:pt x="29" y="6"/>
                    </a:lnTo>
                    <a:lnTo>
                      <a:pt x="23" y="5"/>
                    </a:lnTo>
                    <a:lnTo>
                      <a:pt x="20" y="2"/>
                    </a:lnTo>
                    <a:lnTo>
                      <a:pt x="14" y="2"/>
                    </a:lnTo>
                    <a:lnTo>
                      <a:pt x="9"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5" name="Freeform 121">
                <a:extLst>
                  <a:ext uri="{FF2B5EF4-FFF2-40B4-BE49-F238E27FC236}">
                    <a16:creationId xmlns:a16="http://schemas.microsoft.com/office/drawing/2014/main" id="{121147A3-DB3A-4B8F-9C92-37AD4EA86DD4}"/>
                  </a:ext>
                </a:extLst>
              </p:cNvPr>
              <p:cNvSpPr>
                <a:spLocks/>
              </p:cNvSpPr>
              <p:nvPr/>
            </p:nvSpPr>
            <p:spPr bwMode="auto">
              <a:xfrm>
                <a:off x="4463" y="1318"/>
                <a:ext cx="22" cy="7"/>
              </a:xfrm>
              <a:custGeom>
                <a:avLst/>
                <a:gdLst>
                  <a:gd name="T0" fmla="*/ 17 w 22"/>
                  <a:gd name="T1" fmla="*/ 7 h 7"/>
                  <a:gd name="T2" fmla="*/ 19 w 22"/>
                  <a:gd name="T3" fmla="*/ 6 h 7"/>
                  <a:gd name="T4" fmla="*/ 22 w 22"/>
                  <a:gd name="T5" fmla="*/ 5 h 7"/>
                  <a:gd name="T6" fmla="*/ 20 w 22"/>
                  <a:gd name="T7" fmla="*/ 4 h 7"/>
                  <a:gd name="T8" fmla="*/ 17 w 22"/>
                  <a:gd name="T9" fmla="*/ 3 h 7"/>
                  <a:gd name="T10" fmla="*/ 13 w 22"/>
                  <a:gd name="T11" fmla="*/ 1 h 7"/>
                  <a:gd name="T12" fmla="*/ 11 w 22"/>
                  <a:gd name="T13" fmla="*/ 0 h 7"/>
                  <a:gd name="T14" fmla="*/ 8 w 22"/>
                  <a:gd name="T15" fmla="*/ 1 h 7"/>
                  <a:gd name="T16" fmla="*/ 5 w 22"/>
                  <a:gd name="T17" fmla="*/ 1 h 7"/>
                  <a:gd name="T18" fmla="*/ 2 w 22"/>
                  <a:gd name="T19" fmla="*/ 3 h 7"/>
                  <a:gd name="T20" fmla="*/ 0 w 22"/>
                  <a:gd name="T21" fmla="*/ 5 h 7"/>
                  <a:gd name="T22" fmla="*/ 5 w 22"/>
                  <a:gd name="T23" fmla="*/ 5 h 7"/>
                  <a:gd name="T24" fmla="*/ 9 w 22"/>
                  <a:gd name="T25" fmla="*/ 5 h 7"/>
                  <a:gd name="T26" fmla="*/ 11 w 22"/>
                  <a:gd name="T27" fmla="*/ 6 h 7"/>
                  <a:gd name="T28" fmla="*/ 17 w 22"/>
                  <a:gd name="T29" fmla="*/ 7 h 7"/>
                  <a:gd name="T30" fmla="*/ 17 w 2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17" y="7"/>
                    </a:moveTo>
                    <a:lnTo>
                      <a:pt x="19" y="6"/>
                    </a:lnTo>
                    <a:lnTo>
                      <a:pt x="22" y="5"/>
                    </a:lnTo>
                    <a:lnTo>
                      <a:pt x="20" y="4"/>
                    </a:lnTo>
                    <a:lnTo>
                      <a:pt x="17" y="3"/>
                    </a:lnTo>
                    <a:lnTo>
                      <a:pt x="13" y="1"/>
                    </a:lnTo>
                    <a:lnTo>
                      <a:pt x="11" y="0"/>
                    </a:lnTo>
                    <a:lnTo>
                      <a:pt x="8" y="1"/>
                    </a:lnTo>
                    <a:lnTo>
                      <a:pt x="5" y="1"/>
                    </a:lnTo>
                    <a:lnTo>
                      <a:pt x="2" y="3"/>
                    </a:lnTo>
                    <a:lnTo>
                      <a:pt x="0" y="5"/>
                    </a:lnTo>
                    <a:lnTo>
                      <a:pt x="5" y="5"/>
                    </a:lnTo>
                    <a:lnTo>
                      <a:pt x="9" y="5"/>
                    </a:lnTo>
                    <a:lnTo>
                      <a:pt x="11" y="6"/>
                    </a:lnTo>
                    <a:lnTo>
                      <a:pt x="17" y="7"/>
                    </a:lnTo>
                    <a:lnTo>
                      <a:pt x="1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6" name="Freeform 122">
                <a:extLst>
                  <a:ext uri="{FF2B5EF4-FFF2-40B4-BE49-F238E27FC236}">
                    <a16:creationId xmlns:a16="http://schemas.microsoft.com/office/drawing/2014/main" id="{B826EF85-EB83-42AE-90A9-E7E59614D412}"/>
                  </a:ext>
                </a:extLst>
              </p:cNvPr>
              <p:cNvSpPr>
                <a:spLocks/>
              </p:cNvSpPr>
              <p:nvPr/>
            </p:nvSpPr>
            <p:spPr bwMode="auto">
              <a:xfrm>
                <a:off x="4466" y="1353"/>
                <a:ext cx="28" cy="12"/>
              </a:xfrm>
              <a:custGeom>
                <a:avLst/>
                <a:gdLst>
                  <a:gd name="T0" fmla="*/ 8 w 28"/>
                  <a:gd name="T1" fmla="*/ 12 h 12"/>
                  <a:gd name="T2" fmla="*/ 13 w 28"/>
                  <a:gd name="T3" fmla="*/ 12 h 12"/>
                  <a:gd name="T4" fmla="*/ 13 w 28"/>
                  <a:gd name="T5" fmla="*/ 9 h 12"/>
                  <a:gd name="T6" fmla="*/ 15 w 28"/>
                  <a:gd name="T7" fmla="*/ 9 h 12"/>
                  <a:gd name="T8" fmla="*/ 17 w 28"/>
                  <a:gd name="T9" fmla="*/ 8 h 12"/>
                  <a:gd name="T10" fmla="*/ 15 w 28"/>
                  <a:gd name="T11" fmla="*/ 6 h 12"/>
                  <a:gd name="T12" fmla="*/ 18 w 28"/>
                  <a:gd name="T13" fmla="*/ 6 h 12"/>
                  <a:gd name="T14" fmla="*/ 21 w 28"/>
                  <a:gd name="T15" fmla="*/ 6 h 12"/>
                  <a:gd name="T16" fmla="*/ 23 w 28"/>
                  <a:gd name="T17" fmla="*/ 5 h 12"/>
                  <a:gd name="T18" fmla="*/ 26 w 28"/>
                  <a:gd name="T19" fmla="*/ 5 h 12"/>
                  <a:gd name="T20" fmla="*/ 28 w 28"/>
                  <a:gd name="T21" fmla="*/ 4 h 12"/>
                  <a:gd name="T22" fmla="*/ 18 w 28"/>
                  <a:gd name="T23" fmla="*/ 0 h 12"/>
                  <a:gd name="T24" fmla="*/ 11 w 28"/>
                  <a:gd name="T25" fmla="*/ 0 h 12"/>
                  <a:gd name="T26" fmla="*/ 4 w 28"/>
                  <a:gd name="T27" fmla="*/ 0 h 12"/>
                  <a:gd name="T28" fmla="*/ 0 w 28"/>
                  <a:gd name="T29" fmla="*/ 2 h 12"/>
                  <a:gd name="T30" fmla="*/ 2 w 28"/>
                  <a:gd name="T31" fmla="*/ 3 h 12"/>
                  <a:gd name="T32" fmla="*/ 2 w 28"/>
                  <a:gd name="T33" fmla="*/ 6 h 12"/>
                  <a:gd name="T34" fmla="*/ 4 w 28"/>
                  <a:gd name="T35" fmla="*/ 8 h 12"/>
                  <a:gd name="T36" fmla="*/ 6 w 28"/>
                  <a:gd name="T37" fmla="*/ 12 h 12"/>
                  <a:gd name="T38" fmla="*/ 8 w 28"/>
                  <a:gd name="T39" fmla="*/ 12 h 12"/>
                  <a:gd name="T40" fmla="*/ 8 w 28"/>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2">
                    <a:moveTo>
                      <a:pt x="8" y="12"/>
                    </a:moveTo>
                    <a:lnTo>
                      <a:pt x="13" y="12"/>
                    </a:lnTo>
                    <a:lnTo>
                      <a:pt x="13" y="9"/>
                    </a:lnTo>
                    <a:lnTo>
                      <a:pt x="15" y="9"/>
                    </a:lnTo>
                    <a:lnTo>
                      <a:pt x="17" y="8"/>
                    </a:lnTo>
                    <a:lnTo>
                      <a:pt x="15" y="6"/>
                    </a:lnTo>
                    <a:lnTo>
                      <a:pt x="18" y="6"/>
                    </a:lnTo>
                    <a:lnTo>
                      <a:pt x="21" y="6"/>
                    </a:lnTo>
                    <a:lnTo>
                      <a:pt x="23" y="5"/>
                    </a:lnTo>
                    <a:lnTo>
                      <a:pt x="26" y="5"/>
                    </a:lnTo>
                    <a:lnTo>
                      <a:pt x="28" y="4"/>
                    </a:lnTo>
                    <a:lnTo>
                      <a:pt x="18" y="0"/>
                    </a:lnTo>
                    <a:lnTo>
                      <a:pt x="11" y="0"/>
                    </a:lnTo>
                    <a:lnTo>
                      <a:pt x="4" y="0"/>
                    </a:lnTo>
                    <a:lnTo>
                      <a:pt x="0" y="2"/>
                    </a:lnTo>
                    <a:lnTo>
                      <a:pt x="2" y="3"/>
                    </a:lnTo>
                    <a:lnTo>
                      <a:pt x="2" y="6"/>
                    </a:lnTo>
                    <a:lnTo>
                      <a:pt x="4" y="8"/>
                    </a:lnTo>
                    <a:lnTo>
                      <a:pt x="6" y="12"/>
                    </a:lnTo>
                    <a:lnTo>
                      <a:pt x="8" y="12"/>
                    </a:lnTo>
                    <a:lnTo>
                      <a:pt x="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7" name="Freeform 123">
                <a:extLst>
                  <a:ext uri="{FF2B5EF4-FFF2-40B4-BE49-F238E27FC236}">
                    <a16:creationId xmlns:a16="http://schemas.microsoft.com/office/drawing/2014/main" id="{BC242B0D-6421-4A53-ACCB-365C079AE7DA}"/>
                  </a:ext>
                </a:extLst>
              </p:cNvPr>
              <p:cNvSpPr>
                <a:spLocks/>
              </p:cNvSpPr>
              <p:nvPr/>
            </p:nvSpPr>
            <p:spPr bwMode="auto">
              <a:xfrm>
                <a:off x="4466" y="1328"/>
                <a:ext cx="11" cy="4"/>
              </a:xfrm>
              <a:custGeom>
                <a:avLst/>
                <a:gdLst>
                  <a:gd name="T0" fmla="*/ 0 w 11"/>
                  <a:gd name="T1" fmla="*/ 3 h 4"/>
                  <a:gd name="T2" fmla="*/ 1 w 11"/>
                  <a:gd name="T3" fmla="*/ 4 h 4"/>
                  <a:gd name="T4" fmla="*/ 7 w 11"/>
                  <a:gd name="T5" fmla="*/ 4 h 4"/>
                  <a:gd name="T6" fmla="*/ 10 w 11"/>
                  <a:gd name="T7" fmla="*/ 4 h 4"/>
                  <a:gd name="T8" fmla="*/ 11 w 11"/>
                  <a:gd name="T9" fmla="*/ 0 h 4"/>
                  <a:gd name="T10" fmla="*/ 6 w 11"/>
                  <a:gd name="T11" fmla="*/ 2 h 4"/>
                  <a:gd name="T12" fmla="*/ 0 w 11"/>
                  <a:gd name="T13" fmla="*/ 3 h 4"/>
                  <a:gd name="T14" fmla="*/ 0 w 11"/>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3"/>
                    </a:moveTo>
                    <a:lnTo>
                      <a:pt x="1" y="4"/>
                    </a:lnTo>
                    <a:lnTo>
                      <a:pt x="7" y="4"/>
                    </a:lnTo>
                    <a:lnTo>
                      <a:pt x="10" y="4"/>
                    </a:lnTo>
                    <a:lnTo>
                      <a:pt x="11" y="0"/>
                    </a:lnTo>
                    <a:lnTo>
                      <a:pt x="6"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8" name="Freeform 124">
                <a:extLst>
                  <a:ext uri="{FF2B5EF4-FFF2-40B4-BE49-F238E27FC236}">
                    <a16:creationId xmlns:a16="http://schemas.microsoft.com/office/drawing/2014/main" id="{BCF302FE-6C23-45A7-841C-1760AD1C3356}"/>
                  </a:ext>
                </a:extLst>
              </p:cNvPr>
              <p:cNvSpPr>
                <a:spLocks/>
              </p:cNvSpPr>
              <p:nvPr/>
            </p:nvSpPr>
            <p:spPr bwMode="auto">
              <a:xfrm>
                <a:off x="4476" y="1333"/>
                <a:ext cx="12" cy="6"/>
              </a:xfrm>
              <a:custGeom>
                <a:avLst/>
                <a:gdLst>
                  <a:gd name="T0" fmla="*/ 0 w 12"/>
                  <a:gd name="T1" fmla="*/ 2 h 6"/>
                  <a:gd name="T2" fmla="*/ 8 w 12"/>
                  <a:gd name="T3" fmla="*/ 6 h 6"/>
                  <a:gd name="T4" fmla="*/ 11 w 12"/>
                  <a:gd name="T5" fmla="*/ 5 h 6"/>
                  <a:gd name="T6" fmla="*/ 12 w 12"/>
                  <a:gd name="T7" fmla="*/ 2 h 6"/>
                  <a:gd name="T8" fmla="*/ 6 w 12"/>
                  <a:gd name="T9" fmla="*/ 0 h 6"/>
                  <a:gd name="T10" fmla="*/ 4 w 12"/>
                  <a:gd name="T11" fmla="*/ 0 h 6"/>
                  <a:gd name="T12" fmla="*/ 0 w 12"/>
                  <a:gd name="T13" fmla="*/ 2 h 6"/>
                  <a:gd name="T14" fmla="*/ 0 w 1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0" y="2"/>
                    </a:moveTo>
                    <a:lnTo>
                      <a:pt x="8" y="6"/>
                    </a:lnTo>
                    <a:lnTo>
                      <a:pt x="11" y="5"/>
                    </a:lnTo>
                    <a:lnTo>
                      <a:pt x="12" y="2"/>
                    </a:lnTo>
                    <a:lnTo>
                      <a:pt x="6" y="0"/>
                    </a:lnTo>
                    <a:lnTo>
                      <a:pt x="4"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9" name="Freeform 125">
                <a:extLst>
                  <a:ext uri="{FF2B5EF4-FFF2-40B4-BE49-F238E27FC236}">
                    <a16:creationId xmlns:a16="http://schemas.microsoft.com/office/drawing/2014/main" id="{6D93FB4C-6453-4CA9-85AE-6BBEE1C32B04}"/>
                  </a:ext>
                </a:extLst>
              </p:cNvPr>
              <p:cNvSpPr>
                <a:spLocks/>
              </p:cNvSpPr>
              <p:nvPr/>
            </p:nvSpPr>
            <p:spPr bwMode="auto">
              <a:xfrm>
                <a:off x="4477" y="1340"/>
                <a:ext cx="15" cy="4"/>
              </a:xfrm>
              <a:custGeom>
                <a:avLst/>
                <a:gdLst>
                  <a:gd name="T0" fmla="*/ 2 w 15"/>
                  <a:gd name="T1" fmla="*/ 2 h 4"/>
                  <a:gd name="T2" fmla="*/ 0 w 15"/>
                  <a:gd name="T3" fmla="*/ 3 h 4"/>
                  <a:gd name="T4" fmla="*/ 10 w 15"/>
                  <a:gd name="T5" fmla="*/ 4 h 4"/>
                  <a:gd name="T6" fmla="*/ 12 w 15"/>
                  <a:gd name="T7" fmla="*/ 3 h 4"/>
                  <a:gd name="T8" fmla="*/ 15 w 15"/>
                  <a:gd name="T9" fmla="*/ 3 h 4"/>
                  <a:gd name="T10" fmla="*/ 15 w 15"/>
                  <a:gd name="T11" fmla="*/ 1 h 4"/>
                  <a:gd name="T12" fmla="*/ 12 w 15"/>
                  <a:gd name="T13" fmla="*/ 0 h 4"/>
                  <a:gd name="T14" fmla="*/ 7 w 15"/>
                  <a:gd name="T15" fmla="*/ 1 h 4"/>
                  <a:gd name="T16" fmla="*/ 2 w 15"/>
                  <a:gd name="T17" fmla="*/ 2 h 4"/>
                  <a:gd name="T18" fmla="*/ 2 w 15"/>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
                    <a:moveTo>
                      <a:pt x="2" y="2"/>
                    </a:moveTo>
                    <a:lnTo>
                      <a:pt x="0" y="3"/>
                    </a:lnTo>
                    <a:lnTo>
                      <a:pt x="10" y="4"/>
                    </a:lnTo>
                    <a:lnTo>
                      <a:pt x="12" y="3"/>
                    </a:lnTo>
                    <a:lnTo>
                      <a:pt x="15" y="3"/>
                    </a:lnTo>
                    <a:lnTo>
                      <a:pt x="15" y="1"/>
                    </a:lnTo>
                    <a:lnTo>
                      <a:pt x="12" y="0"/>
                    </a:lnTo>
                    <a:lnTo>
                      <a:pt x="7" y="1"/>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0" name="Freeform 126">
                <a:extLst>
                  <a:ext uri="{FF2B5EF4-FFF2-40B4-BE49-F238E27FC236}">
                    <a16:creationId xmlns:a16="http://schemas.microsoft.com/office/drawing/2014/main" id="{D4216DD6-1999-466D-AC78-71874BBD187C}"/>
                  </a:ext>
                </a:extLst>
              </p:cNvPr>
              <p:cNvSpPr>
                <a:spLocks/>
              </p:cNvSpPr>
              <p:nvPr/>
            </p:nvSpPr>
            <p:spPr bwMode="auto">
              <a:xfrm>
                <a:off x="4479" y="1309"/>
                <a:ext cx="19" cy="5"/>
              </a:xfrm>
              <a:custGeom>
                <a:avLst/>
                <a:gdLst>
                  <a:gd name="T0" fmla="*/ 1 w 19"/>
                  <a:gd name="T1" fmla="*/ 5 h 5"/>
                  <a:gd name="T2" fmla="*/ 9 w 19"/>
                  <a:gd name="T3" fmla="*/ 4 h 5"/>
                  <a:gd name="T4" fmla="*/ 18 w 19"/>
                  <a:gd name="T5" fmla="*/ 4 h 5"/>
                  <a:gd name="T6" fmla="*/ 19 w 19"/>
                  <a:gd name="T7" fmla="*/ 0 h 5"/>
                  <a:gd name="T8" fmla="*/ 17 w 19"/>
                  <a:gd name="T9" fmla="*/ 0 h 5"/>
                  <a:gd name="T10" fmla="*/ 2 w 19"/>
                  <a:gd name="T11" fmla="*/ 1 h 5"/>
                  <a:gd name="T12" fmla="*/ 0 w 19"/>
                  <a:gd name="T13" fmla="*/ 1 h 5"/>
                  <a:gd name="T14" fmla="*/ 2 w 19"/>
                  <a:gd name="T15" fmla="*/ 2 h 5"/>
                  <a:gd name="T16" fmla="*/ 1 w 19"/>
                  <a:gd name="T17" fmla="*/ 5 h 5"/>
                  <a:gd name="T18" fmla="*/ 1 w 19"/>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
                    <a:moveTo>
                      <a:pt x="1" y="5"/>
                    </a:moveTo>
                    <a:lnTo>
                      <a:pt x="9" y="4"/>
                    </a:lnTo>
                    <a:lnTo>
                      <a:pt x="18" y="4"/>
                    </a:lnTo>
                    <a:lnTo>
                      <a:pt x="19" y="0"/>
                    </a:lnTo>
                    <a:lnTo>
                      <a:pt x="17" y="0"/>
                    </a:lnTo>
                    <a:lnTo>
                      <a:pt x="2" y="1"/>
                    </a:lnTo>
                    <a:lnTo>
                      <a:pt x="0" y="1"/>
                    </a:lnTo>
                    <a:lnTo>
                      <a:pt x="2" y="2"/>
                    </a:lnTo>
                    <a:lnTo>
                      <a:pt x="1" y="5"/>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1" name="Freeform 127">
                <a:extLst>
                  <a:ext uri="{FF2B5EF4-FFF2-40B4-BE49-F238E27FC236}">
                    <a16:creationId xmlns:a16="http://schemas.microsoft.com/office/drawing/2014/main" id="{FBDD778E-B921-48FA-9A21-718A23992A89}"/>
                  </a:ext>
                </a:extLst>
              </p:cNvPr>
              <p:cNvSpPr>
                <a:spLocks/>
              </p:cNvSpPr>
              <p:nvPr/>
            </p:nvSpPr>
            <p:spPr bwMode="auto">
              <a:xfrm>
                <a:off x="4485" y="1324"/>
                <a:ext cx="12" cy="3"/>
              </a:xfrm>
              <a:custGeom>
                <a:avLst/>
                <a:gdLst>
                  <a:gd name="T0" fmla="*/ 0 w 12"/>
                  <a:gd name="T1" fmla="*/ 1 h 3"/>
                  <a:gd name="T2" fmla="*/ 0 w 12"/>
                  <a:gd name="T3" fmla="*/ 2 h 3"/>
                  <a:gd name="T4" fmla="*/ 4 w 12"/>
                  <a:gd name="T5" fmla="*/ 3 h 3"/>
                  <a:gd name="T6" fmla="*/ 8 w 12"/>
                  <a:gd name="T7" fmla="*/ 3 h 3"/>
                  <a:gd name="T8" fmla="*/ 12 w 12"/>
                  <a:gd name="T9" fmla="*/ 1 h 3"/>
                  <a:gd name="T10" fmla="*/ 8 w 12"/>
                  <a:gd name="T11" fmla="*/ 0 h 3"/>
                  <a:gd name="T12" fmla="*/ 6 w 12"/>
                  <a:gd name="T13" fmla="*/ 0 h 3"/>
                  <a:gd name="T14" fmla="*/ 0 w 12"/>
                  <a:gd name="T15" fmla="*/ 1 h 3"/>
                  <a:gd name="T16" fmla="*/ 0 w 12"/>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0" y="1"/>
                    </a:moveTo>
                    <a:lnTo>
                      <a:pt x="0" y="2"/>
                    </a:lnTo>
                    <a:lnTo>
                      <a:pt x="4" y="3"/>
                    </a:lnTo>
                    <a:lnTo>
                      <a:pt x="8" y="3"/>
                    </a:lnTo>
                    <a:lnTo>
                      <a:pt x="12" y="1"/>
                    </a:lnTo>
                    <a:lnTo>
                      <a:pt x="8" y="0"/>
                    </a:lnTo>
                    <a:lnTo>
                      <a:pt x="6"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2" name="Freeform 128">
                <a:extLst>
                  <a:ext uri="{FF2B5EF4-FFF2-40B4-BE49-F238E27FC236}">
                    <a16:creationId xmlns:a16="http://schemas.microsoft.com/office/drawing/2014/main" id="{45C72761-2C4E-42C5-A2F2-16F849EFEB5B}"/>
                  </a:ext>
                </a:extLst>
              </p:cNvPr>
              <p:cNvSpPr>
                <a:spLocks/>
              </p:cNvSpPr>
              <p:nvPr/>
            </p:nvSpPr>
            <p:spPr bwMode="auto">
              <a:xfrm>
                <a:off x="4490" y="1487"/>
                <a:ext cx="6" cy="2"/>
              </a:xfrm>
              <a:custGeom>
                <a:avLst/>
                <a:gdLst>
                  <a:gd name="T0" fmla="*/ 0 w 6"/>
                  <a:gd name="T1" fmla="*/ 2 h 2"/>
                  <a:gd name="T2" fmla="*/ 0 w 6"/>
                  <a:gd name="T3" fmla="*/ 2 h 2"/>
                  <a:gd name="T4" fmla="*/ 2 w 6"/>
                  <a:gd name="T5" fmla="*/ 2 h 2"/>
                  <a:gd name="T6" fmla="*/ 6 w 6"/>
                  <a:gd name="T7" fmla="*/ 0 h 2"/>
                  <a:gd name="T8" fmla="*/ 0 w 6"/>
                  <a:gd name="T9" fmla="*/ 2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2" y="2"/>
                    </a:lnTo>
                    <a:lnTo>
                      <a:pt x="6"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3" name="Freeform 129">
                <a:extLst>
                  <a:ext uri="{FF2B5EF4-FFF2-40B4-BE49-F238E27FC236}">
                    <a16:creationId xmlns:a16="http://schemas.microsoft.com/office/drawing/2014/main" id="{EF73262A-4275-4498-BA8F-1411BC100CBC}"/>
                  </a:ext>
                </a:extLst>
              </p:cNvPr>
              <p:cNvSpPr>
                <a:spLocks/>
              </p:cNvSpPr>
              <p:nvPr/>
            </p:nvSpPr>
            <p:spPr bwMode="auto">
              <a:xfrm>
                <a:off x="4490" y="1365"/>
                <a:ext cx="15" cy="5"/>
              </a:xfrm>
              <a:custGeom>
                <a:avLst/>
                <a:gdLst>
                  <a:gd name="T0" fmla="*/ 0 w 15"/>
                  <a:gd name="T1" fmla="*/ 3 h 5"/>
                  <a:gd name="T2" fmla="*/ 3 w 15"/>
                  <a:gd name="T3" fmla="*/ 4 h 5"/>
                  <a:gd name="T4" fmla="*/ 6 w 15"/>
                  <a:gd name="T5" fmla="*/ 5 h 5"/>
                  <a:gd name="T6" fmla="*/ 12 w 15"/>
                  <a:gd name="T7" fmla="*/ 5 h 5"/>
                  <a:gd name="T8" fmla="*/ 15 w 15"/>
                  <a:gd name="T9" fmla="*/ 3 h 5"/>
                  <a:gd name="T10" fmla="*/ 14 w 15"/>
                  <a:gd name="T11" fmla="*/ 3 h 5"/>
                  <a:gd name="T12" fmla="*/ 12 w 15"/>
                  <a:gd name="T13" fmla="*/ 0 h 5"/>
                  <a:gd name="T14" fmla="*/ 9 w 15"/>
                  <a:gd name="T15" fmla="*/ 0 h 5"/>
                  <a:gd name="T16" fmla="*/ 3 w 15"/>
                  <a:gd name="T17" fmla="*/ 1 h 5"/>
                  <a:gd name="T18" fmla="*/ 0 w 15"/>
                  <a:gd name="T19" fmla="*/ 3 h 5"/>
                  <a:gd name="T20" fmla="*/ 0 w 15"/>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
                    <a:moveTo>
                      <a:pt x="0" y="3"/>
                    </a:moveTo>
                    <a:lnTo>
                      <a:pt x="3" y="4"/>
                    </a:lnTo>
                    <a:lnTo>
                      <a:pt x="6" y="5"/>
                    </a:lnTo>
                    <a:lnTo>
                      <a:pt x="12" y="5"/>
                    </a:lnTo>
                    <a:lnTo>
                      <a:pt x="15" y="3"/>
                    </a:lnTo>
                    <a:lnTo>
                      <a:pt x="14" y="3"/>
                    </a:lnTo>
                    <a:lnTo>
                      <a:pt x="12" y="0"/>
                    </a:lnTo>
                    <a:lnTo>
                      <a:pt x="9" y="0"/>
                    </a:lnTo>
                    <a:lnTo>
                      <a:pt x="3"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4" name="Freeform 130">
                <a:extLst>
                  <a:ext uri="{FF2B5EF4-FFF2-40B4-BE49-F238E27FC236}">
                    <a16:creationId xmlns:a16="http://schemas.microsoft.com/office/drawing/2014/main" id="{C0F86A52-8FD0-41A6-B500-9820C5C2FA5E}"/>
                  </a:ext>
                </a:extLst>
              </p:cNvPr>
              <p:cNvSpPr>
                <a:spLocks/>
              </p:cNvSpPr>
              <p:nvPr/>
            </p:nvSpPr>
            <p:spPr bwMode="auto">
              <a:xfrm>
                <a:off x="4497" y="1340"/>
                <a:ext cx="41" cy="16"/>
              </a:xfrm>
              <a:custGeom>
                <a:avLst/>
                <a:gdLst>
                  <a:gd name="T0" fmla="*/ 0 w 41"/>
                  <a:gd name="T1" fmla="*/ 11 h 16"/>
                  <a:gd name="T2" fmla="*/ 0 w 41"/>
                  <a:gd name="T3" fmla="*/ 12 h 16"/>
                  <a:gd name="T4" fmla="*/ 5 w 41"/>
                  <a:gd name="T5" fmla="*/ 15 h 16"/>
                  <a:gd name="T6" fmla="*/ 8 w 41"/>
                  <a:gd name="T7" fmla="*/ 15 h 16"/>
                  <a:gd name="T8" fmla="*/ 13 w 41"/>
                  <a:gd name="T9" fmla="*/ 13 h 16"/>
                  <a:gd name="T10" fmla="*/ 22 w 41"/>
                  <a:gd name="T11" fmla="*/ 16 h 16"/>
                  <a:gd name="T12" fmla="*/ 25 w 41"/>
                  <a:gd name="T13" fmla="*/ 15 h 16"/>
                  <a:gd name="T14" fmla="*/ 27 w 41"/>
                  <a:gd name="T15" fmla="*/ 12 h 16"/>
                  <a:gd name="T16" fmla="*/ 30 w 41"/>
                  <a:gd name="T17" fmla="*/ 12 h 16"/>
                  <a:gd name="T18" fmla="*/ 34 w 41"/>
                  <a:gd name="T19" fmla="*/ 10 h 16"/>
                  <a:gd name="T20" fmla="*/ 36 w 41"/>
                  <a:gd name="T21" fmla="*/ 9 h 16"/>
                  <a:gd name="T22" fmla="*/ 41 w 41"/>
                  <a:gd name="T23" fmla="*/ 4 h 16"/>
                  <a:gd name="T24" fmla="*/ 38 w 41"/>
                  <a:gd name="T25" fmla="*/ 1 h 16"/>
                  <a:gd name="T26" fmla="*/ 36 w 41"/>
                  <a:gd name="T27" fmla="*/ 1 h 16"/>
                  <a:gd name="T28" fmla="*/ 33 w 41"/>
                  <a:gd name="T29" fmla="*/ 0 h 16"/>
                  <a:gd name="T30" fmla="*/ 24 w 41"/>
                  <a:gd name="T31" fmla="*/ 2 h 16"/>
                  <a:gd name="T32" fmla="*/ 14 w 41"/>
                  <a:gd name="T33" fmla="*/ 3 h 16"/>
                  <a:gd name="T34" fmla="*/ 9 w 41"/>
                  <a:gd name="T35" fmla="*/ 2 h 16"/>
                  <a:gd name="T36" fmla="*/ 12 w 41"/>
                  <a:gd name="T37" fmla="*/ 1 h 16"/>
                  <a:gd name="T38" fmla="*/ 9 w 41"/>
                  <a:gd name="T39" fmla="*/ 1 h 16"/>
                  <a:gd name="T40" fmla="*/ 7 w 41"/>
                  <a:gd name="T41" fmla="*/ 2 h 16"/>
                  <a:gd name="T42" fmla="*/ 1 w 41"/>
                  <a:gd name="T43" fmla="*/ 5 h 16"/>
                  <a:gd name="T44" fmla="*/ 0 w 41"/>
                  <a:gd name="T45" fmla="*/ 9 h 16"/>
                  <a:gd name="T46" fmla="*/ 0 w 41"/>
                  <a:gd name="T47" fmla="*/ 11 h 16"/>
                  <a:gd name="T48" fmla="*/ 0 w 41"/>
                  <a:gd name="T49"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6">
                    <a:moveTo>
                      <a:pt x="0" y="11"/>
                    </a:moveTo>
                    <a:lnTo>
                      <a:pt x="0" y="12"/>
                    </a:lnTo>
                    <a:lnTo>
                      <a:pt x="5" y="15"/>
                    </a:lnTo>
                    <a:lnTo>
                      <a:pt x="8" y="15"/>
                    </a:lnTo>
                    <a:lnTo>
                      <a:pt x="13" y="13"/>
                    </a:lnTo>
                    <a:lnTo>
                      <a:pt x="22" y="16"/>
                    </a:lnTo>
                    <a:lnTo>
                      <a:pt x="25" y="15"/>
                    </a:lnTo>
                    <a:lnTo>
                      <a:pt x="27" y="12"/>
                    </a:lnTo>
                    <a:lnTo>
                      <a:pt x="30" y="12"/>
                    </a:lnTo>
                    <a:lnTo>
                      <a:pt x="34" y="10"/>
                    </a:lnTo>
                    <a:lnTo>
                      <a:pt x="36" y="9"/>
                    </a:lnTo>
                    <a:lnTo>
                      <a:pt x="41" y="4"/>
                    </a:lnTo>
                    <a:lnTo>
                      <a:pt x="38" y="1"/>
                    </a:lnTo>
                    <a:lnTo>
                      <a:pt x="36" y="1"/>
                    </a:lnTo>
                    <a:lnTo>
                      <a:pt x="33" y="0"/>
                    </a:lnTo>
                    <a:lnTo>
                      <a:pt x="24" y="2"/>
                    </a:lnTo>
                    <a:lnTo>
                      <a:pt x="14" y="3"/>
                    </a:lnTo>
                    <a:lnTo>
                      <a:pt x="9" y="2"/>
                    </a:lnTo>
                    <a:lnTo>
                      <a:pt x="12" y="1"/>
                    </a:lnTo>
                    <a:lnTo>
                      <a:pt x="9" y="1"/>
                    </a:lnTo>
                    <a:lnTo>
                      <a:pt x="7" y="2"/>
                    </a:lnTo>
                    <a:lnTo>
                      <a:pt x="1" y="5"/>
                    </a:lnTo>
                    <a:lnTo>
                      <a:pt x="0" y="9"/>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5" name="Freeform 131">
                <a:extLst>
                  <a:ext uri="{FF2B5EF4-FFF2-40B4-BE49-F238E27FC236}">
                    <a16:creationId xmlns:a16="http://schemas.microsoft.com/office/drawing/2014/main" id="{7C440F68-1C94-4A8F-A0F5-9B1081EE8079}"/>
                  </a:ext>
                </a:extLst>
              </p:cNvPr>
              <p:cNvSpPr>
                <a:spLocks/>
              </p:cNvSpPr>
              <p:nvPr/>
            </p:nvSpPr>
            <p:spPr bwMode="auto">
              <a:xfrm>
                <a:off x="4508" y="1333"/>
                <a:ext cx="20" cy="7"/>
              </a:xfrm>
              <a:custGeom>
                <a:avLst/>
                <a:gdLst>
                  <a:gd name="T0" fmla="*/ 0 w 20"/>
                  <a:gd name="T1" fmla="*/ 3 h 7"/>
                  <a:gd name="T2" fmla="*/ 0 w 20"/>
                  <a:gd name="T3" fmla="*/ 5 h 7"/>
                  <a:gd name="T4" fmla="*/ 3 w 20"/>
                  <a:gd name="T5" fmla="*/ 6 h 7"/>
                  <a:gd name="T6" fmla="*/ 11 w 20"/>
                  <a:gd name="T7" fmla="*/ 7 h 7"/>
                  <a:gd name="T8" fmla="*/ 15 w 20"/>
                  <a:gd name="T9" fmla="*/ 6 h 7"/>
                  <a:gd name="T10" fmla="*/ 20 w 20"/>
                  <a:gd name="T11" fmla="*/ 2 h 7"/>
                  <a:gd name="T12" fmla="*/ 20 w 20"/>
                  <a:gd name="T13" fmla="*/ 0 h 7"/>
                  <a:gd name="T14" fmla="*/ 14 w 20"/>
                  <a:gd name="T15" fmla="*/ 0 h 7"/>
                  <a:gd name="T16" fmla="*/ 8 w 20"/>
                  <a:gd name="T17" fmla="*/ 0 h 7"/>
                  <a:gd name="T18" fmla="*/ 2 w 20"/>
                  <a:gd name="T19" fmla="*/ 2 h 7"/>
                  <a:gd name="T20" fmla="*/ 0 w 20"/>
                  <a:gd name="T21" fmla="*/ 3 h 7"/>
                  <a:gd name="T22" fmla="*/ 0 w 20"/>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7">
                    <a:moveTo>
                      <a:pt x="0" y="3"/>
                    </a:moveTo>
                    <a:lnTo>
                      <a:pt x="0" y="5"/>
                    </a:lnTo>
                    <a:lnTo>
                      <a:pt x="3" y="6"/>
                    </a:lnTo>
                    <a:lnTo>
                      <a:pt x="11" y="7"/>
                    </a:lnTo>
                    <a:lnTo>
                      <a:pt x="15" y="6"/>
                    </a:lnTo>
                    <a:lnTo>
                      <a:pt x="20" y="2"/>
                    </a:lnTo>
                    <a:lnTo>
                      <a:pt x="20" y="0"/>
                    </a:lnTo>
                    <a:lnTo>
                      <a:pt x="14" y="0"/>
                    </a:lnTo>
                    <a:lnTo>
                      <a:pt x="8" y="0"/>
                    </a:lnTo>
                    <a:lnTo>
                      <a:pt x="2"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6" name="Freeform 132">
                <a:extLst>
                  <a:ext uri="{FF2B5EF4-FFF2-40B4-BE49-F238E27FC236}">
                    <a16:creationId xmlns:a16="http://schemas.microsoft.com/office/drawing/2014/main" id="{7193F032-EC90-46B2-BE6F-008DC2AA7857}"/>
                  </a:ext>
                </a:extLst>
              </p:cNvPr>
              <p:cNvSpPr>
                <a:spLocks/>
              </p:cNvSpPr>
              <p:nvPr/>
            </p:nvSpPr>
            <p:spPr bwMode="auto">
              <a:xfrm>
                <a:off x="4531" y="1317"/>
                <a:ext cx="5" cy="2"/>
              </a:xfrm>
              <a:custGeom>
                <a:avLst/>
                <a:gdLst>
                  <a:gd name="T0" fmla="*/ 0 w 5"/>
                  <a:gd name="T1" fmla="*/ 0 h 2"/>
                  <a:gd name="T2" fmla="*/ 0 w 5"/>
                  <a:gd name="T3" fmla="*/ 1 h 2"/>
                  <a:gd name="T4" fmla="*/ 2 w 5"/>
                  <a:gd name="T5" fmla="*/ 2 h 2"/>
                  <a:gd name="T6" fmla="*/ 5 w 5"/>
                  <a:gd name="T7" fmla="*/ 1 h 2"/>
                  <a:gd name="T8" fmla="*/ 0 w 5"/>
                  <a:gd name="T9" fmla="*/ 0 h 2"/>
                  <a:gd name="T10" fmla="*/ 0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0" y="0"/>
                    </a:moveTo>
                    <a:lnTo>
                      <a:pt x="0" y="1"/>
                    </a:lnTo>
                    <a:lnTo>
                      <a:pt x="2" y="2"/>
                    </a:lnTo>
                    <a:lnTo>
                      <a:pt x="5"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7" name="Freeform 133">
                <a:extLst>
                  <a:ext uri="{FF2B5EF4-FFF2-40B4-BE49-F238E27FC236}">
                    <a16:creationId xmlns:a16="http://schemas.microsoft.com/office/drawing/2014/main" id="{72030EA3-AA67-4786-BE26-BA5E33D443E8}"/>
                  </a:ext>
                </a:extLst>
              </p:cNvPr>
              <p:cNvSpPr>
                <a:spLocks/>
              </p:cNvSpPr>
              <p:nvPr/>
            </p:nvSpPr>
            <p:spPr bwMode="auto">
              <a:xfrm>
                <a:off x="4536" y="1313"/>
                <a:ext cx="21" cy="4"/>
              </a:xfrm>
              <a:custGeom>
                <a:avLst/>
                <a:gdLst>
                  <a:gd name="T0" fmla="*/ 0 w 21"/>
                  <a:gd name="T1" fmla="*/ 2 h 4"/>
                  <a:gd name="T2" fmla="*/ 0 w 21"/>
                  <a:gd name="T3" fmla="*/ 2 h 4"/>
                  <a:gd name="T4" fmla="*/ 4 w 21"/>
                  <a:gd name="T5" fmla="*/ 2 h 4"/>
                  <a:gd name="T6" fmla="*/ 6 w 21"/>
                  <a:gd name="T7" fmla="*/ 3 h 4"/>
                  <a:gd name="T8" fmla="*/ 12 w 21"/>
                  <a:gd name="T9" fmla="*/ 4 h 4"/>
                  <a:gd name="T10" fmla="*/ 19 w 21"/>
                  <a:gd name="T11" fmla="*/ 4 h 4"/>
                  <a:gd name="T12" fmla="*/ 21 w 21"/>
                  <a:gd name="T13" fmla="*/ 4 h 4"/>
                  <a:gd name="T14" fmla="*/ 21 w 21"/>
                  <a:gd name="T15" fmla="*/ 1 h 4"/>
                  <a:gd name="T16" fmla="*/ 17 w 21"/>
                  <a:gd name="T17" fmla="*/ 1 h 4"/>
                  <a:gd name="T18" fmla="*/ 15 w 21"/>
                  <a:gd name="T19" fmla="*/ 0 h 4"/>
                  <a:gd name="T20" fmla="*/ 9 w 21"/>
                  <a:gd name="T21" fmla="*/ 1 h 4"/>
                  <a:gd name="T22" fmla="*/ 6 w 21"/>
                  <a:gd name="T23" fmla="*/ 1 h 4"/>
                  <a:gd name="T24" fmla="*/ 0 w 21"/>
                  <a:gd name="T25" fmla="*/ 2 h 4"/>
                  <a:gd name="T26" fmla="*/ 0 w 21"/>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4">
                    <a:moveTo>
                      <a:pt x="0" y="2"/>
                    </a:moveTo>
                    <a:lnTo>
                      <a:pt x="0" y="2"/>
                    </a:lnTo>
                    <a:lnTo>
                      <a:pt x="4" y="2"/>
                    </a:lnTo>
                    <a:lnTo>
                      <a:pt x="6" y="3"/>
                    </a:lnTo>
                    <a:lnTo>
                      <a:pt x="12" y="4"/>
                    </a:lnTo>
                    <a:lnTo>
                      <a:pt x="19" y="4"/>
                    </a:lnTo>
                    <a:lnTo>
                      <a:pt x="21" y="4"/>
                    </a:lnTo>
                    <a:lnTo>
                      <a:pt x="21" y="1"/>
                    </a:lnTo>
                    <a:lnTo>
                      <a:pt x="17" y="1"/>
                    </a:lnTo>
                    <a:lnTo>
                      <a:pt x="15" y="0"/>
                    </a:lnTo>
                    <a:lnTo>
                      <a:pt x="9" y="1"/>
                    </a:lnTo>
                    <a:lnTo>
                      <a:pt x="6"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8" name="Freeform 134">
                <a:extLst>
                  <a:ext uri="{FF2B5EF4-FFF2-40B4-BE49-F238E27FC236}">
                    <a16:creationId xmlns:a16="http://schemas.microsoft.com/office/drawing/2014/main" id="{93D084AE-4A45-4D89-8689-E9BD68925B1E}"/>
                  </a:ext>
                </a:extLst>
              </p:cNvPr>
              <p:cNvSpPr>
                <a:spLocks/>
              </p:cNvSpPr>
              <p:nvPr/>
            </p:nvSpPr>
            <p:spPr bwMode="auto">
              <a:xfrm>
                <a:off x="4541" y="1331"/>
                <a:ext cx="40" cy="16"/>
              </a:xfrm>
              <a:custGeom>
                <a:avLst/>
                <a:gdLst>
                  <a:gd name="T0" fmla="*/ 0 w 40"/>
                  <a:gd name="T1" fmla="*/ 10 h 16"/>
                  <a:gd name="T2" fmla="*/ 0 w 40"/>
                  <a:gd name="T3" fmla="*/ 12 h 16"/>
                  <a:gd name="T4" fmla="*/ 9 w 40"/>
                  <a:gd name="T5" fmla="*/ 16 h 16"/>
                  <a:gd name="T6" fmla="*/ 14 w 40"/>
                  <a:gd name="T7" fmla="*/ 14 h 16"/>
                  <a:gd name="T8" fmla="*/ 26 w 40"/>
                  <a:gd name="T9" fmla="*/ 14 h 16"/>
                  <a:gd name="T10" fmla="*/ 28 w 40"/>
                  <a:gd name="T11" fmla="*/ 13 h 16"/>
                  <a:gd name="T12" fmla="*/ 34 w 40"/>
                  <a:gd name="T13" fmla="*/ 11 h 16"/>
                  <a:gd name="T14" fmla="*/ 37 w 40"/>
                  <a:gd name="T15" fmla="*/ 10 h 16"/>
                  <a:gd name="T16" fmla="*/ 40 w 40"/>
                  <a:gd name="T17" fmla="*/ 7 h 16"/>
                  <a:gd name="T18" fmla="*/ 40 w 40"/>
                  <a:gd name="T19" fmla="*/ 4 h 16"/>
                  <a:gd name="T20" fmla="*/ 37 w 40"/>
                  <a:gd name="T21" fmla="*/ 2 h 16"/>
                  <a:gd name="T22" fmla="*/ 35 w 40"/>
                  <a:gd name="T23" fmla="*/ 1 h 16"/>
                  <a:gd name="T24" fmla="*/ 32 w 40"/>
                  <a:gd name="T25" fmla="*/ 0 h 16"/>
                  <a:gd name="T26" fmla="*/ 26 w 40"/>
                  <a:gd name="T27" fmla="*/ 0 h 16"/>
                  <a:gd name="T28" fmla="*/ 24 w 40"/>
                  <a:gd name="T29" fmla="*/ 1 h 16"/>
                  <a:gd name="T30" fmla="*/ 23 w 40"/>
                  <a:gd name="T31" fmla="*/ 3 h 16"/>
                  <a:gd name="T32" fmla="*/ 21 w 40"/>
                  <a:gd name="T33" fmla="*/ 5 h 16"/>
                  <a:gd name="T34" fmla="*/ 9 w 40"/>
                  <a:gd name="T35" fmla="*/ 7 h 16"/>
                  <a:gd name="T36" fmla="*/ 6 w 40"/>
                  <a:gd name="T37" fmla="*/ 9 h 16"/>
                  <a:gd name="T38" fmla="*/ 0 w 40"/>
                  <a:gd name="T39" fmla="*/ 10 h 16"/>
                  <a:gd name="T40" fmla="*/ 0 w 40"/>
                  <a:gd name="T4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6">
                    <a:moveTo>
                      <a:pt x="0" y="10"/>
                    </a:moveTo>
                    <a:lnTo>
                      <a:pt x="0" y="12"/>
                    </a:lnTo>
                    <a:lnTo>
                      <a:pt x="9" y="16"/>
                    </a:lnTo>
                    <a:lnTo>
                      <a:pt x="14" y="14"/>
                    </a:lnTo>
                    <a:lnTo>
                      <a:pt x="26" y="14"/>
                    </a:lnTo>
                    <a:lnTo>
                      <a:pt x="28" y="13"/>
                    </a:lnTo>
                    <a:lnTo>
                      <a:pt x="34" y="11"/>
                    </a:lnTo>
                    <a:lnTo>
                      <a:pt x="37" y="10"/>
                    </a:lnTo>
                    <a:lnTo>
                      <a:pt x="40" y="7"/>
                    </a:lnTo>
                    <a:lnTo>
                      <a:pt x="40" y="4"/>
                    </a:lnTo>
                    <a:lnTo>
                      <a:pt x="37" y="2"/>
                    </a:lnTo>
                    <a:lnTo>
                      <a:pt x="35" y="1"/>
                    </a:lnTo>
                    <a:lnTo>
                      <a:pt x="32" y="0"/>
                    </a:lnTo>
                    <a:lnTo>
                      <a:pt x="26" y="0"/>
                    </a:lnTo>
                    <a:lnTo>
                      <a:pt x="24" y="1"/>
                    </a:lnTo>
                    <a:lnTo>
                      <a:pt x="23" y="3"/>
                    </a:lnTo>
                    <a:lnTo>
                      <a:pt x="21" y="5"/>
                    </a:lnTo>
                    <a:lnTo>
                      <a:pt x="9" y="7"/>
                    </a:lnTo>
                    <a:lnTo>
                      <a:pt x="6" y="9"/>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9" name="Freeform 135">
                <a:extLst>
                  <a:ext uri="{FF2B5EF4-FFF2-40B4-BE49-F238E27FC236}">
                    <a16:creationId xmlns:a16="http://schemas.microsoft.com/office/drawing/2014/main" id="{8C42EBB8-D488-47A6-9F08-1A82567F91F6}"/>
                  </a:ext>
                </a:extLst>
              </p:cNvPr>
              <p:cNvSpPr>
                <a:spLocks/>
              </p:cNvSpPr>
              <p:nvPr/>
            </p:nvSpPr>
            <p:spPr bwMode="auto">
              <a:xfrm>
                <a:off x="4389" y="1557"/>
                <a:ext cx="84" cy="73"/>
              </a:xfrm>
              <a:custGeom>
                <a:avLst/>
                <a:gdLst>
                  <a:gd name="T0" fmla="*/ 28 w 84"/>
                  <a:gd name="T1" fmla="*/ 5 h 73"/>
                  <a:gd name="T2" fmla="*/ 38 w 84"/>
                  <a:gd name="T3" fmla="*/ 4 h 73"/>
                  <a:gd name="T4" fmla="*/ 43 w 84"/>
                  <a:gd name="T5" fmla="*/ 1 h 73"/>
                  <a:gd name="T6" fmla="*/ 51 w 84"/>
                  <a:gd name="T7" fmla="*/ 0 h 73"/>
                  <a:gd name="T8" fmla="*/ 59 w 84"/>
                  <a:gd name="T9" fmla="*/ 2 h 73"/>
                  <a:gd name="T10" fmla="*/ 67 w 84"/>
                  <a:gd name="T11" fmla="*/ 5 h 73"/>
                  <a:gd name="T12" fmla="*/ 67 w 84"/>
                  <a:gd name="T13" fmla="*/ 8 h 73"/>
                  <a:gd name="T14" fmla="*/ 67 w 84"/>
                  <a:gd name="T15" fmla="*/ 9 h 73"/>
                  <a:gd name="T16" fmla="*/ 59 w 84"/>
                  <a:gd name="T17" fmla="*/ 12 h 73"/>
                  <a:gd name="T18" fmla="*/ 65 w 84"/>
                  <a:gd name="T19" fmla="*/ 12 h 73"/>
                  <a:gd name="T20" fmla="*/ 62 w 84"/>
                  <a:gd name="T21" fmla="*/ 17 h 73"/>
                  <a:gd name="T22" fmla="*/ 55 w 84"/>
                  <a:gd name="T23" fmla="*/ 16 h 73"/>
                  <a:gd name="T24" fmla="*/ 58 w 84"/>
                  <a:gd name="T25" fmla="*/ 18 h 73"/>
                  <a:gd name="T26" fmla="*/ 55 w 84"/>
                  <a:gd name="T27" fmla="*/ 22 h 73"/>
                  <a:gd name="T28" fmla="*/ 51 w 84"/>
                  <a:gd name="T29" fmla="*/ 25 h 73"/>
                  <a:gd name="T30" fmla="*/ 55 w 84"/>
                  <a:gd name="T31" fmla="*/ 29 h 73"/>
                  <a:gd name="T32" fmla="*/ 55 w 84"/>
                  <a:gd name="T33" fmla="*/ 34 h 73"/>
                  <a:gd name="T34" fmla="*/ 56 w 84"/>
                  <a:gd name="T35" fmla="*/ 39 h 73"/>
                  <a:gd name="T36" fmla="*/ 59 w 84"/>
                  <a:gd name="T37" fmla="*/ 48 h 73"/>
                  <a:gd name="T38" fmla="*/ 65 w 84"/>
                  <a:gd name="T39" fmla="*/ 56 h 73"/>
                  <a:gd name="T40" fmla="*/ 84 w 84"/>
                  <a:gd name="T41" fmla="*/ 68 h 73"/>
                  <a:gd name="T42" fmla="*/ 81 w 84"/>
                  <a:gd name="T43" fmla="*/ 72 h 73"/>
                  <a:gd name="T44" fmla="*/ 74 w 84"/>
                  <a:gd name="T45" fmla="*/ 70 h 73"/>
                  <a:gd name="T46" fmla="*/ 74 w 84"/>
                  <a:gd name="T47" fmla="*/ 72 h 73"/>
                  <a:gd name="T48" fmla="*/ 69 w 84"/>
                  <a:gd name="T49" fmla="*/ 68 h 73"/>
                  <a:gd name="T50" fmla="*/ 72 w 84"/>
                  <a:gd name="T51" fmla="*/ 72 h 73"/>
                  <a:gd name="T52" fmla="*/ 66 w 84"/>
                  <a:gd name="T53" fmla="*/ 72 h 73"/>
                  <a:gd name="T54" fmla="*/ 64 w 84"/>
                  <a:gd name="T55" fmla="*/ 73 h 73"/>
                  <a:gd name="T56" fmla="*/ 56 w 84"/>
                  <a:gd name="T57" fmla="*/ 68 h 73"/>
                  <a:gd name="T58" fmla="*/ 52 w 84"/>
                  <a:gd name="T59" fmla="*/ 73 h 73"/>
                  <a:gd name="T60" fmla="*/ 43 w 84"/>
                  <a:gd name="T61" fmla="*/ 67 h 73"/>
                  <a:gd name="T62" fmla="*/ 43 w 84"/>
                  <a:gd name="T63" fmla="*/ 70 h 73"/>
                  <a:gd name="T64" fmla="*/ 38 w 84"/>
                  <a:gd name="T65" fmla="*/ 68 h 73"/>
                  <a:gd name="T66" fmla="*/ 32 w 84"/>
                  <a:gd name="T67" fmla="*/ 67 h 73"/>
                  <a:gd name="T68" fmla="*/ 26 w 84"/>
                  <a:gd name="T69" fmla="*/ 66 h 73"/>
                  <a:gd name="T70" fmla="*/ 32 w 84"/>
                  <a:gd name="T71" fmla="*/ 64 h 73"/>
                  <a:gd name="T72" fmla="*/ 34 w 84"/>
                  <a:gd name="T73" fmla="*/ 58 h 73"/>
                  <a:gd name="T74" fmla="*/ 36 w 84"/>
                  <a:gd name="T75" fmla="*/ 57 h 73"/>
                  <a:gd name="T76" fmla="*/ 27 w 84"/>
                  <a:gd name="T77" fmla="*/ 56 h 73"/>
                  <a:gd name="T78" fmla="*/ 33 w 84"/>
                  <a:gd name="T79" fmla="*/ 51 h 73"/>
                  <a:gd name="T80" fmla="*/ 28 w 84"/>
                  <a:gd name="T81" fmla="*/ 55 h 73"/>
                  <a:gd name="T82" fmla="*/ 26 w 84"/>
                  <a:gd name="T83" fmla="*/ 49 h 73"/>
                  <a:gd name="T84" fmla="*/ 18 w 84"/>
                  <a:gd name="T85" fmla="*/ 51 h 73"/>
                  <a:gd name="T86" fmla="*/ 10 w 84"/>
                  <a:gd name="T87" fmla="*/ 48 h 73"/>
                  <a:gd name="T88" fmla="*/ 5 w 84"/>
                  <a:gd name="T89" fmla="*/ 50 h 73"/>
                  <a:gd name="T90" fmla="*/ 0 w 84"/>
                  <a:gd name="T91" fmla="*/ 43 h 73"/>
                  <a:gd name="T92" fmla="*/ 0 w 84"/>
                  <a:gd name="T93" fmla="*/ 38 h 73"/>
                  <a:gd name="T94" fmla="*/ 5 w 84"/>
                  <a:gd name="T95" fmla="*/ 33 h 73"/>
                  <a:gd name="T96" fmla="*/ 10 w 84"/>
                  <a:gd name="T97" fmla="*/ 33 h 73"/>
                  <a:gd name="T98" fmla="*/ 14 w 84"/>
                  <a:gd name="T99" fmla="*/ 32 h 73"/>
                  <a:gd name="T100" fmla="*/ 16 w 84"/>
                  <a:gd name="T101" fmla="*/ 29 h 73"/>
                  <a:gd name="T102" fmla="*/ 17 w 84"/>
                  <a:gd name="T103" fmla="*/ 25 h 73"/>
                  <a:gd name="T104" fmla="*/ 19 w 84"/>
                  <a:gd name="T105" fmla="*/ 22 h 73"/>
                  <a:gd name="T106" fmla="*/ 19 w 84"/>
                  <a:gd name="T107" fmla="*/ 19 h 73"/>
                  <a:gd name="T108" fmla="*/ 14 w 84"/>
                  <a:gd name="T109" fmla="*/ 18 h 73"/>
                  <a:gd name="T110" fmla="*/ 17 w 84"/>
                  <a:gd name="T111" fmla="*/ 14 h 73"/>
                  <a:gd name="T112" fmla="*/ 26 w 84"/>
                  <a:gd name="T113" fmla="*/ 14 h 73"/>
                  <a:gd name="T114" fmla="*/ 26 w 84"/>
                  <a:gd name="T115" fmla="*/ 10 h 73"/>
                  <a:gd name="T116" fmla="*/ 25 w 84"/>
                  <a:gd name="T117" fmla="*/ 6 h 73"/>
                  <a:gd name="T118" fmla="*/ 26 w 84"/>
                  <a:gd name="T119"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73">
                    <a:moveTo>
                      <a:pt x="26" y="5"/>
                    </a:moveTo>
                    <a:lnTo>
                      <a:pt x="28" y="5"/>
                    </a:lnTo>
                    <a:lnTo>
                      <a:pt x="32" y="2"/>
                    </a:lnTo>
                    <a:lnTo>
                      <a:pt x="38" y="4"/>
                    </a:lnTo>
                    <a:lnTo>
                      <a:pt x="40" y="2"/>
                    </a:lnTo>
                    <a:lnTo>
                      <a:pt x="43" y="1"/>
                    </a:lnTo>
                    <a:lnTo>
                      <a:pt x="48" y="0"/>
                    </a:lnTo>
                    <a:lnTo>
                      <a:pt x="51" y="0"/>
                    </a:lnTo>
                    <a:lnTo>
                      <a:pt x="53" y="2"/>
                    </a:lnTo>
                    <a:lnTo>
                      <a:pt x="59" y="2"/>
                    </a:lnTo>
                    <a:lnTo>
                      <a:pt x="62" y="4"/>
                    </a:lnTo>
                    <a:lnTo>
                      <a:pt x="67" y="5"/>
                    </a:lnTo>
                    <a:lnTo>
                      <a:pt x="70" y="7"/>
                    </a:lnTo>
                    <a:lnTo>
                      <a:pt x="67" y="8"/>
                    </a:lnTo>
                    <a:lnTo>
                      <a:pt x="61" y="9"/>
                    </a:lnTo>
                    <a:lnTo>
                      <a:pt x="67" y="9"/>
                    </a:lnTo>
                    <a:lnTo>
                      <a:pt x="65" y="10"/>
                    </a:lnTo>
                    <a:lnTo>
                      <a:pt x="59" y="12"/>
                    </a:lnTo>
                    <a:lnTo>
                      <a:pt x="62" y="13"/>
                    </a:lnTo>
                    <a:lnTo>
                      <a:pt x="65" y="12"/>
                    </a:lnTo>
                    <a:lnTo>
                      <a:pt x="66" y="15"/>
                    </a:lnTo>
                    <a:lnTo>
                      <a:pt x="62" y="17"/>
                    </a:lnTo>
                    <a:lnTo>
                      <a:pt x="60" y="16"/>
                    </a:lnTo>
                    <a:lnTo>
                      <a:pt x="55" y="16"/>
                    </a:lnTo>
                    <a:lnTo>
                      <a:pt x="60" y="17"/>
                    </a:lnTo>
                    <a:lnTo>
                      <a:pt x="58" y="18"/>
                    </a:lnTo>
                    <a:lnTo>
                      <a:pt x="58" y="22"/>
                    </a:lnTo>
                    <a:lnTo>
                      <a:pt x="55" y="22"/>
                    </a:lnTo>
                    <a:lnTo>
                      <a:pt x="57" y="24"/>
                    </a:lnTo>
                    <a:lnTo>
                      <a:pt x="51" y="25"/>
                    </a:lnTo>
                    <a:lnTo>
                      <a:pt x="53" y="25"/>
                    </a:lnTo>
                    <a:lnTo>
                      <a:pt x="55" y="29"/>
                    </a:lnTo>
                    <a:lnTo>
                      <a:pt x="57" y="31"/>
                    </a:lnTo>
                    <a:lnTo>
                      <a:pt x="55" y="34"/>
                    </a:lnTo>
                    <a:lnTo>
                      <a:pt x="55" y="36"/>
                    </a:lnTo>
                    <a:lnTo>
                      <a:pt x="56" y="39"/>
                    </a:lnTo>
                    <a:lnTo>
                      <a:pt x="56" y="42"/>
                    </a:lnTo>
                    <a:lnTo>
                      <a:pt x="59" y="48"/>
                    </a:lnTo>
                    <a:lnTo>
                      <a:pt x="62" y="53"/>
                    </a:lnTo>
                    <a:lnTo>
                      <a:pt x="65" y="56"/>
                    </a:lnTo>
                    <a:lnTo>
                      <a:pt x="75" y="65"/>
                    </a:lnTo>
                    <a:lnTo>
                      <a:pt x="84" y="68"/>
                    </a:lnTo>
                    <a:lnTo>
                      <a:pt x="83" y="70"/>
                    </a:lnTo>
                    <a:lnTo>
                      <a:pt x="81" y="72"/>
                    </a:lnTo>
                    <a:lnTo>
                      <a:pt x="77" y="70"/>
                    </a:lnTo>
                    <a:lnTo>
                      <a:pt x="74" y="70"/>
                    </a:lnTo>
                    <a:lnTo>
                      <a:pt x="79" y="73"/>
                    </a:lnTo>
                    <a:lnTo>
                      <a:pt x="74" y="72"/>
                    </a:lnTo>
                    <a:lnTo>
                      <a:pt x="72" y="70"/>
                    </a:lnTo>
                    <a:lnTo>
                      <a:pt x="69" y="68"/>
                    </a:lnTo>
                    <a:lnTo>
                      <a:pt x="66" y="68"/>
                    </a:lnTo>
                    <a:lnTo>
                      <a:pt x="72" y="72"/>
                    </a:lnTo>
                    <a:lnTo>
                      <a:pt x="69" y="73"/>
                    </a:lnTo>
                    <a:lnTo>
                      <a:pt x="66" y="72"/>
                    </a:lnTo>
                    <a:lnTo>
                      <a:pt x="60" y="69"/>
                    </a:lnTo>
                    <a:lnTo>
                      <a:pt x="64" y="73"/>
                    </a:lnTo>
                    <a:lnTo>
                      <a:pt x="58" y="72"/>
                    </a:lnTo>
                    <a:lnTo>
                      <a:pt x="56" y="68"/>
                    </a:lnTo>
                    <a:lnTo>
                      <a:pt x="52" y="70"/>
                    </a:lnTo>
                    <a:lnTo>
                      <a:pt x="52" y="73"/>
                    </a:lnTo>
                    <a:lnTo>
                      <a:pt x="47" y="70"/>
                    </a:lnTo>
                    <a:lnTo>
                      <a:pt x="43" y="67"/>
                    </a:lnTo>
                    <a:lnTo>
                      <a:pt x="45" y="70"/>
                    </a:lnTo>
                    <a:lnTo>
                      <a:pt x="43" y="70"/>
                    </a:lnTo>
                    <a:lnTo>
                      <a:pt x="40" y="68"/>
                    </a:lnTo>
                    <a:lnTo>
                      <a:pt x="38" y="68"/>
                    </a:lnTo>
                    <a:lnTo>
                      <a:pt x="34" y="67"/>
                    </a:lnTo>
                    <a:lnTo>
                      <a:pt x="32" y="67"/>
                    </a:lnTo>
                    <a:lnTo>
                      <a:pt x="28" y="66"/>
                    </a:lnTo>
                    <a:lnTo>
                      <a:pt x="26" y="66"/>
                    </a:lnTo>
                    <a:lnTo>
                      <a:pt x="28" y="65"/>
                    </a:lnTo>
                    <a:lnTo>
                      <a:pt x="32" y="64"/>
                    </a:lnTo>
                    <a:lnTo>
                      <a:pt x="28" y="61"/>
                    </a:lnTo>
                    <a:lnTo>
                      <a:pt x="34" y="58"/>
                    </a:lnTo>
                    <a:lnTo>
                      <a:pt x="38" y="59"/>
                    </a:lnTo>
                    <a:lnTo>
                      <a:pt x="36" y="57"/>
                    </a:lnTo>
                    <a:lnTo>
                      <a:pt x="31" y="57"/>
                    </a:lnTo>
                    <a:lnTo>
                      <a:pt x="27" y="56"/>
                    </a:lnTo>
                    <a:lnTo>
                      <a:pt x="31" y="53"/>
                    </a:lnTo>
                    <a:lnTo>
                      <a:pt x="33" y="51"/>
                    </a:lnTo>
                    <a:lnTo>
                      <a:pt x="31" y="52"/>
                    </a:lnTo>
                    <a:lnTo>
                      <a:pt x="28" y="55"/>
                    </a:lnTo>
                    <a:lnTo>
                      <a:pt x="26" y="52"/>
                    </a:lnTo>
                    <a:lnTo>
                      <a:pt x="26" y="49"/>
                    </a:lnTo>
                    <a:lnTo>
                      <a:pt x="21" y="51"/>
                    </a:lnTo>
                    <a:lnTo>
                      <a:pt x="18" y="51"/>
                    </a:lnTo>
                    <a:lnTo>
                      <a:pt x="17" y="48"/>
                    </a:lnTo>
                    <a:lnTo>
                      <a:pt x="10" y="48"/>
                    </a:lnTo>
                    <a:lnTo>
                      <a:pt x="8" y="50"/>
                    </a:lnTo>
                    <a:lnTo>
                      <a:pt x="5" y="50"/>
                    </a:lnTo>
                    <a:lnTo>
                      <a:pt x="2" y="49"/>
                    </a:lnTo>
                    <a:lnTo>
                      <a:pt x="0" y="43"/>
                    </a:lnTo>
                    <a:lnTo>
                      <a:pt x="0" y="40"/>
                    </a:lnTo>
                    <a:lnTo>
                      <a:pt x="0" y="38"/>
                    </a:lnTo>
                    <a:lnTo>
                      <a:pt x="2" y="35"/>
                    </a:lnTo>
                    <a:lnTo>
                      <a:pt x="5" y="33"/>
                    </a:lnTo>
                    <a:lnTo>
                      <a:pt x="7" y="34"/>
                    </a:lnTo>
                    <a:lnTo>
                      <a:pt x="10" y="33"/>
                    </a:lnTo>
                    <a:lnTo>
                      <a:pt x="13" y="35"/>
                    </a:lnTo>
                    <a:lnTo>
                      <a:pt x="14" y="32"/>
                    </a:lnTo>
                    <a:lnTo>
                      <a:pt x="14" y="30"/>
                    </a:lnTo>
                    <a:lnTo>
                      <a:pt x="16" y="29"/>
                    </a:lnTo>
                    <a:lnTo>
                      <a:pt x="19" y="27"/>
                    </a:lnTo>
                    <a:lnTo>
                      <a:pt x="17" y="25"/>
                    </a:lnTo>
                    <a:lnTo>
                      <a:pt x="23" y="22"/>
                    </a:lnTo>
                    <a:lnTo>
                      <a:pt x="19" y="22"/>
                    </a:lnTo>
                    <a:lnTo>
                      <a:pt x="23" y="19"/>
                    </a:lnTo>
                    <a:lnTo>
                      <a:pt x="19" y="19"/>
                    </a:lnTo>
                    <a:lnTo>
                      <a:pt x="17" y="19"/>
                    </a:lnTo>
                    <a:lnTo>
                      <a:pt x="14" y="18"/>
                    </a:lnTo>
                    <a:lnTo>
                      <a:pt x="15" y="16"/>
                    </a:lnTo>
                    <a:lnTo>
                      <a:pt x="17" y="14"/>
                    </a:lnTo>
                    <a:lnTo>
                      <a:pt x="21" y="13"/>
                    </a:lnTo>
                    <a:lnTo>
                      <a:pt x="26" y="14"/>
                    </a:lnTo>
                    <a:lnTo>
                      <a:pt x="24" y="12"/>
                    </a:lnTo>
                    <a:lnTo>
                      <a:pt x="26" y="10"/>
                    </a:lnTo>
                    <a:lnTo>
                      <a:pt x="24" y="9"/>
                    </a:lnTo>
                    <a:lnTo>
                      <a:pt x="25" y="6"/>
                    </a:lnTo>
                    <a:lnTo>
                      <a:pt x="26" y="5"/>
                    </a:lnTo>
                    <a:lnTo>
                      <a:pt x="2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0" name="Freeform 136">
                <a:extLst>
                  <a:ext uri="{FF2B5EF4-FFF2-40B4-BE49-F238E27FC236}">
                    <a16:creationId xmlns:a16="http://schemas.microsoft.com/office/drawing/2014/main" id="{230F2860-F0D4-4E9E-AE0E-EAFA78566CD7}"/>
                  </a:ext>
                </a:extLst>
              </p:cNvPr>
              <p:cNvSpPr>
                <a:spLocks/>
              </p:cNvSpPr>
              <p:nvPr/>
            </p:nvSpPr>
            <p:spPr bwMode="auto">
              <a:xfrm>
                <a:off x="4420" y="1458"/>
                <a:ext cx="208" cy="103"/>
              </a:xfrm>
              <a:custGeom>
                <a:avLst/>
                <a:gdLst>
                  <a:gd name="T0" fmla="*/ 8 w 208"/>
                  <a:gd name="T1" fmla="*/ 98 h 103"/>
                  <a:gd name="T2" fmla="*/ 19 w 208"/>
                  <a:gd name="T3" fmla="*/ 91 h 103"/>
                  <a:gd name="T4" fmla="*/ 11 w 208"/>
                  <a:gd name="T5" fmla="*/ 91 h 103"/>
                  <a:gd name="T6" fmla="*/ 2 w 208"/>
                  <a:gd name="T7" fmla="*/ 92 h 103"/>
                  <a:gd name="T8" fmla="*/ 5 w 208"/>
                  <a:gd name="T9" fmla="*/ 88 h 103"/>
                  <a:gd name="T10" fmla="*/ 13 w 208"/>
                  <a:gd name="T11" fmla="*/ 84 h 103"/>
                  <a:gd name="T12" fmla="*/ 27 w 208"/>
                  <a:gd name="T13" fmla="*/ 80 h 103"/>
                  <a:gd name="T14" fmla="*/ 25 w 208"/>
                  <a:gd name="T15" fmla="*/ 75 h 103"/>
                  <a:gd name="T16" fmla="*/ 21 w 208"/>
                  <a:gd name="T17" fmla="*/ 74 h 103"/>
                  <a:gd name="T18" fmla="*/ 30 w 208"/>
                  <a:gd name="T19" fmla="*/ 69 h 103"/>
                  <a:gd name="T20" fmla="*/ 26 w 208"/>
                  <a:gd name="T21" fmla="*/ 65 h 103"/>
                  <a:gd name="T22" fmla="*/ 43 w 208"/>
                  <a:gd name="T23" fmla="*/ 65 h 103"/>
                  <a:gd name="T24" fmla="*/ 33 w 208"/>
                  <a:gd name="T25" fmla="*/ 62 h 103"/>
                  <a:gd name="T26" fmla="*/ 41 w 208"/>
                  <a:gd name="T27" fmla="*/ 57 h 103"/>
                  <a:gd name="T28" fmla="*/ 31 w 208"/>
                  <a:gd name="T29" fmla="*/ 56 h 103"/>
                  <a:gd name="T30" fmla="*/ 33 w 208"/>
                  <a:gd name="T31" fmla="*/ 51 h 103"/>
                  <a:gd name="T32" fmla="*/ 44 w 208"/>
                  <a:gd name="T33" fmla="*/ 51 h 103"/>
                  <a:gd name="T34" fmla="*/ 51 w 208"/>
                  <a:gd name="T35" fmla="*/ 46 h 103"/>
                  <a:gd name="T36" fmla="*/ 54 w 208"/>
                  <a:gd name="T37" fmla="*/ 41 h 103"/>
                  <a:gd name="T38" fmla="*/ 67 w 208"/>
                  <a:gd name="T39" fmla="*/ 36 h 103"/>
                  <a:gd name="T40" fmla="*/ 74 w 208"/>
                  <a:gd name="T41" fmla="*/ 32 h 103"/>
                  <a:gd name="T42" fmla="*/ 86 w 208"/>
                  <a:gd name="T43" fmla="*/ 29 h 103"/>
                  <a:gd name="T44" fmla="*/ 91 w 208"/>
                  <a:gd name="T45" fmla="*/ 26 h 103"/>
                  <a:gd name="T46" fmla="*/ 101 w 208"/>
                  <a:gd name="T47" fmla="*/ 27 h 103"/>
                  <a:gd name="T48" fmla="*/ 108 w 208"/>
                  <a:gd name="T49" fmla="*/ 20 h 103"/>
                  <a:gd name="T50" fmla="*/ 120 w 208"/>
                  <a:gd name="T51" fmla="*/ 23 h 103"/>
                  <a:gd name="T52" fmla="*/ 135 w 208"/>
                  <a:gd name="T53" fmla="*/ 20 h 103"/>
                  <a:gd name="T54" fmla="*/ 142 w 208"/>
                  <a:gd name="T55" fmla="*/ 20 h 103"/>
                  <a:gd name="T56" fmla="*/ 159 w 208"/>
                  <a:gd name="T57" fmla="*/ 14 h 103"/>
                  <a:gd name="T58" fmla="*/ 166 w 208"/>
                  <a:gd name="T59" fmla="*/ 9 h 103"/>
                  <a:gd name="T60" fmla="*/ 183 w 208"/>
                  <a:gd name="T61" fmla="*/ 2 h 103"/>
                  <a:gd name="T62" fmla="*/ 198 w 208"/>
                  <a:gd name="T63" fmla="*/ 1 h 103"/>
                  <a:gd name="T64" fmla="*/ 208 w 208"/>
                  <a:gd name="T65" fmla="*/ 6 h 103"/>
                  <a:gd name="T66" fmla="*/ 206 w 208"/>
                  <a:gd name="T67" fmla="*/ 14 h 103"/>
                  <a:gd name="T68" fmla="*/ 198 w 208"/>
                  <a:gd name="T69" fmla="*/ 21 h 103"/>
                  <a:gd name="T70" fmla="*/ 183 w 208"/>
                  <a:gd name="T71" fmla="*/ 26 h 103"/>
                  <a:gd name="T72" fmla="*/ 172 w 208"/>
                  <a:gd name="T73" fmla="*/ 29 h 103"/>
                  <a:gd name="T74" fmla="*/ 161 w 208"/>
                  <a:gd name="T75" fmla="*/ 31 h 103"/>
                  <a:gd name="T76" fmla="*/ 139 w 208"/>
                  <a:gd name="T77" fmla="*/ 38 h 103"/>
                  <a:gd name="T78" fmla="*/ 130 w 208"/>
                  <a:gd name="T79" fmla="*/ 40 h 103"/>
                  <a:gd name="T80" fmla="*/ 122 w 208"/>
                  <a:gd name="T81" fmla="*/ 43 h 103"/>
                  <a:gd name="T82" fmla="*/ 108 w 208"/>
                  <a:gd name="T83" fmla="*/ 48 h 103"/>
                  <a:gd name="T84" fmla="*/ 103 w 208"/>
                  <a:gd name="T85" fmla="*/ 51 h 103"/>
                  <a:gd name="T86" fmla="*/ 86 w 208"/>
                  <a:gd name="T87" fmla="*/ 56 h 103"/>
                  <a:gd name="T88" fmla="*/ 95 w 208"/>
                  <a:gd name="T89" fmla="*/ 57 h 103"/>
                  <a:gd name="T90" fmla="*/ 90 w 208"/>
                  <a:gd name="T91" fmla="*/ 63 h 103"/>
                  <a:gd name="T92" fmla="*/ 80 w 208"/>
                  <a:gd name="T93" fmla="*/ 62 h 103"/>
                  <a:gd name="T94" fmla="*/ 81 w 208"/>
                  <a:gd name="T95" fmla="*/ 68 h 103"/>
                  <a:gd name="T96" fmla="*/ 74 w 208"/>
                  <a:gd name="T97" fmla="*/ 70 h 103"/>
                  <a:gd name="T98" fmla="*/ 63 w 208"/>
                  <a:gd name="T99" fmla="*/ 69 h 103"/>
                  <a:gd name="T100" fmla="*/ 63 w 208"/>
                  <a:gd name="T101" fmla="*/ 79 h 103"/>
                  <a:gd name="T102" fmla="*/ 61 w 208"/>
                  <a:gd name="T103" fmla="*/ 81 h 103"/>
                  <a:gd name="T104" fmla="*/ 53 w 208"/>
                  <a:gd name="T105" fmla="*/ 79 h 103"/>
                  <a:gd name="T106" fmla="*/ 56 w 208"/>
                  <a:gd name="T107" fmla="*/ 84 h 103"/>
                  <a:gd name="T108" fmla="*/ 54 w 208"/>
                  <a:gd name="T109" fmla="*/ 90 h 103"/>
                  <a:gd name="T110" fmla="*/ 48 w 208"/>
                  <a:gd name="T111" fmla="*/ 88 h 103"/>
                  <a:gd name="T112" fmla="*/ 51 w 208"/>
                  <a:gd name="T113" fmla="*/ 95 h 103"/>
                  <a:gd name="T114" fmla="*/ 43 w 208"/>
                  <a:gd name="T115" fmla="*/ 92 h 103"/>
                  <a:gd name="T116" fmla="*/ 47 w 208"/>
                  <a:gd name="T117" fmla="*/ 99 h 103"/>
                  <a:gd name="T118" fmla="*/ 42 w 208"/>
                  <a:gd name="T119" fmla="*/ 103 h 103"/>
                  <a:gd name="T120" fmla="*/ 29 w 208"/>
                  <a:gd name="T121" fmla="*/ 101 h 103"/>
                  <a:gd name="T122" fmla="*/ 18 w 208"/>
                  <a:gd name="T123" fmla="*/ 98 h 103"/>
                  <a:gd name="T124" fmla="*/ 12 w 208"/>
                  <a:gd name="T125"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03">
                    <a:moveTo>
                      <a:pt x="12" y="100"/>
                    </a:moveTo>
                    <a:lnTo>
                      <a:pt x="8" y="101"/>
                    </a:lnTo>
                    <a:lnTo>
                      <a:pt x="8" y="98"/>
                    </a:lnTo>
                    <a:lnTo>
                      <a:pt x="9" y="96"/>
                    </a:lnTo>
                    <a:lnTo>
                      <a:pt x="11" y="94"/>
                    </a:lnTo>
                    <a:lnTo>
                      <a:pt x="19" y="91"/>
                    </a:lnTo>
                    <a:lnTo>
                      <a:pt x="17" y="91"/>
                    </a:lnTo>
                    <a:lnTo>
                      <a:pt x="13" y="91"/>
                    </a:lnTo>
                    <a:lnTo>
                      <a:pt x="11" y="91"/>
                    </a:lnTo>
                    <a:lnTo>
                      <a:pt x="8" y="94"/>
                    </a:lnTo>
                    <a:lnTo>
                      <a:pt x="5" y="94"/>
                    </a:lnTo>
                    <a:lnTo>
                      <a:pt x="2" y="92"/>
                    </a:lnTo>
                    <a:lnTo>
                      <a:pt x="0" y="90"/>
                    </a:lnTo>
                    <a:lnTo>
                      <a:pt x="2" y="89"/>
                    </a:lnTo>
                    <a:lnTo>
                      <a:pt x="5" y="88"/>
                    </a:lnTo>
                    <a:lnTo>
                      <a:pt x="8" y="86"/>
                    </a:lnTo>
                    <a:lnTo>
                      <a:pt x="11" y="84"/>
                    </a:lnTo>
                    <a:lnTo>
                      <a:pt x="13" y="84"/>
                    </a:lnTo>
                    <a:lnTo>
                      <a:pt x="13" y="82"/>
                    </a:lnTo>
                    <a:lnTo>
                      <a:pt x="19" y="79"/>
                    </a:lnTo>
                    <a:lnTo>
                      <a:pt x="27" y="80"/>
                    </a:lnTo>
                    <a:lnTo>
                      <a:pt x="25" y="78"/>
                    </a:lnTo>
                    <a:lnTo>
                      <a:pt x="19" y="77"/>
                    </a:lnTo>
                    <a:lnTo>
                      <a:pt x="25" y="75"/>
                    </a:lnTo>
                    <a:lnTo>
                      <a:pt x="27" y="77"/>
                    </a:lnTo>
                    <a:lnTo>
                      <a:pt x="25" y="74"/>
                    </a:lnTo>
                    <a:lnTo>
                      <a:pt x="21" y="74"/>
                    </a:lnTo>
                    <a:lnTo>
                      <a:pt x="25" y="72"/>
                    </a:lnTo>
                    <a:lnTo>
                      <a:pt x="34" y="71"/>
                    </a:lnTo>
                    <a:lnTo>
                      <a:pt x="30" y="69"/>
                    </a:lnTo>
                    <a:lnTo>
                      <a:pt x="27" y="70"/>
                    </a:lnTo>
                    <a:lnTo>
                      <a:pt x="25" y="69"/>
                    </a:lnTo>
                    <a:lnTo>
                      <a:pt x="26" y="65"/>
                    </a:lnTo>
                    <a:lnTo>
                      <a:pt x="35" y="64"/>
                    </a:lnTo>
                    <a:lnTo>
                      <a:pt x="41" y="65"/>
                    </a:lnTo>
                    <a:lnTo>
                      <a:pt x="43" y="65"/>
                    </a:lnTo>
                    <a:lnTo>
                      <a:pt x="41" y="65"/>
                    </a:lnTo>
                    <a:lnTo>
                      <a:pt x="35" y="62"/>
                    </a:lnTo>
                    <a:lnTo>
                      <a:pt x="33" y="62"/>
                    </a:lnTo>
                    <a:lnTo>
                      <a:pt x="29" y="62"/>
                    </a:lnTo>
                    <a:lnTo>
                      <a:pt x="31" y="61"/>
                    </a:lnTo>
                    <a:lnTo>
                      <a:pt x="41" y="57"/>
                    </a:lnTo>
                    <a:lnTo>
                      <a:pt x="37" y="57"/>
                    </a:lnTo>
                    <a:lnTo>
                      <a:pt x="35" y="56"/>
                    </a:lnTo>
                    <a:lnTo>
                      <a:pt x="31" y="56"/>
                    </a:lnTo>
                    <a:lnTo>
                      <a:pt x="29" y="54"/>
                    </a:lnTo>
                    <a:lnTo>
                      <a:pt x="30" y="52"/>
                    </a:lnTo>
                    <a:lnTo>
                      <a:pt x="33" y="51"/>
                    </a:lnTo>
                    <a:lnTo>
                      <a:pt x="36" y="52"/>
                    </a:lnTo>
                    <a:lnTo>
                      <a:pt x="38" y="54"/>
                    </a:lnTo>
                    <a:lnTo>
                      <a:pt x="44" y="51"/>
                    </a:lnTo>
                    <a:lnTo>
                      <a:pt x="43" y="47"/>
                    </a:lnTo>
                    <a:lnTo>
                      <a:pt x="45" y="46"/>
                    </a:lnTo>
                    <a:lnTo>
                      <a:pt x="51" y="46"/>
                    </a:lnTo>
                    <a:lnTo>
                      <a:pt x="53" y="47"/>
                    </a:lnTo>
                    <a:lnTo>
                      <a:pt x="54" y="45"/>
                    </a:lnTo>
                    <a:lnTo>
                      <a:pt x="54" y="41"/>
                    </a:lnTo>
                    <a:lnTo>
                      <a:pt x="60" y="40"/>
                    </a:lnTo>
                    <a:lnTo>
                      <a:pt x="59" y="38"/>
                    </a:lnTo>
                    <a:lnTo>
                      <a:pt x="67" y="36"/>
                    </a:lnTo>
                    <a:lnTo>
                      <a:pt x="69" y="34"/>
                    </a:lnTo>
                    <a:lnTo>
                      <a:pt x="72" y="32"/>
                    </a:lnTo>
                    <a:lnTo>
                      <a:pt x="74" y="32"/>
                    </a:lnTo>
                    <a:lnTo>
                      <a:pt x="80" y="30"/>
                    </a:lnTo>
                    <a:lnTo>
                      <a:pt x="84" y="30"/>
                    </a:lnTo>
                    <a:lnTo>
                      <a:pt x="86" y="29"/>
                    </a:lnTo>
                    <a:lnTo>
                      <a:pt x="89" y="29"/>
                    </a:lnTo>
                    <a:lnTo>
                      <a:pt x="89" y="26"/>
                    </a:lnTo>
                    <a:lnTo>
                      <a:pt x="91" y="26"/>
                    </a:lnTo>
                    <a:lnTo>
                      <a:pt x="97" y="26"/>
                    </a:lnTo>
                    <a:lnTo>
                      <a:pt x="95" y="27"/>
                    </a:lnTo>
                    <a:lnTo>
                      <a:pt x="101" y="27"/>
                    </a:lnTo>
                    <a:lnTo>
                      <a:pt x="99" y="23"/>
                    </a:lnTo>
                    <a:lnTo>
                      <a:pt x="101" y="21"/>
                    </a:lnTo>
                    <a:lnTo>
                      <a:pt x="108" y="20"/>
                    </a:lnTo>
                    <a:lnTo>
                      <a:pt x="114" y="21"/>
                    </a:lnTo>
                    <a:lnTo>
                      <a:pt x="118" y="21"/>
                    </a:lnTo>
                    <a:lnTo>
                      <a:pt x="120" y="23"/>
                    </a:lnTo>
                    <a:lnTo>
                      <a:pt x="123" y="22"/>
                    </a:lnTo>
                    <a:lnTo>
                      <a:pt x="129" y="22"/>
                    </a:lnTo>
                    <a:lnTo>
                      <a:pt x="135" y="20"/>
                    </a:lnTo>
                    <a:lnTo>
                      <a:pt x="137" y="19"/>
                    </a:lnTo>
                    <a:lnTo>
                      <a:pt x="140" y="19"/>
                    </a:lnTo>
                    <a:lnTo>
                      <a:pt x="142" y="20"/>
                    </a:lnTo>
                    <a:lnTo>
                      <a:pt x="154" y="14"/>
                    </a:lnTo>
                    <a:lnTo>
                      <a:pt x="156" y="15"/>
                    </a:lnTo>
                    <a:lnTo>
                      <a:pt x="159" y="14"/>
                    </a:lnTo>
                    <a:lnTo>
                      <a:pt x="163" y="12"/>
                    </a:lnTo>
                    <a:lnTo>
                      <a:pt x="167" y="14"/>
                    </a:lnTo>
                    <a:lnTo>
                      <a:pt x="166" y="9"/>
                    </a:lnTo>
                    <a:lnTo>
                      <a:pt x="170" y="7"/>
                    </a:lnTo>
                    <a:lnTo>
                      <a:pt x="178" y="3"/>
                    </a:lnTo>
                    <a:lnTo>
                      <a:pt x="183" y="2"/>
                    </a:lnTo>
                    <a:lnTo>
                      <a:pt x="189" y="0"/>
                    </a:lnTo>
                    <a:lnTo>
                      <a:pt x="196" y="0"/>
                    </a:lnTo>
                    <a:lnTo>
                      <a:pt x="198" y="1"/>
                    </a:lnTo>
                    <a:lnTo>
                      <a:pt x="201" y="2"/>
                    </a:lnTo>
                    <a:lnTo>
                      <a:pt x="207" y="4"/>
                    </a:lnTo>
                    <a:lnTo>
                      <a:pt x="208" y="6"/>
                    </a:lnTo>
                    <a:lnTo>
                      <a:pt x="208" y="10"/>
                    </a:lnTo>
                    <a:lnTo>
                      <a:pt x="207" y="12"/>
                    </a:lnTo>
                    <a:lnTo>
                      <a:pt x="206" y="14"/>
                    </a:lnTo>
                    <a:lnTo>
                      <a:pt x="202" y="17"/>
                    </a:lnTo>
                    <a:lnTo>
                      <a:pt x="200" y="19"/>
                    </a:lnTo>
                    <a:lnTo>
                      <a:pt x="198" y="21"/>
                    </a:lnTo>
                    <a:lnTo>
                      <a:pt x="195" y="21"/>
                    </a:lnTo>
                    <a:lnTo>
                      <a:pt x="189" y="23"/>
                    </a:lnTo>
                    <a:lnTo>
                      <a:pt x="183" y="26"/>
                    </a:lnTo>
                    <a:lnTo>
                      <a:pt x="178" y="27"/>
                    </a:lnTo>
                    <a:lnTo>
                      <a:pt x="174" y="29"/>
                    </a:lnTo>
                    <a:lnTo>
                      <a:pt x="172" y="29"/>
                    </a:lnTo>
                    <a:lnTo>
                      <a:pt x="170" y="30"/>
                    </a:lnTo>
                    <a:lnTo>
                      <a:pt x="166" y="30"/>
                    </a:lnTo>
                    <a:lnTo>
                      <a:pt x="161" y="31"/>
                    </a:lnTo>
                    <a:lnTo>
                      <a:pt x="155" y="35"/>
                    </a:lnTo>
                    <a:lnTo>
                      <a:pt x="144" y="36"/>
                    </a:lnTo>
                    <a:lnTo>
                      <a:pt x="139" y="38"/>
                    </a:lnTo>
                    <a:lnTo>
                      <a:pt x="136" y="37"/>
                    </a:lnTo>
                    <a:lnTo>
                      <a:pt x="133" y="39"/>
                    </a:lnTo>
                    <a:lnTo>
                      <a:pt x="130" y="40"/>
                    </a:lnTo>
                    <a:lnTo>
                      <a:pt x="128" y="40"/>
                    </a:lnTo>
                    <a:lnTo>
                      <a:pt x="124" y="41"/>
                    </a:lnTo>
                    <a:lnTo>
                      <a:pt x="122" y="43"/>
                    </a:lnTo>
                    <a:lnTo>
                      <a:pt x="116" y="44"/>
                    </a:lnTo>
                    <a:lnTo>
                      <a:pt x="114" y="45"/>
                    </a:lnTo>
                    <a:lnTo>
                      <a:pt x="108" y="48"/>
                    </a:lnTo>
                    <a:lnTo>
                      <a:pt x="105" y="49"/>
                    </a:lnTo>
                    <a:lnTo>
                      <a:pt x="105" y="47"/>
                    </a:lnTo>
                    <a:lnTo>
                      <a:pt x="103" y="51"/>
                    </a:lnTo>
                    <a:lnTo>
                      <a:pt x="95" y="55"/>
                    </a:lnTo>
                    <a:lnTo>
                      <a:pt x="91" y="56"/>
                    </a:lnTo>
                    <a:lnTo>
                      <a:pt x="86" y="56"/>
                    </a:lnTo>
                    <a:lnTo>
                      <a:pt x="86" y="57"/>
                    </a:lnTo>
                    <a:lnTo>
                      <a:pt x="89" y="57"/>
                    </a:lnTo>
                    <a:lnTo>
                      <a:pt x="95" y="57"/>
                    </a:lnTo>
                    <a:lnTo>
                      <a:pt x="94" y="60"/>
                    </a:lnTo>
                    <a:lnTo>
                      <a:pt x="91" y="61"/>
                    </a:lnTo>
                    <a:lnTo>
                      <a:pt x="90" y="63"/>
                    </a:lnTo>
                    <a:lnTo>
                      <a:pt x="86" y="64"/>
                    </a:lnTo>
                    <a:lnTo>
                      <a:pt x="84" y="63"/>
                    </a:lnTo>
                    <a:lnTo>
                      <a:pt x="80" y="62"/>
                    </a:lnTo>
                    <a:lnTo>
                      <a:pt x="84" y="64"/>
                    </a:lnTo>
                    <a:lnTo>
                      <a:pt x="84" y="66"/>
                    </a:lnTo>
                    <a:lnTo>
                      <a:pt x="81" y="68"/>
                    </a:lnTo>
                    <a:lnTo>
                      <a:pt x="76" y="64"/>
                    </a:lnTo>
                    <a:lnTo>
                      <a:pt x="76" y="66"/>
                    </a:lnTo>
                    <a:lnTo>
                      <a:pt x="74" y="70"/>
                    </a:lnTo>
                    <a:lnTo>
                      <a:pt x="72" y="71"/>
                    </a:lnTo>
                    <a:lnTo>
                      <a:pt x="69" y="70"/>
                    </a:lnTo>
                    <a:lnTo>
                      <a:pt x="63" y="69"/>
                    </a:lnTo>
                    <a:lnTo>
                      <a:pt x="65" y="71"/>
                    </a:lnTo>
                    <a:lnTo>
                      <a:pt x="69" y="77"/>
                    </a:lnTo>
                    <a:lnTo>
                      <a:pt x="63" y="79"/>
                    </a:lnTo>
                    <a:lnTo>
                      <a:pt x="65" y="80"/>
                    </a:lnTo>
                    <a:lnTo>
                      <a:pt x="63" y="81"/>
                    </a:lnTo>
                    <a:lnTo>
                      <a:pt x="61" y="81"/>
                    </a:lnTo>
                    <a:lnTo>
                      <a:pt x="57" y="83"/>
                    </a:lnTo>
                    <a:lnTo>
                      <a:pt x="55" y="82"/>
                    </a:lnTo>
                    <a:lnTo>
                      <a:pt x="53" y="79"/>
                    </a:lnTo>
                    <a:lnTo>
                      <a:pt x="51" y="81"/>
                    </a:lnTo>
                    <a:lnTo>
                      <a:pt x="53" y="82"/>
                    </a:lnTo>
                    <a:lnTo>
                      <a:pt x="56" y="84"/>
                    </a:lnTo>
                    <a:lnTo>
                      <a:pt x="57" y="87"/>
                    </a:lnTo>
                    <a:lnTo>
                      <a:pt x="56" y="90"/>
                    </a:lnTo>
                    <a:lnTo>
                      <a:pt x="54" y="90"/>
                    </a:lnTo>
                    <a:lnTo>
                      <a:pt x="51" y="88"/>
                    </a:lnTo>
                    <a:lnTo>
                      <a:pt x="39" y="87"/>
                    </a:lnTo>
                    <a:lnTo>
                      <a:pt x="48" y="88"/>
                    </a:lnTo>
                    <a:lnTo>
                      <a:pt x="52" y="89"/>
                    </a:lnTo>
                    <a:lnTo>
                      <a:pt x="54" y="92"/>
                    </a:lnTo>
                    <a:lnTo>
                      <a:pt x="51" y="95"/>
                    </a:lnTo>
                    <a:lnTo>
                      <a:pt x="48" y="95"/>
                    </a:lnTo>
                    <a:lnTo>
                      <a:pt x="45" y="95"/>
                    </a:lnTo>
                    <a:lnTo>
                      <a:pt x="43" y="92"/>
                    </a:lnTo>
                    <a:lnTo>
                      <a:pt x="45" y="95"/>
                    </a:lnTo>
                    <a:lnTo>
                      <a:pt x="47" y="96"/>
                    </a:lnTo>
                    <a:lnTo>
                      <a:pt x="47" y="99"/>
                    </a:lnTo>
                    <a:lnTo>
                      <a:pt x="45" y="100"/>
                    </a:lnTo>
                    <a:lnTo>
                      <a:pt x="42" y="100"/>
                    </a:lnTo>
                    <a:lnTo>
                      <a:pt x="42" y="103"/>
                    </a:lnTo>
                    <a:lnTo>
                      <a:pt x="34" y="103"/>
                    </a:lnTo>
                    <a:lnTo>
                      <a:pt x="33" y="99"/>
                    </a:lnTo>
                    <a:lnTo>
                      <a:pt x="29" y="101"/>
                    </a:lnTo>
                    <a:lnTo>
                      <a:pt x="27" y="100"/>
                    </a:lnTo>
                    <a:lnTo>
                      <a:pt x="24" y="100"/>
                    </a:lnTo>
                    <a:lnTo>
                      <a:pt x="18" y="98"/>
                    </a:lnTo>
                    <a:lnTo>
                      <a:pt x="16" y="98"/>
                    </a:lnTo>
                    <a:lnTo>
                      <a:pt x="12" y="100"/>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1" name="Freeform 137">
                <a:extLst>
                  <a:ext uri="{FF2B5EF4-FFF2-40B4-BE49-F238E27FC236}">
                    <a16:creationId xmlns:a16="http://schemas.microsoft.com/office/drawing/2014/main" id="{FB049A10-1E0B-4850-BB28-8F19DB298C96}"/>
                  </a:ext>
                </a:extLst>
              </p:cNvPr>
              <p:cNvSpPr>
                <a:spLocks noEditPoints="1"/>
              </p:cNvSpPr>
              <p:nvPr/>
            </p:nvSpPr>
            <p:spPr bwMode="auto">
              <a:xfrm>
                <a:off x="4940" y="1327"/>
                <a:ext cx="114" cy="78"/>
              </a:xfrm>
              <a:custGeom>
                <a:avLst/>
                <a:gdLst>
                  <a:gd name="T0" fmla="*/ 29 w 114"/>
                  <a:gd name="T1" fmla="*/ 41 h 78"/>
                  <a:gd name="T2" fmla="*/ 38 w 114"/>
                  <a:gd name="T3" fmla="*/ 38 h 78"/>
                  <a:gd name="T4" fmla="*/ 55 w 114"/>
                  <a:gd name="T5" fmla="*/ 35 h 78"/>
                  <a:gd name="T6" fmla="*/ 76 w 114"/>
                  <a:gd name="T7" fmla="*/ 33 h 78"/>
                  <a:gd name="T8" fmla="*/ 73 w 114"/>
                  <a:gd name="T9" fmla="*/ 23 h 78"/>
                  <a:gd name="T10" fmla="*/ 80 w 114"/>
                  <a:gd name="T11" fmla="*/ 20 h 78"/>
                  <a:gd name="T12" fmla="*/ 85 w 114"/>
                  <a:gd name="T13" fmla="*/ 16 h 78"/>
                  <a:gd name="T14" fmla="*/ 70 w 114"/>
                  <a:gd name="T15" fmla="*/ 12 h 78"/>
                  <a:gd name="T16" fmla="*/ 59 w 114"/>
                  <a:gd name="T17" fmla="*/ 1 h 78"/>
                  <a:gd name="T18" fmla="*/ 46 w 114"/>
                  <a:gd name="T19" fmla="*/ 1 h 78"/>
                  <a:gd name="T20" fmla="*/ 43 w 114"/>
                  <a:gd name="T21" fmla="*/ 6 h 78"/>
                  <a:gd name="T22" fmla="*/ 20 w 114"/>
                  <a:gd name="T23" fmla="*/ 9 h 78"/>
                  <a:gd name="T24" fmla="*/ 14 w 114"/>
                  <a:gd name="T25" fmla="*/ 15 h 78"/>
                  <a:gd name="T26" fmla="*/ 22 w 114"/>
                  <a:gd name="T27" fmla="*/ 16 h 78"/>
                  <a:gd name="T28" fmla="*/ 16 w 114"/>
                  <a:gd name="T29" fmla="*/ 23 h 78"/>
                  <a:gd name="T30" fmla="*/ 3 w 114"/>
                  <a:gd name="T31" fmla="*/ 28 h 78"/>
                  <a:gd name="T32" fmla="*/ 1 w 114"/>
                  <a:gd name="T33" fmla="*/ 30 h 78"/>
                  <a:gd name="T34" fmla="*/ 10 w 114"/>
                  <a:gd name="T35" fmla="*/ 32 h 78"/>
                  <a:gd name="T36" fmla="*/ 22 w 114"/>
                  <a:gd name="T37" fmla="*/ 33 h 78"/>
                  <a:gd name="T38" fmla="*/ 10 w 114"/>
                  <a:gd name="T39" fmla="*/ 34 h 78"/>
                  <a:gd name="T40" fmla="*/ 12 w 114"/>
                  <a:gd name="T41" fmla="*/ 35 h 78"/>
                  <a:gd name="T42" fmla="*/ 12 w 114"/>
                  <a:gd name="T43" fmla="*/ 37 h 78"/>
                  <a:gd name="T44" fmla="*/ 110 w 114"/>
                  <a:gd name="T45" fmla="*/ 63 h 78"/>
                  <a:gd name="T46" fmla="*/ 114 w 114"/>
                  <a:gd name="T47" fmla="*/ 49 h 78"/>
                  <a:gd name="T48" fmla="*/ 108 w 114"/>
                  <a:gd name="T49" fmla="*/ 43 h 78"/>
                  <a:gd name="T50" fmla="*/ 96 w 114"/>
                  <a:gd name="T51" fmla="*/ 40 h 78"/>
                  <a:gd name="T52" fmla="*/ 91 w 114"/>
                  <a:gd name="T53" fmla="*/ 46 h 78"/>
                  <a:gd name="T54" fmla="*/ 80 w 114"/>
                  <a:gd name="T55" fmla="*/ 49 h 78"/>
                  <a:gd name="T56" fmla="*/ 81 w 114"/>
                  <a:gd name="T57" fmla="*/ 46 h 78"/>
                  <a:gd name="T58" fmla="*/ 86 w 114"/>
                  <a:gd name="T59" fmla="*/ 39 h 78"/>
                  <a:gd name="T60" fmla="*/ 76 w 114"/>
                  <a:gd name="T61" fmla="*/ 35 h 78"/>
                  <a:gd name="T62" fmla="*/ 53 w 114"/>
                  <a:gd name="T63" fmla="*/ 38 h 78"/>
                  <a:gd name="T64" fmla="*/ 44 w 114"/>
                  <a:gd name="T65" fmla="*/ 40 h 78"/>
                  <a:gd name="T66" fmla="*/ 36 w 114"/>
                  <a:gd name="T67" fmla="*/ 44 h 78"/>
                  <a:gd name="T68" fmla="*/ 30 w 114"/>
                  <a:gd name="T69" fmla="*/ 50 h 78"/>
                  <a:gd name="T70" fmla="*/ 17 w 114"/>
                  <a:gd name="T71" fmla="*/ 55 h 78"/>
                  <a:gd name="T72" fmla="*/ 25 w 114"/>
                  <a:gd name="T73" fmla="*/ 56 h 78"/>
                  <a:gd name="T74" fmla="*/ 28 w 114"/>
                  <a:gd name="T75" fmla="*/ 58 h 78"/>
                  <a:gd name="T76" fmla="*/ 36 w 114"/>
                  <a:gd name="T77" fmla="*/ 59 h 78"/>
                  <a:gd name="T78" fmla="*/ 40 w 114"/>
                  <a:gd name="T79" fmla="*/ 66 h 78"/>
                  <a:gd name="T80" fmla="*/ 47 w 114"/>
                  <a:gd name="T81" fmla="*/ 71 h 78"/>
                  <a:gd name="T82" fmla="*/ 54 w 114"/>
                  <a:gd name="T83" fmla="*/ 72 h 78"/>
                  <a:gd name="T84" fmla="*/ 69 w 114"/>
                  <a:gd name="T85" fmla="*/ 72 h 78"/>
                  <a:gd name="T86" fmla="*/ 93 w 114"/>
                  <a:gd name="T87" fmla="*/ 78 h 78"/>
                  <a:gd name="T88" fmla="*/ 112 w 114"/>
                  <a:gd name="T89" fmla="*/ 74 h 78"/>
                  <a:gd name="T90" fmla="*/ 107 w 114"/>
                  <a:gd name="T91" fmla="*/ 66 h 78"/>
                  <a:gd name="T92" fmla="*/ 107 w 114"/>
                  <a:gd name="T93"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78">
                    <a:moveTo>
                      <a:pt x="23" y="40"/>
                    </a:moveTo>
                    <a:lnTo>
                      <a:pt x="27" y="41"/>
                    </a:lnTo>
                    <a:lnTo>
                      <a:pt x="29" y="41"/>
                    </a:lnTo>
                    <a:lnTo>
                      <a:pt x="32" y="40"/>
                    </a:lnTo>
                    <a:lnTo>
                      <a:pt x="36" y="40"/>
                    </a:lnTo>
                    <a:lnTo>
                      <a:pt x="38" y="38"/>
                    </a:lnTo>
                    <a:lnTo>
                      <a:pt x="44" y="37"/>
                    </a:lnTo>
                    <a:lnTo>
                      <a:pt x="47" y="37"/>
                    </a:lnTo>
                    <a:lnTo>
                      <a:pt x="55" y="35"/>
                    </a:lnTo>
                    <a:lnTo>
                      <a:pt x="61" y="34"/>
                    </a:lnTo>
                    <a:lnTo>
                      <a:pt x="73" y="34"/>
                    </a:lnTo>
                    <a:lnTo>
                      <a:pt x="76" y="33"/>
                    </a:lnTo>
                    <a:lnTo>
                      <a:pt x="79" y="31"/>
                    </a:lnTo>
                    <a:lnTo>
                      <a:pt x="76" y="29"/>
                    </a:lnTo>
                    <a:lnTo>
                      <a:pt x="73" y="23"/>
                    </a:lnTo>
                    <a:lnTo>
                      <a:pt x="74" y="21"/>
                    </a:lnTo>
                    <a:lnTo>
                      <a:pt x="78" y="21"/>
                    </a:lnTo>
                    <a:lnTo>
                      <a:pt x="80" y="20"/>
                    </a:lnTo>
                    <a:lnTo>
                      <a:pt x="83" y="21"/>
                    </a:lnTo>
                    <a:lnTo>
                      <a:pt x="86" y="20"/>
                    </a:lnTo>
                    <a:lnTo>
                      <a:pt x="85" y="16"/>
                    </a:lnTo>
                    <a:lnTo>
                      <a:pt x="81" y="15"/>
                    </a:lnTo>
                    <a:lnTo>
                      <a:pt x="76" y="14"/>
                    </a:lnTo>
                    <a:lnTo>
                      <a:pt x="70" y="12"/>
                    </a:lnTo>
                    <a:lnTo>
                      <a:pt x="68" y="9"/>
                    </a:lnTo>
                    <a:lnTo>
                      <a:pt x="65" y="6"/>
                    </a:lnTo>
                    <a:lnTo>
                      <a:pt x="59" y="1"/>
                    </a:lnTo>
                    <a:lnTo>
                      <a:pt x="54" y="0"/>
                    </a:lnTo>
                    <a:lnTo>
                      <a:pt x="48" y="0"/>
                    </a:lnTo>
                    <a:lnTo>
                      <a:pt x="46" y="1"/>
                    </a:lnTo>
                    <a:lnTo>
                      <a:pt x="52" y="3"/>
                    </a:lnTo>
                    <a:lnTo>
                      <a:pt x="49" y="3"/>
                    </a:lnTo>
                    <a:lnTo>
                      <a:pt x="43" y="6"/>
                    </a:lnTo>
                    <a:lnTo>
                      <a:pt x="35" y="6"/>
                    </a:lnTo>
                    <a:lnTo>
                      <a:pt x="31" y="7"/>
                    </a:lnTo>
                    <a:lnTo>
                      <a:pt x="20" y="9"/>
                    </a:lnTo>
                    <a:lnTo>
                      <a:pt x="19" y="12"/>
                    </a:lnTo>
                    <a:lnTo>
                      <a:pt x="17" y="13"/>
                    </a:lnTo>
                    <a:lnTo>
                      <a:pt x="14" y="15"/>
                    </a:lnTo>
                    <a:lnTo>
                      <a:pt x="13" y="17"/>
                    </a:lnTo>
                    <a:lnTo>
                      <a:pt x="19" y="17"/>
                    </a:lnTo>
                    <a:lnTo>
                      <a:pt x="22" y="16"/>
                    </a:lnTo>
                    <a:lnTo>
                      <a:pt x="20" y="18"/>
                    </a:lnTo>
                    <a:lnTo>
                      <a:pt x="17" y="20"/>
                    </a:lnTo>
                    <a:lnTo>
                      <a:pt x="16" y="23"/>
                    </a:lnTo>
                    <a:lnTo>
                      <a:pt x="14" y="25"/>
                    </a:lnTo>
                    <a:lnTo>
                      <a:pt x="9" y="25"/>
                    </a:lnTo>
                    <a:lnTo>
                      <a:pt x="3" y="28"/>
                    </a:lnTo>
                    <a:lnTo>
                      <a:pt x="12" y="29"/>
                    </a:lnTo>
                    <a:lnTo>
                      <a:pt x="3" y="29"/>
                    </a:lnTo>
                    <a:lnTo>
                      <a:pt x="1" y="30"/>
                    </a:lnTo>
                    <a:lnTo>
                      <a:pt x="0" y="32"/>
                    </a:lnTo>
                    <a:lnTo>
                      <a:pt x="4" y="32"/>
                    </a:lnTo>
                    <a:lnTo>
                      <a:pt x="10" y="32"/>
                    </a:lnTo>
                    <a:lnTo>
                      <a:pt x="17" y="31"/>
                    </a:lnTo>
                    <a:lnTo>
                      <a:pt x="19" y="32"/>
                    </a:lnTo>
                    <a:lnTo>
                      <a:pt x="22" y="33"/>
                    </a:lnTo>
                    <a:lnTo>
                      <a:pt x="17" y="32"/>
                    </a:lnTo>
                    <a:lnTo>
                      <a:pt x="6" y="33"/>
                    </a:lnTo>
                    <a:lnTo>
                      <a:pt x="10" y="34"/>
                    </a:lnTo>
                    <a:lnTo>
                      <a:pt x="12" y="35"/>
                    </a:lnTo>
                    <a:lnTo>
                      <a:pt x="14" y="37"/>
                    </a:lnTo>
                    <a:lnTo>
                      <a:pt x="12" y="35"/>
                    </a:lnTo>
                    <a:lnTo>
                      <a:pt x="9" y="35"/>
                    </a:lnTo>
                    <a:lnTo>
                      <a:pt x="6" y="35"/>
                    </a:lnTo>
                    <a:lnTo>
                      <a:pt x="12" y="37"/>
                    </a:lnTo>
                    <a:lnTo>
                      <a:pt x="18" y="38"/>
                    </a:lnTo>
                    <a:lnTo>
                      <a:pt x="23" y="40"/>
                    </a:lnTo>
                    <a:close/>
                    <a:moveTo>
                      <a:pt x="110" y="63"/>
                    </a:moveTo>
                    <a:lnTo>
                      <a:pt x="111" y="55"/>
                    </a:lnTo>
                    <a:lnTo>
                      <a:pt x="112" y="51"/>
                    </a:lnTo>
                    <a:lnTo>
                      <a:pt x="114" y="49"/>
                    </a:lnTo>
                    <a:lnTo>
                      <a:pt x="114" y="47"/>
                    </a:lnTo>
                    <a:lnTo>
                      <a:pt x="112" y="44"/>
                    </a:lnTo>
                    <a:lnTo>
                      <a:pt x="108" y="43"/>
                    </a:lnTo>
                    <a:lnTo>
                      <a:pt x="106" y="41"/>
                    </a:lnTo>
                    <a:lnTo>
                      <a:pt x="102" y="40"/>
                    </a:lnTo>
                    <a:lnTo>
                      <a:pt x="96" y="40"/>
                    </a:lnTo>
                    <a:lnTo>
                      <a:pt x="93" y="41"/>
                    </a:lnTo>
                    <a:lnTo>
                      <a:pt x="94" y="42"/>
                    </a:lnTo>
                    <a:lnTo>
                      <a:pt x="91" y="46"/>
                    </a:lnTo>
                    <a:lnTo>
                      <a:pt x="86" y="44"/>
                    </a:lnTo>
                    <a:lnTo>
                      <a:pt x="83" y="47"/>
                    </a:lnTo>
                    <a:lnTo>
                      <a:pt x="80" y="49"/>
                    </a:lnTo>
                    <a:lnTo>
                      <a:pt x="78" y="49"/>
                    </a:lnTo>
                    <a:lnTo>
                      <a:pt x="81" y="49"/>
                    </a:lnTo>
                    <a:lnTo>
                      <a:pt x="81" y="46"/>
                    </a:lnTo>
                    <a:lnTo>
                      <a:pt x="85" y="44"/>
                    </a:lnTo>
                    <a:lnTo>
                      <a:pt x="86" y="41"/>
                    </a:lnTo>
                    <a:lnTo>
                      <a:pt x="86" y="39"/>
                    </a:lnTo>
                    <a:lnTo>
                      <a:pt x="83" y="37"/>
                    </a:lnTo>
                    <a:lnTo>
                      <a:pt x="80" y="35"/>
                    </a:lnTo>
                    <a:lnTo>
                      <a:pt x="76" y="35"/>
                    </a:lnTo>
                    <a:lnTo>
                      <a:pt x="72" y="37"/>
                    </a:lnTo>
                    <a:lnTo>
                      <a:pt x="66" y="38"/>
                    </a:lnTo>
                    <a:lnTo>
                      <a:pt x="53" y="38"/>
                    </a:lnTo>
                    <a:lnTo>
                      <a:pt x="49" y="40"/>
                    </a:lnTo>
                    <a:lnTo>
                      <a:pt x="47" y="39"/>
                    </a:lnTo>
                    <a:lnTo>
                      <a:pt x="44" y="40"/>
                    </a:lnTo>
                    <a:lnTo>
                      <a:pt x="42" y="41"/>
                    </a:lnTo>
                    <a:lnTo>
                      <a:pt x="38" y="42"/>
                    </a:lnTo>
                    <a:lnTo>
                      <a:pt x="36" y="44"/>
                    </a:lnTo>
                    <a:lnTo>
                      <a:pt x="42" y="47"/>
                    </a:lnTo>
                    <a:lnTo>
                      <a:pt x="32" y="49"/>
                    </a:lnTo>
                    <a:lnTo>
                      <a:pt x="30" y="50"/>
                    </a:lnTo>
                    <a:lnTo>
                      <a:pt x="28" y="52"/>
                    </a:lnTo>
                    <a:lnTo>
                      <a:pt x="22" y="56"/>
                    </a:lnTo>
                    <a:lnTo>
                      <a:pt x="17" y="55"/>
                    </a:lnTo>
                    <a:lnTo>
                      <a:pt x="19" y="56"/>
                    </a:lnTo>
                    <a:lnTo>
                      <a:pt x="22" y="58"/>
                    </a:lnTo>
                    <a:lnTo>
                      <a:pt x="25" y="56"/>
                    </a:lnTo>
                    <a:lnTo>
                      <a:pt x="28" y="56"/>
                    </a:lnTo>
                    <a:lnTo>
                      <a:pt x="30" y="58"/>
                    </a:lnTo>
                    <a:lnTo>
                      <a:pt x="28" y="58"/>
                    </a:lnTo>
                    <a:lnTo>
                      <a:pt x="31" y="59"/>
                    </a:lnTo>
                    <a:lnTo>
                      <a:pt x="34" y="58"/>
                    </a:lnTo>
                    <a:lnTo>
                      <a:pt x="36" y="59"/>
                    </a:lnTo>
                    <a:lnTo>
                      <a:pt x="37" y="63"/>
                    </a:lnTo>
                    <a:lnTo>
                      <a:pt x="38" y="65"/>
                    </a:lnTo>
                    <a:lnTo>
                      <a:pt x="40" y="66"/>
                    </a:lnTo>
                    <a:lnTo>
                      <a:pt x="42" y="69"/>
                    </a:lnTo>
                    <a:lnTo>
                      <a:pt x="45" y="71"/>
                    </a:lnTo>
                    <a:lnTo>
                      <a:pt x="47" y="71"/>
                    </a:lnTo>
                    <a:lnTo>
                      <a:pt x="51" y="69"/>
                    </a:lnTo>
                    <a:lnTo>
                      <a:pt x="54" y="69"/>
                    </a:lnTo>
                    <a:lnTo>
                      <a:pt x="54" y="72"/>
                    </a:lnTo>
                    <a:lnTo>
                      <a:pt x="61" y="72"/>
                    </a:lnTo>
                    <a:lnTo>
                      <a:pt x="66" y="73"/>
                    </a:lnTo>
                    <a:lnTo>
                      <a:pt x="69" y="72"/>
                    </a:lnTo>
                    <a:lnTo>
                      <a:pt x="76" y="76"/>
                    </a:lnTo>
                    <a:lnTo>
                      <a:pt x="80" y="77"/>
                    </a:lnTo>
                    <a:lnTo>
                      <a:pt x="93" y="78"/>
                    </a:lnTo>
                    <a:lnTo>
                      <a:pt x="95" y="77"/>
                    </a:lnTo>
                    <a:lnTo>
                      <a:pt x="107" y="77"/>
                    </a:lnTo>
                    <a:lnTo>
                      <a:pt x="112" y="74"/>
                    </a:lnTo>
                    <a:lnTo>
                      <a:pt x="112" y="72"/>
                    </a:lnTo>
                    <a:lnTo>
                      <a:pt x="111" y="68"/>
                    </a:lnTo>
                    <a:lnTo>
                      <a:pt x="107" y="66"/>
                    </a:lnTo>
                    <a:lnTo>
                      <a:pt x="104" y="65"/>
                    </a:lnTo>
                    <a:lnTo>
                      <a:pt x="102" y="63"/>
                    </a:lnTo>
                    <a:lnTo>
                      <a:pt x="107" y="64"/>
                    </a:lnTo>
                    <a:lnTo>
                      <a:pt x="11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2" name="Freeform 138">
                <a:extLst>
                  <a:ext uri="{FF2B5EF4-FFF2-40B4-BE49-F238E27FC236}">
                    <a16:creationId xmlns:a16="http://schemas.microsoft.com/office/drawing/2014/main" id="{1538E19E-14B2-4956-B748-8AFA5C2EFE39}"/>
                  </a:ext>
                </a:extLst>
              </p:cNvPr>
              <p:cNvSpPr>
                <a:spLocks/>
              </p:cNvSpPr>
              <p:nvPr/>
            </p:nvSpPr>
            <p:spPr bwMode="auto">
              <a:xfrm>
                <a:off x="5046" y="1386"/>
                <a:ext cx="84" cy="44"/>
              </a:xfrm>
              <a:custGeom>
                <a:avLst/>
                <a:gdLst>
                  <a:gd name="T0" fmla="*/ 35 w 84"/>
                  <a:gd name="T1" fmla="*/ 5 h 44"/>
                  <a:gd name="T2" fmla="*/ 35 w 84"/>
                  <a:gd name="T3" fmla="*/ 4 h 44"/>
                  <a:gd name="T4" fmla="*/ 32 w 84"/>
                  <a:gd name="T5" fmla="*/ 2 h 44"/>
                  <a:gd name="T6" fmla="*/ 30 w 84"/>
                  <a:gd name="T7" fmla="*/ 4 h 44"/>
                  <a:gd name="T8" fmla="*/ 28 w 84"/>
                  <a:gd name="T9" fmla="*/ 6 h 44"/>
                  <a:gd name="T10" fmla="*/ 25 w 84"/>
                  <a:gd name="T11" fmla="*/ 6 h 44"/>
                  <a:gd name="T12" fmla="*/ 23 w 84"/>
                  <a:gd name="T13" fmla="*/ 9 h 44"/>
                  <a:gd name="T14" fmla="*/ 23 w 84"/>
                  <a:gd name="T15" fmla="*/ 12 h 44"/>
                  <a:gd name="T16" fmla="*/ 28 w 84"/>
                  <a:gd name="T17" fmla="*/ 14 h 44"/>
                  <a:gd name="T18" fmla="*/ 23 w 84"/>
                  <a:gd name="T19" fmla="*/ 12 h 44"/>
                  <a:gd name="T20" fmla="*/ 21 w 84"/>
                  <a:gd name="T21" fmla="*/ 14 h 44"/>
                  <a:gd name="T22" fmla="*/ 18 w 84"/>
                  <a:gd name="T23" fmla="*/ 16 h 44"/>
                  <a:gd name="T24" fmla="*/ 22 w 84"/>
                  <a:gd name="T25" fmla="*/ 19 h 44"/>
                  <a:gd name="T26" fmla="*/ 24 w 84"/>
                  <a:gd name="T27" fmla="*/ 21 h 44"/>
                  <a:gd name="T28" fmla="*/ 16 w 84"/>
                  <a:gd name="T29" fmla="*/ 19 h 44"/>
                  <a:gd name="T30" fmla="*/ 13 w 84"/>
                  <a:gd name="T31" fmla="*/ 22 h 44"/>
                  <a:gd name="T32" fmla="*/ 10 w 84"/>
                  <a:gd name="T33" fmla="*/ 27 h 44"/>
                  <a:gd name="T34" fmla="*/ 8 w 84"/>
                  <a:gd name="T35" fmla="*/ 30 h 44"/>
                  <a:gd name="T36" fmla="*/ 8 w 84"/>
                  <a:gd name="T37" fmla="*/ 33 h 44"/>
                  <a:gd name="T38" fmla="*/ 2 w 84"/>
                  <a:gd name="T39" fmla="*/ 39 h 44"/>
                  <a:gd name="T40" fmla="*/ 0 w 84"/>
                  <a:gd name="T41" fmla="*/ 42 h 44"/>
                  <a:gd name="T42" fmla="*/ 2 w 84"/>
                  <a:gd name="T43" fmla="*/ 44 h 44"/>
                  <a:gd name="T44" fmla="*/ 5 w 84"/>
                  <a:gd name="T45" fmla="*/ 44 h 44"/>
                  <a:gd name="T46" fmla="*/ 8 w 84"/>
                  <a:gd name="T47" fmla="*/ 44 h 44"/>
                  <a:gd name="T48" fmla="*/ 22 w 84"/>
                  <a:gd name="T49" fmla="*/ 40 h 44"/>
                  <a:gd name="T50" fmla="*/ 24 w 84"/>
                  <a:gd name="T51" fmla="*/ 38 h 44"/>
                  <a:gd name="T52" fmla="*/ 41 w 84"/>
                  <a:gd name="T53" fmla="*/ 36 h 44"/>
                  <a:gd name="T54" fmla="*/ 44 w 84"/>
                  <a:gd name="T55" fmla="*/ 36 h 44"/>
                  <a:gd name="T56" fmla="*/ 47 w 84"/>
                  <a:gd name="T57" fmla="*/ 38 h 44"/>
                  <a:gd name="T58" fmla="*/ 49 w 84"/>
                  <a:gd name="T59" fmla="*/ 35 h 44"/>
                  <a:gd name="T60" fmla="*/ 52 w 84"/>
                  <a:gd name="T61" fmla="*/ 36 h 44"/>
                  <a:gd name="T62" fmla="*/ 61 w 84"/>
                  <a:gd name="T63" fmla="*/ 35 h 44"/>
                  <a:gd name="T64" fmla="*/ 69 w 84"/>
                  <a:gd name="T65" fmla="*/ 33 h 44"/>
                  <a:gd name="T66" fmla="*/ 73 w 84"/>
                  <a:gd name="T67" fmla="*/ 33 h 44"/>
                  <a:gd name="T68" fmla="*/ 75 w 84"/>
                  <a:gd name="T69" fmla="*/ 33 h 44"/>
                  <a:gd name="T70" fmla="*/ 83 w 84"/>
                  <a:gd name="T71" fmla="*/ 27 h 44"/>
                  <a:gd name="T72" fmla="*/ 84 w 84"/>
                  <a:gd name="T73" fmla="*/ 25 h 44"/>
                  <a:gd name="T74" fmla="*/ 82 w 84"/>
                  <a:gd name="T75" fmla="*/ 19 h 44"/>
                  <a:gd name="T76" fmla="*/ 78 w 84"/>
                  <a:gd name="T77" fmla="*/ 17 h 44"/>
                  <a:gd name="T78" fmla="*/ 76 w 84"/>
                  <a:gd name="T79" fmla="*/ 17 h 44"/>
                  <a:gd name="T80" fmla="*/ 74 w 84"/>
                  <a:gd name="T81" fmla="*/ 19 h 44"/>
                  <a:gd name="T82" fmla="*/ 70 w 84"/>
                  <a:gd name="T83" fmla="*/ 14 h 44"/>
                  <a:gd name="T84" fmla="*/ 65 w 84"/>
                  <a:gd name="T85" fmla="*/ 12 h 44"/>
                  <a:gd name="T86" fmla="*/ 62 w 84"/>
                  <a:gd name="T87" fmla="*/ 9 h 44"/>
                  <a:gd name="T88" fmla="*/ 60 w 84"/>
                  <a:gd name="T89" fmla="*/ 8 h 44"/>
                  <a:gd name="T90" fmla="*/ 54 w 84"/>
                  <a:gd name="T91" fmla="*/ 9 h 44"/>
                  <a:gd name="T92" fmla="*/ 52 w 84"/>
                  <a:gd name="T93" fmla="*/ 12 h 44"/>
                  <a:gd name="T94" fmla="*/ 49 w 84"/>
                  <a:gd name="T95" fmla="*/ 12 h 44"/>
                  <a:gd name="T96" fmla="*/ 44 w 84"/>
                  <a:gd name="T97" fmla="*/ 16 h 44"/>
                  <a:gd name="T98" fmla="*/ 42 w 84"/>
                  <a:gd name="T99" fmla="*/ 16 h 44"/>
                  <a:gd name="T100" fmla="*/ 44 w 84"/>
                  <a:gd name="T101" fmla="*/ 14 h 44"/>
                  <a:gd name="T102" fmla="*/ 48 w 84"/>
                  <a:gd name="T103" fmla="*/ 6 h 44"/>
                  <a:gd name="T104" fmla="*/ 50 w 84"/>
                  <a:gd name="T105" fmla="*/ 4 h 44"/>
                  <a:gd name="T106" fmla="*/ 48 w 84"/>
                  <a:gd name="T107" fmla="*/ 1 h 44"/>
                  <a:gd name="T108" fmla="*/ 42 w 84"/>
                  <a:gd name="T109" fmla="*/ 0 h 44"/>
                  <a:gd name="T110" fmla="*/ 39 w 84"/>
                  <a:gd name="T111" fmla="*/ 0 h 44"/>
                  <a:gd name="T112" fmla="*/ 38 w 84"/>
                  <a:gd name="T113" fmla="*/ 4 h 44"/>
                  <a:gd name="T114" fmla="*/ 39 w 84"/>
                  <a:gd name="T115" fmla="*/ 6 h 44"/>
                  <a:gd name="T116" fmla="*/ 35 w 84"/>
                  <a:gd name="T117" fmla="*/ 5 h 44"/>
                  <a:gd name="T118" fmla="*/ 35 w 84"/>
                  <a:gd name="T11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44">
                    <a:moveTo>
                      <a:pt x="35" y="5"/>
                    </a:moveTo>
                    <a:lnTo>
                      <a:pt x="35" y="4"/>
                    </a:lnTo>
                    <a:lnTo>
                      <a:pt x="32" y="2"/>
                    </a:lnTo>
                    <a:lnTo>
                      <a:pt x="30" y="4"/>
                    </a:lnTo>
                    <a:lnTo>
                      <a:pt x="28" y="6"/>
                    </a:lnTo>
                    <a:lnTo>
                      <a:pt x="25" y="6"/>
                    </a:lnTo>
                    <a:lnTo>
                      <a:pt x="23" y="9"/>
                    </a:lnTo>
                    <a:lnTo>
                      <a:pt x="23" y="12"/>
                    </a:lnTo>
                    <a:lnTo>
                      <a:pt x="28" y="14"/>
                    </a:lnTo>
                    <a:lnTo>
                      <a:pt x="23" y="12"/>
                    </a:lnTo>
                    <a:lnTo>
                      <a:pt x="21" y="14"/>
                    </a:lnTo>
                    <a:lnTo>
                      <a:pt x="18" y="16"/>
                    </a:lnTo>
                    <a:lnTo>
                      <a:pt x="22" y="19"/>
                    </a:lnTo>
                    <a:lnTo>
                      <a:pt x="24" y="21"/>
                    </a:lnTo>
                    <a:lnTo>
                      <a:pt x="16" y="19"/>
                    </a:lnTo>
                    <a:lnTo>
                      <a:pt x="13" y="22"/>
                    </a:lnTo>
                    <a:lnTo>
                      <a:pt x="10" y="27"/>
                    </a:lnTo>
                    <a:lnTo>
                      <a:pt x="8" y="30"/>
                    </a:lnTo>
                    <a:lnTo>
                      <a:pt x="8" y="33"/>
                    </a:lnTo>
                    <a:lnTo>
                      <a:pt x="2" y="39"/>
                    </a:lnTo>
                    <a:lnTo>
                      <a:pt x="0" y="42"/>
                    </a:lnTo>
                    <a:lnTo>
                      <a:pt x="2" y="44"/>
                    </a:lnTo>
                    <a:lnTo>
                      <a:pt x="5" y="44"/>
                    </a:lnTo>
                    <a:lnTo>
                      <a:pt x="8" y="44"/>
                    </a:lnTo>
                    <a:lnTo>
                      <a:pt x="22" y="40"/>
                    </a:lnTo>
                    <a:lnTo>
                      <a:pt x="24" y="38"/>
                    </a:lnTo>
                    <a:lnTo>
                      <a:pt x="41" y="36"/>
                    </a:lnTo>
                    <a:lnTo>
                      <a:pt x="44" y="36"/>
                    </a:lnTo>
                    <a:lnTo>
                      <a:pt x="47" y="38"/>
                    </a:lnTo>
                    <a:lnTo>
                      <a:pt x="49" y="35"/>
                    </a:lnTo>
                    <a:lnTo>
                      <a:pt x="52" y="36"/>
                    </a:lnTo>
                    <a:lnTo>
                      <a:pt x="61" y="35"/>
                    </a:lnTo>
                    <a:lnTo>
                      <a:pt x="69" y="33"/>
                    </a:lnTo>
                    <a:lnTo>
                      <a:pt x="73" y="33"/>
                    </a:lnTo>
                    <a:lnTo>
                      <a:pt x="75" y="33"/>
                    </a:lnTo>
                    <a:lnTo>
                      <a:pt x="83" y="27"/>
                    </a:lnTo>
                    <a:lnTo>
                      <a:pt x="84" y="25"/>
                    </a:lnTo>
                    <a:lnTo>
                      <a:pt x="82" y="19"/>
                    </a:lnTo>
                    <a:lnTo>
                      <a:pt x="78" y="17"/>
                    </a:lnTo>
                    <a:lnTo>
                      <a:pt x="76" y="17"/>
                    </a:lnTo>
                    <a:lnTo>
                      <a:pt x="74" y="19"/>
                    </a:lnTo>
                    <a:lnTo>
                      <a:pt x="70" y="14"/>
                    </a:lnTo>
                    <a:lnTo>
                      <a:pt x="65" y="12"/>
                    </a:lnTo>
                    <a:lnTo>
                      <a:pt x="62" y="9"/>
                    </a:lnTo>
                    <a:lnTo>
                      <a:pt x="60" y="8"/>
                    </a:lnTo>
                    <a:lnTo>
                      <a:pt x="54" y="9"/>
                    </a:lnTo>
                    <a:lnTo>
                      <a:pt x="52" y="12"/>
                    </a:lnTo>
                    <a:lnTo>
                      <a:pt x="49" y="12"/>
                    </a:lnTo>
                    <a:lnTo>
                      <a:pt x="44" y="16"/>
                    </a:lnTo>
                    <a:lnTo>
                      <a:pt x="42" y="16"/>
                    </a:lnTo>
                    <a:lnTo>
                      <a:pt x="44" y="14"/>
                    </a:lnTo>
                    <a:lnTo>
                      <a:pt x="48" y="6"/>
                    </a:lnTo>
                    <a:lnTo>
                      <a:pt x="50" y="4"/>
                    </a:lnTo>
                    <a:lnTo>
                      <a:pt x="48" y="1"/>
                    </a:lnTo>
                    <a:lnTo>
                      <a:pt x="42" y="0"/>
                    </a:lnTo>
                    <a:lnTo>
                      <a:pt x="39" y="0"/>
                    </a:lnTo>
                    <a:lnTo>
                      <a:pt x="38" y="4"/>
                    </a:lnTo>
                    <a:lnTo>
                      <a:pt x="39" y="6"/>
                    </a:lnTo>
                    <a:lnTo>
                      <a:pt x="35" y="5"/>
                    </a:lnTo>
                    <a:lnTo>
                      <a:pt x="3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3" name="Freeform 139">
                <a:extLst>
                  <a:ext uri="{FF2B5EF4-FFF2-40B4-BE49-F238E27FC236}">
                    <a16:creationId xmlns:a16="http://schemas.microsoft.com/office/drawing/2014/main" id="{A6E02C0F-1C34-4001-AFF8-70EFE98A1061}"/>
                  </a:ext>
                </a:extLst>
              </p:cNvPr>
              <p:cNvSpPr>
                <a:spLocks/>
              </p:cNvSpPr>
              <p:nvPr/>
            </p:nvSpPr>
            <p:spPr bwMode="auto">
              <a:xfrm>
                <a:off x="5113" y="2811"/>
                <a:ext cx="3" cy="2"/>
              </a:xfrm>
              <a:custGeom>
                <a:avLst/>
                <a:gdLst>
                  <a:gd name="T0" fmla="*/ 2 w 3"/>
                  <a:gd name="T1" fmla="*/ 0 h 2"/>
                  <a:gd name="T2" fmla="*/ 0 w 3"/>
                  <a:gd name="T3" fmla="*/ 0 h 2"/>
                  <a:gd name="T4" fmla="*/ 0 w 3"/>
                  <a:gd name="T5" fmla="*/ 2 h 2"/>
                  <a:gd name="T6" fmla="*/ 3 w 3"/>
                  <a:gd name="T7" fmla="*/ 2 h 2"/>
                  <a:gd name="T8" fmla="*/ 2 w 3"/>
                  <a:gd name="T9" fmla="*/ 0 h 2"/>
                  <a:gd name="T10" fmla="*/ 2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0"/>
                    </a:moveTo>
                    <a:lnTo>
                      <a:pt x="0" y="0"/>
                    </a:lnTo>
                    <a:lnTo>
                      <a:pt x="0" y="2"/>
                    </a:lnTo>
                    <a:lnTo>
                      <a:pt x="3"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4" name="Freeform 140">
                <a:extLst>
                  <a:ext uri="{FF2B5EF4-FFF2-40B4-BE49-F238E27FC236}">
                    <a16:creationId xmlns:a16="http://schemas.microsoft.com/office/drawing/2014/main" id="{1BEA7AFA-77BC-40AA-A4C4-9486CB5B1AA2}"/>
                  </a:ext>
                </a:extLst>
              </p:cNvPr>
              <p:cNvSpPr>
                <a:spLocks/>
              </p:cNvSpPr>
              <p:nvPr/>
            </p:nvSpPr>
            <p:spPr bwMode="auto">
              <a:xfrm>
                <a:off x="5115" y="2805"/>
                <a:ext cx="8" cy="5"/>
              </a:xfrm>
              <a:custGeom>
                <a:avLst/>
                <a:gdLst>
                  <a:gd name="T0" fmla="*/ 2 w 8"/>
                  <a:gd name="T1" fmla="*/ 0 h 5"/>
                  <a:gd name="T2" fmla="*/ 1 w 8"/>
                  <a:gd name="T3" fmla="*/ 0 h 5"/>
                  <a:gd name="T4" fmla="*/ 0 w 8"/>
                  <a:gd name="T5" fmla="*/ 4 h 5"/>
                  <a:gd name="T6" fmla="*/ 5 w 8"/>
                  <a:gd name="T7" fmla="*/ 5 h 5"/>
                  <a:gd name="T8" fmla="*/ 8 w 8"/>
                  <a:gd name="T9" fmla="*/ 5 h 5"/>
                  <a:gd name="T10" fmla="*/ 5 w 8"/>
                  <a:gd name="T11" fmla="*/ 4 h 5"/>
                  <a:gd name="T12" fmla="*/ 2 w 8"/>
                  <a:gd name="T13" fmla="*/ 0 h 5"/>
                  <a:gd name="T14" fmla="*/ 2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0"/>
                    </a:moveTo>
                    <a:lnTo>
                      <a:pt x="1" y="0"/>
                    </a:lnTo>
                    <a:lnTo>
                      <a:pt x="0" y="4"/>
                    </a:lnTo>
                    <a:lnTo>
                      <a:pt x="5" y="5"/>
                    </a:lnTo>
                    <a:lnTo>
                      <a:pt x="8" y="5"/>
                    </a:lnTo>
                    <a:lnTo>
                      <a:pt x="5" y="4"/>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5" name="Freeform 141">
                <a:extLst>
                  <a:ext uri="{FF2B5EF4-FFF2-40B4-BE49-F238E27FC236}">
                    <a16:creationId xmlns:a16="http://schemas.microsoft.com/office/drawing/2014/main" id="{C528BFC6-02B1-4708-B289-A9DC700DA3FA}"/>
                  </a:ext>
                </a:extLst>
              </p:cNvPr>
              <p:cNvSpPr>
                <a:spLocks/>
              </p:cNvSpPr>
              <p:nvPr/>
            </p:nvSpPr>
            <p:spPr bwMode="auto">
              <a:xfrm>
                <a:off x="5125" y="2827"/>
                <a:ext cx="21" cy="21"/>
              </a:xfrm>
              <a:custGeom>
                <a:avLst/>
                <a:gdLst>
                  <a:gd name="T0" fmla="*/ 3 w 21"/>
                  <a:gd name="T1" fmla="*/ 2 h 21"/>
                  <a:gd name="T2" fmla="*/ 0 w 21"/>
                  <a:gd name="T3" fmla="*/ 5 h 21"/>
                  <a:gd name="T4" fmla="*/ 2 w 21"/>
                  <a:gd name="T5" fmla="*/ 8 h 21"/>
                  <a:gd name="T6" fmla="*/ 7 w 21"/>
                  <a:gd name="T7" fmla="*/ 8 h 21"/>
                  <a:gd name="T8" fmla="*/ 11 w 21"/>
                  <a:gd name="T9" fmla="*/ 13 h 21"/>
                  <a:gd name="T10" fmla="*/ 11 w 21"/>
                  <a:gd name="T11" fmla="*/ 16 h 21"/>
                  <a:gd name="T12" fmla="*/ 13 w 21"/>
                  <a:gd name="T13" fmla="*/ 18 h 21"/>
                  <a:gd name="T14" fmla="*/ 19 w 21"/>
                  <a:gd name="T15" fmla="*/ 20 h 21"/>
                  <a:gd name="T16" fmla="*/ 21 w 21"/>
                  <a:gd name="T17" fmla="*/ 21 h 21"/>
                  <a:gd name="T18" fmla="*/ 20 w 21"/>
                  <a:gd name="T19" fmla="*/ 18 h 21"/>
                  <a:gd name="T20" fmla="*/ 21 w 21"/>
                  <a:gd name="T21" fmla="*/ 16 h 21"/>
                  <a:gd name="T22" fmla="*/ 19 w 21"/>
                  <a:gd name="T23" fmla="*/ 13 h 21"/>
                  <a:gd name="T24" fmla="*/ 15 w 21"/>
                  <a:gd name="T25" fmla="*/ 12 h 21"/>
                  <a:gd name="T26" fmla="*/ 14 w 21"/>
                  <a:gd name="T27" fmla="*/ 9 h 21"/>
                  <a:gd name="T28" fmla="*/ 13 w 21"/>
                  <a:gd name="T29" fmla="*/ 4 h 21"/>
                  <a:gd name="T30" fmla="*/ 12 w 21"/>
                  <a:gd name="T31" fmla="*/ 1 h 21"/>
                  <a:gd name="T32" fmla="*/ 8 w 21"/>
                  <a:gd name="T33" fmla="*/ 0 h 21"/>
                  <a:gd name="T34" fmla="*/ 8 w 21"/>
                  <a:gd name="T35" fmla="*/ 2 h 21"/>
                  <a:gd name="T36" fmla="*/ 5 w 21"/>
                  <a:gd name="T37" fmla="*/ 0 h 21"/>
                  <a:gd name="T38" fmla="*/ 3 w 21"/>
                  <a:gd name="T39" fmla="*/ 1 h 21"/>
                  <a:gd name="T40" fmla="*/ 3 w 21"/>
                  <a:gd name="T41" fmla="*/ 2 h 21"/>
                  <a:gd name="T42" fmla="*/ 3 w 21"/>
                  <a:gd name="T4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3" y="2"/>
                    </a:moveTo>
                    <a:lnTo>
                      <a:pt x="0" y="5"/>
                    </a:lnTo>
                    <a:lnTo>
                      <a:pt x="2" y="8"/>
                    </a:lnTo>
                    <a:lnTo>
                      <a:pt x="7" y="8"/>
                    </a:lnTo>
                    <a:lnTo>
                      <a:pt x="11" y="13"/>
                    </a:lnTo>
                    <a:lnTo>
                      <a:pt x="11" y="16"/>
                    </a:lnTo>
                    <a:lnTo>
                      <a:pt x="13" y="18"/>
                    </a:lnTo>
                    <a:lnTo>
                      <a:pt x="19" y="20"/>
                    </a:lnTo>
                    <a:lnTo>
                      <a:pt x="21" y="21"/>
                    </a:lnTo>
                    <a:lnTo>
                      <a:pt x="20" y="18"/>
                    </a:lnTo>
                    <a:lnTo>
                      <a:pt x="21" y="16"/>
                    </a:lnTo>
                    <a:lnTo>
                      <a:pt x="19" y="13"/>
                    </a:lnTo>
                    <a:lnTo>
                      <a:pt x="15" y="12"/>
                    </a:lnTo>
                    <a:lnTo>
                      <a:pt x="14" y="9"/>
                    </a:lnTo>
                    <a:lnTo>
                      <a:pt x="13" y="4"/>
                    </a:lnTo>
                    <a:lnTo>
                      <a:pt x="12" y="1"/>
                    </a:lnTo>
                    <a:lnTo>
                      <a:pt x="8" y="0"/>
                    </a:lnTo>
                    <a:lnTo>
                      <a:pt x="8" y="2"/>
                    </a:lnTo>
                    <a:lnTo>
                      <a:pt x="5" y="0"/>
                    </a:lnTo>
                    <a:lnTo>
                      <a:pt x="3" y="1"/>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6" name="Freeform 142">
                <a:extLst>
                  <a:ext uri="{FF2B5EF4-FFF2-40B4-BE49-F238E27FC236}">
                    <a16:creationId xmlns:a16="http://schemas.microsoft.com/office/drawing/2014/main" id="{BB365291-F54E-447B-8C38-2FA1ABAA07D3}"/>
                  </a:ext>
                </a:extLst>
              </p:cNvPr>
              <p:cNvSpPr>
                <a:spLocks/>
              </p:cNvSpPr>
              <p:nvPr/>
            </p:nvSpPr>
            <p:spPr bwMode="auto">
              <a:xfrm>
                <a:off x="5128" y="2887"/>
                <a:ext cx="125" cy="39"/>
              </a:xfrm>
              <a:custGeom>
                <a:avLst/>
                <a:gdLst>
                  <a:gd name="T0" fmla="*/ 47 w 125"/>
                  <a:gd name="T1" fmla="*/ 25 h 39"/>
                  <a:gd name="T2" fmla="*/ 47 w 125"/>
                  <a:gd name="T3" fmla="*/ 25 h 39"/>
                  <a:gd name="T4" fmla="*/ 52 w 125"/>
                  <a:gd name="T5" fmla="*/ 25 h 39"/>
                  <a:gd name="T6" fmla="*/ 69 w 125"/>
                  <a:gd name="T7" fmla="*/ 30 h 39"/>
                  <a:gd name="T8" fmla="*/ 81 w 125"/>
                  <a:gd name="T9" fmla="*/ 33 h 39"/>
                  <a:gd name="T10" fmla="*/ 87 w 125"/>
                  <a:gd name="T11" fmla="*/ 33 h 39"/>
                  <a:gd name="T12" fmla="*/ 100 w 125"/>
                  <a:gd name="T13" fmla="*/ 35 h 39"/>
                  <a:gd name="T14" fmla="*/ 105 w 125"/>
                  <a:gd name="T15" fmla="*/ 33 h 39"/>
                  <a:gd name="T16" fmla="*/ 111 w 125"/>
                  <a:gd name="T17" fmla="*/ 35 h 39"/>
                  <a:gd name="T18" fmla="*/ 119 w 125"/>
                  <a:gd name="T19" fmla="*/ 37 h 39"/>
                  <a:gd name="T20" fmla="*/ 123 w 125"/>
                  <a:gd name="T21" fmla="*/ 39 h 39"/>
                  <a:gd name="T22" fmla="*/ 123 w 125"/>
                  <a:gd name="T23" fmla="*/ 36 h 39"/>
                  <a:gd name="T24" fmla="*/ 124 w 125"/>
                  <a:gd name="T25" fmla="*/ 26 h 39"/>
                  <a:gd name="T26" fmla="*/ 113 w 125"/>
                  <a:gd name="T27" fmla="*/ 25 h 39"/>
                  <a:gd name="T28" fmla="*/ 108 w 125"/>
                  <a:gd name="T29" fmla="*/ 26 h 39"/>
                  <a:gd name="T30" fmla="*/ 102 w 125"/>
                  <a:gd name="T31" fmla="*/ 19 h 39"/>
                  <a:gd name="T32" fmla="*/ 99 w 125"/>
                  <a:gd name="T33" fmla="*/ 16 h 39"/>
                  <a:gd name="T34" fmla="*/ 94 w 125"/>
                  <a:gd name="T35" fmla="*/ 13 h 39"/>
                  <a:gd name="T36" fmla="*/ 84 w 125"/>
                  <a:gd name="T37" fmla="*/ 10 h 39"/>
                  <a:gd name="T38" fmla="*/ 79 w 125"/>
                  <a:gd name="T39" fmla="*/ 10 h 39"/>
                  <a:gd name="T40" fmla="*/ 74 w 125"/>
                  <a:gd name="T41" fmla="*/ 6 h 39"/>
                  <a:gd name="T42" fmla="*/ 71 w 125"/>
                  <a:gd name="T43" fmla="*/ 12 h 39"/>
                  <a:gd name="T44" fmla="*/ 65 w 125"/>
                  <a:gd name="T45" fmla="*/ 13 h 39"/>
                  <a:gd name="T46" fmla="*/ 57 w 125"/>
                  <a:gd name="T47" fmla="*/ 12 h 39"/>
                  <a:gd name="T48" fmla="*/ 50 w 125"/>
                  <a:gd name="T49" fmla="*/ 12 h 39"/>
                  <a:gd name="T50" fmla="*/ 45 w 125"/>
                  <a:gd name="T51" fmla="*/ 12 h 39"/>
                  <a:gd name="T52" fmla="*/ 39 w 125"/>
                  <a:gd name="T53" fmla="*/ 4 h 39"/>
                  <a:gd name="T54" fmla="*/ 34 w 125"/>
                  <a:gd name="T55" fmla="*/ 4 h 39"/>
                  <a:gd name="T56" fmla="*/ 28 w 125"/>
                  <a:gd name="T57" fmla="*/ 3 h 39"/>
                  <a:gd name="T58" fmla="*/ 22 w 125"/>
                  <a:gd name="T59" fmla="*/ 0 h 39"/>
                  <a:gd name="T60" fmla="*/ 19 w 125"/>
                  <a:gd name="T61" fmla="*/ 2 h 39"/>
                  <a:gd name="T62" fmla="*/ 8 w 125"/>
                  <a:gd name="T63" fmla="*/ 1 h 39"/>
                  <a:gd name="T64" fmla="*/ 5 w 125"/>
                  <a:gd name="T65" fmla="*/ 6 h 39"/>
                  <a:gd name="T66" fmla="*/ 2 w 125"/>
                  <a:gd name="T67" fmla="*/ 10 h 39"/>
                  <a:gd name="T68" fmla="*/ 2 w 125"/>
                  <a:gd name="T69" fmla="*/ 13 h 39"/>
                  <a:gd name="T70" fmla="*/ 10 w 125"/>
                  <a:gd name="T71" fmla="*/ 13 h 39"/>
                  <a:gd name="T72" fmla="*/ 16 w 125"/>
                  <a:gd name="T73" fmla="*/ 14 h 39"/>
                  <a:gd name="T74" fmla="*/ 27 w 125"/>
                  <a:gd name="T75" fmla="*/ 21 h 39"/>
                  <a:gd name="T76" fmla="*/ 34 w 125"/>
                  <a:gd name="T77" fmla="*/ 25 h 39"/>
                  <a:gd name="T78" fmla="*/ 43 w 125"/>
                  <a:gd name="T79" fmla="*/ 26 h 39"/>
                  <a:gd name="T80" fmla="*/ 47 w 125"/>
                  <a:gd name="T81"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39">
                    <a:moveTo>
                      <a:pt x="47" y="25"/>
                    </a:moveTo>
                    <a:lnTo>
                      <a:pt x="47" y="25"/>
                    </a:lnTo>
                    <a:lnTo>
                      <a:pt x="50" y="26"/>
                    </a:lnTo>
                    <a:lnTo>
                      <a:pt x="47" y="25"/>
                    </a:lnTo>
                    <a:lnTo>
                      <a:pt x="50" y="25"/>
                    </a:lnTo>
                    <a:lnTo>
                      <a:pt x="52" y="25"/>
                    </a:lnTo>
                    <a:lnTo>
                      <a:pt x="63" y="27"/>
                    </a:lnTo>
                    <a:lnTo>
                      <a:pt x="69" y="30"/>
                    </a:lnTo>
                    <a:lnTo>
                      <a:pt x="74" y="31"/>
                    </a:lnTo>
                    <a:lnTo>
                      <a:pt x="81" y="33"/>
                    </a:lnTo>
                    <a:lnTo>
                      <a:pt x="84" y="33"/>
                    </a:lnTo>
                    <a:lnTo>
                      <a:pt x="87" y="33"/>
                    </a:lnTo>
                    <a:lnTo>
                      <a:pt x="93" y="33"/>
                    </a:lnTo>
                    <a:lnTo>
                      <a:pt x="100" y="35"/>
                    </a:lnTo>
                    <a:lnTo>
                      <a:pt x="103" y="34"/>
                    </a:lnTo>
                    <a:lnTo>
                      <a:pt x="105" y="33"/>
                    </a:lnTo>
                    <a:lnTo>
                      <a:pt x="108" y="33"/>
                    </a:lnTo>
                    <a:lnTo>
                      <a:pt x="111" y="35"/>
                    </a:lnTo>
                    <a:lnTo>
                      <a:pt x="116" y="36"/>
                    </a:lnTo>
                    <a:lnTo>
                      <a:pt x="119" y="37"/>
                    </a:lnTo>
                    <a:lnTo>
                      <a:pt x="122" y="37"/>
                    </a:lnTo>
                    <a:lnTo>
                      <a:pt x="123" y="39"/>
                    </a:lnTo>
                    <a:lnTo>
                      <a:pt x="125" y="39"/>
                    </a:lnTo>
                    <a:lnTo>
                      <a:pt x="123" y="36"/>
                    </a:lnTo>
                    <a:lnTo>
                      <a:pt x="123" y="34"/>
                    </a:lnTo>
                    <a:lnTo>
                      <a:pt x="124" y="26"/>
                    </a:lnTo>
                    <a:lnTo>
                      <a:pt x="119" y="23"/>
                    </a:lnTo>
                    <a:lnTo>
                      <a:pt x="113" y="25"/>
                    </a:lnTo>
                    <a:lnTo>
                      <a:pt x="111" y="25"/>
                    </a:lnTo>
                    <a:lnTo>
                      <a:pt x="108" y="26"/>
                    </a:lnTo>
                    <a:lnTo>
                      <a:pt x="100" y="22"/>
                    </a:lnTo>
                    <a:lnTo>
                      <a:pt x="102" y="19"/>
                    </a:lnTo>
                    <a:lnTo>
                      <a:pt x="99" y="18"/>
                    </a:lnTo>
                    <a:lnTo>
                      <a:pt x="99" y="16"/>
                    </a:lnTo>
                    <a:lnTo>
                      <a:pt x="96" y="13"/>
                    </a:lnTo>
                    <a:lnTo>
                      <a:pt x="94" y="13"/>
                    </a:lnTo>
                    <a:lnTo>
                      <a:pt x="88" y="12"/>
                    </a:lnTo>
                    <a:lnTo>
                      <a:pt x="84" y="10"/>
                    </a:lnTo>
                    <a:lnTo>
                      <a:pt x="80" y="11"/>
                    </a:lnTo>
                    <a:lnTo>
                      <a:pt x="79" y="10"/>
                    </a:lnTo>
                    <a:lnTo>
                      <a:pt x="78" y="8"/>
                    </a:lnTo>
                    <a:lnTo>
                      <a:pt x="74" y="6"/>
                    </a:lnTo>
                    <a:lnTo>
                      <a:pt x="72" y="8"/>
                    </a:lnTo>
                    <a:lnTo>
                      <a:pt x="71" y="12"/>
                    </a:lnTo>
                    <a:lnTo>
                      <a:pt x="69" y="14"/>
                    </a:lnTo>
                    <a:lnTo>
                      <a:pt x="65" y="13"/>
                    </a:lnTo>
                    <a:lnTo>
                      <a:pt x="63" y="13"/>
                    </a:lnTo>
                    <a:lnTo>
                      <a:pt x="57" y="12"/>
                    </a:lnTo>
                    <a:lnTo>
                      <a:pt x="52" y="13"/>
                    </a:lnTo>
                    <a:lnTo>
                      <a:pt x="50" y="12"/>
                    </a:lnTo>
                    <a:lnTo>
                      <a:pt x="48" y="12"/>
                    </a:lnTo>
                    <a:lnTo>
                      <a:pt x="45" y="12"/>
                    </a:lnTo>
                    <a:lnTo>
                      <a:pt x="42" y="6"/>
                    </a:lnTo>
                    <a:lnTo>
                      <a:pt x="39" y="4"/>
                    </a:lnTo>
                    <a:lnTo>
                      <a:pt x="36" y="5"/>
                    </a:lnTo>
                    <a:lnTo>
                      <a:pt x="34" y="4"/>
                    </a:lnTo>
                    <a:lnTo>
                      <a:pt x="31" y="4"/>
                    </a:lnTo>
                    <a:lnTo>
                      <a:pt x="28" y="3"/>
                    </a:lnTo>
                    <a:lnTo>
                      <a:pt x="26" y="0"/>
                    </a:lnTo>
                    <a:lnTo>
                      <a:pt x="22" y="0"/>
                    </a:lnTo>
                    <a:lnTo>
                      <a:pt x="22" y="2"/>
                    </a:lnTo>
                    <a:lnTo>
                      <a:pt x="19" y="2"/>
                    </a:lnTo>
                    <a:lnTo>
                      <a:pt x="13" y="1"/>
                    </a:lnTo>
                    <a:lnTo>
                      <a:pt x="8" y="1"/>
                    </a:lnTo>
                    <a:lnTo>
                      <a:pt x="5" y="4"/>
                    </a:lnTo>
                    <a:lnTo>
                      <a:pt x="5" y="6"/>
                    </a:lnTo>
                    <a:lnTo>
                      <a:pt x="3" y="8"/>
                    </a:lnTo>
                    <a:lnTo>
                      <a:pt x="2" y="10"/>
                    </a:lnTo>
                    <a:lnTo>
                      <a:pt x="0" y="10"/>
                    </a:lnTo>
                    <a:lnTo>
                      <a:pt x="2" y="13"/>
                    </a:lnTo>
                    <a:lnTo>
                      <a:pt x="8" y="12"/>
                    </a:lnTo>
                    <a:lnTo>
                      <a:pt x="10" y="13"/>
                    </a:lnTo>
                    <a:lnTo>
                      <a:pt x="13" y="14"/>
                    </a:lnTo>
                    <a:lnTo>
                      <a:pt x="16" y="14"/>
                    </a:lnTo>
                    <a:lnTo>
                      <a:pt x="14" y="20"/>
                    </a:lnTo>
                    <a:lnTo>
                      <a:pt x="27" y="21"/>
                    </a:lnTo>
                    <a:lnTo>
                      <a:pt x="30" y="22"/>
                    </a:lnTo>
                    <a:lnTo>
                      <a:pt x="34" y="25"/>
                    </a:lnTo>
                    <a:lnTo>
                      <a:pt x="37" y="26"/>
                    </a:lnTo>
                    <a:lnTo>
                      <a:pt x="43" y="26"/>
                    </a:lnTo>
                    <a:lnTo>
                      <a:pt x="45" y="23"/>
                    </a:lnTo>
                    <a:lnTo>
                      <a:pt x="47" y="25"/>
                    </a:lnTo>
                    <a:lnTo>
                      <a:pt x="4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7" name="Freeform 143">
                <a:extLst>
                  <a:ext uri="{FF2B5EF4-FFF2-40B4-BE49-F238E27FC236}">
                    <a16:creationId xmlns:a16="http://schemas.microsoft.com/office/drawing/2014/main" id="{A638923E-6B0A-40C1-9D35-A05BB33EB78C}"/>
                  </a:ext>
                </a:extLst>
              </p:cNvPr>
              <p:cNvSpPr>
                <a:spLocks/>
              </p:cNvSpPr>
              <p:nvPr/>
            </p:nvSpPr>
            <p:spPr bwMode="auto">
              <a:xfrm>
                <a:off x="5158" y="2840"/>
                <a:ext cx="9" cy="10"/>
              </a:xfrm>
              <a:custGeom>
                <a:avLst/>
                <a:gdLst>
                  <a:gd name="T0" fmla="*/ 1 w 9"/>
                  <a:gd name="T1" fmla="*/ 0 h 10"/>
                  <a:gd name="T2" fmla="*/ 0 w 9"/>
                  <a:gd name="T3" fmla="*/ 4 h 10"/>
                  <a:gd name="T4" fmla="*/ 0 w 9"/>
                  <a:gd name="T5" fmla="*/ 8 h 10"/>
                  <a:gd name="T6" fmla="*/ 4 w 9"/>
                  <a:gd name="T7" fmla="*/ 9 h 10"/>
                  <a:gd name="T8" fmla="*/ 6 w 9"/>
                  <a:gd name="T9" fmla="*/ 10 h 10"/>
                  <a:gd name="T10" fmla="*/ 8 w 9"/>
                  <a:gd name="T11" fmla="*/ 7 h 10"/>
                  <a:gd name="T12" fmla="*/ 9 w 9"/>
                  <a:gd name="T13" fmla="*/ 5 h 10"/>
                  <a:gd name="T14" fmla="*/ 7 w 9"/>
                  <a:gd name="T15" fmla="*/ 1 h 10"/>
                  <a:gd name="T16" fmla="*/ 3 w 9"/>
                  <a:gd name="T17" fmla="*/ 0 h 10"/>
                  <a:gd name="T18" fmla="*/ 1 w 9"/>
                  <a:gd name="T19" fmla="*/ 0 h 10"/>
                  <a:gd name="T20" fmla="*/ 1 w 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1" y="0"/>
                    </a:moveTo>
                    <a:lnTo>
                      <a:pt x="0" y="4"/>
                    </a:lnTo>
                    <a:lnTo>
                      <a:pt x="0" y="8"/>
                    </a:lnTo>
                    <a:lnTo>
                      <a:pt x="4" y="9"/>
                    </a:lnTo>
                    <a:lnTo>
                      <a:pt x="6" y="10"/>
                    </a:lnTo>
                    <a:lnTo>
                      <a:pt x="8" y="7"/>
                    </a:lnTo>
                    <a:lnTo>
                      <a:pt x="9" y="5"/>
                    </a:lnTo>
                    <a:lnTo>
                      <a:pt x="7" y="1"/>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8" name="Freeform 144">
                <a:extLst>
                  <a:ext uri="{FF2B5EF4-FFF2-40B4-BE49-F238E27FC236}">
                    <a16:creationId xmlns:a16="http://schemas.microsoft.com/office/drawing/2014/main" id="{090B5FD0-6E8B-4E3F-9C67-334CD9E3FD74}"/>
                  </a:ext>
                </a:extLst>
              </p:cNvPr>
              <p:cNvSpPr>
                <a:spLocks/>
              </p:cNvSpPr>
              <p:nvPr/>
            </p:nvSpPr>
            <p:spPr bwMode="auto">
              <a:xfrm>
                <a:off x="5172" y="2528"/>
                <a:ext cx="33" cy="26"/>
              </a:xfrm>
              <a:custGeom>
                <a:avLst/>
                <a:gdLst>
                  <a:gd name="T0" fmla="*/ 21 w 33"/>
                  <a:gd name="T1" fmla="*/ 0 h 26"/>
                  <a:gd name="T2" fmla="*/ 21 w 33"/>
                  <a:gd name="T3" fmla="*/ 1 h 26"/>
                  <a:gd name="T4" fmla="*/ 19 w 33"/>
                  <a:gd name="T5" fmla="*/ 2 h 26"/>
                  <a:gd name="T6" fmla="*/ 18 w 33"/>
                  <a:gd name="T7" fmla="*/ 1 h 26"/>
                  <a:gd name="T8" fmla="*/ 15 w 33"/>
                  <a:gd name="T9" fmla="*/ 0 h 26"/>
                  <a:gd name="T10" fmla="*/ 12 w 33"/>
                  <a:gd name="T11" fmla="*/ 2 h 26"/>
                  <a:gd name="T12" fmla="*/ 9 w 33"/>
                  <a:gd name="T13" fmla="*/ 2 h 26"/>
                  <a:gd name="T14" fmla="*/ 9 w 33"/>
                  <a:gd name="T15" fmla="*/ 4 h 26"/>
                  <a:gd name="T16" fmla="*/ 6 w 33"/>
                  <a:gd name="T17" fmla="*/ 5 h 26"/>
                  <a:gd name="T18" fmla="*/ 0 w 33"/>
                  <a:gd name="T19" fmla="*/ 11 h 26"/>
                  <a:gd name="T20" fmla="*/ 0 w 33"/>
                  <a:gd name="T21" fmla="*/ 16 h 26"/>
                  <a:gd name="T22" fmla="*/ 1 w 33"/>
                  <a:gd name="T23" fmla="*/ 19 h 26"/>
                  <a:gd name="T24" fmla="*/ 1 w 33"/>
                  <a:gd name="T25" fmla="*/ 21 h 26"/>
                  <a:gd name="T26" fmla="*/ 2 w 33"/>
                  <a:gd name="T27" fmla="*/ 21 h 26"/>
                  <a:gd name="T28" fmla="*/ 6 w 33"/>
                  <a:gd name="T29" fmla="*/ 23 h 26"/>
                  <a:gd name="T30" fmla="*/ 7 w 33"/>
                  <a:gd name="T31" fmla="*/ 23 h 26"/>
                  <a:gd name="T32" fmla="*/ 12 w 33"/>
                  <a:gd name="T33" fmla="*/ 25 h 26"/>
                  <a:gd name="T34" fmla="*/ 12 w 33"/>
                  <a:gd name="T35" fmla="*/ 26 h 26"/>
                  <a:gd name="T36" fmla="*/ 15 w 33"/>
                  <a:gd name="T37" fmla="*/ 26 h 26"/>
                  <a:gd name="T38" fmla="*/ 16 w 33"/>
                  <a:gd name="T39" fmla="*/ 23 h 26"/>
                  <a:gd name="T40" fmla="*/ 19 w 33"/>
                  <a:gd name="T41" fmla="*/ 22 h 26"/>
                  <a:gd name="T42" fmla="*/ 19 w 33"/>
                  <a:gd name="T43" fmla="*/ 23 h 26"/>
                  <a:gd name="T44" fmla="*/ 21 w 33"/>
                  <a:gd name="T45" fmla="*/ 20 h 26"/>
                  <a:gd name="T46" fmla="*/ 26 w 33"/>
                  <a:gd name="T47" fmla="*/ 18 h 26"/>
                  <a:gd name="T48" fmla="*/ 26 w 33"/>
                  <a:gd name="T49" fmla="*/ 12 h 26"/>
                  <a:gd name="T50" fmla="*/ 27 w 33"/>
                  <a:gd name="T51" fmla="*/ 12 h 26"/>
                  <a:gd name="T52" fmla="*/ 28 w 33"/>
                  <a:gd name="T53" fmla="*/ 9 h 26"/>
                  <a:gd name="T54" fmla="*/ 30 w 33"/>
                  <a:gd name="T55" fmla="*/ 6 h 26"/>
                  <a:gd name="T56" fmla="*/ 33 w 33"/>
                  <a:gd name="T57" fmla="*/ 5 h 26"/>
                  <a:gd name="T58" fmla="*/ 33 w 33"/>
                  <a:gd name="T59" fmla="*/ 3 h 26"/>
                  <a:gd name="T60" fmla="*/ 32 w 33"/>
                  <a:gd name="T61" fmla="*/ 0 h 26"/>
                  <a:gd name="T62" fmla="*/ 25 w 33"/>
                  <a:gd name="T63" fmla="*/ 0 h 26"/>
                  <a:gd name="T64" fmla="*/ 25 w 33"/>
                  <a:gd name="T65" fmla="*/ 2 h 26"/>
                  <a:gd name="T66" fmla="*/ 24 w 33"/>
                  <a:gd name="T67" fmla="*/ 0 h 26"/>
                  <a:gd name="T68" fmla="*/ 23 w 33"/>
                  <a:gd name="T69" fmla="*/ 0 h 26"/>
                  <a:gd name="T70" fmla="*/ 21 w 33"/>
                  <a:gd name="T71" fmla="*/ 0 h 26"/>
                  <a:gd name="T72" fmla="*/ 21 w 33"/>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26">
                    <a:moveTo>
                      <a:pt x="21" y="0"/>
                    </a:moveTo>
                    <a:lnTo>
                      <a:pt x="21" y="1"/>
                    </a:lnTo>
                    <a:lnTo>
                      <a:pt x="19" y="2"/>
                    </a:lnTo>
                    <a:lnTo>
                      <a:pt x="18" y="1"/>
                    </a:lnTo>
                    <a:lnTo>
                      <a:pt x="15" y="0"/>
                    </a:lnTo>
                    <a:lnTo>
                      <a:pt x="12" y="2"/>
                    </a:lnTo>
                    <a:lnTo>
                      <a:pt x="9" y="2"/>
                    </a:lnTo>
                    <a:lnTo>
                      <a:pt x="9" y="4"/>
                    </a:lnTo>
                    <a:lnTo>
                      <a:pt x="6" y="5"/>
                    </a:lnTo>
                    <a:lnTo>
                      <a:pt x="0" y="11"/>
                    </a:lnTo>
                    <a:lnTo>
                      <a:pt x="0" y="16"/>
                    </a:lnTo>
                    <a:lnTo>
                      <a:pt x="1" y="19"/>
                    </a:lnTo>
                    <a:lnTo>
                      <a:pt x="1" y="21"/>
                    </a:lnTo>
                    <a:lnTo>
                      <a:pt x="2" y="21"/>
                    </a:lnTo>
                    <a:lnTo>
                      <a:pt x="6" y="23"/>
                    </a:lnTo>
                    <a:lnTo>
                      <a:pt x="7" y="23"/>
                    </a:lnTo>
                    <a:lnTo>
                      <a:pt x="12" y="25"/>
                    </a:lnTo>
                    <a:lnTo>
                      <a:pt x="12" y="26"/>
                    </a:lnTo>
                    <a:lnTo>
                      <a:pt x="15" y="26"/>
                    </a:lnTo>
                    <a:lnTo>
                      <a:pt x="16" y="23"/>
                    </a:lnTo>
                    <a:lnTo>
                      <a:pt x="19" y="22"/>
                    </a:lnTo>
                    <a:lnTo>
                      <a:pt x="19" y="23"/>
                    </a:lnTo>
                    <a:lnTo>
                      <a:pt x="21" y="20"/>
                    </a:lnTo>
                    <a:lnTo>
                      <a:pt x="26" y="18"/>
                    </a:lnTo>
                    <a:lnTo>
                      <a:pt x="26" y="12"/>
                    </a:lnTo>
                    <a:lnTo>
                      <a:pt x="27" y="12"/>
                    </a:lnTo>
                    <a:lnTo>
                      <a:pt x="28" y="9"/>
                    </a:lnTo>
                    <a:lnTo>
                      <a:pt x="30" y="6"/>
                    </a:lnTo>
                    <a:lnTo>
                      <a:pt x="33" y="5"/>
                    </a:lnTo>
                    <a:lnTo>
                      <a:pt x="33" y="3"/>
                    </a:lnTo>
                    <a:lnTo>
                      <a:pt x="32" y="0"/>
                    </a:lnTo>
                    <a:lnTo>
                      <a:pt x="25" y="0"/>
                    </a:lnTo>
                    <a:lnTo>
                      <a:pt x="25" y="2"/>
                    </a:lnTo>
                    <a:lnTo>
                      <a:pt x="24" y="0"/>
                    </a:lnTo>
                    <a:lnTo>
                      <a:pt x="23" y="0"/>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9" name="Freeform 145">
                <a:extLst>
                  <a:ext uri="{FF2B5EF4-FFF2-40B4-BE49-F238E27FC236}">
                    <a16:creationId xmlns:a16="http://schemas.microsoft.com/office/drawing/2014/main" id="{DD8B2CA6-5104-430C-AB4C-BF5D80B81E3E}"/>
                  </a:ext>
                </a:extLst>
              </p:cNvPr>
              <p:cNvSpPr>
                <a:spLocks/>
              </p:cNvSpPr>
              <p:nvPr/>
            </p:nvSpPr>
            <p:spPr bwMode="auto">
              <a:xfrm>
                <a:off x="5231" y="3164"/>
                <a:ext cx="4" cy="8"/>
              </a:xfrm>
              <a:custGeom>
                <a:avLst/>
                <a:gdLst>
                  <a:gd name="T0" fmla="*/ 4 w 4"/>
                  <a:gd name="T1" fmla="*/ 8 h 8"/>
                  <a:gd name="T2" fmla="*/ 2 w 4"/>
                  <a:gd name="T3" fmla="*/ 2 h 8"/>
                  <a:gd name="T4" fmla="*/ 0 w 4"/>
                  <a:gd name="T5" fmla="*/ 0 h 8"/>
                  <a:gd name="T6" fmla="*/ 1 w 4"/>
                  <a:gd name="T7" fmla="*/ 2 h 8"/>
                  <a:gd name="T8" fmla="*/ 4 w 4"/>
                  <a:gd name="T9" fmla="*/ 8 h 8"/>
                  <a:gd name="T10" fmla="*/ 4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4" y="8"/>
                    </a:moveTo>
                    <a:lnTo>
                      <a:pt x="2" y="2"/>
                    </a:lnTo>
                    <a:lnTo>
                      <a:pt x="0" y="0"/>
                    </a:lnTo>
                    <a:lnTo>
                      <a:pt x="1" y="2"/>
                    </a:lnTo>
                    <a:lnTo>
                      <a:pt x="4" y="8"/>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0" name="Freeform 146">
                <a:extLst>
                  <a:ext uri="{FF2B5EF4-FFF2-40B4-BE49-F238E27FC236}">
                    <a16:creationId xmlns:a16="http://schemas.microsoft.com/office/drawing/2014/main" id="{AF530607-F41F-43FE-AA33-0D68E0815B98}"/>
                  </a:ext>
                </a:extLst>
              </p:cNvPr>
              <p:cNvSpPr>
                <a:spLocks/>
              </p:cNvSpPr>
              <p:nvPr/>
            </p:nvSpPr>
            <p:spPr bwMode="auto">
              <a:xfrm>
                <a:off x="5252" y="2916"/>
                <a:ext cx="17" cy="11"/>
              </a:xfrm>
              <a:custGeom>
                <a:avLst/>
                <a:gdLst>
                  <a:gd name="T0" fmla="*/ 0 w 17"/>
                  <a:gd name="T1" fmla="*/ 1 h 11"/>
                  <a:gd name="T2" fmla="*/ 0 w 17"/>
                  <a:gd name="T3" fmla="*/ 4 h 11"/>
                  <a:gd name="T4" fmla="*/ 6 w 17"/>
                  <a:gd name="T5" fmla="*/ 6 h 11"/>
                  <a:gd name="T6" fmla="*/ 8 w 17"/>
                  <a:gd name="T7" fmla="*/ 8 h 11"/>
                  <a:gd name="T8" fmla="*/ 9 w 17"/>
                  <a:gd name="T9" fmla="*/ 11 h 11"/>
                  <a:gd name="T10" fmla="*/ 10 w 17"/>
                  <a:gd name="T11" fmla="*/ 11 h 11"/>
                  <a:gd name="T12" fmla="*/ 12 w 17"/>
                  <a:gd name="T13" fmla="*/ 8 h 11"/>
                  <a:gd name="T14" fmla="*/ 17 w 17"/>
                  <a:gd name="T15" fmla="*/ 6 h 11"/>
                  <a:gd name="T16" fmla="*/ 15 w 17"/>
                  <a:gd name="T17" fmla="*/ 2 h 11"/>
                  <a:gd name="T18" fmla="*/ 13 w 17"/>
                  <a:gd name="T19" fmla="*/ 1 h 11"/>
                  <a:gd name="T20" fmla="*/ 10 w 17"/>
                  <a:gd name="T21" fmla="*/ 0 h 11"/>
                  <a:gd name="T22" fmla="*/ 7 w 17"/>
                  <a:gd name="T23" fmla="*/ 2 h 11"/>
                  <a:gd name="T24" fmla="*/ 0 w 17"/>
                  <a:gd name="T25" fmla="*/ 1 h 11"/>
                  <a:gd name="T26" fmla="*/ 0 w 17"/>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1">
                    <a:moveTo>
                      <a:pt x="0" y="1"/>
                    </a:moveTo>
                    <a:lnTo>
                      <a:pt x="0" y="4"/>
                    </a:lnTo>
                    <a:lnTo>
                      <a:pt x="6" y="6"/>
                    </a:lnTo>
                    <a:lnTo>
                      <a:pt x="8" y="8"/>
                    </a:lnTo>
                    <a:lnTo>
                      <a:pt x="9" y="11"/>
                    </a:lnTo>
                    <a:lnTo>
                      <a:pt x="10" y="11"/>
                    </a:lnTo>
                    <a:lnTo>
                      <a:pt x="12" y="8"/>
                    </a:lnTo>
                    <a:lnTo>
                      <a:pt x="17" y="6"/>
                    </a:lnTo>
                    <a:lnTo>
                      <a:pt x="15" y="2"/>
                    </a:lnTo>
                    <a:lnTo>
                      <a:pt x="13" y="1"/>
                    </a:lnTo>
                    <a:lnTo>
                      <a:pt x="10" y="0"/>
                    </a:lnTo>
                    <a:lnTo>
                      <a:pt x="7" y="2"/>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1" name="Freeform 147">
                <a:extLst>
                  <a:ext uri="{FF2B5EF4-FFF2-40B4-BE49-F238E27FC236}">
                    <a16:creationId xmlns:a16="http://schemas.microsoft.com/office/drawing/2014/main" id="{568E6465-FE16-457D-A86A-2CC5FE74F6F2}"/>
                  </a:ext>
                </a:extLst>
              </p:cNvPr>
              <p:cNvSpPr>
                <a:spLocks/>
              </p:cNvSpPr>
              <p:nvPr/>
            </p:nvSpPr>
            <p:spPr bwMode="auto">
              <a:xfrm>
                <a:off x="5272" y="2918"/>
                <a:ext cx="11" cy="9"/>
              </a:xfrm>
              <a:custGeom>
                <a:avLst/>
                <a:gdLst>
                  <a:gd name="T0" fmla="*/ 5 w 11"/>
                  <a:gd name="T1" fmla="*/ 0 h 9"/>
                  <a:gd name="T2" fmla="*/ 3 w 11"/>
                  <a:gd name="T3" fmla="*/ 3 h 9"/>
                  <a:gd name="T4" fmla="*/ 2 w 11"/>
                  <a:gd name="T5" fmla="*/ 5 h 9"/>
                  <a:gd name="T6" fmla="*/ 2 w 11"/>
                  <a:gd name="T7" fmla="*/ 8 h 9"/>
                  <a:gd name="T8" fmla="*/ 0 w 11"/>
                  <a:gd name="T9" fmla="*/ 7 h 9"/>
                  <a:gd name="T10" fmla="*/ 2 w 11"/>
                  <a:gd name="T11" fmla="*/ 9 h 9"/>
                  <a:gd name="T12" fmla="*/ 5 w 11"/>
                  <a:gd name="T13" fmla="*/ 9 h 9"/>
                  <a:gd name="T14" fmla="*/ 7 w 11"/>
                  <a:gd name="T15" fmla="*/ 8 h 9"/>
                  <a:gd name="T16" fmla="*/ 10 w 11"/>
                  <a:gd name="T17" fmla="*/ 6 h 9"/>
                  <a:gd name="T18" fmla="*/ 11 w 11"/>
                  <a:gd name="T19" fmla="*/ 4 h 9"/>
                  <a:gd name="T20" fmla="*/ 9 w 11"/>
                  <a:gd name="T21" fmla="*/ 0 h 9"/>
                  <a:gd name="T22" fmla="*/ 5 w 11"/>
                  <a:gd name="T23" fmla="*/ 0 h 9"/>
                  <a:gd name="T24" fmla="*/ 5 w 11"/>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5" y="0"/>
                    </a:moveTo>
                    <a:lnTo>
                      <a:pt x="3" y="3"/>
                    </a:lnTo>
                    <a:lnTo>
                      <a:pt x="2" y="5"/>
                    </a:lnTo>
                    <a:lnTo>
                      <a:pt x="2" y="8"/>
                    </a:lnTo>
                    <a:lnTo>
                      <a:pt x="0" y="7"/>
                    </a:lnTo>
                    <a:lnTo>
                      <a:pt x="2" y="9"/>
                    </a:lnTo>
                    <a:lnTo>
                      <a:pt x="5" y="9"/>
                    </a:lnTo>
                    <a:lnTo>
                      <a:pt x="7" y="8"/>
                    </a:lnTo>
                    <a:lnTo>
                      <a:pt x="10" y="6"/>
                    </a:lnTo>
                    <a:lnTo>
                      <a:pt x="11" y="4"/>
                    </a:lnTo>
                    <a:lnTo>
                      <a:pt x="9"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2" name="Freeform 148">
                <a:extLst>
                  <a:ext uri="{FF2B5EF4-FFF2-40B4-BE49-F238E27FC236}">
                    <a16:creationId xmlns:a16="http://schemas.microsoft.com/office/drawing/2014/main" id="{6E6DC5FE-FE8E-42AF-A128-4E436798DC7A}"/>
                  </a:ext>
                </a:extLst>
              </p:cNvPr>
              <p:cNvSpPr>
                <a:spLocks/>
              </p:cNvSpPr>
              <p:nvPr/>
            </p:nvSpPr>
            <p:spPr bwMode="auto">
              <a:xfrm>
                <a:off x="5284" y="2917"/>
                <a:ext cx="32" cy="14"/>
              </a:xfrm>
              <a:custGeom>
                <a:avLst/>
                <a:gdLst>
                  <a:gd name="T0" fmla="*/ 15 w 32"/>
                  <a:gd name="T1" fmla="*/ 12 h 14"/>
                  <a:gd name="T2" fmla="*/ 20 w 32"/>
                  <a:gd name="T3" fmla="*/ 8 h 14"/>
                  <a:gd name="T4" fmla="*/ 24 w 32"/>
                  <a:gd name="T5" fmla="*/ 10 h 14"/>
                  <a:gd name="T6" fmla="*/ 26 w 32"/>
                  <a:gd name="T7" fmla="*/ 9 h 14"/>
                  <a:gd name="T8" fmla="*/ 28 w 32"/>
                  <a:gd name="T9" fmla="*/ 10 h 14"/>
                  <a:gd name="T10" fmla="*/ 32 w 32"/>
                  <a:gd name="T11" fmla="*/ 9 h 14"/>
                  <a:gd name="T12" fmla="*/ 31 w 32"/>
                  <a:gd name="T13" fmla="*/ 4 h 14"/>
                  <a:gd name="T14" fmla="*/ 27 w 32"/>
                  <a:gd name="T15" fmla="*/ 3 h 14"/>
                  <a:gd name="T16" fmla="*/ 26 w 32"/>
                  <a:gd name="T17" fmla="*/ 5 h 14"/>
                  <a:gd name="T18" fmla="*/ 26 w 32"/>
                  <a:gd name="T19" fmla="*/ 3 h 14"/>
                  <a:gd name="T20" fmla="*/ 23 w 32"/>
                  <a:gd name="T21" fmla="*/ 1 h 14"/>
                  <a:gd name="T22" fmla="*/ 20 w 32"/>
                  <a:gd name="T23" fmla="*/ 4 h 14"/>
                  <a:gd name="T24" fmla="*/ 19 w 32"/>
                  <a:gd name="T25" fmla="*/ 0 h 14"/>
                  <a:gd name="T26" fmla="*/ 16 w 32"/>
                  <a:gd name="T27" fmla="*/ 0 h 14"/>
                  <a:gd name="T28" fmla="*/ 14 w 32"/>
                  <a:gd name="T29" fmla="*/ 0 h 14"/>
                  <a:gd name="T30" fmla="*/ 14 w 32"/>
                  <a:gd name="T31" fmla="*/ 4 h 14"/>
                  <a:gd name="T32" fmla="*/ 19 w 32"/>
                  <a:gd name="T33" fmla="*/ 6 h 14"/>
                  <a:gd name="T34" fmla="*/ 17 w 32"/>
                  <a:gd name="T35" fmla="*/ 8 h 14"/>
                  <a:gd name="T36" fmla="*/ 14 w 32"/>
                  <a:gd name="T37" fmla="*/ 8 h 14"/>
                  <a:gd name="T38" fmla="*/ 11 w 32"/>
                  <a:gd name="T39" fmla="*/ 6 h 14"/>
                  <a:gd name="T40" fmla="*/ 6 w 32"/>
                  <a:gd name="T41" fmla="*/ 4 h 14"/>
                  <a:gd name="T42" fmla="*/ 1 w 32"/>
                  <a:gd name="T43" fmla="*/ 6 h 14"/>
                  <a:gd name="T44" fmla="*/ 0 w 32"/>
                  <a:gd name="T45" fmla="*/ 10 h 14"/>
                  <a:gd name="T46" fmla="*/ 2 w 32"/>
                  <a:gd name="T47" fmla="*/ 13 h 14"/>
                  <a:gd name="T48" fmla="*/ 5 w 32"/>
                  <a:gd name="T49" fmla="*/ 14 h 14"/>
                  <a:gd name="T50" fmla="*/ 10 w 32"/>
                  <a:gd name="T51" fmla="*/ 13 h 14"/>
                  <a:gd name="T52" fmla="*/ 12 w 32"/>
                  <a:gd name="T53" fmla="*/ 12 h 14"/>
                  <a:gd name="T54" fmla="*/ 15 w 32"/>
                  <a:gd name="T55" fmla="*/ 12 h 14"/>
                  <a:gd name="T56" fmla="*/ 15 w 32"/>
                  <a:gd name="T5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14">
                    <a:moveTo>
                      <a:pt x="15" y="12"/>
                    </a:moveTo>
                    <a:lnTo>
                      <a:pt x="20" y="8"/>
                    </a:lnTo>
                    <a:lnTo>
                      <a:pt x="24" y="10"/>
                    </a:lnTo>
                    <a:lnTo>
                      <a:pt x="26" y="9"/>
                    </a:lnTo>
                    <a:lnTo>
                      <a:pt x="28" y="10"/>
                    </a:lnTo>
                    <a:lnTo>
                      <a:pt x="32" y="9"/>
                    </a:lnTo>
                    <a:lnTo>
                      <a:pt x="31" y="4"/>
                    </a:lnTo>
                    <a:lnTo>
                      <a:pt x="27" y="3"/>
                    </a:lnTo>
                    <a:lnTo>
                      <a:pt x="26" y="5"/>
                    </a:lnTo>
                    <a:lnTo>
                      <a:pt x="26" y="3"/>
                    </a:lnTo>
                    <a:lnTo>
                      <a:pt x="23" y="1"/>
                    </a:lnTo>
                    <a:lnTo>
                      <a:pt x="20" y="4"/>
                    </a:lnTo>
                    <a:lnTo>
                      <a:pt x="19" y="0"/>
                    </a:lnTo>
                    <a:lnTo>
                      <a:pt x="16" y="0"/>
                    </a:lnTo>
                    <a:lnTo>
                      <a:pt x="14" y="0"/>
                    </a:lnTo>
                    <a:lnTo>
                      <a:pt x="14" y="4"/>
                    </a:lnTo>
                    <a:lnTo>
                      <a:pt x="19" y="6"/>
                    </a:lnTo>
                    <a:lnTo>
                      <a:pt x="17" y="8"/>
                    </a:lnTo>
                    <a:lnTo>
                      <a:pt x="14" y="8"/>
                    </a:lnTo>
                    <a:lnTo>
                      <a:pt x="11" y="6"/>
                    </a:lnTo>
                    <a:lnTo>
                      <a:pt x="6" y="4"/>
                    </a:lnTo>
                    <a:lnTo>
                      <a:pt x="1" y="6"/>
                    </a:lnTo>
                    <a:lnTo>
                      <a:pt x="0" y="10"/>
                    </a:lnTo>
                    <a:lnTo>
                      <a:pt x="2" y="13"/>
                    </a:lnTo>
                    <a:lnTo>
                      <a:pt x="5" y="14"/>
                    </a:lnTo>
                    <a:lnTo>
                      <a:pt x="10" y="13"/>
                    </a:lnTo>
                    <a:lnTo>
                      <a:pt x="12" y="12"/>
                    </a:lnTo>
                    <a:lnTo>
                      <a:pt x="15" y="12"/>
                    </a:ln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3" name="Freeform 149">
                <a:extLst>
                  <a:ext uri="{FF2B5EF4-FFF2-40B4-BE49-F238E27FC236}">
                    <a16:creationId xmlns:a16="http://schemas.microsoft.com/office/drawing/2014/main" id="{93FE7876-F7CB-42E4-AF9E-224107ED4C1C}"/>
                  </a:ext>
                </a:extLst>
              </p:cNvPr>
              <p:cNvSpPr>
                <a:spLocks/>
              </p:cNvSpPr>
              <p:nvPr/>
            </p:nvSpPr>
            <p:spPr bwMode="auto">
              <a:xfrm>
                <a:off x="5290" y="2650"/>
                <a:ext cx="34" cy="41"/>
              </a:xfrm>
              <a:custGeom>
                <a:avLst/>
                <a:gdLst>
                  <a:gd name="T0" fmla="*/ 21 w 34"/>
                  <a:gd name="T1" fmla="*/ 23 h 41"/>
                  <a:gd name="T2" fmla="*/ 21 w 34"/>
                  <a:gd name="T3" fmla="*/ 19 h 41"/>
                  <a:gd name="T4" fmla="*/ 22 w 34"/>
                  <a:gd name="T5" fmla="*/ 18 h 41"/>
                  <a:gd name="T6" fmla="*/ 26 w 34"/>
                  <a:gd name="T7" fmla="*/ 18 h 41"/>
                  <a:gd name="T8" fmla="*/ 28 w 34"/>
                  <a:gd name="T9" fmla="*/ 15 h 41"/>
                  <a:gd name="T10" fmla="*/ 30 w 34"/>
                  <a:gd name="T11" fmla="*/ 14 h 41"/>
                  <a:gd name="T12" fmla="*/ 31 w 34"/>
                  <a:gd name="T13" fmla="*/ 14 h 41"/>
                  <a:gd name="T14" fmla="*/ 34 w 34"/>
                  <a:gd name="T15" fmla="*/ 10 h 41"/>
                  <a:gd name="T16" fmla="*/ 31 w 34"/>
                  <a:gd name="T17" fmla="*/ 6 h 41"/>
                  <a:gd name="T18" fmla="*/ 31 w 34"/>
                  <a:gd name="T19" fmla="*/ 0 h 41"/>
                  <a:gd name="T20" fmla="*/ 29 w 34"/>
                  <a:gd name="T21" fmla="*/ 6 h 41"/>
                  <a:gd name="T22" fmla="*/ 30 w 34"/>
                  <a:gd name="T23" fmla="*/ 8 h 41"/>
                  <a:gd name="T24" fmla="*/ 28 w 34"/>
                  <a:gd name="T25" fmla="*/ 6 h 41"/>
                  <a:gd name="T26" fmla="*/ 29 w 34"/>
                  <a:gd name="T27" fmla="*/ 8 h 41"/>
                  <a:gd name="T28" fmla="*/ 28 w 34"/>
                  <a:gd name="T29" fmla="*/ 10 h 41"/>
                  <a:gd name="T30" fmla="*/ 26 w 34"/>
                  <a:gd name="T31" fmla="*/ 11 h 41"/>
                  <a:gd name="T32" fmla="*/ 23 w 34"/>
                  <a:gd name="T33" fmla="*/ 15 h 41"/>
                  <a:gd name="T34" fmla="*/ 21 w 34"/>
                  <a:gd name="T35" fmla="*/ 16 h 41"/>
                  <a:gd name="T36" fmla="*/ 19 w 34"/>
                  <a:gd name="T37" fmla="*/ 18 h 41"/>
                  <a:gd name="T38" fmla="*/ 18 w 34"/>
                  <a:gd name="T39" fmla="*/ 20 h 41"/>
                  <a:gd name="T40" fmla="*/ 16 w 34"/>
                  <a:gd name="T41" fmla="*/ 23 h 41"/>
                  <a:gd name="T42" fmla="*/ 11 w 34"/>
                  <a:gd name="T43" fmla="*/ 28 h 41"/>
                  <a:gd name="T44" fmla="*/ 9 w 34"/>
                  <a:gd name="T45" fmla="*/ 29 h 41"/>
                  <a:gd name="T46" fmla="*/ 5 w 34"/>
                  <a:gd name="T47" fmla="*/ 31 h 41"/>
                  <a:gd name="T48" fmla="*/ 1 w 34"/>
                  <a:gd name="T49" fmla="*/ 37 h 41"/>
                  <a:gd name="T50" fmla="*/ 0 w 34"/>
                  <a:gd name="T51" fmla="*/ 41 h 41"/>
                  <a:gd name="T52" fmla="*/ 2 w 34"/>
                  <a:gd name="T53" fmla="*/ 40 h 41"/>
                  <a:gd name="T54" fmla="*/ 5 w 34"/>
                  <a:gd name="T55" fmla="*/ 36 h 41"/>
                  <a:gd name="T56" fmla="*/ 8 w 34"/>
                  <a:gd name="T57" fmla="*/ 36 h 41"/>
                  <a:gd name="T58" fmla="*/ 10 w 34"/>
                  <a:gd name="T59" fmla="*/ 34 h 41"/>
                  <a:gd name="T60" fmla="*/ 12 w 34"/>
                  <a:gd name="T61" fmla="*/ 32 h 41"/>
                  <a:gd name="T62" fmla="*/ 18 w 34"/>
                  <a:gd name="T63" fmla="*/ 28 h 41"/>
                  <a:gd name="T64" fmla="*/ 21 w 34"/>
                  <a:gd name="T65" fmla="*/ 23 h 41"/>
                  <a:gd name="T66" fmla="*/ 21 w 34"/>
                  <a:gd name="T67"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1">
                    <a:moveTo>
                      <a:pt x="21" y="23"/>
                    </a:moveTo>
                    <a:lnTo>
                      <a:pt x="21" y="19"/>
                    </a:lnTo>
                    <a:lnTo>
                      <a:pt x="22" y="18"/>
                    </a:lnTo>
                    <a:lnTo>
                      <a:pt x="26" y="18"/>
                    </a:lnTo>
                    <a:lnTo>
                      <a:pt x="28" y="15"/>
                    </a:lnTo>
                    <a:lnTo>
                      <a:pt x="30" y="14"/>
                    </a:lnTo>
                    <a:lnTo>
                      <a:pt x="31" y="14"/>
                    </a:lnTo>
                    <a:lnTo>
                      <a:pt x="34" y="10"/>
                    </a:lnTo>
                    <a:lnTo>
                      <a:pt x="31" y="6"/>
                    </a:lnTo>
                    <a:lnTo>
                      <a:pt x="31" y="0"/>
                    </a:lnTo>
                    <a:lnTo>
                      <a:pt x="29" y="6"/>
                    </a:lnTo>
                    <a:lnTo>
                      <a:pt x="30" y="8"/>
                    </a:lnTo>
                    <a:lnTo>
                      <a:pt x="28" y="6"/>
                    </a:lnTo>
                    <a:lnTo>
                      <a:pt x="29" y="8"/>
                    </a:lnTo>
                    <a:lnTo>
                      <a:pt x="28" y="10"/>
                    </a:lnTo>
                    <a:lnTo>
                      <a:pt x="26" y="11"/>
                    </a:lnTo>
                    <a:lnTo>
                      <a:pt x="23" y="15"/>
                    </a:lnTo>
                    <a:lnTo>
                      <a:pt x="21" y="16"/>
                    </a:lnTo>
                    <a:lnTo>
                      <a:pt x="19" y="18"/>
                    </a:lnTo>
                    <a:lnTo>
                      <a:pt x="18" y="20"/>
                    </a:lnTo>
                    <a:lnTo>
                      <a:pt x="16" y="23"/>
                    </a:lnTo>
                    <a:lnTo>
                      <a:pt x="11" y="28"/>
                    </a:lnTo>
                    <a:lnTo>
                      <a:pt x="9" y="29"/>
                    </a:lnTo>
                    <a:lnTo>
                      <a:pt x="5" y="31"/>
                    </a:lnTo>
                    <a:lnTo>
                      <a:pt x="1" y="37"/>
                    </a:lnTo>
                    <a:lnTo>
                      <a:pt x="0" y="41"/>
                    </a:lnTo>
                    <a:lnTo>
                      <a:pt x="2" y="40"/>
                    </a:lnTo>
                    <a:lnTo>
                      <a:pt x="5" y="36"/>
                    </a:lnTo>
                    <a:lnTo>
                      <a:pt x="8" y="36"/>
                    </a:lnTo>
                    <a:lnTo>
                      <a:pt x="10" y="34"/>
                    </a:lnTo>
                    <a:lnTo>
                      <a:pt x="12" y="32"/>
                    </a:lnTo>
                    <a:lnTo>
                      <a:pt x="18" y="28"/>
                    </a:lnTo>
                    <a:lnTo>
                      <a:pt x="21" y="23"/>
                    </a:lnTo>
                    <a:lnTo>
                      <a:pt x="2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4" name="Freeform 150">
                <a:extLst>
                  <a:ext uri="{FF2B5EF4-FFF2-40B4-BE49-F238E27FC236}">
                    <a16:creationId xmlns:a16="http://schemas.microsoft.com/office/drawing/2014/main" id="{10950628-92F2-4600-A116-47C575274654}"/>
                  </a:ext>
                </a:extLst>
              </p:cNvPr>
              <p:cNvSpPr>
                <a:spLocks/>
              </p:cNvSpPr>
              <p:nvPr/>
            </p:nvSpPr>
            <p:spPr bwMode="auto">
              <a:xfrm>
                <a:off x="5293" y="2917"/>
                <a:ext cx="3" cy="4"/>
              </a:xfrm>
              <a:custGeom>
                <a:avLst/>
                <a:gdLst>
                  <a:gd name="T0" fmla="*/ 1 w 3"/>
                  <a:gd name="T1" fmla="*/ 4 h 4"/>
                  <a:gd name="T2" fmla="*/ 3 w 3"/>
                  <a:gd name="T3" fmla="*/ 0 h 4"/>
                  <a:gd name="T4" fmla="*/ 0 w 3"/>
                  <a:gd name="T5" fmla="*/ 1 h 4"/>
                  <a:gd name="T6" fmla="*/ 1 w 3"/>
                  <a:gd name="T7" fmla="*/ 4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lnTo>
                      <a:pt x="3"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5" name="Freeform 151">
                <a:extLst>
                  <a:ext uri="{FF2B5EF4-FFF2-40B4-BE49-F238E27FC236}">
                    <a16:creationId xmlns:a16="http://schemas.microsoft.com/office/drawing/2014/main" id="{04127390-DD53-4660-A02A-077FF384557A}"/>
                  </a:ext>
                </a:extLst>
              </p:cNvPr>
              <p:cNvSpPr>
                <a:spLocks/>
              </p:cNvSpPr>
              <p:nvPr/>
            </p:nvSpPr>
            <p:spPr bwMode="auto">
              <a:xfrm>
                <a:off x="5311" y="2782"/>
                <a:ext cx="89" cy="101"/>
              </a:xfrm>
              <a:custGeom>
                <a:avLst/>
                <a:gdLst>
                  <a:gd name="T0" fmla="*/ 29 w 89"/>
                  <a:gd name="T1" fmla="*/ 61 h 101"/>
                  <a:gd name="T2" fmla="*/ 31 w 89"/>
                  <a:gd name="T3" fmla="*/ 68 h 101"/>
                  <a:gd name="T4" fmla="*/ 36 w 89"/>
                  <a:gd name="T5" fmla="*/ 79 h 101"/>
                  <a:gd name="T6" fmla="*/ 38 w 89"/>
                  <a:gd name="T7" fmla="*/ 87 h 101"/>
                  <a:gd name="T8" fmla="*/ 44 w 89"/>
                  <a:gd name="T9" fmla="*/ 88 h 101"/>
                  <a:gd name="T10" fmla="*/ 55 w 89"/>
                  <a:gd name="T11" fmla="*/ 84 h 101"/>
                  <a:gd name="T12" fmla="*/ 56 w 89"/>
                  <a:gd name="T13" fmla="*/ 80 h 101"/>
                  <a:gd name="T14" fmla="*/ 49 w 89"/>
                  <a:gd name="T15" fmla="*/ 74 h 101"/>
                  <a:gd name="T16" fmla="*/ 50 w 89"/>
                  <a:gd name="T17" fmla="*/ 71 h 101"/>
                  <a:gd name="T18" fmla="*/ 49 w 89"/>
                  <a:gd name="T19" fmla="*/ 65 h 101"/>
                  <a:gd name="T20" fmla="*/ 35 w 89"/>
                  <a:gd name="T21" fmla="*/ 51 h 101"/>
                  <a:gd name="T22" fmla="*/ 41 w 89"/>
                  <a:gd name="T23" fmla="*/ 49 h 101"/>
                  <a:gd name="T24" fmla="*/ 51 w 89"/>
                  <a:gd name="T25" fmla="*/ 42 h 101"/>
                  <a:gd name="T26" fmla="*/ 62 w 89"/>
                  <a:gd name="T27" fmla="*/ 38 h 101"/>
                  <a:gd name="T28" fmla="*/ 60 w 89"/>
                  <a:gd name="T29" fmla="*/ 31 h 101"/>
                  <a:gd name="T30" fmla="*/ 47 w 89"/>
                  <a:gd name="T31" fmla="*/ 34 h 101"/>
                  <a:gd name="T32" fmla="*/ 39 w 89"/>
                  <a:gd name="T33" fmla="*/ 34 h 101"/>
                  <a:gd name="T34" fmla="*/ 32 w 89"/>
                  <a:gd name="T35" fmla="*/ 44 h 101"/>
                  <a:gd name="T36" fmla="*/ 25 w 89"/>
                  <a:gd name="T37" fmla="*/ 39 h 101"/>
                  <a:gd name="T38" fmla="*/ 18 w 89"/>
                  <a:gd name="T39" fmla="*/ 32 h 101"/>
                  <a:gd name="T40" fmla="*/ 22 w 89"/>
                  <a:gd name="T41" fmla="*/ 17 h 101"/>
                  <a:gd name="T42" fmla="*/ 30 w 89"/>
                  <a:gd name="T43" fmla="*/ 17 h 101"/>
                  <a:gd name="T44" fmla="*/ 35 w 89"/>
                  <a:gd name="T45" fmla="*/ 17 h 101"/>
                  <a:gd name="T46" fmla="*/ 43 w 89"/>
                  <a:gd name="T47" fmla="*/ 17 h 101"/>
                  <a:gd name="T48" fmla="*/ 61 w 89"/>
                  <a:gd name="T49" fmla="*/ 20 h 101"/>
                  <a:gd name="T50" fmla="*/ 78 w 89"/>
                  <a:gd name="T51" fmla="*/ 16 h 101"/>
                  <a:gd name="T52" fmla="*/ 86 w 89"/>
                  <a:gd name="T53" fmla="*/ 6 h 101"/>
                  <a:gd name="T54" fmla="*/ 84 w 89"/>
                  <a:gd name="T55" fmla="*/ 0 h 101"/>
                  <a:gd name="T56" fmla="*/ 79 w 89"/>
                  <a:gd name="T57" fmla="*/ 7 h 101"/>
                  <a:gd name="T58" fmla="*/ 68 w 89"/>
                  <a:gd name="T59" fmla="*/ 12 h 101"/>
                  <a:gd name="T60" fmla="*/ 58 w 89"/>
                  <a:gd name="T61" fmla="*/ 11 h 101"/>
                  <a:gd name="T62" fmla="*/ 43 w 89"/>
                  <a:gd name="T63" fmla="*/ 8 h 101"/>
                  <a:gd name="T64" fmla="*/ 34 w 89"/>
                  <a:gd name="T65" fmla="*/ 6 h 101"/>
                  <a:gd name="T66" fmla="*/ 27 w 89"/>
                  <a:gd name="T67" fmla="*/ 10 h 101"/>
                  <a:gd name="T68" fmla="*/ 17 w 89"/>
                  <a:gd name="T69" fmla="*/ 14 h 101"/>
                  <a:gd name="T70" fmla="*/ 14 w 89"/>
                  <a:gd name="T71" fmla="*/ 21 h 101"/>
                  <a:gd name="T72" fmla="*/ 14 w 89"/>
                  <a:gd name="T73" fmla="*/ 28 h 101"/>
                  <a:gd name="T74" fmla="*/ 15 w 89"/>
                  <a:gd name="T75" fmla="*/ 36 h 101"/>
                  <a:gd name="T76" fmla="*/ 7 w 89"/>
                  <a:gd name="T77" fmla="*/ 44 h 101"/>
                  <a:gd name="T78" fmla="*/ 5 w 89"/>
                  <a:gd name="T79" fmla="*/ 54 h 101"/>
                  <a:gd name="T80" fmla="*/ 0 w 89"/>
                  <a:gd name="T81" fmla="*/ 62 h 101"/>
                  <a:gd name="T82" fmla="*/ 1 w 89"/>
                  <a:gd name="T83" fmla="*/ 72 h 101"/>
                  <a:gd name="T84" fmla="*/ 10 w 89"/>
                  <a:gd name="T85" fmla="*/ 72 h 101"/>
                  <a:gd name="T86" fmla="*/ 12 w 89"/>
                  <a:gd name="T87" fmla="*/ 84 h 101"/>
                  <a:gd name="T88" fmla="*/ 8 w 89"/>
                  <a:gd name="T89" fmla="*/ 94 h 101"/>
                  <a:gd name="T90" fmla="*/ 12 w 89"/>
                  <a:gd name="T91" fmla="*/ 100 h 101"/>
                  <a:gd name="T92" fmla="*/ 23 w 89"/>
                  <a:gd name="T93" fmla="*/ 99 h 101"/>
                  <a:gd name="T94" fmla="*/ 22 w 89"/>
                  <a:gd name="T95" fmla="*/ 91 h 101"/>
                  <a:gd name="T96" fmla="*/ 23 w 89"/>
                  <a:gd name="T97" fmla="*/ 74 h 101"/>
                  <a:gd name="T98" fmla="*/ 21 w 89"/>
                  <a:gd name="T99" fmla="*/ 6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01">
                    <a:moveTo>
                      <a:pt x="21" y="64"/>
                    </a:moveTo>
                    <a:lnTo>
                      <a:pt x="26" y="61"/>
                    </a:lnTo>
                    <a:lnTo>
                      <a:pt x="29" y="61"/>
                    </a:lnTo>
                    <a:lnTo>
                      <a:pt x="31" y="61"/>
                    </a:lnTo>
                    <a:lnTo>
                      <a:pt x="32" y="64"/>
                    </a:lnTo>
                    <a:lnTo>
                      <a:pt x="31" y="68"/>
                    </a:lnTo>
                    <a:lnTo>
                      <a:pt x="29" y="71"/>
                    </a:lnTo>
                    <a:lnTo>
                      <a:pt x="31" y="74"/>
                    </a:lnTo>
                    <a:lnTo>
                      <a:pt x="36" y="79"/>
                    </a:lnTo>
                    <a:lnTo>
                      <a:pt x="39" y="79"/>
                    </a:lnTo>
                    <a:lnTo>
                      <a:pt x="39" y="81"/>
                    </a:lnTo>
                    <a:lnTo>
                      <a:pt x="38" y="87"/>
                    </a:lnTo>
                    <a:lnTo>
                      <a:pt x="40" y="89"/>
                    </a:lnTo>
                    <a:lnTo>
                      <a:pt x="42" y="90"/>
                    </a:lnTo>
                    <a:lnTo>
                      <a:pt x="44" y="88"/>
                    </a:lnTo>
                    <a:lnTo>
                      <a:pt x="47" y="85"/>
                    </a:lnTo>
                    <a:lnTo>
                      <a:pt x="52" y="84"/>
                    </a:lnTo>
                    <a:lnTo>
                      <a:pt x="55" y="84"/>
                    </a:lnTo>
                    <a:lnTo>
                      <a:pt x="53" y="83"/>
                    </a:lnTo>
                    <a:lnTo>
                      <a:pt x="57" y="82"/>
                    </a:lnTo>
                    <a:lnTo>
                      <a:pt x="56" y="80"/>
                    </a:lnTo>
                    <a:lnTo>
                      <a:pt x="53" y="79"/>
                    </a:lnTo>
                    <a:lnTo>
                      <a:pt x="51" y="76"/>
                    </a:lnTo>
                    <a:lnTo>
                      <a:pt x="49" y="74"/>
                    </a:lnTo>
                    <a:lnTo>
                      <a:pt x="48" y="72"/>
                    </a:lnTo>
                    <a:lnTo>
                      <a:pt x="49" y="71"/>
                    </a:lnTo>
                    <a:lnTo>
                      <a:pt x="50" y="71"/>
                    </a:lnTo>
                    <a:lnTo>
                      <a:pt x="49" y="68"/>
                    </a:lnTo>
                    <a:lnTo>
                      <a:pt x="51" y="67"/>
                    </a:lnTo>
                    <a:lnTo>
                      <a:pt x="49" y="65"/>
                    </a:lnTo>
                    <a:lnTo>
                      <a:pt x="41" y="54"/>
                    </a:lnTo>
                    <a:lnTo>
                      <a:pt x="38" y="51"/>
                    </a:lnTo>
                    <a:lnTo>
                      <a:pt x="35" y="51"/>
                    </a:lnTo>
                    <a:lnTo>
                      <a:pt x="35" y="48"/>
                    </a:lnTo>
                    <a:lnTo>
                      <a:pt x="38" y="50"/>
                    </a:lnTo>
                    <a:lnTo>
                      <a:pt x="41" y="49"/>
                    </a:lnTo>
                    <a:lnTo>
                      <a:pt x="43" y="47"/>
                    </a:lnTo>
                    <a:lnTo>
                      <a:pt x="48" y="45"/>
                    </a:lnTo>
                    <a:lnTo>
                      <a:pt x="51" y="42"/>
                    </a:lnTo>
                    <a:lnTo>
                      <a:pt x="55" y="38"/>
                    </a:lnTo>
                    <a:lnTo>
                      <a:pt x="58" y="36"/>
                    </a:lnTo>
                    <a:lnTo>
                      <a:pt x="62" y="38"/>
                    </a:lnTo>
                    <a:lnTo>
                      <a:pt x="65" y="36"/>
                    </a:lnTo>
                    <a:lnTo>
                      <a:pt x="64" y="32"/>
                    </a:lnTo>
                    <a:lnTo>
                      <a:pt x="60" y="31"/>
                    </a:lnTo>
                    <a:lnTo>
                      <a:pt x="58" y="32"/>
                    </a:lnTo>
                    <a:lnTo>
                      <a:pt x="56" y="34"/>
                    </a:lnTo>
                    <a:lnTo>
                      <a:pt x="47" y="34"/>
                    </a:lnTo>
                    <a:lnTo>
                      <a:pt x="44" y="37"/>
                    </a:lnTo>
                    <a:lnTo>
                      <a:pt x="41" y="37"/>
                    </a:lnTo>
                    <a:lnTo>
                      <a:pt x="39" y="34"/>
                    </a:lnTo>
                    <a:lnTo>
                      <a:pt x="36" y="37"/>
                    </a:lnTo>
                    <a:lnTo>
                      <a:pt x="33" y="40"/>
                    </a:lnTo>
                    <a:lnTo>
                      <a:pt x="32" y="44"/>
                    </a:lnTo>
                    <a:lnTo>
                      <a:pt x="27" y="42"/>
                    </a:lnTo>
                    <a:lnTo>
                      <a:pt x="25" y="41"/>
                    </a:lnTo>
                    <a:lnTo>
                      <a:pt x="25" y="39"/>
                    </a:lnTo>
                    <a:lnTo>
                      <a:pt x="23" y="36"/>
                    </a:lnTo>
                    <a:lnTo>
                      <a:pt x="19" y="36"/>
                    </a:lnTo>
                    <a:lnTo>
                      <a:pt x="18" y="32"/>
                    </a:lnTo>
                    <a:lnTo>
                      <a:pt x="17" y="27"/>
                    </a:lnTo>
                    <a:lnTo>
                      <a:pt x="19" y="21"/>
                    </a:lnTo>
                    <a:lnTo>
                      <a:pt x="22" y="17"/>
                    </a:lnTo>
                    <a:lnTo>
                      <a:pt x="24" y="16"/>
                    </a:lnTo>
                    <a:lnTo>
                      <a:pt x="26" y="16"/>
                    </a:lnTo>
                    <a:lnTo>
                      <a:pt x="30" y="17"/>
                    </a:lnTo>
                    <a:lnTo>
                      <a:pt x="32" y="17"/>
                    </a:lnTo>
                    <a:lnTo>
                      <a:pt x="34" y="17"/>
                    </a:lnTo>
                    <a:lnTo>
                      <a:pt x="35" y="17"/>
                    </a:lnTo>
                    <a:lnTo>
                      <a:pt x="38" y="16"/>
                    </a:lnTo>
                    <a:lnTo>
                      <a:pt x="40" y="16"/>
                    </a:lnTo>
                    <a:lnTo>
                      <a:pt x="43" y="17"/>
                    </a:lnTo>
                    <a:lnTo>
                      <a:pt x="45" y="17"/>
                    </a:lnTo>
                    <a:lnTo>
                      <a:pt x="59" y="16"/>
                    </a:lnTo>
                    <a:lnTo>
                      <a:pt x="61" y="20"/>
                    </a:lnTo>
                    <a:lnTo>
                      <a:pt x="67" y="20"/>
                    </a:lnTo>
                    <a:lnTo>
                      <a:pt x="76" y="19"/>
                    </a:lnTo>
                    <a:lnTo>
                      <a:pt x="78" y="16"/>
                    </a:lnTo>
                    <a:lnTo>
                      <a:pt x="79" y="14"/>
                    </a:lnTo>
                    <a:lnTo>
                      <a:pt x="85" y="8"/>
                    </a:lnTo>
                    <a:lnTo>
                      <a:pt x="86" y="6"/>
                    </a:lnTo>
                    <a:lnTo>
                      <a:pt x="89" y="4"/>
                    </a:lnTo>
                    <a:lnTo>
                      <a:pt x="87" y="0"/>
                    </a:lnTo>
                    <a:lnTo>
                      <a:pt x="84" y="0"/>
                    </a:lnTo>
                    <a:lnTo>
                      <a:pt x="83" y="4"/>
                    </a:lnTo>
                    <a:lnTo>
                      <a:pt x="79" y="5"/>
                    </a:lnTo>
                    <a:lnTo>
                      <a:pt x="79" y="7"/>
                    </a:lnTo>
                    <a:lnTo>
                      <a:pt x="76" y="8"/>
                    </a:lnTo>
                    <a:lnTo>
                      <a:pt x="74" y="11"/>
                    </a:lnTo>
                    <a:lnTo>
                      <a:pt x="68" y="12"/>
                    </a:lnTo>
                    <a:lnTo>
                      <a:pt x="64" y="11"/>
                    </a:lnTo>
                    <a:lnTo>
                      <a:pt x="60" y="11"/>
                    </a:lnTo>
                    <a:lnTo>
                      <a:pt x="58" y="11"/>
                    </a:lnTo>
                    <a:lnTo>
                      <a:pt x="56" y="12"/>
                    </a:lnTo>
                    <a:lnTo>
                      <a:pt x="50" y="10"/>
                    </a:lnTo>
                    <a:lnTo>
                      <a:pt x="43" y="8"/>
                    </a:lnTo>
                    <a:lnTo>
                      <a:pt x="38" y="10"/>
                    </a:lnTo>
                    <a:lnTo>
                      <a:pt x="36" y="6"/>
                    </a:lnTo>
                    <a:lnTo>
                      <a:pt x="34" y="6"/>
                    </a:lnTo>
                    <a:lnTo>
                      <a:pt x="31" y="5"/>
                    </a:lnTo>
                    <a:lnTo>
                      <a:pt x="29" y="7"/>
                    </a:lnTo>
                    <a:lnTo>
                      <a:pt x="27" y="10"/>
                    </a:lnTo>
                    <a:lnTo>
                      <a:pt x="25" y="12"/>
                    </a:lnTo>
                    <a:lnTo>
                      <a:pt x="19" y="13"/>
                    </a:lnTo>
                    <a:lnTo>
                      <a:pt x="17" y="14"/>
                    </a:lnTo>
                    <a:lnTo>
                      <a:pt x="17" y="16"/>
                    </a:lnTo>
                    <a:lnTo>
                      <a:pt x="15" y="19"/>
                    </a:lnTo>
                    <a:lnTo>
                      <a:pt x="14" y="21"/>
                    </a:lnTo>
                    <a:lnTo>
                      <a:pt x="15" y="23"/>
                    </a:lnTo>
                    <a:lnTo>
                      <a:pt x="12" y="23"/>
                    </a:lnTo>
                    <a:lnTo>
                      <a:pt x="14" y="28"/>
                    </a:lnTo>
                    <a:lnTo>
                      <a:pt x="14" y="30"/>
                    </a:lnTo>
                    <a:lnTo>
                      <a:pt x="15" y="33"/>
                    </a:lnTo>
                    <a:lnTo>
                      <a:pt x="15" y="36"/>
                    </a:lnTo>
                    <a:lnTo>
                      <a:pt x="14" y="32"/>
                    </a:lnTo>
                    <a:lnTo>
                      <a:pt x="8" y="40"/>
                    </a:lnTo>
                    <a:lnTo>
                      <a:pt x="7" y="44"/>
                    </a:lnTo>
                    <a:lnTo>
                      <a:pt x="8" y="48"/>
                    </a:lnTo>
                    <a:lnTo>
                      <a:pt x="6" y="51"/>
                    </a:lnTo>
                    <a:lnTo>
                      <a:pt x="5" y="54"/>
                    </a:lnTo>
                    <a:lnTo>
                      <a:pt x="5" y="57"/>
                    </a:lnTo>
                    <a:lnTo>
                      <a:pt x="2" y="59"/>
                    </a:lnTo>
                    <a:lnTo>
                      <a:pt x="0" y="62"/>
                    </a:lnTo>
                    <a:lnTo>
                      <a:pt x="1" y="64"/>
                    </a:lnTo>
                    <a:lnTo>
                      <a:pt x="0" y="66"/>
                    </a:lnTo>
                    <a:lnTo>
                      <a:pt x="1" y="72"/>
                    </a:lnTo>
                    <a:lnTo>
                      <a:pt x="5" y="72"/>
                    </a:lnTo>
                    <a:lnTo>
                      <a:pt x="7" y="71"/>
                    </a:lnTo>
                    <a:lnTo>
                      <a:pt x="10" y="72"/>
                    </a:lnTo>
                    <a:lnTo>
                      <a:pt x="9" y="74"/>
                    </a:lnTo>
                    <a:lnTo>
                      <a:pt x="12" y="79"/>
                    </a:lnTo>
                    <a:lnTo>
                      <a:pt x="12" y="84"/>
                    </a:lnTo>
                    <a:lnTo>
                      <a:pt x="10" y="90"/>
                    </a:lnTo>
                    <a:lnTo>
                      <a:pt x="9" y="92"/>
                    </a:lnTo>
                    <a:lnTo>
                      <a:pt x="8" y="94"/>
                    </a:lnTo>
                    <a:lnTo>
                      <a:pt x="8" y="96"/>
                    </a:lnTo>
                    <a:lnTo>
                      <a:pt x="9" y="99"/>
                    </a:lnTo>
                    <a:lnTo>
                      <a:pt x="12" y="100"/>
                    </a:lnTo>
                    <a:lnTo>
                      <a:pt x="14" y="101"/>
                    </a:lnTo>
                    <a:lnTo>
                      <a:pt x="17" y="100"/>
                    </a:lnTo>
                    <a:lnTo>
                      <a:pt x="23" y="99"/>
                    </a:lnTo>
                    <a:lnTo>
                      <a:pt x="22" y="97"/>
                    </a:lnTo>
                    <a:lnTo>
                      <a:pt x="21" y="93"/>
                    </a:lnTo>
                    <a:lnTo>
                      <a:pt x="22" y="91"/>
                    </a:lnTo>
                    <a:lnTo>
                      <a:pt x="23" y="89"/>
                    </a:lnTo>
                    <a:lnTo>
                      <a:pt x="22" y="77"/>
                    </a:lnTo>
                    <a:lnTo>
                      <a:pt x="23" y="74"/>
                    </a:lnTo>
                    <a:lnTo>
                      <a:pt x="23" y="70"/>
                    </a:lnTo>
                    <a:lnTo>
                      <a:pt x="21" y="66"/>
                    </a:lnTo>
                    <a:lnTo>
                      <a:pt x="21" y="64"/>
                    </a:lnTo>
                    <a:lnTo>
                      <a:pt x="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6" name="Freeform 152">
                <a:extLst>
                  <a:ext uri="{FF2B5EF4-FFF2-40B4-BE49-F238E27FC236}">
                    <a16:creationId xmlns:a16="http://schemas.microsoft.com/office/drawing/2014/main" id="{D3B96E12-B18E-40BC-9E66-E2C045C90116}"/>
                  </a:ext>
                </a:extLst>
              </p:cNvPr>
              <p:cNvSpPr>
                <a:spLocks/>
              </p:cNvSpPr>
              <p:nvPr/>
            </p:nvSpPr>
            <p:spPr bwMode="auto">
              <a:xfrm>
                <a:off x="5313" y="2934"/>
                <a:ext cx="27" cy="13"/>
              </a:xfrm>
              <a:custGeom>
                <a:avLst/>
                <a:gdLst>
                  <a:gd name="T0" fmla="*/ 27 w 27"/>
                  <a:gd name="T1" fmla="*/ 9 h 13"/>
                  <a:gd name="T2" fmla="*/ 23 w 27"/>
                  <a:gd name="T3" fmla="*/ 7 h 13"/>
                  <a:gd name="T4" fmla="*/ 21 w 27"/>
                  <a:gd name="T5" fmla="*/ 4 h 13"/>
                  <a:gd name="T6" fmla="*/ 19 w 27"/>
                  <a:gd name="T7" fmla="*/ 5 h 13"/>
                  <a:gd name="T8" fmla="*/ 15 w 27"/>
                  <a:gd name="T9" fmla="*/ 0 h 13"/>
                  <a:gd name="T10" fmla="*/ 12 w 27"/>
                  <a:gd name="T11" fmla="*/ 0 h 13"/>
                  <a:gd name="T12" fmla="*/ 10 w 27"/>
                  <a:gd name="T13" fmla="*/ 0 h 13"/>
                  <a:gd name="T14" fmla="*/ 4 w 27"/>
                  <a:gd name="T15" fmla="*/ 0 h 13"/>
                  <a:gd name="T16" fmla="*/ 2 w 27"/>
                  <a:gd name="T17" fmla="*/ 1 h 13"/>
                  <a:gd name="T18" fmla="*/ 0 w 27"/>
                  <a:gd name="T19" fmla="*/ 3 h 13"/>
                  <a:gd name="T20" fmla="*/ 2 w 27"/>
                  <a:gd name="T21" fmla="*/ 5 h 13"/>
                  <a:gd name="T22" fmla="*/ 3 w 27"/>
                  <a:gd name="T23" fmla="*/ 5 h 13"/>
                  <a:gd name="T24" fmla="*/ 8 w 27"/>
                  <a:gd name="T25" fmla="*/ 6 h 13"/>
                  <a:gd name="T26" fmla="*/ 15 w 27"/>
                  <a:gd name="T27" fmla="*/ 9 h 13"/>
                  <a:gd name="T28" fmla="*/ 17 w 27"/>
                  <a:gd name="T29" fmla="*/ 12 h 13"/>
                  <a:gd name="T30" fmla="*/ 20 w 27"/>
                  <a:gd name="T31" fmla="*/ 13 h 13"/>
                  <a:gd name="T32" fmla="*/ 25 w 27"/>
                  <a:gd name="T33" fmla="*/ 12 h 13"/>
                  <a:gd name="T34" fmla="*/ 27 w 27"/>
                  <a:gd name="T35" fmla="*/ 9 h 13"/>
                  <a:gd name="T36" fmla="*/ 27 w 27"/>
                  <a:gd name="T3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3">
                    <a:moveTo>
                      <a:pt x="27" y="9"/>
                    </a:moveTo>
                    <a:lnTo>
                      <a:pt x="23" y="7"/>
                    </a:lnTo>
                    <a:lnTo>
                      <a:pt x="21" y="4"/>
                    </a:lnTo>
                    <a:lnTo>
                      <a:pt x="19" y="5"/>
                    </a:lnTo>
                    <a:lnTo>
                      <a:pt x="15" y="0"/>
                    </a:lnTo>
                    <a:lnTo>
                      <a:pt x="12" y="0"/>
                    </a:lnTo>
                    <a:lnTo>
                      <a:pt x="10" y="0"/>
                    </a:lnTo>
                    <a:lnTo>
                      <a:pt x="4" y="0"/>
                    </a:lnTo>
                    <a:lnTo>
                      <a:pt x="2" y="1"/>
                    </a:lnTo>
                    <a:lnTo>
                      <a:pt x="0" y="3"/>
                    </a:lnTo>
                    <a:lnTo>
                      <a:pt x="2" y="5"/>
                    </a:lnTo>
                    <a:lnTo>
                      <a:pt x="3" y="5"/>
                    </a:lnTo>
                    <a:lnTo>
                      <a:pt x="8" y="6"/>
                    </a:lnTo>
                    <a:lnTo>
                      <a:pt x="15" y="9"/>
                    </a:lnTo>
                    <a:lnTo>
                      <a:pt x="17" y="12"/>
                    </a:lnTo>
                    <a:lnTo>
                      <a:pt x="20" y="13"/>
                    </a:lnTo>
                    <a:lnTo>
                      <a:pt x="25" y="12"/>
                    </a:lnTo>
                    <a:lnTo>
                      <a:pt x="27" y="9"/>
                    </a:lnTo>
                    <a:lnTo>
                      <a:pt x="2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7" name="Freeform 153">
                <a:extLst>
                  <a:ext uri="{FF2B5EF4-FFF2-40B4-BE49-F238E27FC236}">
                    <a16:creationId xmlns:a16="http://schemas.microsoft.com/office/drawing/2014/main" id="{E0C7B16F-A1B7-4C2A-97E3-F26F935F5603}"/>
                  </a:ext>
                </a:extLst>
              </p:cNvPr>
              <p:cNvSpPr>
                <a:spLocks/>
              </p:cNvSpPr>
              <p:nvPr/>
            </p:nvSpPr>
            <p:spPr bwMode="auto">
              <a:xfrm>
                <a:off x="5325" y="2548"/>
                <a:ext cx="60" cy="84"/>
              </a:xfrm>
              <a:custGeom>
                <a:avLst/>
                <a:gdLst>
                  <a:gd name="T0" fmla="*/ 9 w 60"/>
                  <a:gd name="T1" fmla="*/ 22 h 84"/>
                  <a:gd name="T2" fmla="*/ 8 w 60"/>
                  <a:gd name="T3" fmla="*/ 31 h 84"/>
                  <a:gd name="T4" fmla="*/ 8 w 60"/>
                  <a:gd name="T5" fmla="*/ 35 h 84"/>
                  <a:gd name="T6" fmla="*/ 2 w 60"/>
                  <a:gd name="T7" fmla="*/ 33 h 84"/>
                  <a:gd name="T8" fmla="*/ 0 w 60"/>
                  <a:gd name="T9" fmla="*/ 35 h 84"/>
                  <a:gd name="T10" fmla="*/ 1 w 60"/>
                  <a:gd name="T11" fmla="*/ 40 h 84"/>
                  <a:gd name="T12" fmla="*/ 2 w 60"/>
                  <a:gd name="T13" fmla="*/ 41 h 84"/>
                  <a:gd name="T14" fmla="*/ 3 w 60"/>
                  <a:gd name="T15" fmla="*/ 48 h 84"/>
                  <a:gd name="T16" fmla="*/ 7 w 60"/>
                  <a:gd name="T17" fmla="*/ 53 h 84"/>
                  <a:gd name="T18" fmla="*/ 8 w 60"/>
                  <a:gd name="T19" fmla="*/ 58 h 84"/>
                  <a:gd name="T20" fmla="*/ 11 w 60"/>
                  <a:gd name="T21" fmla="*/ 56 h 84"/>
                  <a:gd name="T22" fmla="*/ 12 w 60"/>
                  <a:gd name="T23" fmla="*/ 54 h 84"/>
                  <a:gd name="T24" fmla="*/ 16 w 60"/>
                  <a:gd name="T25" fmla="*/ 56 h 84"/>
                  <a:gd name="T26" fmla="*/ 16 w 60"/>
                  <a:gd name="T27" fmla="*/ 58 h 84"/>
                  <a:gd name="T28" fmla="*/ 11 w 60"/>
                  <a:gd name="T29" fmla="*/ 63 h 84"/>
                  <a:gd name="T30" fmla="*/ 16 w 60"/>
                  <a:gd name="T31" fmla="*/ 66 h 84"/>
                  <a:gd name="T32" fmla="*/ 18 w 60"/>
                  <a:gd name="T33" fmla="*/ 70 h 84"/>
                  <a:gd name="T34" fmla="*/ 22 w 60"/>
                  <a:gd name="T35" fmla="*/ 67 h 84"/>
                  <a:gd name="T36" fmla="*/ 26 w 60"/>
                  <a:gd name="T37" fmla="*/ 66 h 84"/>
                  <a:gd name="T38" fmla="*/ 31 w 60"/>
                  <a:gd name="T39" fmla="*/ 68 h 84"/>
                  <a:gd name="T40" fmla="*/ 37 w 60"/>
                  <a:gd name="T41" fmla="*/ 73 h 84"/>
                  <a:gd name="T42" fmla="*/ 39 w 60"/>
                  <a:gd name="T43" fmla="*/ 76 h 84"/>
                  <a:gd name="T44" fmla="*/ 37 w 60"/>
                  <a:gd name="T45" fmla="*/ 70 h 84"/>
                  <a:gd name="T46" fmla="*/ 36 w 60"/>
                  <a:gd name="T47" fmla="*/ 66 h 84"/>
                  <a:gd name="T48" fmla="*/ 41 w 60"/>
                  <a:gd name="T49" fmla="*/ 68 h 84"/>
                  <a:gd name="T50" fmla="*/ 46 w 60"/>
                  <a:gd name="T51" fmla="*/ 73 h 84"/>
                  <a:gd name="T52" fmla="*/ 48 w 60"/>
                  <a:gd name="T53" fmla="*/ 78 h 84"/>
                  <a:gd name="T54" fmla="*/ 58 w 60"/>
                  <a:gd name="T55" fmla="*/ 80 h 84"/>
                  <a:gd name="T56" fmla="*/ 56 w 60"/>
                  <a:gd name="T57" fmla="*/ 84 h 84"/>
                  <a:gd name="T58" fmla="*/ 60 w 60"/>
                  <a:gd name="T59" fmla="*/ 78 h 84"/>
                  <a:gd name="T60" fmla="*/ 54 w 60"/>
                  <a:gd name="T61" fmla="*/ 74 h 84"/>
                  <a:gd name="T62" fmla="*/ 52 w 60"/>
                  <a:gd name="T63" fmla="*/ 71 h 84"/>
                  <a:gd name="T64" fmla="*/ 56 w 60"/>
                  <a:gd name="T65" fmla="*/ 68 h 84"/>
                  <a:gd name="T66" fmla="*/ 51 w 60"/>
                  <a:gd name="T67" fmla="*/ 66 h 84"/>
                  <a:gd name="T68" fmla="*/ 48 w 60"/>
                  <a:gd name="T69" fmla="*/ 67 h 84"/>
                  <a:gd name="T70" fmla="*/ 46 w 60"/>
                  <a:gd name="T71" fmla="*/ 69 h 84"/>
                  <a:gd name="T72" fmla="*/ 45 w 60"/>
                  <a:gd name="T73" fmla="*/ 65 h 84"/>
                  <a:gd name="T74" fmla="*/ 42 w 60"/>
                  <a:gd name="T75" fmla="*/ 61 h 84"/>
                  <a:gd name="T76" fmla="*/ 35 w 60"/>
                  <a:gd name="T77" fmla="*/ 63 h 84"/>
                  <a:gd name="T78" fmla="*/ 35 w 60"/>
                  <a:gd name="T79" fmla="*/ 65 h 84"/>
                  <a:gd name="T80" fmla="*/ 29 w 60"/>
                  <a:gd name="T81" fmla="*/ 65 h 84"/>
                  <a:gd name="T82" fmla="*/ 26 w 60"/>
                  <a:gd name="T83" fmla="*/ 60 h 84"/>
                  <a:gd name="T84" fmla="*/ 25 w 60"/>
                  <a:gd name="T85" fmla="*/ 57 h 84"/>
                  <a:gd name="T86" fmla="*/ 25 w 60"/>
                  <a:gd name="T87" fmla="*/ 53 h 84"/>
                  <a:gd name="T88" fmla="*/ 22 w 60"/>
                  <a:gd name="T89" fmla="*/ 48 h 84"/>
                  <a:gd name="T90" fmla="*/ 25 w 60"/>
                  <a:gd name="T91" fmla="*/ 42 h 84"/>
                  <a:gd name="T92" fmla="*/ 26 w 60"/>
                  <a:gd name="T93" fmla="*/ 36 h 84"/>
                  <a:gd name="T94" fmla="*/ 31 w 60"/>
                  <a:gd name="T95" fmla="*/ 35 h 84"/>
                  <a:gd name="T96" fmla="*/ 34 w 60"/>
                  <a:gd name="T97" fmla="*/ 33 h 84"/>
                  <a:gd name="T98" fmla="*/ 34 w 60"/>
                  <a:gd name="T99" fmla="*/ 30 h 84"/>
                  <a:gd name="T100" fmla="*/ 36 w 60"/>
                  <a:gd name="T101" fmla="*/ 25 h 84"/>
                  <a:gd name="T102" fmla="*/ 37 w 60"/>
                  <a:gd name="T103" fmla="*/ 20 h 84"/>
                  <a:gd name="T104" fmla="*/ 34 w 60"/>
                  <a:gd name="T105" fmla="*/ 17 h 84"/>
                  <a:gd name="T106" fmla="*/ 33 w 60"/>
                  <a:gd name="T107" fmla="*/ 7 h 84"/>
                  <a:gd name="T108" fmla="*/ 35 w 60"/>
                  <a:gd name="T109" fmla="*/ 3 h 84"/>
                  <a:gd name="T110" fmla="*/ 31 w 60"/>
                  <a:gd name="T111" fmla="*/ 3 h 84"/>
                  <a:gd name="T112" fmla="*/ 26 w 60"/>
                  <a:gd name="T113" fmla="*/ 5 h 84"/>
                  <a:gd name="T114" fmla="*/ 26 w 60"/>
                  <a:gd name="T115" fmla="*/ 6 h 84"/>
                  <a:gd name="T116" fmla="*/ 19 w 60"/>
                  <a:gd name="T117" fmla="*/ 0 h 84"/>
                  <a:gd name="T118" fmla="*/ 11 w 60"/>
                  <a:gd name="T119" fmla="*/ 5 h 84"/>
                  <a:gd name="T120" fmla="*/ 9 w 60"/>
                  <a:gd name="T121" fmla="*/ 1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 h="84">
                    <a:moveTo>
                      <a:pt x="9" y="16"/>
                    </a:moveTo>
                    <a:lnTo>
                      <a:pt x="9" y="22"/>
                    </a:lnTo>
                    <a:lnTo>
                      <a:pt x="8" y="30"/>
                    </a:lnTo>
                    <a:lnTo>
                      <a:pt x="8" y="31"/>
                    </a:lnTo>
                    <a:lnTo>
                      <a:pt x="9" y="34"/>
                    </a:lnTo>
                    <a:lnTo>
                      <a:pt x="8" y="35"/>
                    </a:lnTo>
                    <a:lnTo>
                      <a:pt x="5" y="36"/>
                    </a:lnTo>
                    <a:lnTo>
                      <a:pt x="2" y="33"/>
                    </a:lnTo>
                    <a:lnTo>
                      <a:pt x="0" y="32"/>
                    </a:lnTo>
                    <a:lnTo>
                      <a:pt x="0" y="35"/>
                    </a:lnTo>
                    <a:lnTo>
                      <a:pt x="0" y="37"/>
                    </a:lnTo>
                    <a:lnTo>
                      <a:pt x="1" y="40"/>
                    </a:lnTo>
                    <a:lnTo>
                      <a:pt x="1" y="41"/>
                    </a:lnTo>
                    <a:lnTo>
                      <a:pt x="2" y="41"/>
                    </a:lnTo>
                    <a:lnTo>
                      <a:pt x="2" y="44"/>
                    </a:lnTo>
                    <a:lnTo>
                      <a:pt x="3" y="48"/>
                    </a:lnTo>
                    <a:lnTo>
                      <a:pt x="4" y="53"/>
                    </a:lnTo>
                    <a:lnTo>
                      <a:pt x="7" y="53"/>
                    </a:lnTo>
                    <a:lnTo>
                      <a:pt x="7" y="56"/>
                    </a:lnTo>
                    <a:lnTo>
                      <a:pt x="8" y="58"/>
                    </a:lnTo>
                    <a:lnTo>
                      <a:pt x="11" y="59"/>
                    </a:lnTo>
                    <a:lnTo>
                      <a:pt x="11" y="56"/>
                    </a:lnTo>
                    <a:lnTo>
                      <a:pt x="10" y="53"/>
                    </a:lnTo>
                    <a:lnTo>
                      <a:pt x="12" y="54"/>
                    </a:lnTo>
                    <a:lnTo>
                      <a:pt x="13" y="54"/>
                    </a:lnTo>
                    <a:lnTo>
                      <a:pt x="16" y="56"/>
                    </a:lnTo>
                    <a:lnTo>
                      <a:pt x="17" y="58"/>
                    </a:lnTo>
                    <a:lnTo>
                      <a:pt x="16" y="58"/>
                    </a:lnTo>
                    <a:lnTo>
                      <a:pt x="11" y="61"/>
                    </a:lnTo>
                    <a:lnTo>
                      <a:pt x="11" y="63"/>
                    </a:lnTo>
                    <a:lnTo>
                      <a:pt x="12" y="66"/>
                    </a:lnTo>
                    <a:lnTo>
                      <a:pt x="16" y="66"/>
                    </a:lnTo>
                    <a:lnTo>
                      <a:pt x="16" y="69"/>
                    </a:lnTo>
                    <a:lnTo>
                      <a:pt x="18" y="70"/>
                    </a:lnTo>
                    <a:lnTo>
                      <a:pt x="21" y="70"/>
                    </a:lnTo>
                    <a:lnTo>
                      <a:pt x="22" y="67"/>
                    </a:lnTo>
                    <a:lnTo>
                      <a:pt x="25" y="67"/>
                    </a:lnTo>
                    <a:lnTo>
                      <a:pt x="26" y="66"/>
                    </a:lnTo>
                    <a:lnTo>
                      <a:pt x="28" y="66"/>
                    </a:lnTo>
                    <a:lnTo>
                      <a:pt x="31" y="68"/>
                    </a:lnTo>
                    <a:lnTo>
                      <a:pt x="35" y="70"/>
                    </a:lnTo>
                    <a:lnTo>
                      <a:pt x="37" y="73"/>
                    </a:lnTo>
                    <a:lnTo>
                      <a:pt x="37" y="76"/>
                    </a:lnTo>
                    <a:lnTo>
                      <a:pt x="39" y="76"/>
                    </a:lnTo>
                    <a:lnTo>
                      <a:pt x="39" y="74"/>
                    </a:lnTo>
                    <a:lnTo>
                      <a:pt x="37" y="70"/>
                    </a:lnTo>
                    <a:lnTo>
                      <a:pt x="37" y="68"/>
                    </a:lnTo>
                    <a:lnTo>
                      <a:pt x="36" y="66"/>
                    </a:lnTo>
                    <a:lnTo>
                      <a:pt x="38" y="66"/>
                    </a:lnTo>
                    <a:lnTo>
                      <a:pt x="41" y="68"/>
                    </a:lnTo>
                    <a:lnTo>
                      <a:pt x="42" y="70"/>
                    </a:lnTo>
                    <a:lnTo>
                      <a:pt x="46" y="73"/>
                    </a:lnTo>
                    <a:lnTo>
                      <a:pt x="48" y="75"/>
                    </a:lnTo>
                    <a:lnTo>
                      <a:pt x="48" y="78"/>
                    </a:lnTo>
                    <a:lnTo>
                      <a:pt x="55" y="80"/>
                    </a:lnTo>
                    <a:lnTo>
                      <a:pt x="58" y="80"/>
                    </a:lnTo>
                    <a:lnTo>
                      <a:pt x="55" y="82"/>
                    </a:lnTo>
                    <a:lnTo>
                      <a:pt x="56" y="84"/>
                    </a:lnTo>
                    <a:lnTo>
                      <a:pt x="60" y="83"/>
                    </a:lnTo>
                    <a:lnTo>
                      <a:pt x="60" y="78"/>
                    </a:lnTo>
                    <a:lnTo>
                      <a:pt x="54" y="77"/>
                    </a:lnTo>
                    <a:lnTo>
                      <a:pt x="54" y="74"/>
                    </a:lnTo>
                    <a:lnTo>
                      <a:pt x="52" y="71"/>
                    </a:lnTo>
                    <a:lnTo>
                      <a:pt x="52" y="71"/>
                    </a:lnTo>
                    <a:lnTo>
                      <a:pt x="53" y="69"/>
                    </a:lnTo>
                    <a:lnTo>
                      <a:pt x="56" y="68"/>
                    </a:lnTo>
                    <a:lnTo>
                      <a:pt x="55" y="67"/>
                    </a:lnTo>
                    <a:lnTo>
                      <a:pt x="51" y="66"/>
                    </a:lnTo>
                    <a:lnTo>
                      <a:pt x="48" y="63"/>
                    </a:lnTo>
                    <a:lnTo>
                      <a:pt x="48" y="67"/>
                    </a:lnTo>
                    <a:lnTo>
                      <a:pt x="47" y="69"/>
                    </a:lnTo>
                    <a:lnTo>
                      <a:pt x="46" y="69"/>
                    </a:lnTo>
                    <a:lnTo>
                      <a:pt x="45" y="67"/>
                    </a:lnTo>
                    <a:lnTo>
                      <a:pt x="45" y="65"/>
                    </a:lnTo>
                    <a:lnTo>
                      <a:pt x="44" y="63"/>
                    </a:lnTo>
                    <a:lnTo>
                      <a:pt x="42" y="61"/>
                    </a:lnTo>
                    <a:lnTo>
                      <a:pt x="36" y="60"/>
                    </a:lnTo>
                    <a:lnTo>
                      <a:pt x="35" y="63"/>
                    </a:lnTo>
                    <a:lnTo>
                      <a:pt x="33" y="62"/>
                    </a:lnTo>
                    <a:lnTo>
                      <a:pt x="35" y="65"/>
                    </a:lnTo>
                    <a:lnTo>
                      <a:pt x="33" y="66"/>
                    </a:lnTo>
                    <a:lnTo>
                      <a:pt x="29" y="65"/>
                    </a:lnTo>
                    <a:lnTo>
                      <a:pt x="27" y="62"/>
                    </a:lnTo>
                    <a:lnTo>
                      <a:pt x="26" y="60"/>
                    </a:lnTo>
                    <a:lnTo>
                      <a:pt x="26" y="59"/>
                    </a:lnTo>
                    <a:lnTo>
                      <a:pt x="25" y="57"/>
                    </a:lnTo>
                    <a:lnTo>
                      <a:pt x="26" y="54"/>
                    </a:lnTo>
                    <a:lnTo>
                      <a:pt x="25" y="53"/>
                    </a:lnTo>
                    <a:lnTo>
                      <a:pt x="25" y="51"/>
                    </a:lnTo>
                    <a:lnTo>
                      <a:pt x="22" y="48"/>
                    </a:lnTo>
                    <a:lnTo>
                      <a:pt x="24" y="45"/>
                    </a:lnTo>
                    <a:lnTo>
                      <a:pt x="25" y="42"/>
                    </a:lnTo>
                    <a:lnTo>
                      <a:pt x="25" y="40"/>
                    </a:lnTo>
                    <a:lnTo>
                      <a:pt x="26" y="36"/>
                    </a:lnTo>
                    <a:lnTo>
                      <a:pt x="28" y="35"/>
                    </a:lnTo>
                    <a:lnTo>
                      <a:pt x="31" y="35"/>
                    </a:lnTo>
                    <a:lnTo>
                      <a:pt x="31" y="35"/>
                    </a:lnTo>
                    <a:lnTo>
                      <a:pt x="34" y="33"/>
                    </a:lnTo>
                    <a:lnTo>
                      <a:pt x="33" y="32"/>
                    </a:lnTo>
                    <a:lnTo>
                      <a:pt x="34" y="30"/>
                    </a:lnTo>
                    <a:lnTo>
                      <a:pt x="35" y="28"/>
                    </a:lnTo>
                    <a:lnTo>
                      <a:pt x="36" y="25"/>
                    </a:lnTo>
                    <a:lnTo>
                      <a:pt x="37" y="22"/>
                    </a:lnTo>
                    <a:lnTo>
                      <a:pt x="37" y="20"/>
                    </a:lnTo>
                    <a:lnTo>
                      <a:pt x="37" y="20"/>
                    </a:lnTo>
                    <a:lnTo>
                      <a:pt x="34" y="17"/>
                    </a:lnTo>
                    <a:lnTo>
                      <a:pt x="33" y="13"/>
                    </a:lnTo>
                    <a:lnTo>
                      <a:pt x="33" y="7"/>
                    </a:lnTo>
                    <a:lnTo>
                      <a:pt x="35" y="5"/>
                    </a:lnTo>
                    <a:lnTo>
                      <a:pt x="35" y="3"/>
                    </a:lnTo>
                    <a:lnTo>
                      <a:pt x="33" y="2"/>
                    </a:lnTo>
                    <a:lnTo>
                      <a:pt x="31" y="3"/>
                    </a:lnTo>
                    <a:lnTo>
                      <a:pt x="28" y="5"/>
                    </a:lnTo>
                    <a:lnTo>
                      <a:pt x="26" y="5"/>
                    </a:lnTo>
                    <a:lnTo>
                      <a:pt x="26" y="7"/>
                    </a:lnTo>
                    <a:lnTo>
                      <a:pt x="26" y="6"/>
                    </a:lnTo>
                    <a:lnTo>
                      <a:pt x="25" y="3"/>
                    </a:lnTo>
                    <a:lnTo>
                      <a:pt x="19" y="0"/>
                    </a:lnTo>
                    <a:lnTo>
                      <a:pt x="11" y="1"/>
                    </a:lnTo>
                    <a:lnTo>
                      <a:pt x="11" y="5"/>
                    </a:lnTo>
                    <a:lnTo>
                      <a:pt x="9" y="10"/>
                    </a:lnTo>
                    <a:lnTo>
                      <a:pt x="9" y="16"/>
                    </a:lnTo>
                    <a:lnTo>
                      <a:pt x="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8" name="Freeform 154">
                <a:extLst>
                  <a:ext uri="{FF2B5EF4-FFF2-40B4-BE49-F238E27FC236}">
                    <a16:creationId xmlns:a16="http://schemas.microsoft.com/office/drawing/2014/main" id="{BF488BBB-E79E-4F7D-AE63-2B29FA11B9DC}"/>
                  </a:ext>
                </a:extLst>
              </p:cNvPr>
              <p:cNvSpPr>
                <a:spLocks/>
              </p:cNvSpPr>
              <p:nvPr/>
            </p:nvSpPr>
            <p:spPr bwMode="auto">
              <a:xfrm>
                <a:off x="5325" y="2917"/>
                <a:ext cx="44" cy="12"/>
              </a:xfrm>
              <a:custGeom>
                <a:avLst/>
                <a:gdLst>
                  <a:gd name="T0" fmla="*/ 3 w 44"/>
                  <a:gd name="T1" fmla="*/ 9 h 12"/>
                  <a:gd name="T2" fmla="*/ 4 w 44"/>
                  <a:gd name="T3" fmla="*/ 9 h 12"/>
                  <a:gd name="T4" fmla="*/ 8 w 44"/>
                  <a:gd name="T5" fmla="*/ 9 h 12"/>
                  <a:gd name="T6" fmla="*/ 10 w 44"/>
                  <a:gd name="T7" fmla="*/ 9 h 12"/>
                  <a:gd name="T8" fmla="*/ 16 w 44"/>
                  <a:gd name="T9" fmla="*/ 12 h 12"/>
                  <a:gd name="T10" fmla="*/ 21 w 44"/>
                  <a:gd name="T11" fmla="*/ 12 h 12"/>
                  <a:gd name="T12" fmla="*/ 24 w 44"/>
                  <a:gd name="T13" fmla="*/ 9 h 12"/>
                  <a:gd name="T14" fmla="*/ 26 w 44"/>
                  <a:gd name="T15" fmla="*/ 10 h 12"/>
                  <a:gd name="T16" fmla="*/ 29 w 44"/>
                  <a:gd name="T17" fmla="*/ 9 h 12"/>
                  <a:gd name="T18" fmla="*/ 31 w 44"/>
                  <a:gd name="T19" fmla="*/ 8 h 12"/>
                  <a:gd name="T20" fmla="*/ 37 w 44"/>
                  <a:gd name="T21" fmla="*/ 8 h 12"/>
                  <a:gd name="T22" fmla="*/ 41 w 44"/>
                  <a:gd name="T23" fmla="*/ 7 h 12"/>
                  <a:gd name="T24" fmla="*/ 42 w 44"/>
                  <a:gd name="T25" fmla="*/ 5 h 12"/>
                  <a:gd name="T26" fmla="*/ 44 w 44"/>
                  <a:gd name="T27" fmla="*/ 3 h 12"/>
                  <a:gd name="T28" fmla="*/ 44 w 44"/>
                  <a:gd name="T29" fmla="*/ 0 h 12"/>
                  <a:gd name="T30" fmla="*/ 41 w 44"/>
                  <a:gd name="T31" fmla="*/ 0 h 12"/>
                  <a:gd name="T32" fmla="*/ 41 w 44"/>
                  <a:gd name="T33" fmla="*/ 4 h 12"/>
                  <a:gd name="T34" fmla="*/ 38 w 44"/>
                  <a:gd name="T35" fmla="*/ 4 h 12"/>
                  <a:gd name="T36" fmla="*/ 37 w 44"/>
                  <a:gd name="T37" fmla="*/ 7 h 12"/>
                  <a:gd name="T38" fmla="*/ 34 w 44"/>
                  <a:gd name="T39" fmla="*/ 7 h 12"/>
                  <a:gd name="T40" fmla="*/ 30 w 44"/>
                  <a:gd name="T41" fmla="*/ 5 h 12"/>
                  <a:gd name="T42" fmla="*/ 27 w 44"/>
                  <a:gd name="T43" fmla="*/ 5 h 12"/>
                  <a:gd name="T44" fmla="*/ 25 w 44"/>
                  <a:gd name="T45" fmla="*/ 6 h 12"/>
                  <a:gd name="T46" fmla="*/ 21 w 44"/>
                  <a:gd name="T47" fmla="*/ 6 h 12"/>
                  <a:gd name="T48" fmla="*/ 17 w 44"/>
                  <a:gd name="T49" fmla="*/ 4 h 12"/>
                  <a:gd name="T50" fmla="*/ 8 w 44"/>
                  <a:gd name="T51" fmla="*/ 3 h 12"/>
                  <a:gd name="T52" fmla="*/ 5 w 44"/>
                  <a:gd name="T53" fmla="*/ 3 h 12"/>
                  <a:gd name="T54" fmla="*/ 0 w 44"/>
                  <a:gd name="T55" fmla="*/ 6 h 12"/>
                  <a:gd name="T56" fmla="*/ 0 w 44"/>
                  <a:gd name="T57" fmla="*/ 9 h 12"/>
                  <a:gd name="T58" fmla="*/ 3 w 44"/>
                  <a:gd name="T59" fmla="*/ 9 h 12"/>
                  <a:gd name="T60" fmla="*/ 3 w 44"/>
                  <a:gd name="T6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12">
                    <a:moveTo>
                      <a:pt x="3" y="9"/>
                    </a:moveTo>
                    <a:lnTo>
                      <a:pt x="4" y="9"/>
                    </a:lnTo>
                    <a:lnTo>
                      <a:pt x="8" y="9"/>
                    </a:lnTo>
                    <a:lnTo>
                      <a:pt x="10" y="9"/>
                    </a:lnTo>
                    <a:lnTo>
                      <a:pt x="16" y="12"/>
                    </a:lnTo>
                    <a:lnTo>
                      <a:pt x="21" y="12"/>
                    </a:lnTo>
                    <a:lnTo>
                      <a:pt x="24" y="9"/>
                    </a:lnTo>
                    <a:lnTo>
                      <a:pt x="26" y="10"/>
                    </a:lnTo>
                    <a:lnTo>
                      <a:pt x="29" y="9"/>
                    </a:lnTo>
                    <a:lnTo>
                      <a:pt x="31" y="8"/>
                    </a:lnTo>
                    <a:lnTo>
                      <a:pt x="37" y="8"/>
                    </a:lnTo>
                    <a:lnTo>
                      <a:pt x="41" y="7"/>
                    </a:lnTo>
                    <a:lnTo>
                      <a:pt x="42" y="5"/>
                    </a:lnTo>
                    <a:lnTo>
                      <a:pt x="44" y="3"/>
                    </a:lnTo>
                    <a:lnTo>
                      <a:pt x="44" y="0"/>
                    </a:lnTo>
                    <a:lnTo>
                      <a:pt x="41" y="0"/>
                    </a:lnTo>
                    <a:lnTo>
                      <a:pt x="41" y="4"/>
                    </a:lnTo>
                    <a:lnTo>
                      <a:pt x="38" y="4"/>
                    </a:lnTo>
                    <a:lnTo>
                      <a:pt x="37" y="7"/>
                    </a:lnTo>
                    <a:lnTo>
                      <a:pt x="34" y="7"/>
                    </a:lnTo>
                    <a:lnTo>
                      <a:pt x="30" y="5"/>
                    </a:lnTo>
                    <a:lnTo>
                      <a:pt x="27" y="5"/>
                    </a:lnTo>
                    <a:lnTo>
                      <a:pt x="25" y="6"/>
                    </a:lnTo>
                    <a:lnTo>
                      <a:pt x="21" y="6"/>
                    </a:lnTo>
                    <a:lnTo>
                      <a:pt x="17" y="4"/>
                    </a:lnTo>
                    <a:lnTo>
                      <a:pt x="8" y="3"/>
                    </a:lnTo>
                    <a:lnTo>
                      <a:pt x="5" y="3"/>
                    </a:lnTo>
                    <a:lnTo>
                      <a:pt x="0" y="6"/>
                    </a:lnTo>
                    <a:lnTo>
                      <a:pt x="0" y="9"/>
                    </a:lnTo>
                    <a:lnTo>
                      <a:pt x="3" y="9"/>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9" name="Freeform 155">
                <a:extLst>
                  <a:ext uri="{FF2B5EF4-FFF2-40B4-BE49-F238E27FC236}">
                    <a16:creationId xmlns:a16="http://schemas.microsoft.com/office/drawing/2014/main" id="{A1F96B53-B461-4A02-9E64-190C76F0958A}"/>
                  </a:ext>
                </a:extLst>
              </p:cNvPr>
              <p:cNvSpPr>
                <a:spLocks/>
              </p:cNvSpPr>
              <p:nvPr/>
            </p:nvSpPr>
            <p:spPr bwMode="auto">
              <a:xfrm>
                <a:off x="5329" y="2452"/>
                <a:ext cx="25" cy="49"/>
              </a:xfrm>
              <a:custGeom>
                <a:avLst/>
                <a:gdLst>
                  <a:gd name="T0" fmla="*/ 23 w 25"/>
                  <a:gd name="T1" fmla="*/ 15 h 49"/>
                  <a:gd name="T2" fmla="*/ 24 w 25"/>
                  <a:gd name="T3" fmla="*/ 12 h 49"/>
                  <a:gd name="T4" fmla="*/ 24 w 25"/>
                  <a:gd name="T5" fmla="*/ 5 h 49"/>
                  <a:gd name="T6" fmla="*/ 25 w 25"/>
                  <a:gd name="T7" fmla="*/ 4 h 49"/>
                  <a:gd name="T8" fmla="*/ 23 w 25"/>
                  <a:gd name="T9" fmla="*/ 2 h 49"/>
                  <a:gd name="T10" fmla="*/ 20 w 25"/>
                  <a:gd name="T11" fmla="*/ 0 h 49"/>
                  <a:gd name="T12" fmla="*/ 16 w 25"/>
                  <a:gd name="T13" fmla="*/ 2 h 49"/>
                  <a:gd name="T14" fmla="*/ 14 w 25"/>
                  <a:gd name="T15" fmla="*/ 3 h 49"/>
                  <a:gd name="T16" fmla="*/ 13 w 25"/>
                  <a:gd name="T17" fmla="*/ 5 h 49"/>
                  <a:gd name="T18" fmla="*/ 11 w 25"/>
                  <a:gd name="T19" fmla="*/ 9 h 49"/>
                  <a:gd name="T20" fmla="*/ 7 w 25"/>
                  <a:gd name="T21" fmla="*/ 12 h 49"/>
                  <a:gd name="T22" fmla="*/ 0 w 25"/>
                  <a:gd name="T23" fmla="*/ 24 h 49"/>
                  <a:gd name="T24" fmla="*/ 0 w 25"/>
                  <a:gd name="T25" fmla="*/ 29 h 49"/>
                  <a:gd name="T26" fmla="*/ 0 w 25"/>
                  <a:gd name="T27" fmla="*/ 32 h 49"/>
                  <a:gd name="T28" fmla="*/ 4 w 25"/>
                  <a:gd name="T29" fmla="*/ 41 h 49"/>
                  <a:gd name="T30" fmla="*/ 7 w 25"/>
                  <a:gd name="T31" fmla="*/ 43 h 49"/>
                  <a:gd name="T32" fmla="*/ 8 w 25"/>
                  <a:gd name="T33" fmla="*/ 49 h 49"/>
                  <a:gd name="T34" fmla="*/ 11 w 25"/>
                  <a:gd name="T35" fmla="*/ 46 h 49"/>
                  <a:gd name="T36" fmla="*/ 12 w 25"/>
                  <a:gd name="T37" fmla="*/ 42 h 49"/>
                  <a:gd name="T38" fmla="*/ 13 w 25"/>
                  <a:gd name="T39" fmla="*/ 38 h 49"/>
                  <a:gd name="T40" fmla="*/ 17 w 25"/>
                  <a:gd name="T41" fmla="*/ 34 h 49"/>
                  <a:gd name="T42" fmla="*/ 18 w 25"/>
                  <a:gd name="T43" fmla="*/ 32 h 49"/>
                  <a:gd name="T44" fmla="*/ 22 w 25"/>
                  <a:gd name="T45" fmla="*/ 17 h 49"/>
                  <a:gd name="T46" fmla="*/ 23 w 25"/>
                  <a:gd name="T47" fmla="*/ 15 h 49"/>
                  <a:gd name="T48" fmla="*/ 23 w 25"/>
                  <a:gd name="T49"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9">
                    <a:moveTo>
                      <a:pt x="23" y="15"/>
                    </a:moveTo>
                    <a:lnTo>
                      <a:pt x="24" y="12"/>
                    </a:lnTo>
                    <a:lnTo>
                      <a:pt x="24" y="5"/>
                    </a:lnTo>
                    <a:lnTo>
                      <a:pt x="25" y="4"/>
                    </a:lnTo>
                    <a:lnTo>
                      <a:pt x="23" y="2"/>
                    </a:lnTo>
                    <a:lnTo>
                      <a:pt x="20" y="0"/>
                    </a:lnTo>
                    <a:lnTo>
                      <a:pt x="16" y="2"/>
                    </a:lnTo>
                    <a:lnTo>
                      <a:pt x="14" y="3"/>
                    </a:lnTo>
                    <a:lnTo>
                      <a:pt x="13" y="5"/>
                    </a:lnTo>
                    <a:lnTo>
                      <a:pt x="11" y="9"/>
                    </a:lnTo>
                    <a:lnTo>
                      <a:pt x="7" y="12"/>
                    </a:lnTo>
                    <a:lnTo>
                      <a:pt x="0" y="24"/>
                    </a:lnTo>
                    <a:lnTo>
                      <a:pt x="0" y="29"/>
                    </a:lnTo>
                    <a:lnTo>
                      <a:pt x="0" y="32"/>
                    </a:lnTo>
                    <a:lnTo>
                      <a:pt x="4" y="41"/>
                    </a:lnTo>
                    <a:lnTo>
                      <a:pt x="7" y="43"/>
                    </a:lnTo>
                    <a:lnTo>
                      <a:pt x="8" y="49"/>
                    </a:lnTo>
                    <a:lnTo>
                      <a:pt x="11" y="46"/>
                    </a:lnTo>
                    <a:lnTo>
                      <a:pt x="12" y="42"/>
                    </a:lnTo>
                    <a:lnTo>
                      <a:pt x="13" y="38"/>
                    </a:lnTo>
                    <a:lnTo>
                      <a:pt x="17" y="34"/>
                    </a:lnTo>
                    <a:lnTo>
                      <a:pt x="18" y="32"/>
                    </a:lnTo>
                    <a:lnTo>
                      <a:pt x="22" y="17"/>
                    </a:lnTo>
                    <a:lnTo>
                      <a:pt x="23" y="15"/>
                    </a:lnTo>
                    <a:lnTo>
                      <a:pt x="2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0" name="Freeform 156">
                <a:extLst>
                  <a:ext uri="{FF2B5EF4-FFF2-40B4-BE49-F238E27FC236}">
                    <a16:creationId xmlns:a16="http://schemas.microsoft.com/office/drawing/2014/main" id="{DA4ABA88-EB9F-4068-BFC1-11A83FA24864}"/>
                  </a:ext>
                </a:extLst>
              </p:cNvPr>
              <p:cNvSpPr>
                <a:spLocks/>
              </p:cNvSpPr>
              <p:nvPr/>
            </p:nvSpPr>
            <p:spPr bwMode="auto">
              <a:xfrm>
                <a:off x="5333" y="2619"/>
                <a:ext cx="17" cy="19"/>
              </a:xfrm>
              <a:custGeom>
                <a:avLst/>
                <a:gdLst>
                  <a:gd name="T0" fmla="*/ 14 w 17"/>
                  <a:gd name="T1" fmla="*/ 15 h 19"/>
                  <a:gd name="T2" fmla="*/ 17 w 17"/>
                  <a:gd name="T3" fmla="*/ 12 h 19"/>
                  <a:gd name="T4" fmla="*/ 16 w 17"/>
                  <a:gd name="T5" fmla="*/ 11 h 19"/>
                  <a:gd name="T6" fmla="*/ 16 w 17"/>
                  <a:gd name="T7" fmla="*/ 6 h 19"/>
                  <a:gd name="T8" fmla="*/ 13 w 17"/>
                  <a:gd name="T9" fmla="*/ 4 h 19"/>
                  <a:gd name="T10" fmla="*/ 8 w 17"/>
                  <a:gd name="T11" fmla="*/ 0 h 19"/>
                  <a:gd name="T12" fmla="*/ 4 w 17"/>
                  <a:gd name="T13" fmla="*/ 2 h 19"/>
                  <a:gd name="T14" fmla="*/ 2 w 17"/>
                  <a:gd name="T15" fmla="*/ 0 h 19"/>
                  <a:gd name="T16" fmla="*/ 0 w 17"/>
                  <a:gd name="T17" fmla="*/ 2 h 19"/>
                  <a:gd name="T18" fmla="*/ 1 w 17"/>
                  <a:gd name="T19" fmla="*/ 2 h 19"/>
                  <a:gd name="T20" fmla="*/ 3 w 17"/>
                  <a:gd name="T21" fmla="*/ 5 h 19"/>
                  <a:gd name="T22" fmla="*/ 4 w 17"/>
                  <a:gd name="T23" fmla="*/ 6 h 19"/>
                  <a:gd name="T24" fmla="*/ 5 w 17"/>
                  <a:gd name="T25" fmla="*/ 8 h 19"/>
                  <a:gd name="T26" fmla="*/ 5 w 17"/>
                  <a:gd name="T27" fmla="*/ 12 h 19"/>
                  <a:gd name="T28" fmla="*/ 7 w 17"/>
                  <a:gd name="T29" fmla="*/ 12 h 19"/>
                  <a:gd name="T30" fmla="*/ 8 w 17"/>
                  <a:gd name="T31" fmla="*/ 15 h 19"/>
                  <a:gd name="T32" fmla="*/ 10 w 17"/>
                  <a:gd name="T33" fmla="*/ 17 h 19"/>
                  <a:gd name="T34" fmla="*/ 12 w 17"/>
                  <a:gd name="T35" fmla="*/ 19 h 19"/>
                  <a:gd name="T36" fmla="*/ 13 w 17"/>
                  <a:gd name="T37" fmla="*/ 17 h 19"/>
                  <a:gd name="T38" fmla="*/ 14 w 17"/>
                  <a:gd name="T39" fmla="*/ 17 h 19"/>
                  <a:gd name="T40" fmla="*/ 14 w 17"/>
                  <a:gd name="T41" fmla="*/ 15 h 19"/>
                  <a:gd name="T42" fmla="*/ 14 w 17"/>
                  <a:gd name="T4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15"/>
                    </a:moveTo>
                    <a:lnTo>
                      <a:pt x="17" y="12"/>
                    </a:lnTo>
                    <a:lnTo>
                      <a:pt x="16" y="11"/>
                    </a:lnTo>
                    <a:lnTo>
                      <a:pt x="16" y="6"/>
                    </a:lnTo>
                    <a:lnTo>
                      <a:pt x="13" y="4"/>
                    </a:lnTo>
                    <a:lnTo>
                      <a:pt x="8" y="0"/>
                    </a:lnTo>
                    <a:lnTo>
                      <a:pt x="4" y="2"/>
                    </a:lnTo>
                    <a:lnTo>
                      <a:pt x="2" y="0"/>
                    </a:lnTo>
                    <a:lnTo>
                      <a:pt x="0" y="2"/>
                    </a:lnTo>
                    <a:lnTo>
                      <a:pt x="1" y="2"/>
                    </a:lnTo>
                    <a:lnTo>
                      <a:pt x="3" y="5"/>
                    </a:lnTo>
                    <a:lnTo>
                      <a:pt x="4" y="6"/>
                    </a:lnTo>
                    <a:lnTo>
                      <a:pt x="5" y="8"/>
                    </a:lnTo>
                    <a:lnTo>
                      <a:pt x="5" y="12"/>
                    </a:lnTo>
                    <a:lnTo>
                      <a:pt x="7" y="12"/>
                    </a:lnTo>
                    <a:lnTo>
                      <a:pt x="8" y="15"/>
                    </a:lnTo>
                    <a:lnTo>
                      <a:pt x="10" y="17"/>
                    </a:lnTo>
                    <a:lnTo>
                      <a:pt x="12" y="19"/>
                    </a:lnTo>
                    <a:lnTo>
                      <a:pt x="13" y="17"/>
                    </a:lnTo>
                    <a:lnTo>
                      <a:pt x="14" y="17"/>
                    </a:lnTo>
                    <a:lnTo>
                      <a:pt x="14" y="15"/>
                    </a:lnTo>
                    <a:lnTo>
                      <a:pt x="1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1" name="Freeform 157">
                <a:extLst>
                  <a:ext uri="{FF2B5EF4-FFF2-40B4-BE49-F238E27FC236}">
                    <a16:creationId xmlns:a16="http://schemas.microsoft.com/office/drawing/2014/main" id="{ACD0735C-0437-40CB-A0D9-A7CB33EDBD21}"/>
                  </a:ext>
                </a:extLst>
              </p:cNvPr>
              <p:cNvSpPr>
                <a:spLocks/>
              </p:cNvSpPr>
              <p:nvPr/>
            </p:nvSpPr>
            <p:spPr bwMode="auto">
              <a:xfrm>
                <a:off x="5353" y="2641"/>
                <a:ext cx="18" cy="21"/>
              </a:xfrm>
              <a:custGeom>
                <a:avLst/>
                <a:gdLst>
                  <a:gd name="T0" fmla="*/ 10 w 18"/>
                  <a:gd name="T1" fmla="*/ 6 h 21"/>
                  <a:gd name="T2" fmla="*/ 7 w 18"/>
                  <a:gd name="T3" fmla="*/ 3 h 21"/>
                  <a:gd name="T4" fmla="*/ 2 w 18"/>
                  <a:gd name="T5" fmla="*/ 0 h 21"/>
                  <a:gd name="T6" fmla="*/ 0 w 18"/>
                  <a:gd name="T7" fmla="*/ 2 h 21"/>
                  <a:gd name="T8" fmla="*/ 3 w 18"/>
                  <a:gd name="T9" fmla="*/ 3 h 21"/>
                  <a:gd name="T10" fmla="*/ 3 w 18"/>
                  <a:gd name="T11" fmla="*/ 6 h 21"/>
                  <a:gd name="T12" fmla="*/ 2 w 18"/>
                  <a:gd name="T13" fmla="*/ 14 h 21"/>
                  <a:gd name="T14" fmla="*/ 1 w 18"/>
                  <a:gd name="T15" fmla="*/ 16 h 21"/>
                  <a:gd name="T16" fmla="*/ 2 w 18"/>
                  <a:gd name="T17" fmla="*/ 21 h 21"/>
                  <a:gd name="T18" fmla="*/ 6 w 18"/>
                  <a:gd name="T19" fmla="*/ 18 h 21"/>
                  <a:gd name="T20" fmla="*/ 10 w 18"/>
                  <a:gd name="T21" fmla="*/ 18 h 21"/>
                  <a:gd name="T22" fmla="*/ 14 w 18"/>
                  <a:gd name="T23" fmla="*/ 14 h 21"/>
                  <a:gd name="T24" fmla="*/ 15 w 18"/>
                  <a:gd name="T25" fmla="*/ 14 h 21"/>
                  <a:gd name="T26" fmla="*/ 17 w 18"/>
                  <a:gd name="T27" fmla="*/ 10 h 21"/>
                  <a:gd name="T28" fmla="*/ 18 w 18"/>
                  <a:gd name="T29" fmla="*/ 7 h 21"/>
                  <a:gd name="T30" fmla="*/ 17 w 18"/>
                  <a:gd name="T31" fmla="*/ 6 h 21"/>
                  <a:gd name="T32" fmla="*/ 15 w 18"/>
                  <a:gd name="T33" fmla="*/ 8 h 21"/>
                  <a:gd name="T34" fmla="*/ 15 w 18"/>
                  <a:gd name="T35" fmla="*/ 6 h 21"/>
                  <a:gd name="T36" fmla="*/ 10 w 18"/>
                  <a:gd name="T37" fmla="*/ 6 h 21"/>
                  <a:gd name="T38" fmla="*/ 10 w 18"/>
                  <a:gd name="T3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1">
                    <a:moveTo>
                      <a:pt x="10" y="6"/>
                    </a:moveTo>
                    <a:lnTo>
                      <a:pt x="7" y="3"/>
                    </a:lnTo>
                    <a:lnTo>
                      <a:pt x="2" y="0"/>
                    </a:lnTo>
                    <a:lnTo>
                      <a:pt x="0" y="2"/>
                    </a:lnTo>
                    <a:lnTo>
                      <a:pt x="3" y="3"/>
                    </a:lnTo>
                    <a:lnTo>
                      <a:pt x="3" y="6"/>
                    </a:lnTo>
                    <a:lnTo>
                      <a:pt x="2" y="14"/>
                    </a:lnTo>
                    <a:lnTo>
                      <a:pt x="1" y="16"/>
                    </a:lnTo>
                    <a:lnTo>
                      <a:pt x="2" y="21"/>
                    </a:lnTo>
                    <a:lnTo>
                      <a:pt x="6" y="18"/>
                    </a:lnTo>
                    <a:lnTo>
                      <a:pt x="10" y="18"/>
                    </a:lnTo>
                    <a:lnTo>
                      <a:pt x="14" y="14"/>
                    </a:lnTo>
                    <a:lnTo>
                      <a:pt x="15" y="14"/>
                    </a:lnTo>
                    <a:lnTo>
                      <a:pt x="17" y="10"/>
                    </a:lnTo>
                    <a:lnTo>
                      <a:pt x="18" y="7"/>
                    </a:lnTo>
                    <a:lnTo>
                      <a:pt x="17" y="6"/>
                    </a:lnTo>
                    <a:lnTo>
                      <a:pt x="15" y="8"/>
                    </a:lnTo>
                    <a:lnTo>
                      <a:pt x="15" y="6"/>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2" name="Freeform 158">
                <a:extLst>
                  <a:ext uri="{FF2B5EF4-FFF2-40B4-BE49-F238E27FC236}">
                    <a16:creationId xmlns:a16="http://schemas.microsoft.com/office/drawing/2014/main" id="{B037896F-9468-4897-9E9B-16B57D6F9D27}"/>
                  </a:ext>
                </a:extLst>
              </p:cNvPr>
              <p:cNvSpPr>
                <a:spLocks/>
              </p:cNvSpPr>
              <p:nvPr/>
            </p:nvSpPr>
            <p:spPr bwMode="auto">
              <a:xfrm>
                <a:off x="5354" y="2673"/>
                <a:ext cx="64" cy="56"/>
              </a:xfrm>
              <a:custGeom>
                <a:avLst/>
                <a:gdLst>
                  <a:gd name="T0" fmla="*/ 2 w 64"/>
                  <a:gd name="T1" fmla="*/ 27 h 56"/>
                  <a:gd name="T2" fmla="*/ 0 w 64"/>
                  <a:gd name="T3" fmla="*/ 35 h 56"/>
                  <a:gd name="T4" fmla="*/ 4 w 64"/>
                  <a:gd name="T5" fmla="*/ 37 h 56"/>
                  <a:gd name="T6" fmla="*/ 7 w 64"/>
                  <a:gd name="T7" fmla="*/ 31 h 56"/>
                  <a:gd name="T8" fmla="*/ 9 w 64"/>
                  <a:gd name="T9" fmla="*/ 26 h 56"/>
                  <a:gd name="T10" fmla="*/ 13 w 64"/>
                  <a:gd name="T11" fmla="*/ 28 h 56"/>
                  <a:gd name="T12" fmla="*/ 15 w 64"/>
                  <a:gd name="T13" fmla="*/ 29 h 56"/>
                  <a:gd name="T14" fmla="*/ 18 w 64"/>
                  <a:gd name="T15" fmla="*/ 29 h 56"/>
                  <a:gd name="T16" fmla="*/ 22 w 64"/>
                  <a:gd name="T17" fmla="*/ 28 h 56"/>
                  <a:gd name="T18" fmla="*/ 24 w 64"/>
                  <a:gd name="T19" fmla="*/ 26 h 56"/>
                  <a:gd name="T20" fmla="*/ 31 w 64"/>
                  <a:gd name="T21" fmla="*/ 31 h 56"/>
                  <a:gd name="T22" fmla="*/ 31 w 64"/>
                  <a:gd name="T23" fmla="*/ 34 h 56"/>
                  <a:gd name="T24" fmla="*/ 29 w 64"/>
                  <a:gd name="T25" fmla="*/ 37 h 56"/>
                  <a:gd name="T26" fmla="*/ 30 w 64"/>
                  <a:gd name="T27" fmla="*/ 44 h 56"/>
                  <a:gd name="T28" fmla="*/ 35 w 64"/>
                  <a:gd name="T29" fmla="*/ 49 h 56"/>
                  <a:gd name="T30" fmla="*/ 43 w 64"/>
                  <a:gd name="T31" fmla="*/ 52 h 56"/>
                  <a:gd name="T32" fmla="*/ 47 w 64"/>
                  <a:gd name="T33" fmla="*/ 49 h 56"/>
                  <a:gd name="T34" fmla="*/ 46 w 64"/>
                  <a:gd name="T35" fmla="*/ 54 h 56"/>
                  <a:gd name="T36" fmla="*/ 48 w 64"/>
                  <a:gd name="T37" fmla="*/ 56 h 56"/>
                  <a:gd name="T38" fmla="*/ 52 w 64"/>
                  <a:gd name="T39" fmla="*/ 48 h 56"/>
                  <a:gd name="T40" fmla="*/ 48 w 64"/>
                  <a:gd name="T41" fmla="*/ 40 h 56"/>
                  <a:gd name="T42" fmla="*/ 51 w 64"/>
                  <a:gd name="T43" fmla="*/ 36 h 56"/>
                  <a:gd name="T44" fmla="*/ 53 w 64"/>
                  <a:gd name="T45" fmla="*/ 34 h 56"/>
                  <a:gd name="T46" fmla="*/ 58 w 64"/>
                  <a:gd name="T47" fmla="*/ 44 h 56"/>
                  <a:gd name="T48" fmla="*/ 59 w 64"/>
                  <a:gd name="T49" fmla="*/ 46 h 56"/>
                  <a:gd name="T50" fmla="*/ 60 w 64"/>
                  <a:gd name="T51" fmla="*/ 37 h 56"/>
                  <a:gd name="T52" fmla="*/ 64 w 64"/>
                  <a:gd name="T53" fmla="*/ 32 h 56"/>
                  <a:gd name="T54" fmla="*/ 64 w 64"/>
                  <a:gd name="T55" fmla="*/ 28 h 56"/>
                  <a:gd name="T56" fmla="*/ 61 w 64"/>
                  <a:gd name="T57" fmla="*/ 25 h 56"/>
                  <a:gd name="T58" fmla="*/ 63 w 64"/>
                  <a:gd name="T59" fmla="*/ 20 h 56"/>
                  <a:gd name="T60" fmla="*/ 60 w 64"/>
                  <a:gd name="T61" fmla="*/ 18 h 56"/>
                  <a:gd name="T62" fmla="*/ 57 w 64"/>
                  <a:gd name="T63" fmla="*/ 14 h 56"/>
                  <a:gd name="T64" fmla="*/ 58 w 64"/>
                  <a:gd name="T65" fmla="*/ 8 h 56"/>
                  <a:gd name="T66" fmla="*/ 57 w 64"/>
                  <a:gd name="T67" fmla="*/ 5 h 56"/>
                  <a:gd name="T68" fmla="*/ 55 w 64"/>
                  <a:gd name="T69" fmla="*/ 2 h 56"/>
                  <a:gd name="T70" fmla="*/ 48 w 64"/>
                  <a:gd name="T71" fmla="*/ 1 h 56"/>
                  <a:gd name="T72" fmla="*/ 50 w 64"/>
                  <a:gd name="T73" fmla="*/ 9 h 56"/>
                  <a:gd name="T74" fmla="*/ 46 w 64"/>
                  <a:gd name="T75" fmla="*/ 8 h 56"/>
                  <a:gd name="T76" fmla="*/ 42 w 64"/>
                  <a:gd name="T77" fmla="*/ 10 h 56"/>
                  <a:gd name="T78" fmla="*/ 39 w 64"/>
                  <a:gd name="T79" fmla="*/ 16 h 56"/>
                  <a:gd name="T80" fmla="*/ 35 w 64"/>
                  <a:gd name="T81" fmla="*/ 14 h 56"/>
                  <a:gd name="T82" fmla="*/ 32 w 64"/>
                  <a:gd name="T83" fmla="*/ 19 h 56"/>
                  <a:gd name="T84" fmla="*/ 29 w 64"/>
                  <a:gd name="T85" fmla="*/ 20 h 56"/>
                  <a:gd name="T86" fmla="*/ 24 w 64"/>
                  <a:gd name="T87" fmla="*/ 23 h 56"/>
                  <a:gd name="T88" fmla="*/ 25 w 64"/>
                  <a:gd name="T89" fmla="*/ 22 h 56"/>
                  <a:gd name="T90" fmla="*/ 26 w 64"/>
                  <a:gd name="T91" fmla="*/ 17 h 56"/>
                  <a:gd name="T92" fmla="*/ 21 w 64"/>
                  <a:gd name="T93" fmla="*/ 14 h 56"/>
                  <a:gd name="T94" fmla="*/ 15 w 64"/>
                  <a:gd name="T95" fmla="*/ 18 h 56"/>
                  <a:gd name="T96" fmla="*/ 13 w 64"/>
                  <a:gd name="T97" fmla="*/ 21 h 56"/>
                  <a:gd name="T98" fmla="*/ 5 w 64"/>
                  <a:gd name="T99"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56">
                    <a:moveTo>
                      <a:pt x="5" y="22"/>
                    </a:moveTo>
                    <a:lnTo>
                      <a:pt x="2" y="27"/>
                    </a:lnTo>
                    <a:lnTo>
                      <a:pt x="2" y="29"/>
                    </a:lnTo>
                    <a:lnTo>
                      <a:pt x="0" y="35"/>
                    </a:lnTo>
                    <a:lnTo>
                      <a:pt x="1" y="37"/>
                    </a:lnTo>
                    <a:lnTo>
                      <a:pt x="4" y="37"/>
                    </a:lnTo>
                    <a:lnTo>
                      <a:pt x="5" y="34"/>
                    </a:lnTo>
                    <a:lnTo>
                      <a:pt x="7" y="31"/>
                    </a:lnTo>
                    <a:lnTo>
                      <a:pt x="7" y="29"/>
                    </a:lnTo>
                    <a:lnTo>
                      <a:pt x="9" y="26"/>
                    </a:lnTo>
                    <a:lnTo>
                      <a:pt x="13" y="27"/>
                    </a:lnTo>
                    <a:lnTo>
                      <a:pt x="13" y="28"/>
                    </a:lnTo>
                    <a:lnTo>
                      <a:pt x="13" y="30"/>
                    </a:lnTo>
                    <a:lnTo>
                      <a:pt x="15" y="29"/>
                    </a:lnTo>
                    <a:lnTo>
                      <a:pt x="17" y="27"/>
                    </a:lnTo>
                    <a:lnTo>
                      <a:pt x="18" y="29"/>
                    </a:lnTo>
                    <a:lnTo>
                      <a:pt x="22" y="30"/>
                    </a:lnTo>
                    <a:lnTo>
                      <a:pt x="22" y="28"/>
                    </a:lnTo>
                    <a:lnTo>
                      <a:pt x="22" y="26"/>
                    </a:lnTo>
                    <a:lnTo>
                      <a:pt x="24" y="26"/>
                    </a:lnTo>
                    <a:lnTo>
                      <a:pt x="30" y="28"/>
                    </a:lnTo>
                    <a:lnTo>
                      <a:pt x="31" y="31"/>
                    </a:lnTo>
                    <a:lnTo>
                      <a:pt x="32" y="34"/>
                    </a:lnTo>
                    <a:lnTo>
                      <a:pt x="31" y="34"/>
                    </a:lnTo>
                    <a:lnTo>
                      <a:pt x="30" y="35"/>
                    </a:lnTo>
                    <a:lnTo>
                      <a:pt x="29" y="37"/>
                    </a:lnTo>
                    <a:lnTo>
                      <a:pt x="30" y="39"/>
                    </a:lnTo>
                    <a:lnTo>
                      <a:pt x="30" y="44"/>
                    </a:lnTo>
                    <a:lnTo>
                      <a:pt x="31" y="47"/>
                    </a:lnTo>
                    <a:lnTo>
                      <a:pt x="35" y="49"/>
                    </a:lnTo>
                    <a:lnTo>
                      <a:pt x="41" y="52"/>
                    </a:lnTo>
                    <a:lnTo>
                      <a:pt x="43" y="52"/>
                    </a:lnTo>
                    <a:lnTo>
                      <a:pt x="46" y="49"/>
                    </a:lnTo>
                    <a:lnTo>
                      <a:pt x="47" y="49"/>
                    </a:lnTo>
                    <a:lnTo>
                      <a:pt x="46" y="53"/>
                    </a:lnTo>
                    <a:lnTo>
                      <a:pt x="46" y="54"/>
                    </a:lnTo>
                    <a:lnTo>
                      <a:pt x="47" y="56"/>
                    </a:lnTo>
                    <a:lnTo>
                      <a:pt x="48" y="56"/>
                    </a:lnTo>
                    <a:lnTo>
                      <a:pt x="52" y="51"/>
                    </a:lnTo>
                    <a:lnTo>
                      <a:pt x="52" y="48"/>
                    </a:lnTo>
                    <a:lnTo>
                      <a:pt x="50" y="44"/>
                    </a:lnTo>
                    <a:lnTo>
                      <a:pt x="48" y="40"/>
                    </a:lnTo>
                    <a:lnTo>
                      <a:pt x="49" y="39"/>
                    </a:lnTo>
                    <a:lnTo>
                      <a:pt x="51" y="36"/>
                    </a:lnTo>
                    <a:lnTo>
                      <a:pt x="52" y="32"/>
                    </a:lnTo>
                    <a:lnTo>
                      <a:pt x="53" y="34"/>
                    </a:lnTo>
                    <a:lnTo>
                      <a:pt x="57" y="38"/>
                    </a:lnTo>
                    <a:lnTo>
                      <a:pt x="58" y="44"/>
                    </a:lnTo>
                    <a:lnTo>
                      <a:pt x="59" y="46"/>
                    </a:lnTo>
                    <a:lnTo>
                      <a:pt x="59" y="46"/>
                    </a:lnTo>
                    <a:lnTo>
                      <a:pt x="59" y="39"/>
                    </a:lnTo>
                    <a:lnTo>
                      <a:pt x="60" y="37"/>
                    </a:lnTo>
                    <a:lnTo>
                      <a:pt x="63" y="35"/>
                    </a:lnTo>
                    <a:lnTo>
                      <a:pt x="64" y="32"/>
                    </a:lnTo>
                    <a:lnTo>
                      <a:pt x="64" y="31"/>
                    </a:lnTo>
                    <a:lnTo>
                      <a:pt x="64" y="28"/>
                    </a:lnTo>
                    <a:lnTo>
                      <a:pt x="63" y="26"/>
                    </a:lnTo>
                    <a:lnTo>
                      <a:pt x="61" y="25"/>
                    </a:lnTo>
                    <a:lnTo>
                      <a:pt x="61" y="22"/>
                    </a:lnTo>
                    <a:lnTo>
                      <a:pt x="63" y="20"/>
                    </a:lnTo>
                    <a:lnTo>
                      <a:pt x="60" y="20"/>
                    </a:lnTo>
                    <a:lnTo>
                      <a:pt x="60" y="18"/>
                    </a:lnTo>
                    <a:lnTo>
                      <a:pt x="60" y="16"/>
                    </a:lnTo>
                    <a:lnTo>
                      <a:pt x="57" y="14"/>
                    </a:lnTo>
                    <a:lnTo>
                      <a:pt x="60" y="12"/>
                    </a:lnTo>
                    <a:lnTo>
                      <a:pt x="58" y="8"/>
                    </a:lnTo>
                    <a:lnTo>
                      <a:pt x="59" y="5"/>
                    </a:lnTo>
                    <a:lnTo>
                      <a:pt x="57" y="5"/>
                    </a:lnTo>
                    <a:lnTo>
                      <a:pt x="56" y="5"/>
                    </a:lnTo>
                    <a:lnTo>
                      <a:pt x="55" y="2"/>
                    </a:lnTo>
                    <a:lnTo>
                      <a:pt x="50" y="0"/>
                    </a:lnTo>
                    <a:lnTo>
                      <a:pt x="48" y="1"/>
                    </a:lnTo>
                    <a:lnTo>
                      <a:pt x="50" y="6"/>
                    </a:lnTo>
                    <a:lnTo>
                      <a:pt x="50" y="9"/>
                    </a:lnTo>
                    <a:lnTo>
                      <a:pt x="48" y="9"/>
                    </a:lnTo>
                    <a:lnTo>
                      <a:pt x="46" y="8"/>
                    </a:lnTo>
                    <a:lnTo>
                      <a:pt x="44" y="11"/>
                    </a:lnTo>
                    <a:lnTo>
                      <a:pt x="42" y="10"/>
                    </a:lnTo>
                    <a:lnTo>
                      <a:pt x="40" y="10"/>
                    </a:lnTo>
                    <a:lnTo>
                      <a:pt x="39" y="16"/>
                    </a:lnTo>
                    <a:lnTo>
                      <a:pt x="38" y="16"/>
                    </a:lnTo>
                    <a:lnTo>
                      <a:pt x="35" y="14"/>
                    </a:lnTo>
                    <a:lnTo>
                      <a:pt x="33" y="16"/>
                    </a:lnTo>
                    <a:lnTo>
                      <a:pt x="32" y="19"/>
                    </a:lnTo>
                    <a:lnTo>
                      <a:pt x="31" y="20"/>
                    </a:lnTo>
                    <a:lnTo>
                      <a:pt x="29" y="20"/>
                    </a:lnTo>
                    <a:lnTo>
                      <a:pt x="26" y="22"/>
                    </a:lnTo>
                    <a:lnTo>
                      <a:pt x="24" y="23"/>
                    </a:lnTo>
                    <a:lnTo>
                      <a:pt x="24" y="23"/>
                    </a:lnTo>
                    <a:lnTo>
                      <a:pt x="25" y="22"/>
                    </a:lnTo>
                    <a:lnTo>
                      <a:pt x="27" y="19"/>
                    </a:lnTo>
                    <a:lnTo>
                      <a:pt x="26" y="17"/>
                    </a:lnTo>
                    <a:lnTo>
                      <a:pt x="24" y="14"/>
                    </a:lnTo>
                    <a:lnTo>
                      <a:pt x="21" y="14"/>
                    </a:lnTo>
                    <a:lnTo>
                      <a:pt x="17" y="16"/>
                    </a:lnTo>
                    <a:lnTo>
                      <a:pt x="15" y="18"/>
                    </a:lnTo>
                    <a:lnTo>
                      <a:pt x="15" y="20"/>
                    </a:lnTo>
                    <a:lnTo>
                      <a:pt x="13" y="21"/>
                    </a:lnTo>
                    <a:lnTo>
                      <a:pt x="8" y="22"/>
                    </a:lnTo>
                    <a:lnTo>
                      <a:pt x="5" y="22"/>
                    </a:lnTo>
                    <a:lnTo>
                      <a:pt x="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3" name="Freeform 159">
                <a:extLst>
                  <a:ext uri="{FF2B5EF4-FFF2-40B4-BE49-F238E27FC236}">
                    <a16:creationId xmlns:a16="http://schemas.microsoft.com/office/drawing/2014/main" id="{ACECB43B-6319-4A2D-BEC2-D49D32E4DAEC}"/>
                  </a:ext>
                </a:extLst>
              </p:cNvPr>
              <p:cNvSpPr>
                <a:spLocks/>
              </p:cNvSpPr>
              <p:nvPr/>
            </p:nvSpPr>
            <p:spPr bwMode="auto">
              <a:xfrm>
                <a:off x="5355" y="2611"/>
                <a:ext cx="3" cy="2"/>
              </a:xfrm>
              <a:custGeom>
                <a:avLst/>
                <a:gdLst>
                  <a:gd name="T0" fmla="*/ 3 w 3"/>
                  <a:gd name="T1" fmla="*/ 2 h 2"/>
                  <a:gd name="T2" fmla="*/ 3 w 3"/>
                  <a:gd name="T3" fmla="*/ 2 h 2"/>
                  <a:gd name="T4" fmla="*/ 0 w 3"/>
                  <a:gd name="T5" fmla="*/ 0 h 2"/>
                  <a:gd name="T6" fmla="*/ 3 w 3"/>
                  <a:gd name="T7" fmla="*/ 2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3" y="2"/>
                    </a:lnTo>
                    <a:lnTo>
                      <a:pt x="0" y="0"/>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4" name="Freeform 160">
                <a:extLst>
                  <a:ext uri="{FF2B5EF4-FFF2-40B4-BE49-F238E27FC236}">
                    <a16:creationId xmlns:a16="http://schemas.microsoft.com/office/drawing/2014/main" id="{B8ECAD7E-B556-46F6-BC28-0D344304A2B6}"/>
                  </a:ext>
                </a:extLst>
              </p:cNvPr>
              <p:cNvSpPr>
                <a:spLocks/>
              </p:cNvSpPr>
              <p:nvPr/>
            </p:nvSpPr>
            <p:spPr bwMode="auto">
              <a:xfrm>
                <a:off x="5359" y="2869"/>
                <a:ext cx="7" cy="11"/>
              </a:xfrm>
              <a:custGeom>
                <a:avLst/>
                <a:gdLst>
                  <a:gd name="T0" fmla="*/ 7 w 7"/>
                  <a:gd name="T1" fmla="*/ 0 h 11"/>
                  <a:gd name="T2" fmla="*/ 3 w 7"/>
                  <a:gd name="T3" fmla="*/ 2 h 11"/>
                  <a:gd name="T4" fmla="*/ 1 w 7"/>
                  <a:gd name="T5" fmla="*/ 4 h 11"/>
                  <a:gd name="T6" fmla="*/ 0 w 7"/>
                  <a:gd name="T7" fmla="*/ 10 h 11"/>
                  <a:gd name="T8" fmla="*/ 4 w 7"/>
                  <a:gd name="T9" fmla="*/ 11 h 11"/>
                  <a:gd name="T10" fmla="*/ 7 w 7"/>
                  <a:gd name="T11" fmla="*/ 3 h 11"/>
                  <a:gd name="T12" fmla="*/ 7 w 7"/>
                  <a:gd name="T13" fmla="*/ 0 h 11"/>
                  <a:gd name="T14" fmla="*/ 7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0"/>
                    </a:moveTo>
                    <a:lnTo>
                      <a:pt x="3" y="2"/>
                    </a:lnTo>
                    <a:lnTo>
                      <a:pt x="1" y="4"/>
                    </a:lnTo>
                    <a:lnTo>
                      <a:pt x="0" y="10"/>
                    </a:lnTo>
                    <a:lnTo>
                      <a:pt x="4" y="11"/>
                    </a:lnTo>
                    <a:lnTo>
                      <a:pt x="7"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5" name="Freeform 161">
                <a:extLst>
                  <a:ext uri="{FF2B5EF4-FFF2-40B4-BE49-F238E27FC236}">
                    <a16:creationId xmlns:a16="http://schemas.microsoft.com/office/drawing/2014/main" id="{EE3DDDAC-6263-4439-A1D9-416D4905C5E5}"/>
                  </a:ext>
                </a:extLst>
              </p:cNvPr>
              <p:cNvSpPr>
                <a:spLocks/>
              </p:cNvSpPr>
              <p:nvPr/>
            </p:nvSpPr>
            <p:spPr bwMode="auto">
              <a:xfrm>
                <a:off x="5361" y="2655"/>
                <a:ext cx="16" cy="27"/>
              </a:xfrm>
              <a:custGeom>
                <a:avLst/>
                <a:gdLst>
                  <a:gd name="T0" fmla="*/ 2 w 16"/>
                  <a:gd name="T1" fmla="*/ 21 h 27"/>
                  <a:gd name="T2" fmla="*/ 7 w 16"/>
                  <a:gd name="T3" fmla="*/ 23 h 27"/>
                  <a:gd name="T4" fmla="*/ 8 w 16"/>
                  <a:gd name="T5" fmla="*/ 27 h 27"/>
                  <a:gd name="T6" fmla="*/ 9 w 16"/>
                  <a:gd name="T7" fmla="*/ 27 h 27"/>
                  <a:gd name="T8" fmla="*/ 12 w 16"/>
                  <a:gd name="T9" fmla="*/ 24 h 27"/>
                  <a:gd name="T10" fmla="*/ 11 w 16"/>
                  <a:gd name="T11" fmla="*/ 21 h 27"/>
                  <a:gd name="T12" fmla="*/ 10 w 16"/>
                  <a:gd name="T13" fmla="*/ 19 h 27"/>
                  <a:gd name="T14" fmla="*/ 10 w 16"/>
                  <a:gd name="T15" fmla="*/ 17 h 27"/>
                  <a:gd name="T16" fmla="*/ 12 w 16"/>
                  <a:gd name="T17" fmla="*/ 11 h 27"/>
                  <a:gd name="T18" fmla="*/ 12 w 16"/>
                  <a:gd name="T19" fmla="*/ 7 h 27"/>
                  <a:gd name="T20" fmla="*/ 15 w 16"/>
                  <a:gd name="T21" fmla="*/ 5 h 27"/>
                  <a:gd name="T22" fmla="*/ 16 w 16"/>
                  <a:gd name="T23" fmla="*/ 3 h 27"/>
                  <a:gd name="T24" fmla="*/ 14 w 16"/>
                  <a:gd name="T25" fmla="*/ 1 h 27"/>
                  <a:gd name="T26" fmla="*/ 11 w 16"/>
                  <a:gd name="T27" fmla="*/ 0 h 27"/>
                  <a:gd name="T28" fmla="*/ 8 w 16"/>
                  <a:gd name="T29" fmla="*/ 1 h 27"/>
                  <a:gd name="T30" fmla="*/ 7 w 16"/>
                  <a:gd name="T31" fmla="*/ 2 h 27"/>
                  <a:gd name="T32" fmla="*/ 8 w 16"/>
                  <a:gd name="T33" fmla="*/ 3 h 27"/>
                  <a:gd name="T34" fmla="*/ 6 w 16"/>
                  <a:gd name="T35" fmla="*/ 5 h 27"/>
                  <a:gd name="T36" fmla="*/ 6 w 16"/>
                  <a:gd name="T37" fmla="*/ 10 h 27"/>
                  <a:gd name="T38" fmla="*/ 5 w 16"/>
                  <a:gd name="T39" fmla="*/ 13 h 27"/>
                  <a:gd name="T40" fmla="*/ 2 w 16"/>
                  <a:gd name="T41" fmla="*/ 14 h 27"/>
                  <a:gd name="T42" fmla="*/ 0 w 16"/>
                  <a:gd name="T43" fmla="*/ 15 h 27"/>
                  <a:gd name="T44" fmla="*/ 0 w 16"/>
                  <a:gd name="T45" fmla="*/ 19 h 27"/>
                  <a:gd name="T46" fmla="*/ 2 w 16"/>
                  <a:gd name="T47" fmla="*/ 21 h 27"/>
                  <a:gd name="T48" fmla="*/ 2 w 16"/>
                  <a:gd name="T49"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7">
                    <a:moveTo>
                      <a:pt x="2" y="21"/>
                    </a:moveTo>
                    <a:lnTo>
                      <a:pt x="7" y="23"/>
                    </a:lnTo>
                    <a:lnTo>
                      <a:pt x="8" y="27"/>
                    </a:lnTo>
                    <a:lnTo>
                      <a:pt x="9" y="27"/>
                    </a:lnTo>
                    <a:lnTo>
                      <a:pt x="12" y="24"/>
                    </a:lnTo>
                    <a:lnTo>
                      <a:pt x="11" y="21"/>
                    </a:lnTo>
                    <a:lnTo>
                      <a:pt x="10" y="19"/>
                    </a:lnTo>
                    <a:lnTo>
                      <a:pt x="10" y="17"/>
                    </a:lnTo>
                    <a:lnTo>
                      <a:pt x="12" y="11"/>
                    </a:lnTo>
                    <a:lnTo>
                      <a:pt x="12" y="7"/>
                    </a:lnTo>
                    <a:lnTo>
                      <a:pt x="15" y="5"/>
                    </a:lnTo>
                    <a:lnTo>
                      <a:pt x="16" y="3"/>
                    </a:lnTo>
                    <a:lnTo>
                      <a:pt x="14" y="1"/>
                    </a:lnTo>
                    <a:lnTo>
                      <a:pt x="11" y="0"/>
                    </a:lnTo>
                    <a:lnTo>
                      <a:pt x="8" y="1"/>
                    </a:lnTo>
                    <a:lnTo>
                      <a:pt x="7" y="2"/>
                    </a:lnTo>
                    <a:lnTo>
                      <a:pt x="8" y="3"/>
                    </a:lnTo>
                    <a:lnTo>
                      <a:pt x="6" y="5"/>
                    </a:lnTo>
                    <a:lnTo>
                      <a:pt x="6" y="10"/>
                    </a:lnTo>
                    <a:lnTo>
                      <a:pt x="5" y="13"/>
                    </a:lnTo>
                    <a:lnTo>
                      <a:pt x="2" y="14"/>
                    </a:lnTo>
                    <a:lnTo>
                      <a:pt x="0" y="15"/>
                    </a:lnTo>
                    <a:lnTo>
                      <a:pt x="0" y="19"/>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6" name="Freeform 162">
                <a:extLst>
                  <a:ext uri="{FF2B5EF4-FFF2-40B4-BE49-F238E27FC236}">
                    <a16:creationId xmlns:a16="http://schemas.microsoft.com/office/drawing/2014/main" id="{8D229F34-B3AD-4A14-833B-8C597E98A895}"/>
                  </a:ext>
                </a:extLst>
              </p:cNvPr>
              <p:cNvSpPr>
                <a:spLocks/>
              </p:cNvSpPr>
              <p:nvPr/>
            </p:nvSpPr>
            <p:spPr bwMode="auto">
              <a:xfrm>
                <a:off x="5363" y="2866"/>
                <a:ext cx="9" cy="17"/>
              </a:xfrm>
              <a:custGeom>
                <a:avLst/>
                <a:gdLst>
                  <a:gd name="T0" fmla="*/ 7 w 9"/>
                  <a:gd name="T1" fmla="*/ 0 h 17"/>
                  <a:gd name="T2" fmla="*/ 5 w 9"/>
                  <a:gd name="T3" fmla="*/ 1 h 17"/>
                  <a:gd name="T4" fmla="*/ 4 w 9"/>
                  <a:gd name="T5" fmla="*/ 7 h 17"/>
                  <a:gd name="T6" fmla="*/ 3 w 9"/>
                  <a:gd name="T7" fmla="*/ 10 h 17"/>
                  <a:gd name="T8" fmla="*/ 0 w 9"/>
                  <a:gd name="T9" fmla="*/ 15 h 17"/>
                  <a:gd name="T10" fmla="*/ 3 w 9"/>
                  <a:gd name="T11" fmla="*/ 17 h 17"/>
                  <a:gd name="T12" fmla="*/ 5 w 9"/>
                  <a:gd name="T13" fmla="*/ 14 h 17"/>
                  <a:gd name="T14" fmla="*/ 7 w 9"/>
                  <a:gd name="T15" fmla="*/ 14 h 17"/>
                  <a:gd name="T16" fmla="*/ 7 w 9"/>
                  <a:gd name="T17" fmla="*/ 12 h 17"/>
                  <a:gd name="T18" fmla="*/ 6 w 9"/>
                  <a:gd name="T19" fmla="*/ 8 h 17"/>
                  <a:gd name="T20" fmla="*/ 6 w 9"/>
                  <a:gd name="T21" fmla="*/ 6 h 17"/>
                  <a:gd name="T22" fmla="*/ 9 w 9"/>
                  <a:gd name="T23" fmla="*/ 3 h 17"/>
                  <a:gd name="T24" fmla="*/ 7 w 9"/>
                  <a:gd name="T25" fmla="*/ 0 h 17"/>
                  <a:gd name="T26" fmla="*/ 7 w 9"/>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7">
                    <a:moveTo>
                      <a:pt x="7" y="0"/>
                    </a:moveTo>
                    <a:lnTo>
                      <a:pt x="5" y="1"/>
                    </a:lnTo>
                    <a:lnTo>
                      <a:pt x="4" y="7"/>
                    </a:lnTo>
                    <a:lnTo>
                      <a:pt x="3" y="10"/>
                    </a:lnTo>
                    <a:lnTo>
                      <a:pt x="0" y="15"/>
                    </a:lnTo>
                    <a:lnTo>
                      <a:pt x="3" y="17"/>
                    </a:lnTo>
                    <a:lnTo>
                      <a:pt x="5" y="14"/>
                    </a:lnTo>
                    <a:lnTo>
                      <a:pt x="7" y="14"/>
                    </a:lnTo>
                    <a:lnTo>
                      <a:pt x="7" y="12"/>
                    </a:lnTo>
                    <a:lnTo>
                      <a:pt x="6" y="8"/>
                    </a:lnTo>
                    <a:lnTo>
                      <a:pt x="6" y="6"/>
                    </a:lnTo>
                    <a:lnTo>
                      <a:pt x="9"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7" name="Freeform 163">
                <a:extLst>
                  <a:ext uri="{FF2B5EF4-FFF2-40B4-BE49-F238E27FC236}">
                    <a16:creationId xmlns:a16="http://schemas.microsoft.com/office/drawing/2014/main" id="{1731276F-3CEA-427A-83C6-BB0250A87F03}"/>
                  </a:ext>
                </a:extLst>
              </p:cNvPr>
              <p:cNvSpPr>
                <a:spLocks/>
              </p:cNvSpPr>
              <p:nvPr/>
            </p:nvSpPr>
            <p:spPr bwMode="auto">
              <a:xfrm>
                <a:off x="5368" y="2922"/>
                <a:ext cx="2" cy="2"/>
              </a:xfrm>
              <a:custGeom>
                <a:avLst/>
                <a:gdLst>
                  <a:gd name="T0" fmla="*/ 0 w 2"/>
                  <a:gd name="T1" fmla="*/ 1 h 2"/>
                  <a:gd name="T2" fmla="*/ 0 w 2"/>
                  <a:gd name="T3" fmla="*/ 2 h 2"/>
                  <a:gd name="T4" fmla="*/ 2 w 2"/>
                  <a:gd name="T5" fmla="*/ 0 h 2"/>
                  <a:gd name="T6" fmla="*/ 0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lnTo>
                      <a:pt x="0"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8" name="Freeform 164">
                <a:extLst>
                  <a:ext uri="{FF2B5EF4-FFF2-40B4-BE49-F238E27FC236}">
                    <a16:creationId xmlns:a16="http://schemas.microsoft.com/office/drawing/2014/main" id="{7DBC0955-09A2-491A-A6AD-B593749FDEED}"/>
                  </a:ext>
                </a:extLst>
              </p:cNvPr>
              <p:cNvSpPr>
                <a:spLocks/>
              </p:cNvSpPr>
              <p:nvPr/>
            </p:nvSpPr>
            <p:spPr bwMode="auto">
              <a:xfrm>
                <a:off x="5369" y="2861"/>
                <a:ext cx="3" cy="3"/>
              </a:xfrm>
              <a:custGeom>
                <a:avLst/>
                <a:gdLst>
                  <a:gd name="T0" fmla="*/ 1 w 3"/>
                  <a:gd name="T1" fmla="*/ 0 h 3"/>
                  <a:gd name="T2" fmla="*/ 0 w 3"/>
                  <a:gd name="T3" fmla="*/ 1 h 3"/>
                  <a:gd name="T4" fmla="*/ 2 w 3"/>
                  <a:gd name="T5" fmla="*/ 3 h 3"/>
                  <a:gd name="T6" fmla="*/ 3 w 3"/>
                  <a:gd name="T7" fmla="*/ 0 h 3"/>
                  <a:gd name="T8" fmla="*/ 1 w 3"/>
                  <a:gd name="T9" fmla="*/ 0 h 3"/>
                  <a:gd name="T10" fmla="*/ 1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1" y="0"/>
                    </a:moveTo>
                    <a:lnTo>
                      <a:pt x="0" y="1"/>
                    </a:lnTo>
                    <a:lnTo>
                      <a:pt x="2" y="3"/>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9" name="Freeform 165">
                <a:extLst>
                  <a:ext uri="{FF2B5EF4-FFF2-40B4-BE49-F238E27FC236}">
                    <a16:creationId xmlns:a16="http://schemas.microsoft.com/office/drawing/2014/main" id="{5F8CBBA5-B25C-4A57-96CB-D7A849F1EBBD}"/>
                  </a:ext>
                </a:extLst>
              </p:cNvPr>
              <p:cNvSpPr>
                <a:spLocks/>
              </p:cNvSpPr>
              <p:nvPr/>
            </p:nvSpPr>
            <p:spPr bwMode="auto">
              <a:xfrm>
                <a:off x="5370" y="2918"/>
                <a:ext cx="2" cy="3"/>
              </a:xfrm>
              <a:custGeom>
                <a:avLst/>
                <a:gdLst>
                  <a:gd name="T0" fmla="*/ 0 w 2"/>
                  <a:gd name="T1" fmla="*/ 2 h 3"/>
                  <a:gd name="T2" fmla="*/ 0 w 2"/>
                  <a:gd name="T3" fmla="*/ 3 h 3"/>
                  <a:gd name="T4" fmla="*/ 2 w 2"/>
                  <a:gd name="T5" fmla="*/ 0 h 3"/>
                  <a:gd name="T6" fmla="*/ 0 w 2"/>
                  <a:gd name="T7" fmla="*/ 2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0" y="3"/>
                    </a:lnTo>
                    <a:lnTo>
                      <a:pt x="2"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0" name="Freeform 166">
                <a:extLst>
                  <a:ext uri="{FF2B5EF4-FFF2-40B4-BE49-F238E27FC236}">
                    <a16:creationId xmlns:a16="http://schemas.microsoft.com/office/drawing/2014/main" id="{78AF41D2-70D5-4AB8-B658-4133EAC0DC02}"/>
                  </a:ext>
                </a:extLst>
              </p:cNvPr>
              <p:cNvSpPr>
                <a:spLocks/>
              </p:cNvSpPr>
              <p:nvPr/>
            </p:nvSpPr>
            <p:spPr bwMode="auto">
              <a:xfrm>
                <a:off x="5371" y="2634"/>
                <a:ext cx="13" cy="9"/>
              </a:xfrm>
              <a:custGeom>
                <a:avLst/>
                <a:gdLst>
                  <a:gd name="T0" fmla="*/ 2 w 13"/>
                  <a:gd name="T1" fmla="*/ 0 h 9"/>
                  <a:gd name="T2" fmla="*/ 1 w 13"/>
                  <a:gd name="T3" fmla="*/ 0 h 9"/>
                  <a:gd name="T4" fmla="*/ 1 w 13"/>
                  <a:gd name="T5" fmla="*/ 4 h 9"/>
                  <a:gd name="T6" fmla="*/ 0 w 13"/>
                  <a:gd name="T7" fmla="*/ 7 h 9"/>
                  <a:gd name="T8" fmla="*/ 1 w 13"/>
                  <a:gd name="T9" fmla="*/ 7 h 9"/>
                  <a:gd name="T10" fmla="*/ 4 w 13"/>
                  <a:gd name="T11" fmla="*/ 4 h 9"/>
                  <a:gd name="T12" fmla="*/ 6 w 13"/>
                  <a:gd name="T13" fmla="*/ 4 h 9"/>
                  <a:gd name="T14" fmla="*/ 8 w 13"/>
                  <a:gd name="T15" fmla="*/ 8 h 9"/>
                  <a:gd name="T16" fmla="*/ 12 w 13"/>
                  <a:gd name="T17" fmla="*/ 9 h 9"/>
                  <a:gd name="T18" fmla="*/ 12 w 13"/>
                  <a:gd name="T19" fmla="*/ 7 h 9"/>
                  <a:gd name="T20" fmla="*/ 13 w 13"/>
                  <a:gd name="T21" fmla="*/ 7 h 9"/>
                  <a:gd name="T22" fmla="*/ 12 w 13"/>
                  <a:gd name="T23" fmla="*/ 6 h 9"/>
                  <a:gd name="T24" fmla="*/ 9 w 13"/>
                  <a:gd name="T25" fmla="*/ 4 h 9"/>
                  <a:gd name="T26" fmla="*/ 7 w 13"/>
                  <a:gd name="T27" fmla="*/ 1 h 9"/>
                  <a:gd name="T28" fmla="*/ 5 w 13"/>
                  <a:gd name="T29" fmla="*/ 0 h 9"/>
                  <a:gd name="T30" fmla="*/ 2 w 13"/>
                  <a:gd name="T31" fmla="*/ 0 h 9"/>
                  <a:gd name="T32" fmla="*/ 2 w 13"/>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2" y="0"/>
                    </a:moveTo>
                    <a:lnTo>
                      <a:pt x="1" y="0"/>
                    </a:lnTo>
                    <a:lnTo>
                      <a:pt x="1" y="4"/>
                    </a:lnTo>
                    <a:lnTo>
                      <a:pt x="0" y="7"/>
                    </a:lnTo>
                    <a:lnTo>
                      <a:pt x="1" y="7"/>
                    </a:lnTo>
                    <a:lnTo>
                      <a:pt x="4" y="4"/>
                    </a:lnTo>
                    <a:lnTo>
                      <a:pt x="6" y="4"/>
                    </a:lnTo>
                    <a:lnTo>
                      <a:pt x="8" y="8"/>
                    </a:lnTo>
                    <a:lnTo>
                      <a:pt x="12" y="9"/>
                    </a:lnTo>
                    <a:lnTo>
                      <a:pt x="12" y="7"/>
                    </a:lnTo>
                    <a:lnTo>
                      <a:pt x="13" y="7"/>
                    </a:lnTo>
                    <a:lnTo>
                      <a:pt x="12" y="6"/>
                    </a:lnTo>
                    <a:lnTo>
                      <a:pt x="9" y="4"/>
                    </a:lnTo>
                    <a:lnTo>
                      <a:pt x="7" y="1"/>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1" name="Freeform 167">
                <a:extLst>
                  <a:ext uri="{FF2B5EF4-FFF2-40B4-BE49-F238E27FC236}">
                    <a16:creationId xmlns:a16="http://schemas.microsoft.com/office/drawing/2014/main" id="{B6F116B2-87C8-40AC-881B-A014420E5B18}"/>
                  </a:ext>
                </a:extLst>
              </p:cNvPr>
              <p:cNvSpPr>
                <a:spLocks/>
              </p:cNvSpPr>
              <p:nvPr/>
            </p:nvSpPr>
            <p:spPr bwMode="auto">
              <a:xfrm>
                <a:off x="5373" y="2918"/>
                <a:ext cx="8" cy="5"/>
              </a:xfrm>
              <a:custGeom>
                <a:avLst/>
                <a:gdLst>
                  <a:gd name="T0" fmla="*/ 2 w 8"/>
                  <a:gd name="T1" fmla="*/ 2 h 5"/>
                  <a:gd name="T2" fmla="*/ 0 w 8"/>
                  <a:gd name="T3" fmla="*/ 4 h 5"/>
                  <a:gd name="T4" fmla="*/ 3 w 8"/>
                  <a:gd name="T5" fmla="*/ 5 h 5"/>
                  <a:gd name="T6" fmla="*/ 5 w 8"/>
                  <a:gd name="T7" fmla="*/ 4 h 5"/>
                  <a:gd name="T8" fmla="*/ 8 w 8"/>
                  <a:gd name="T9" fmla="*/ 2 h 5"/>
                  <a:gd name="T10" fmla="*/ 5 w 8"/>
                  <a:gd name="T11" fmla="*/ 0 h 5"/>
                  <a:gd name="T12" fmla="*/ 2 w 8"/>
                  <a:gd name="T13" fmla="*/ 2 h 5"/>
                  <a:gd name="T14" fmla="*/ 2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2"/>
                    </a:moveTo>
                    <a:lnTo>
                      <a:pt x="0" y="4"/>
                    </a:lnTo>
                    <a:lnTo>
                      <a:pt x="3" y="5"/>
                    </a:lnTo>
                    <a:lnTo>
                      <a:pt x="5" y="4"/>
                    </a:lnTo>
                    <a:lnTo>
                      <a:pt x="8" y="2"/>
                    </a:lnTo>
                    <a:lnTo>
                      <a:pt x="5"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2" name="Freeform 168">
                <a:extLst>
                  <a:ext uri="{FF2B5EF4-FFF2-40B4-BE49-F238E27FC236}">
                    <a16:creationId xmlns:a16="http://schemas.microsoft.com/office/drawing/2014/main" id="{3E6BC460-B88F-4F27-A2F1-D735C86C224B}"/>
                  </a:ext>
                </a:extLst>
              </p:cNvPr>
              <p:cNvSpPr>
                <a:spLocks/>
              </p:cNvSpPr>
              <p:nvPr/>
            </p:nvSpPr>
            <p:spPr bwMode="auto">
              <a:xfrm>
                <a:off x="5373" y="2651"/>
                <a:ext cx="11" cy="25"/>
              </a:xfrm>
              <a:custGeom>
                <a:avLst/>
                <a:gdLst>
                  <a:gd name="T0" fmla="*/ 5 w 11"/>
                  <a:gd name="T1" fmla="*/ 17 h 25"/>
                  <a:gd name="T2" fmla="*/ 5 w 11"/>
                  <a:gd name="T3" fmla="*/ 16 h 25"/>
                  <a:gd name="T4" fmla="*/ 8 w 11"/>
                  <a:gd name="T5" fmla="*/ 14 h 25"/>
                  <a:gd name="T6" fmla="*/ 10 w 11"/>
                  <a:gd name="T7" fmla="*/ 11 h 25"/>
                  <a:gd name="T8" fmla="*/ 11 w 11"/>
                  <a:gd name="T9" fmla="*/ 2 h 25"/>
                  <a:gd name="T10" fmla="*/ 11 w 11"/>
                  <a:gd name="T11" fmla="*/ 0 h 25"/>
                  <a:gd name="T12" fmla="*/ 8 w 11"/>
                  <a:gd name="T13" fmla="*/ 2 h 25"/>
                  <a:gd name="T14" fmla="*/ 8 w 11"/>
                  <a:gd name="T15" fmla="*/ 6 h 25"/>
                  <a:gd name="T16" fmla="*/ 4 w 11"/>
                  <a:gd name="T17" fmla="*/ 13 h 25"/>
                  <a:gd name="T18" fmla="*/ 3 w 11"/>
                  <a:gd name="T19" fmla="*/ 16 h 25"/>
                  <a:gd name="T20" fmla="*/ 2 w 11"/>
                  <a:gd name="T21" fmla="*/ 16 h 25"/>
                  <a:gd name="T22" fmla="*/ 0 w 11"/>
                  <a:gd name="T23" fmla="*/ 19 h 25"/>
                  <a:gd name="T24" fmla="*/ 0 w 11"/>
                  <a:gd name="T25" fmla="*/ 25 h 25"/>
                  <a:gd name="T26" fmla="*/ 3 w 11"/>
                  <a:gd name="T27" fmla="*/ 23 h 25"/>
                  <a:gd name="T28" fmla="*/ 5 w 11"/>
                  <a:gd name="T29" fmla="*/ 17 h 25"/>
                  <a:gd name="T30" fmla="*/ 5 w 11"/>
                  <a:gd name="T3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25">
                    <a:moveTo>
                      <a:pt x="5" y="17"/>
                    </a:moveTo>
                    <a:lnTo>
                      <a:pt x="5" y="16"/>
                    </a:lnTo>
                    <a:lnTo>
                      <a:pt x="8" y="14"/>
                    </a:lnTo>
                    <a:lnTo>
                      <a:pt x="10" y="11"/>
                    </a:lnTo>
                    <a:lnTo>
                      <a:pt x="11" y="2"/>
                    </a:lnTo>
                    <a:lnTo>
                      <a:pt x="11" y="0"/>
                    </a:lnTo>
                    <a:lnTo>
                      <a:pt x="8" y="2"/>
                    </a:lnTo>
                    <a:lnTo>
                      <a:pt x="8" y="6"/>
                    </a:lnTo>
                    <a:lnTo>
                      <a:pt x="4" y="13"/>
                    </a:lnTo>
                    <a:lnTo>
                      <a:pt x="3" y="16"/>
                    </a:lnTo>
                    <a:lnTo>
                      <a:pt x="2" y="16"/>
                    </a:lnTo>
                    <a:lnTo>
                      <a:pt x="0" y="19"/>
                    </a:lnTo>
                    <a:lnTo>
                      <a:pt x="0" y="25"/>
                    </a:lnTo>
                    <a:lnTo>
                      <a:pt x="3" y="23"/>
                    </a:lnTo>
                    <a:lnTo>
                      <a:pt x="5" y="17"/>
                    </a:lnTo>
                    <a:lnTo>
                      <a:pt x="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3" name="Freeform 169">
                <a:extLst>
                  <a:ext uri="{FF2B5EF4-FFF2-40B4-BE49-F238E27FC236}">
                    <a16:creationId xmlns:a16="http://schemas.microsoft.com/office/drawing/2014/main" id="{5BAE1E77-716B-48D3-958F-5FEAB3A3424D}"/>
                  </a:ext>
                </a:extLst>
              </p:cNvPr>
              <p:cNvSpPr>
                <a:spLocks/>
              </p:cNvSpPr>
              <p:nvPr/>
            </p:nvSpPr>
            <p:spPr bwMode="auto">
              <a:xfrm>
                <a:off x="5377" y="2921"/>
                <a:ext cx="51" cy="27"/>
              </a:xfrm>
              <a:custGeom>
                <a:avLst/>
                <a:gdLst>
                  <a:gd name="T0" fmla="*/ 0 w 51"/>
                  <a:gd name="T1" fmla="*/ 22 h 27"/>
                  <a:gd name="T2" fmla="*/ 0 w 51"/>
                  <a:gd name="T3" fmla="*/ 27 h 27"/>
                  <a:gd name="T4" fmla="*/ 3 w 51"/>
                  <a:gd name="T5" fmla="*/ 27 h 27"/>
                  <a:gd name="T6" fmla="*/ 8 w 51"/>
                  <a:gd name="T7" fmla="*/ 25 h 27"/>
                  <a:gd name="T8" fmla="*/ 11 w 51"/>
                  <a:gd name="T9" fmla="*/ 25 h 27"/>
                  <a:gd name="T10" fmla="*/ 19 w 51"/>
                  <a:gd name="T11" fmla="*/ 18 h 27"/>
                  <a:gd name="T12" fmla="*/ 20 w 51"/>
                  <a:gd name="T13" fmla="*/ 14 h 27"/>
                  <a:gd name="T14" fmla="*/ 25 w 51"/>
                  <a:gd name="T15" fmla="*/ 12 h 27"/>
                  <a:gd name="T16" fmla="*/ 33 w 51"/>
                  <a:gd name="T17" fmla="*/ 10 h 27"/>
                  <a:gd name="T18" fmla="*/ 35 w 51"/>
                  <a:gd name="T19" fmla="*/ 9 h 27"/>
                  <a:gd name="T20" fmla="*/ 37 w 51"/>
                  <a:gd name="T21" fmla="*/ 8 h 27"/>
                  <a:gd name="T22" fmla="*/ 43 w 51"/>
                  <a:gd name="T23" fmla="*/ 5 h 27"/>
                  <a:gd name="T24" fmla="*/ 45 w 51"/>
                  <a:gd name="T25" fmla="*/ 4 h 27"/>
                  <a:gd name="T26" fmla="*/ 49 w 51"/>
                  <a:gd name="T27" fmla="*/ 2 h 27"/>
                  <a:gd name="T28" fmla="*/ 51 w 51"/>
                  <a:gd name="T29" fmla="*/ 0 h 27"/>
                  <a:gd name="T30" fmla="*/ 45 w 51"/>
                  <a:gd name="T31" fmla="*/ 0 h 27"/>
                  <a:gd name="T32" fmla="*/ 43 w 51"/>
                  <a:gd name="T33" fmla="*/ 1 h 27"/>
                  <a:gd name="T34" fmla="*/ 37 w 51"/>
                  <a:gd name="T35" fmla="*/ 1 h 27"/>
                  <a:gd name="T36" fmla="*/ 34 w 51"/>
                  <a:gd name="T37" fmla="*/ 2 h 27"/>
                  <a:gd name="T38" fmla="*/ 32 w 51"/>
                  <a:gd name="T39" fmla="*/ 1 h 27"/>
                  <a:gd name="T40" fmla="*/ 21 w 51"/>
                  <a:gd name="T41" fmla="*/ 3 h 27"/>
                  <a:gd name="T42" fmla="*/ 19 w 51"/>
                  <a:gd name="T43" fmla="*/ 8 h 27"/>
                  <a:gd name="T44" fmla="*/ 15 w 51"/>
                  <a:gd name="T45" fmla="*/ 10 h 27"/>
                  <a:gd name="T46" fmla="*/ 9 w 51"/>
                  <a:gd name="T47" fmla="*/ 11 h 27"/>
                  <a:gd name="T48" fmla="*/ 4 w 51"/>
                  <a:gd name="T49" fmla="*/ 14 h 27"/>
                  <a:gd name="T50" fmla="*/ 1 w 51"/>
                  <a:gd name="T51" fmla="*/ 17 h 27"/>
                  <a:gd name="T52" fmla="*/ 0 w 51"/>
                  <a:gd name="T53" fmla="*/ 22 h 27"/>
                  <a:gd name="T54" fmla="*/ 0 w 51"/>
                  <a:gd name="T55"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27">
                    <a:moveTo>
                      <a:pt x="0" y="22"/>
                    </a:moveTo>
                    <a:lnTo>
                      <a:pt x="0" y="27"/>
                    </a:lnTo>
                    <a:lnTo>
                      <a:pt x="3" y="27"/>
                    </a:lnTo>
                    <a:lnTo>
                      <a:pt x="8" y="25"/>
                    </a:lnTo>
                    <a:lnTo>
                      <a:pt x="11" y="25"/>
                    </a:lnTo>
                    <a:lnTo>
                      <a:pt x="19" y="18"/>
                    </a:lnTo>
                    <a:lnTo>
                      <a:pt x="20" y="14"/>
                    </a:lnTo>
                    <a:lnTo>
                      <a:pt x="25" y="12"/>
                    </a:lnTo>
                    <a:lnTo>
                      <a:pt x="33" y="10"/>
                    </a:lnTo>
                    <a:lnTo>
                      <a:pt x="35" y="9"/>
                    </a:lnTo>
                    <a:lnTo>
                      <a:pt x="37" y="8"/>
                    </a:lnTo>
                    <a:lnTo>
                      <a:pt x="43" y="5"/>
                    </a:lnTo>
                    <a:lnTo>
                      <a:pt x="45" y="4"/>
                    </a:lnTo>
                    <a:lnTo>
                      <a:pt x="49" y="2"/>
                    </a:lnTo>
                    <a:lnTo>
                      <a:pt x="51" y="0"/>
                    </a:lnTo>
                    <a:lnTo>
                      <a:pt x="45" y="0"/>
                    </a:lnTo>
                    <a:lnTo>
                      <a:pt x="43" y="1"/>
                    </a:lnTo>
                    <a:lnTo>
                      <a:pt x="37" y="1"/>
                    </a:lnTo>
                    <a:lnTo>
                      <a:pt x="34" y="2"/>
                    </a:lnTo>
                    <a:lnTo>
                      <a:pt x="32" y="1"/>
                    </a:lnTo>
                    <a:lnTo>
                      <a:pt x="21" y="3"/>
                    </a:lnTo>
                    <a:lnTo>
                      <a:pt x="19" y="8"/>
                    </a:lnTo>
                    <a:lnTo>
                      <a:pt x="15" y="10"/>
                    </a:lnTo>
                    <a:lnTo>
                      <a:pt x="9" y="11"/>
                    </a:lnTo>
                    <a:lnTo>
                      <a:pt x="4" y="14"/>
                    </a:lnTo>
                    <a:lnTo>
                      <a:pt x="1" y="17"/>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4" name="Freeform 170">
                <a:extLst>
                  <a:ext uri="{FF2B5EF4-FFF2-40B4-BE49-F238E27FC236}">
                    <a16:creationId xmlns:a16="http://schemas.microsoft.com/office/drawing/2014/main" id="{09273525-CC6D-4ED5-8872-361B1F600684}"/>
                  </a:ext>
                </a:extLst>
              </p:cNvPr>
              <p:cNvSpPr>
                <a:spLocks/>
              </p:cNvSpPr>
              <p:nvPr/>
            </p:nvSpPr>
            <p:spPr bwMode="auto">
              <a:xfrm>
                <a:off x="5380" y="2666"/>
                <a:ext cx="10" cy="8"/>
              </a:xfrm>
              <a:custGeom>
                <a:avLst/>
                <a:gdLst>
                  <a:gd name="T0" fmla="*/ 1 w 10"/>
                  <a:gd name="T1" fmla="*/ 8 h 8"/>
                  <a:gd name="T2" fmla="*/ 6 w 10"/>
                  <a:gd name="T3" fmla="*/ 8 h 8"/>
                  <a:gd name="T4" fmla="*/ 8 w 10"/>
                  <a:gd name="T5" fmla="*/ 8 h 8"/>
                  <a:gd name="T6" fmla="*/ 10 w 10"/>
                  <a:gd name="T7" fmla="*/ 6 h 8"/>
                  <a:gd name="T8" fmla="*/ 10 w 10"/>
                  <a:gd name="T9" fmla="*/ 2 h 8"/>
                  <a:gd name="T10" fmla="*/ 8 w 10"/>
                  <a:gd name="T11" fmla="*/ 0 h 8"/>
                  <a:gd name="T12" fmla="*/ 5 w 10"/>
                  <a:gd name="T13" fmla="*/ 0 h 8"/>
                  <a:gd name="T14" fmla="*/ 4 w 10"/>
                  <a:gd name="T15" fmla="*/ 1 h 8"/>
                  <a:gd name="T16" fmla="*/ 4 w 10"/>
                  <a:gd name="T17" fmla="*/ 2 h 8"/>
                  <a:gd name="T18" fmla="*/ 0 w 10"/>
                  <a:gd name="T19" fmla="*/ 3 h 8"/>
                  <a:gd name="T20" fmla="*/ 1 w 10"/>
                  <a:gd name="T21" fmla="*/ 8 h 8"/>
                  <a:gd name="T22" fmla="*/ 1 w 10"/>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1" y="8"/>
                    </a:moveTo>
                    <a:lnTo>
                      <a:pt x="6" y="8"/>
                    </a:lnTo>
                    <a:lnTo>
                      <a:pt x="8" y="8"/>
                    </a:lnTo>
                    <a:lnTo>
                      <a:pt x="10" y="6"/>
                    </a:lnTo>
                    <a:lnTo>
                      <a:pt x="10" y="2"/>
                    </a:lnTo>
                    <a:lnTo>
                      <a:pt x="8" y="0"/>
                    </a:lnTo>
                    <a:lnTo>
                      <a:pt x="5" y="0"/>
                    </a:lnTo>
                    <a:lnTo>
                      <a:pt x="4" y="1"/>
                    </a:lnTo>
                    <a:lnTo>
                      <a:pt x="4" y="2"/>
                    </a:lnTo>
                    <a:lnTo>
                      <a:pt x="0" y="3"/>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5" name="Freeform 171">
                <a:extLst>
                  <a:ext uri="{FF2B5EF4-FFF2-40B4-BE49-F238E27FC236}">
                    <a16:creationId xmlns:a16="http://schemas.microsoft.com/office/drawing/2014/main" id="{C601ECF7-75EC-4215-B3E4-A6D1DBC0B3D2}"/>
                  </a:ext>
                </a:extLst>
              </p:cNvPr>
              <p:cNvSpPr>
                <a:spLocks/>
              </p:cNvSpPr>
              <p:nvPr/>
            </p:nvSpPr>
            <p:spPr bwMode="auto">
              <a:xfrm>
                <a:off x="5383" y="2920"/>
                <a:ext cx="2" cy="2"/>
              </a:xfrm>
              <a:custGeom>
                <a:avLst/>
                <a:gdLst>
                  <a:gd name="T0" fmla="*/ 0 w 2"/>
                  <a:gd name="T1" fmla="*/ 1 h 2"/>
                  <a:gd name="T2" fmla="*/ 0 w 2"/>
                  <a:gd name="T3" fmla="*/ 2 h 2"/>
                  <a:gd name="T4" fmla="*/ 2 w 2"/>
                  <a:gd name="T5" fmla="*/ 2 h 2"/>
                  <a:gd name="T6" fmla="*/ 2 w 2"/>
                  <a:gd name="T7" fmla="*/ 0 h 2"/>
                  <a:gd name="T8" fmla="*/ 0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lnTo>
                      <a:pt x="0" y="2"/>
                    </a:lnTo>
                    <a:lnTo>
                      <a:pt x="2"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6" name="Freeform 172">
                <a:extLst>
                  <a:ext uri="{FF2B5EF4-FFF2-40B4-BE49-F238E27FC236}">
                    <a16:creationId xmlns:a16="http://schemas.microsoft.com/office/drawing/2014/main" id="{D2AF7025-DC42-4E94-A63F-EA886F136739}"/>
                  </a:ext>
                </a:extLst>
              </p:cNvPr>
              <p:cNvSpPr>
                <a:spLocks/>
              </p:cNvSpPr>
              <p:nvPr/>
            </p:nvSpPr>
            <p:spPr bwMode="auto">
              <a:xfrm>
                <a:off x="5384" y="2613"/>
                <a:ext cx="4" cy="6"/>
              </a:xfrm>
              <a:custGeom>
                <a:avLst/>
                <a:gdLst>
                  <a:gd name="T0" fmla="*/ 2 w 4"/>
                  <a:gd name="T1" fmla="*/ 6 h 6"/>
                  <a:gd name="T2" fmla="*/ 4 w 4"/>
                  <a:gd name="T3" fmla="*/ 4 h 6"/>
                  <a:gd name="T4" fmla="*/ 4 w 4"/>
                  <a:gd name="T5" fmla="*/ 2 h 6"/>
                  <a:gd name="T6" fmla="*/ 2 w 4"/>
                  <a:gd name="T7" fmla="*/ 0 h 6"/>
                  <a:gd name="T8" fmla="*/ 0 w 4"/>
                  <a:gd name="T9" fmla="*/ 4 h 6"/>
                  <a:gd name="T10" fmla="*/ 2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4"/>
                    </a:lnTo>
                    <a:lnTo>
                      <a:pt x="4" y="2"/>
                    </a:lnTo>
                    <a:lnTo>
                      <a:pt x="2" y="0"/>
                    </a:lnTo>
                    <a:lnTo>
                      <a:pt x="0" y="4"/>
                    </a:lnTo>
                    <a:lnTo>
                      <a:pt x="2" y="6"/>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7" name="Freeform 173">
                <a:extLst>
                  <a:ext uri="{FF2B5EF4-FFF2-40B4-BE49-F238E27FC236}">
                    <a16:creationId xmlns:a16="http://schemas.microsoft.com/office/drawing/2014/main" id="{857CCC24-C66C-461C-9A32-3D9F143390A5}"/>
                  </a:ext>
                </a:extLst>
              </p:cNvPr>
              <p:cNvSpPr>
                <a:spLocks/>
              </p:cNvSpPr>
              <p:nvPr/>
            </p:nvSpPr>
            <p:spPr bwMode="auto">
              <a:xfrm>
                <a:off x="5386" y="2633"/>
                <a:ext cx="20" cy="20"/>
              </a:xfrm>
              <a:custGeom>
                <a:avLst/>
                <a:gdLst>
                  <a:gd name="T0" fmla="*/ 14 w 20"/>
                  <a:gd name="T1" fmla="*/ 1 h 20"/>
                  <a:gd name="T2" fmla="*/ 11 w 20"/>
                  <a:gd name="T3" fmla="*/ 0 h 20"/>
                  <a:gd name="T4" fmla="*/ 9 w 20"/>
                  <a:gd name="T5" fmla="*/ 0 h 20"/>
                  <a:gd name="T6" fmla="*/ 9 w 20"/>
                  <a:gd name="T7" fmla="*/ 0 h 20"/>
                  <a:gd name="T8" fmla="*/ 6 w 20"/>
                  <a:gd name="T9" fmla="*/ 1 h 20"/>
                  <a:gd name="T10" fmla="*/ 3 w 20"/>
                  <a:gd name="T11" fmla="*/ 0 h 20"/>
                  <a:gd name="T12" fmla="*/ 0 w 20"/>
                  <a:gd name="T13" fmla="*/ 1 h 20"/>
                  <a:gd name="T14" fmla="*/ 1 w 20"/>
                  <a:gd name="T15" fmla="*/ 3 h 20"/>
                  <a:gd name="T16" fmla="*/ 3 w 20"/>
                  <a:gd name="T17" fmla="*/ 6 h 20"/>
                  <a:gd name="T18" fmla="*/ 6 w 20"/>
                  <a:gd name="T19" fmla="*/ 7 h 20"/>
                  <a:gd name="T20" fmla="*/ 7 w 20"/>
                  <a:gd name="T21" fmla="*/ 8 h 20"/>
                  <a:gd name="T22" fmla="*/ 9 w 20"/>
                  <a:gd name="T23" fmla="*/ 11 h 20"/>
                  <a:gd name="T24" fmla="*/ 9 w 20"/>
                  <a:gd name="T25" fmla="*/ 14 h 20"/>
                  <a:gd name="T26" fmla="*/ 10 w 20"/>
                  <a:gd name="T27" fmla="*/ 16 h 20"/>
                  <a:gd name="T28" fmla="*/ 12 w 20"/>
                  <a:gd name="T29" fmla="*/ 18 h 20"/>
                  <a:gd name="T30" fmla="*/ 14 w 20"/>
                  <a:gd name="T31" fmla="*/ 20 h 20"/>
                  <a:gd name="T32" fmla="*/ 20 w 20"/>
                  <a:gd name="T33" fmla="*/ 19 h 20"/>
                  <a:gd name="T34" fmla="*/ 19 w 20"/>
                  <a:gd name="T35" fmla="*/ 16 h 20"/>
                  <a:gd name="T36" fmla="*/ 18 w 20"/>
                  <a:gd name="T37" fmla="*/ 16 h 20"/>
                  <a:gd name="T38" fmla="*/ 17 w 20"/>
                  <a:gd name="T39" fmla="*/ 14 h 20"/>
                  <a:gd name="T40" fmla="*/ 17 w 20"/>
                  <a:gd name="T41" fmla="*/ 9 h 20"/>
                  <a:gd name="T42" fmla="*/ 17 w 20"/>
                  <a:gd name="T43" fmla="*/ 7 h 20"/>
                  <a:gd name="T44" fmla="*/ 17 w 20"/>
                  <a:gd name="T45" fmla="*/ 6 h 20"/>
                  <a:gd name="T46" fmla="*/ 17 w 20"/>
                  <a:gd name="T47" fmla="*/ 6 h 20"/>
                  <a:gd name="T48" fmla="*/ 17 w 20"/>
                  <a:gd name="T49" fmla="*/ 5 h 20"/>
                  <a:gd name="T50" fmla="*/ 15 w 20"/>
                  <a:gd name="T51" fmla="*/ 3 h 20"/>
                  <a:gd name="T52" fmla="*/ 14 w 20"/>
                  <a:gd name="T53" fmla="*/ 1 h 20"/>
                  <a:gd name="T54" fmla="*/ 14 w 20"/>
                  <a:gd name="T5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4" y="1"/>
                    </a:moveTo>
                    <a:lnTo>
                      <a:pt x="11" y="0"/>
                    </a:lnTo>
                    <a:lnTo>
                      <a:pt x="9" y="0"/>
                    </a:lnTo>
                    <a:lnTo>
                      <a:pt x="9" y="0"/>
                    </a:lnTo>
                    <a:lnTo>
                      <a:pt x="6" y="1"/>
                    </a:lnTo>
                    <a:lnTo>
                      <a:pt x="3" y="0"/>
                    </a:lnTo>
                    <a:lnTo>
                      <a:pt x="0" y="1"/>
                    </a:lnTo>
                    <a:lnTo>
                      <a:pt x="1" y="3"/>
                    </a:lnTo>
                    <a:lnTo>
                      <a:pt x="3" y="6"/>
                    </a:lnTo>
                    <a:lnTo>
                      <a:pt x="6" y="7"/>
                    </a:lnTo>
                    <a:lnTo>
                      <a:pt x="7" y="8"/>
                    </a:lnTo>
                    <a:lnTo>
                      <a:pt x="9" y="11"/>
                    </a:lnTo>
                    <a:lnTo>
                      <a:pt x="9" y="14"/>
                    </a:lnTo>
                    <a:lnTo>
                      <a:pt x="10" y="16"/>
                    </a:lnTo>
                    <a:lnTo>
                      <a:pt x="12" y="18"/>
                    </a:lnTo>
                    <a:lnTo>
                      <a:pt x="14" y="20"/>
                    </a:lnTo>
                    <a:lnTo>
                      <a:pt x="20" y="19"/>
                    </a:lnTo>
                    <a:lnTo>
                      <a:pt x="19" y="16"/>
                    </a:lnTo>
                    <a:lnTo>
                      <a:pt x="18" y="16"/>
                    </a:lnTo>
                    <a:lnTo>
                      <a:pt x="17" y="14"/>
                    </a:lnTo>
                    <a:lnTo>
                      <a:pt x="17" y="9"/>
                    </a:lnTo>
                    <a:lnTo>
                      <a:pt x="17" y="7"/>
                    </a:lnTo>
                    <a:lnTo>
                      <a:pt x="17" y="6"/>
                    </a:lnTo>
                    <a:lnTo>
                      <a:pt x="17" y="6"/>
                    </a:lnTo>
                    <a:lnTo>
                      <a:pt x="17" y="5"/>
                    </a:lnTo>
                    <a:lnTo>
                      <a:pt x="15" y="3"/>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8" name="Freeform 174">
                <a:extLst>
                  <a:ext uri="{FF2B5EF4-FFF2-40B4-BE49-F238E27FC236}">
                    <a16:creationId xmlns:a16="http://schemas.microsoft.com/office/drawing/2014/main" id="{BB86C015-A37B-4E32-8238-71CEBE9F97FD}"/>
                  </a:ext>
                </a:extLst>
              </p:cNvPr>
              <p:cNvSpPr>
                <a:spLocks/>
              </p:cNvSpPr>
              <p:nvPr/>
            </p:nvSpPr>
            <p:spPr bwMode="auto">
              <a:xfrm>
                <a:off x="5387" y="2645"/>
                <a:ext cx="3" cy="3"/>
              </a:xfrm>
              <a:custGeom>
                <a:avLst/>
                <a:gdLst>
                  <a:gd name="T0" fmla="*/ 2 w 3"/>
                  <a:gd name="T1" fmla="*/ 3 h 3"/>
                  <a:gd name="T2" fmla="*/ 3 w 3"/>
                  <a:gd name="T3" fmla="*/ 0 h 3"/>
                  <a:gd name="T4" fmla="*/ 0 w 3"/>
                  <a:gd name="T5" fmla="*/ 0 h 3"/>
                  <a:gd name="T6" fmla="*/ 2 w 3"/>
                  <a:gd name="T7" fmla="*/ 3 h 3"/>
                  <a:gd name="T8" fmla="*/ 2 w 3"/>
                  <a:gd name="T9" fmla="*/ 3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lnTo>
                      <a:pt x="3" y="0"/>
                    </a:lnTo>
                    <a:lnTo>
                      <a:pt x="0" y="0"/>
                    </a:lnTo>
                    <a:lnTo>
                      <a:pt x="2" y="3"/>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9" name="Freeform 175">
                <a:extLst>
                  <a:ext uri="{FF2B5EF4-FFF2-40B4-BE49-F238E27FC236}">
                    <a16:creationId xmlns:a16="http://schemas.microsoft.com/office/drawing/2014/main" id="{9292B6D8-45F9-405D-8757-0BC9EB726B81}"/>
                  </a:ext>
                </a:extLst>
              </p:cNvPr>
              <p:cNvSpPr>
                <a:spLocks/>
              </p:cNvSpPr>
              <p:nvPr/>
            </p:nvSpPr>
            <p:spPr bwMode="auto">
              <a:xfrm>
                <a:off x="5387" y="2917"/>
                <a:ext cx="11" cy="5"/>
              </a:xfrm>
              <a:custGeom>
                <a:avLst/>
                <a:gdLst>
                  <a:gd name="T0" fmla="*/ 2 w 11"/>
                  <a:gd name="T1" fmla="*/ 0 h 5"/>
                  <a:gd name="T2" fmla="*/ 2 w 11"/>
                  <a:gd name="T3" fmla="*/ 1 h 5"/>
                  <a:gd name="T4" fmla="*/ 0 w 11"/>
                  <a:gd name="T5" fmla="*/ 5 h 5"/>
                  <a:gd name="T6" fmla="*/ 3 w 11"/>
                  <a:gd name="T7" fmla="*/ 5 h 5"/>
                  <a:gd name="T8" fmla="*/ 11 w 11"/>
                  <a:gd name="T9" fmla="*/ 4 h 5"/>
                  <a:gd name="T10" fmla="*/ 10 w 11"/>
                  <a:gd name="T11" fmla="*/ 0 h 5"/>
                  <a:gd name="T12" fmla="*/ 5 w 11"/>
                  <a:gd name="T13" fmla="*/ 0 h 5"/>
                  <a:gd name="T14" fmla="*/ 2 w 11"/>
                  <a:gd name="T15" fmla="*/ 0 h 5"/>
                  <a:gd name="T16" fmla="*/ 2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2" y="0"/>
                    </a:moveTo>
                    <a:lnTo>
                      <a:pt x="2" y="1"/>
                    </a:lnTo>
                    <a:lnTo>
                      <a:pt x="0" y="5"/>
                    </a:lnTo>
                    <a:lnTo>
                      <a:pt x="3" y="5"/>
                    </a:lnTo>
                    <a:lnTo>
                      <a:pt x="11" y="4"/>
                    </a:lnTo>
                    <a:lnTo>
                      <a:pt x="10" y="0"/>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0" name="Freeform 176">
                <a:extLst>
                  <a:ext uri="{FF2B5EF4-FFF2-40B4-BE49-F238E27FC236}">
                    <a16:creationId xmlns:a16="http://schemas.microsoft.com/office/drawing/2014/main" id="{952D5C25-E05A-4A7C-965F-09F157CC1C14}"/>
                  </a:ext>
                </a:extLst>
              </p:cNvPr>
              <p:cNvSpPr>
                <a:spLocks/>
              </p:cNvSpPr>
              <p:nvPr/>
            </p:nvSpPr>
            <p:spPr bwMode="auto">
              <a:xfrm>
                <a:off x="5388" y="2648"/>
                <a:ext cx="10" cy="20"/>
              </a:xfrm>
              <a:custGeom>
                <a:avLst/>
                <a:gdLst>
                  <a:gd name="T0" fmla="*/ 5 w 10"/>
                  <a:gd name="T1" fmla="*/ 18 h 20"/>
                  <a:gd name="T2" fmla="*/ 8 w 10"/>
                  <a:gd name="T3" fmla="*/ 20 h 20"/>
                  <a:gd name="T4" fmla="*/ 8 w 10"/>
                  <a:gd name="T5" fmla="*/ 17 h 20"/>
                  <a:gd name="T6" fmla="*/ 10 w 10"/>
                  <a:gd name="T7" fmla="*/ 17 h 20"/>
                  <a:gd name="T8" fmla="*/ 10 w 10"/>
                  <a:gd name="T9" fmla="*/ 12 h 20"/>
                  <a:gd name="T10" fmla="*/ 9 w 10"/>
                  <a:gd name="T11" fmla="*/ 10 h 20"/>
                  <a:gd name="T12" fmla="*/ 9 w 10"/>
                  <a:gd name="T13" fmla="*/ 4 h 20"/>
                  <a:gd name="T14" fmla="*/ 8 w 10"/>
                  <a:gd name="T15" fmla="*/ 2 h 20"/>
                  <a:gd name="T16" fmla="*/ 6 w 10"/>
                  <a:gd name="T17" fmla="*/ 1 h 20"/>
                  <a:gd name="T18" fmla="*/ 2 w 10"/>
                  <a:gd name="T19" fmla="*/ 2 h 20"/>
                  <a:gd name="T20" fmla="*/ 0 w 10"/>
                  <a:gd name="T21" fmla="*/ 0 h 20"/>
                  <a:gd name="T22" fmla="*/ 0 w 10"/>
                  <a:gd name="T23" fmla="*/ 5 h 20"/>
                  <a:gd name="T24" fmla="*/ 0 w 10"/>
                  <a:gd name="T25" fmla="*/ 8 h 20"/>
                  <a:gd name="T26" fmla="*/ 4 w 10"/>
                  <a:gd name="T27" fmla="*/ 7 h 20"/>
                  <a:gd name="T28" fmla="*/ 6 w 10"/>
                  <a:gd name="T29" fmla="*/ 10 h 20"/>
                  <a:gd name="T30" fmla="*/ 6 w 10"/>
                  <a:gd name="T31" fmla="*/ 11 h 20"/>
                  <a:gd name="T32" fmla="*/ 5 w 10"/>
                  <a:gd name="T33" fmla="*/ 13 h 20"/>
                  <a:gd name="T34" fmla="*/ 6 w 10"/>
                  <a:gd name="T35" fmla="*/ 16 h 20"/>
                  <a:gd name="T36" fmla="*/ 5 w 10"/>
                  <a:gd name="T37" fmla="*/ 18 h 20"/>
                  <a:gd name="T38" fmla="*/ 5 w 10"/>
                  <a:gd name="T3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20">
                    <a:moveTo>
                      <a:pt x="5" y="18"/>
                    </a:moveTo>
                    <a:lnTo>
                      <a:pt x="8" y="20"/>
                    </a:lnTo>
                    <a:lnTo>
                      <a:pt x="8" y="17"/>
                    </a:lnTo>
                    <a:lnTo>
                      <a:pt x="10" y="17"/>
                    </a:lnTo>
                    <a:lnTo>
                      <a:pt x="10" y="12"/>
                    </a:lnTo>
                    <a:lnTo>
                      <a:pt x="9" y="10"/>
                    </a:lnTo>
                    <a:lnTo>
                      <a:pt x="9" y="4"/>
                    </a:lnTo>
                    <a:lnTo>
                      <a:pt x="8" y="2"/>
                    </a:lnTo>
                    <a:lnTo>
                      <a:pt x="6" y="1"/>
                    </a:lnTo>
                    <a:lnTo>
                      <a:pt x="2" y="2"/>
                    </a:lnTo>
                    <a:lnTo>
                      <a:pt x="0" y="0"/>
                    </a:lnTo>
                    <a:lnTo>
                      <a:pt x="0" y="5"/>
                    </a:lnTo>
                    <a:lnTo>
                      <a:pt x="0" y="8"/>
                    </a:lnTo>
                    <a:lnTo>
                      <a:pt x="4" y="7"/>
                    </a:lnTo>
                    <a:lnTo>
                      <a:pt x="6" y="10"/>
                    </a:lnTo>
                    <a:lnTo>
                      <a:pt x="6" y="11"/>
                    </a:lnTo>
                    <a:lnTo>
                      <a:pt x="5" y="13"/>
                    </a:lnTo>
                    <a:lnTo>
                      <a:pt x="6" y="16"/>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1" name="Freeform 177">
                <a:extLst>
                  <a:ext uri="{FF2B5EF4-FFF2-40B4-BE49-F238E27FC236}">
                    <a16:creationId xmlns:a16="http://schemas.microsoft.com/office/drawing/2014/main" id="{4EAE8AE9-D0FF-4802-BC90-C72D08F77C63}"/>
                  </a:ext>
                </a:extLst>
              </p:cNvPr>
              <p:cNvSpPr>
                <a:spLocks/>
              </p:cNvSpPr>
              <p:nvPr/>
            </p:nvSpPr>
            <p:spPr bwMode="auto">
              <a:xfrm>
                <a:off x="5407" y="2909"/>
                <a:ext cx="14" cy="7"/>
              </a:xfrm>
              <a:custGeom>
                <a:avLst/>
                <a:gdLst>
                  <a:gd name="T0" fmla="*/ 3 w 14"/>
                  <a:gd name="T1" fmla="*/ 1 h 7"/>
                  <a:gd name="T2" fmla="*/ 0 w 14"/>
                  <a:gd name="T3" fmla="*/ 4 h 7"/>
                  <a:gd name="T4" fmla="*/ 0 w 14"/>
                  <a:gd name="T5" fmla="*/ 7 h 7"/>
                  <a:gd name="T6" fmla="*/ 3 w 14"/>
                  <a:gd name="T7" fmla="*/ 5 h 7"/>
                  <a:gd name="T8" fmla="*/ 8 w 14"/>
                  <a:gd name="T9" fmla="*/ 6 h 7"/>
                  <a:gd name="T10" fmla="*/ 11 w 14"/>
                  <a:gd name="T11" fmla="*/ 4 h 7"/>
                  <a:gd name="T12" fmla="*/ 14 w 14"/>
                  <a:gd name="T13" fmla="*/ 3 h 7"/>
                  <a:gd name="T14" fmla="*/ 11 w 14"/>
                  <a:gd name="T15" fmla="*/ 0 h 7"/>
                  <a:gd name="T16" fmla="*/ 8 w 14"/>
                  <a:gd name="T17" fmla="*/ 1 h 7"/>
                  <a:gd name="T18" fmla="*/ 5 w 14"/>
                  <a:gd name="T19" fmla="*/ 3 h 7"/>
                  <a:gd name="T20" fmla="*/ 3 w 14"/>
                  <a:gd name="T21" fmla="*/ 1 h 7"/>
                  <a:gd name="T22" fmla="*/ 3 w 14"/>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3" y="1"/>
                    </a:moveTo>
                    <a:lnTo>
                      <a:pt x="0" y="4"/>
                    </a:lnTo>
                    <a:lnTo>
                      <a:pt x="0" y="7"/>
                    </a:lnTo>
                    <a:lnTo>
                      <a:pt x="3" y="5"/>
                    </a:lnTo>
                    <a:lnTo>
                      <a:pt x="8" y="6"/>
                    </a:lnTo>
                    <a:lnTo>
                      <a:pt x="11" y="4"/>
                    </a:lnTo>
                    <a:lnTo>
                      <a:pt x="14" y="3"/>
                    </a:lnTo>
                    <a:lnTo>
                      <a:pt x="11" y="0"/>
                    </a:lnTo>
                    <a:lnTo>
                      <a:pt x="8" y="1"/>
                    </a:lnTo>
                    <a:lnTo>
                      <a:pt x="5" y="3"/>
                    </a:lnTo>
                    <a:lnTo>
                      <a:pt x="3" y="1"/>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2" name="Freeform 178">
                <a:extLst>
                  <a:ext uri="{FF2B5EF4-FFF2-40B4-BE49-F238E27FC236}">
                    <a16:creationId xmlns:a16="http://schemas.microsoft.com/office/drawing/2014/main" id="{FBE0DE5A-9CB4-4A20-A4E9-B0742E56FC85}"/>
                  </a:ext>
                </a:extLst>
              </p:cNvPr>
              <p:cNvSpPr>
                <a:spLocks/>
              </p:cNvSpPr>
              <p:nvPr/>
            </p:nvSpPr>
            <p:spPr bwMode="auto">
              <a:xfrm>
                <a:off x="5411" y="2848"/>
                <a:ext cx="16" cy="10"/>
              </a:xfrm>
              <a:custGeom>
                <a:avLst/>
                <a:gdLst>
                  <a:gd name="T0" fmla="*/ 9 w 16"/>
                  <a:gd name="T1" fmla="*/ 10 h 10"/>
                  <a:gd name="T2" fmla="*/ 11 w 16"/>
                  <a:gd name="T3" fmla="*/ 9 h 10"/>
                  <a:gd name="T4" fmla="*/ 13 w 16"/>
                  <a:gd name="T5" fmla="*/ 8 h 10"/>
                  <a:gd name="T6" fmla="*/ 16 w 16"/>
                  <a:gd name="T7" fmla="*/ 5 h 10"/>
                  <a:gd name="T8" fmla="*/ 11 w 16"/>
                  <a:gd name="T9" fmla="*/ 0 h 10"/>
                  <a:gd name="T10" fmla="*/ 9 w 16"/>
                  <a:gd name="T11" fmla="*/ 0 h 10"/>
                  <a:gd name="T12" fmla="*/ 0 w 16"/>
                  <a:gd name="T13" fmla="*/ 0 h 10"/>
                  <a:gd name="T14" fmla="*/ 0 w 16"/>
                  <a:gd name="T15" fmla="*/ 2 h 10"/>
                  <a:gd name="T16" fmla="*/ 1 w 16"/>
                  <a:gd name="T17" fmla="*/ 6 h 10"/>
                  <a:gd name="T18" fmla="*/ 3 w 16"/>
                  <a:gd name="T19" fmla="*/ 8 h 10"/>
                  <a:gd name="T20" fmla="*/ 9 w 16"/>
                  <a:gd name="T21" fmla="*/ 10 h 10"/>
                  <a:gd name="T22" fmla="*/ 9 w 1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9" y="10"/>
                    </a:moveTo>
                    <a:lnTo>
                      <a:pt x="11" y="9"/>
                    </a:lnTo>
                    <a:lnTo>
                      <a:pt x="13" y="8"/>
                    </a:lnTo>
                    <a:lnTo>
                      <a:pt x="16" y="5"/>
                    </a:lnTo>
                    <a:lnTo>
                      <a:pt x="11" y="0"/>
                    </a:lnTo>
                    <a:lnTo>
                      <a:pt x="9" y="0"/>
                    </a:lnTo>
                    <a:lnTo>
                      <a:pt x="0" y="0"/>
                    </a:lnTo>
                    <a:lnTo>
                      <a:pt x="0" y="2"/>
                    </a:lnTo>
                    <a:lnTo>
                      <a:pt x="1" y="6"/>
                    </a:lnTo>
                    <a:lnTo>
                      <a:pt x="3" y="8"/>
                    </a:lnTo>
                    <a:lnTo>
                      <a:pt x="9" y="10"/>
                    </a:lnTo>
                    <a:lnTo>
                      <a:pt x="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3" name="Freeform 179">
                <a:extLst>
                  <a:ext uri="{FF2B5EF4-FFF2-40B4-BE49-F238E27FC236}">
                    <a16:creationId xmlns:a16="http://schemas.microsoft.com/office/drawing/2014/main" id="{08767724-8A02-420B-BEF5-CD6BD69206C0}"/>
                  </a:ext>
                </a:extLst>
              </p:cNvPr>
              <p:cNvSpPr>
                <a:spLocks/>
              </p:cNvSpPr>
              <p:nvPr/>
            </p:nvSpPr>
            <p:spPr bwMode="auto">
              <a:xfrm>
                <a:off x="5429" y="2776"/>
                <a:ext cx="20" cy="40"/>
              </a:xfrm>
              <a:custGeom>
                <a:avLst/>
                <a:gdLst>
                  <a:gd name="T0" fmla="*/ 5 w 20"/>
                  <a:gd name="T1" fmla="*/ 29 h 40"/>
                  <a:gd name="T2" fmla="*/ 5 w 20"/>
                  <a:gd name="T3" fmla="*/ 31 h 40"/>
                  <a:gd name="T4" fmla="*/ 10 w 20"/>
                  <a:gd name="T5" fmla="*/ 39 h 40"/>
                  <a:gd name="T6" fmla="*/ 12 w 20"/>
                  <a:gd name="T7" fmla="*/ 40 h 40"/>
                  <a:gd name="T8" fmla="*/ 9 w 20"/>
                  <a:gd name="T9" fmla="*/ 35 h 40"/>
                  <a:gd name="T10" fmla="*/ 7 w 20"/>
                  <a:gd name="T11" fmla="*/ 29 h 40"/>
                  <a:gd name="T12" fmla="*/ 8 w 20"/>
                  <a:gd name="T13" fmla="*/ 28 h 40"/>
                  <a:gd name="T14" fmla="*/ 7 w 20"/>
                  <a:gd name="T15" fmla="*/ 25 h 40"/>
                  <a:gd name="T16" fmla="*/ 10 w 20"/>
                  <a:gd name="T17" fmla="*/ 23 h 40"/>
                  <a:gd name="T18" fmla="*/ 20 w 20"/>
                  <a:gd name="T19" fmla="*/ 26 h 40"/>
                  <a:gd name="T20" fmla="*/ 18 w 20"/>
                  <a:gd name="T21" fmla="*/ 25 h 40"/>
                  <a:gd name="T22" fmla="*/ 18 w 20"/>
                  <a:gd name="T23" fmla="*/ 22 h 40"/>
                  <a:gd name="T24" fmla="*/ 15 w 20"/>
                  <a:gd name="T25" fmla="*/ 21 h 40"/>
                  <a:gd name="T26" fmla="*/ 12 w 20"/>
                  <a:gd name="T27" fmla="*/ 20 h 40"/>
                  <a:gd name="T28" fmla="*/ 14 w 20"/>
                  <a:gd name="T29" fmla="*/ 17 h 40"/>
                  <a:gd name="T30" fmla="*/ 16 w 20"/>
                  <a:gd name="T31" fmla="*/ 16 h 40"/>
                  <a:gd name="T32" fmla="*/ 18 w 20"/>
                  <a:gd name="T33" fmla="*/ 13 h 40"/>
                  <a:gd name="T34" fmla="*/ 18 w 20"/>
                  <a:gd name="T35" fmla="*/ 11 h 40"/>
                  <a:gd name="T36" fmla="*/ 16 w 20"/>
                  <a:gd name="T37" fmla="*/ 8 h 40"/>
                  <a:gd name="T38" fmla="*/ 14 w 20"/>
                  <a:gd name="T39" fmla="*/ 10 h 40"/>
                  <a:gd name="T40" fmla="*/ 10 w 20"/>
                  <a:gd name="T41" fmla="*/ 11 h 40"/>
                  <a:gd name="T42" fmla="*/ 10 w 20"/>
                  <a:gd name="T43" fmla="*/ 14 h 40"/>
                  <a:gd name="T44" fmla="*/ 8 w 20"/>
                  <a:gd name="T45" fmla="*/ 16 h 40"/>
                  <a:gd name="T46" fmla="*/ 7 w 20"/>
                  <a:gd name="T47" fmla="*/ 18 h 40"/>
                  <a:gd name="T48" fmla="*/ 5 w 20"/>
                  <a:gd name="T49" fmla="*/ 18 h 40"/>
                  <a:gd name="T50" fmla="*/ 5 w 20"/>
                  <a:gd name="T51" fmla="*/ 16 h 40"/>
                  <a:gd name="T52" fmla="*/ 7 w 20"/>
                  <a:gd name="T53" fmla="*/ 13 h 40"/>
                  <a:gd name="T54" fmla="*/ 9 w 20"/>
                  <a:gd name="T55" fmla="*/ 11 h 40"/>
                  <a:gd name="T56" fmla="*/ 9 w 20"/>
                  <a:gd name="T57" fmla="*/ 8 h 40"/>
                  <a:gd name="T58" fmla="*/ 7 w 20"/>
                  <a:gd name="T59" fmla="*/ 0 h 40"/>
                  <a:gd name="T60" fmla="*/ 3 w 20"/>
                  <a:gd name="T61" fmla="*/ 5 h 40"/>
                  <a:gd name="T62" fmla="*/ 1 w 20"/>
                  <a:gd name="T63" fmla="*/ 11 h 40"/>
                  <a:gd name="T64" fmla="*/ 0 w 20"/>
                  <a:gd name="T65" fmla="*/ 13 h 40"/>
                  <a:gd name="T66" fmla="*/ 2 w 20"/>
                  <a:gd name="T67" fmla="*/ 16 h 40"/>
                  <a:gd name="T68" fmla="*/ 3 w 20"/>
                  <a:gd name="T69" fmla="*/ 19 h 40"/>
                  <a:gd name="T70" fmla="*/ 2 w 20"/>
                  <a:gd name="T71" fmla="*/ 21 h 40"/>
                  <a:gd name="T72" fmla="*/ 5 w 20"/>
                  <a:gd name="T73" fmla="*/ 27 h 40"/>
                  <a:gd name="T74" fmla="*/ 5 w 20"/>
                  <a:gd name="T75" fmla="*/ 29 h 40"/>
                  <a:gd name="T76" fmla="*/ 5 w 20"/>
                  <a:gd name="T77"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40">
                    <a:moveTo>
                      <a:pt x="5" y="29"/>
                    </a:moveTo>
                    <a:lnTo>
                      <a:pt x="5" y="31"/>
                    </a:lnTo>
                    <a:lnTo>
                      <a:pt x="10" y="39"/>
                    </a:lnTo>
                    <a:lnTo>
                      <a:pt x="12" y="40"/>
                    </a:lnTo>
                    <a:lnTo>
                      <a:pt x="9" y="35"/>
                    </a:lnTo>
                    <a:lnTo>
                      <a:pt x="7" y="29"/>
                    </a:lnTo>
                    <a:lnTo>
                      <a:pt x="8" y="28"/>
                    </a:lnTo>
                    <a:lnTo>
                      <a:pt x="7" y="25"/>
                    </a:lnTo>
                    <a:lnTo>
                      <a:pt x="10" y="23"/>
                    </a:lnTo>
                    <a:lnTo>
                      <a:pt x="20" y="26"/>
                    </a:lnTo>
                    <a:lnTo>
                      <a:pt x="18" y="25"/>
                    </a:lnTo>
                    <a:lnTo>
                      <a:pt x="18" y="22"/>
                    </a:lnTo>
                    <a:lnTo>
                      <a:pt x="15" y="21"/>
                    </a:lnTo>
                    <a:lnTo>
                      <a:pt x="12" y="20"/>
                    </a:lnTo>
                    <a:lnTo>
                      <a:pt x="14" y="17"/>
                    </a:lnTo>
                    <a:lnTo>
                      <a:pt x="16" y="16"/>
                    </a:lnTo>
                    <a:lnTo>
                      <a:pt x="18" y="13"/>
                    </a:lnTo>
                    <a:lnTo>
                      <a:pt x="18" y="11"/>
                    </a:lnTo>
                    <a:lnTo>
                      <a:pt x="16" y="8"/>
                    </a:lnTo>
                    <a:lnTo>
                      <a:pt x="14" y="10"/>
                    </a:lnTo>
                    <a:lnTo>
                      <a:pt x="10" y="11"/>
                    </a:lnTo>
                    <a:lnTo>
                      <a:pt x="10" y="14"/>
                    </a:lnTo>
                    <a:lnTo>
                      <a:pt x="8" y="16"/>
                    </a:lnTo>
                    <a:lnTo>
                      <a:pt x="7" y="18"/>
                    </a:lnTo>
                    <a:lnTo>
                      <a:pt x="5" y="18"/>
                    </a:lnTo>
                    <a:lnTo>
                      <a:pt x="5" y="16"/>
                    </a:lnTo>
                    <a:lnTo>
                      <a:pt x="7" y="13"/>
                    </a:lnTo>
                    <a:lnTo>
                      <a:pt x="9" y="11"/>
                    </a:lnTo>
                    <a:lnTo>
                      <a:pt x="9" y="8"/>
                    </a:lnTo>
                    <a:lnTo>
                      <a:pt x="7" y="0"/>
                    </a:lnTo>
                    <a:lnTo>
                      <a:pt x="3" y="5"/>
                    </a:lnTo>
                    <a:lnTo>
                      <a:pt x="1" y="11"/>
                    </a:lnTo>
                    <a:lnTo>
                      <a:pt x="0" y="13"/>
                    </a:lnTo>
                    <a:lnTo>
                      <a:pt x="2" y="16"/>
                    </a:lnTo>
                    <a:lnTo>
                      <a:pt x="3" y="19"/>
                    </a:lnTo>
                    <a:lnTo>
                      <a:pt x="2" y="21"/>
                    </a:lnTo>
                    <a:lnTo>
                      <a:pt x="5" y="27"/>
                    </a:lnTo>
                    <a:lnTo>
                      <a:pt x="5" y="29"/>
                    </a:lnTo>
                    <a:lnTo>
                      <a:pt x="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4" name="Freeform 180">
                <a:extLst>
                  <a:ext uri="{FF2B5EF4-FFF2-40B4-BE49-F238E27FC236}">
                    <a16:creationId xmlns:a16="http://schemas.microsoft.com/office/drawing/2014/main" id="{B28A85E3-190F-400B-AA32-1733AB45CF92}"/>
                  </a:ext>
                </a:extLst>
              </p:cNvPr>
              <p:cNvSpPr>
                <a:spLocks/>
              </p:cNvSpPr>
              <p:nvPr/>
            </p:nvSpPr>
            <p:spPr bwMode="auto">
              <a:xfrm>
                <a:off x="5437" y="2844"/>
                <a:ext cx="40" cy="14"/>
              </a:xfrm>
              <a:custGeom>
                <a:avLst/>
                <a:gdLst>
                  <a:gd name="T0" fmla="*/ 28 w 40"/>
                  <a:gd name="T1" fmla="*/ 9 h 14"/>
                  <a:gd name="T2" fmla="*/ 34 w 40"/>
                  <a:gd name="T3" fmla="*/ 12 h 14"/>
                  <a:gd name="T4" fmla="*/ 36 w 40"/>
                  <a:gd name="T5" fmla="*/ 13 h 14"/>
                  <a:gd name="T6" fmla="*/ 40 w 40"/>
                  <a:gd name="T7" fmla="*/ 14 h 14"/>
                  <a:gd name="T8" fmla="*/ 40 w 40"/>
                  <a:gd name="T9" fmla="*/ 9 h 14"/>
                  <a:gd name="T10" fmla="*/ 36 w 40"/>
                  <a:gd name="T11" fmla="*/ 8 h 14"/>
                  <a:gd name="T12" fmla="*/ 36 w 40"/>
                  <a:gd name="T13" fmla="*/ 4 h 14"/>
                  <a:gd name="T14" fmla="*/ 33 w 40"/>
                  <a:gd name="T15" fmla="*/ 3 h 14"/>
                  <a:gd name="T16" fmla="*/ 28 w 40"/>
                  <a:gd name="T17" fmla="*/ 3 h 14"/>
                  <a:gd name="T18" fmla="*/ 26 w 40"/>
                  <a:gd name="T19" fmla="*/ 2 h 14"/>
                  <a:gd name="T20" fmla="*/ 21 w 40"/>
                  <a:gd name="T21" fmla="*/ 0 h 14"/>
                  <a:gd name="T22" fmla="*/ 16 w 40"/>
                  <a:gd name="T23" fmla="*/ 2 h 14"/>
                  <a:gd name="T24" fmla="*/ 14 w 40"/>
                  <a:gd name="T25" fmla="*/ 1 h 14"/>
                  <a:gd name="T26" fmla="*/ 8 w 40"/>
                  <a:gd name="T27" fmla="*/ 1 h 14"/>
                  <a:gd name="T28" fmla="*/ 4 w 40"/>
                  <a:gd name="T29" fmla="*/ 1 h 14"/>
                  <a:gd name="T30" fmla="*/ 2 w 40"/>
                  <a:gd name="T31" fmla="*/ 2 h 14"/>
                  <a:gd name="T32" fmla="*/ 0 w 40"/>
                  <a:gd name="T33" fmla="*/ 4 h 14"/>
                  <a:gd name="T34" fmla="*/ 0 w 40"/>
                  <a:gd name="T35" fmla="*/ 10 h 14"/>
                  <a:gd name="T36" fmla="*/ 1 w 40"/>
                  <a:gd name="T37" fmla="*/ 8 h 14"/>
                  <a:gd name="T38" fmla="*/ 2 w 40"/>
                  <a:gd name="T39" fmla="*/ 4 h 14"/>
                  <a:gd name="T40" fmla="*/ 4 w 40"/>
                  <a:gd name="T41" fmla="*/ 6 h 14"/>
                  <a:gd name="T42" fmla="*/ 7 w 40"/>
                  <a:gd name="T43" fmla="*/ 9 h 14"/>
                  <a:gd name="T44" fmla="*/ 9 w 40"/>
                  <a:gd name="T45" fmla="*/ 9 h 14"/>
                  <a:gd name="T46" fmla="*/ 11 w 40"/>
                  <a:gd name="T47" fmla="*/ 6 h 14"/>
                  <a:gd name="T48" fmla="*/ 15 w 40"/>
                  <a:gd name="T49" fmla="*/ 8 h 14"/>
                  <a:gd name="T50" fmla="*/ 20 w 40"/>
                  <a:gd name="T51" fmla="*/ 9 h 14"/>
                  <a:gd name="T52" fmla="*/ 23 w 40"/>
                  <a:gd name="T53" fmla="*/ 8 h 14"/>
                  <a:gd name="T54" fmla="*/ 25 w 40"/>
                  <a:gd name="T55" fmla="*/ 8 h 14"/>
                  <a:gd name="T56" fmla="*/ 28 w 40"/>
                  <a:gd name="T57" fmla="*/ 9 h 14"/>
                  <a:gd name="T58" fmla="*/ 28 w 40"/>
                  <a:gd name="T5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
                    <a:moveTo>
                      <a:pt x="28" y="9"/>
                    </a:moveTo>
                    <a:lnTo>
                      <a:pt x="34" y="12"/>
                    </a:lnTo>
                    <a:lnTo>
                      <a:pt x="36" y="13"/>
                    </a:lnTo>
                    <a:lnTo>
                      <a:pt x="40" y="14"/>
                    </a:lnTo>
                    <a:lnTo>
                      <a:pt x="40" y="9"/>
                    </a:lnTo>
                    <a:lnTo>
                      <a:pt x="36" y="8"/>
                    </a:lnTo>
                    <a:lnTo>
                      <a:pt x="36" y="4"/>
                    </a:lnTo>
                    <a:lnTo>
                      <a:pt x="33" y="3"/>
                    </a:lnTo>
                    <a:lnTo>
                      <a:pt x="28" y="3"/>
                    </a:lnTo>
                    <a:lnTo>
                      <a:pt x="26" y="2"/>
                    </a:lnTo>
                    <a:lnTo>
                      <a:pt x="21" y="0"/>
                    </a:lnTo>
                    <a:lnTo>
                      <a:pt x="16" y="2"/>
                    </a:lnTo>
                    <a:lnTo>
                      <a:pt x="14" y="1"/>
                    </a:lnTo>
                    <a:lnTo>
                      <a:pt x="8" y="1"/>
                    </a:lnTo>
                    <a:lnTo>
                      <a:pt x="4" y="1"/>
                    </a:lnTo>
                    <a:lnTo>
                      <a:pt x="2" y="2"/>
                    </a:lnTo>
                    <a:lnTo>
                      <a:pt x="0" y="4"/>
                    </a:lnTo>
                    <a:lnTo>
                      <a:pt x="0" y="10"/>
                    </a:lnTo>
                    <a:lnTo>
                      <a:pt x="1" y="8"/>
                    </a:lnTo>
                    <a:lnTo>
                      <a:pt x="2" y="4"/>
                    </a:lnTo>
                    <a:lnTo>
                      <a:pt x="4" y="6"/>
                    </a:lnTo>
                    <a:lnTo>
                      <a:pt x="7" y="9"/>
                    </a:lnTo>
                    <a:lnTo>
                      <a:pt x="9" y="9"/>
                    </a:lnTo>
                    <a:lnTo>
                      <a:pt x="11" y="6"/>
                    </a:lnTo>
                    <a:lnTo>
                      <a:pt x="15" y="8"/>
                    </a:lnTo>
                    <a:lnTo>
                      <a:pt x="20" y="9"/>
                    </a:lnTo>
                    <a:lnTo>
                      <a:pt x="23" y="8"/>
                    </a:lnTo>
                    <a:lnTo>
                      <a:pt x="25" y="8"/>
                    </a:lnTo>
                    <a:lnTo>
                      <a:pt x="28" y="9"/>
                    </a:lnTo>
                    <a:lnTo>
                      <a:pt x="2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5" name="Freeform 181">
                <a:extLst>
                  <a:ext uri="{FF2B5EF4-FFF2-40B4-BE49-F238E27FC236}">
                    <a16:creationId xmlns:a16="http://schemas.microsoft.com/office/drawing/2014/main" id="{346AF474-B811-4E91-879C-0C51E8713D2F}"/>
                  </a:ext>
                </a:extLst>
              </p:cNvPr>
              <p:cNvSpPr>
                <a:spLocks/>
              </p:cNvSpPr>
              <p:nvPr/>
            </p:nvSpPr>
            <p:spPr bwMode="auto">
              <a:xfrm>
                <a:off x="5440" y="2770"/>
                <a:ext cx="7" cy="8"/>
              </a:xfrm>
              <a:custGeom>
                <a:avLst/>
                <a:gdLst>
                  <a:gd name="T0" fmla="*/ 1 w 7"/>
                  <a:gd name="T1" fmla="*/ 8 h 8"/>
                  <a:gd name="T2" fmla="*/ 3 w 7"/>
                  <a:gd name="T3" fmla="*/ 8 h 8"/>
                  <a:gd name="T4" fmla="*/ 6 w 7"/>
                  <a:gd name="T5" fmla="*/ 6 h 8"/>
                  <a:gd name="T6" fmla="*/ 7 w 7"/>
                  <a:gd name="T7" fmla="*/ 3 h 8"/>
                  <a:gd name="T8" fmla="*/ 7 w 7"/>
                  <a:gd name="T9" fmla="*/ 1 h 8"/>
                  <a:gd name="T10" fmla="*/ 5 w 7"/>
                  <a:gd name="T11" fmla="*/ 0 h 8"/>
                  <a:gd name="T12" fmla="*/ 1 w 7"/>
                  <a:gd name="T13" fmla="*/ 2 h 8"/>
                  <a:gd name="T14" fmla="*/ 0 w 7"/>
                  <a:gd name="T15" fmla="*/ 6 h 8"/>
                  <a:gd name="T16" fmla="*/ 1 w 7"/>
                  <a:gd name="T17" fmla="*/ 8 h 8"/>
                  <a:gd name="T18" fmla="*/ 1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1" y="8"/>
                    </a:moveTo>
                    <a:lnTo>
                      <a:pt x="3" y="8"/>
                    </a:lnTo>
                    <a:lnTo>
                      <a:pt x="6" y="6"/>
                    </a:lnTo>
                    <a:lnTo>
                      <a:pt x="7" y="3"/>
                    </a:lnTo>
                    <a:lnTo>
                      <a:pt x="7" y="1"/>
                    </a:lnTo>
                    <a:lnTo>
                      <a:pt x="5" y="0"/>
                    </a:lnTo>
                    <a:lnTo>
                      <a:pt x="1" y="2"/>
                    </a:lnTo>
                    <a:lnTo>
                      <a:pt x="0" y="6"/>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6" name="Freeform 182">
                <a:extLst>
                  <a:ext uri="{FF2B5EF4-FFF2-40B4-BE49-F238E27FC236}">
                    <a16:creationId xmlns:a16="http://schemas.microsoft.com/office/drawing/2014/main" id="{29C787C5-7510-4A3A-9261-1E425D59D838}"/>
                  </a:ext>
                </a:extLst>
              </p:cNvPr>
              <p:cNvSpPr>
                <a:spLocks/>
              </p:cNvSpPr>
              <p:nvPr/>
            </p:nvSpPr>
            <p:spPr bwMode="auto">
              <a:xfrm>
                <a:off x="5460" y="2203"/>
                <a:ext cx="169" cy="164"/>
              </a:xfrm>
              <a:custGeom>
                <a:avLst/>
                <a:gdLst>
                  <a:gd name="T0" fmla="*/ 23 w 169"/>
                  <a:gd name="T1" fmla="*/ 119 h 164"/>
                  <a:gd name="T2" fmla="*/ 35 w 169"/>
                  <a:gd name="T3" fmla="*/ 119 h 164"/>
                  <a:gd name="T4" fmla="*/ 41 w 169"/>
                  <a:gd name="T5" fmla="*/ 115 h 164"/>
                  <a:gd name="T6" fmla="*/ 48 w 169"/>
                  <a:gd name="T7" fmla="*/ 114 h 164"/>
                  <a:gd name="T8" fmla="*/ 60 w 169"/>
                  <a:gd name="T9" fmla="*/ 111 h 164"/>
                  <a:gd name="T10" fmla="*/ 77 w 169"/>
                  <a:gd name="T11" fmla="*/ 108 h 164"/>
                  <a:gd name="T12" fmla="*/ 74 w 169"/>
                  <a:gd name="T13" fmla="*/ 114 h 164"/>
                  <a:gd name="T14" fmla="*/ 79 w 169"/>
                  <a:gd name="T15" fmla="*/ 123 h 164"/>
                  <a:gd name="T16" fmla="*/ 88 w 169"/>
                  <a:gd name="T17" fmla="*/ 121 h 164"/>
                  <a:gd name="T18" fmla="*/ 99 w 169"/>
                  <a:gd name="T19" fmla="*/ 113 h 164"/>
                  <a:gd name="T20" fmla="*/ 97 w 169"/>
                  <a:gd name="T21" fmla="*/ 103 h 164"/>
                  <a:gd name="T22" fmla="*/ 100 w 169"/>
                  <a:gd name="T23" fmla="*/ 105 h 164"/>
                  <a:gd name="T24" fmla="*/ 116 w 169"/>
                  <a:gd name="T25" fmla="*/ 110 h 164"/>
                  <a:gd name="T26" fmla="*/ 125 w 169"/>
                  <a:gd name="T27" fmla="*/ 104 h 164"/>
                  <a:gd name="T28" fmla="*/ 130 w 169"/>
                  <a:gd name="T29" fmla="*/ 102 h 164"/>
                  <a:gd name="T30" fmla="*/ 137 w 169"/>
                  <a:gd name="T31" fmla="*/ 98 h 164"/>
                  <a:gd name="T32" fmla="*/ 140 w 169"/>
                  <a:gd name="T33" fmla="*/ 99 h 164"/>
                  <a:gd name="T34" fmla="*/ 151 w 169"/>
                  <a:gd name="T35" fmla="*/ 93 h 164"/>
                  <a:gd name="T36" fmla="*/ 150 w 169"/>
                  <a:gd name="T37" fmla="*/ 85 h 164"/>
                  <a:gd name="T38" fmla="*/ 156 w 169"/>
                  <a:gd name="T39" fmla="*/ 65 h 164"/>
                  <a:gd name="T40" fmla="*/ 157 w 169"/>
                  <a:gd name="T41" fmla="*/ 51 h 164"/>
                  <a:gd name="T42" fmla="*/ 164 w 169"/>
                  <a:gd name="T43" fmla="*/ 40 h 164"/>
                  <a:gd name="T44" fmla="*/ 169 w 169"/>
                  <a:gd name="T45" fmla="*/ 33 h 164"/>
                  <a:gd name="T46" fmla="*/ 162 w 169"/>
                  <a:gd name="T47" fmla="*/ 14 h 164"/>
                  <a:gd name="T48" fmla="*/ 157 w 169"/>
                  <a:gd name="T49" fmla="*/ 0 h 164"/>
                  <a:gd name="T50" fmla="*/ 159 w 169"/>
                  <a:gd name="T51" fmla="*/ 4 h 164"/>
                  <a:gd name="T52" fmla="*/ 152 w 169"/>
                  <a:gd name="T53" fmla="*/ 11 h 164"/>
                  <a:gd name="T54" fmla="*/ 146 w 169"/>
                  <a:gd name="T55" fmla="*/ 6 h 164"/>
                  <a:gd name="T56" fmla="*/ 140 w 169"/>
                  <a:gd name="T57" fmla="*/ 14 h 164"/>
                  <a:gd name="T58" fmla="*/ 139 w 169"/>
                  <a:gd name="T59" fmla="*/ 27 h 164"/>
                  <a:gd name="T60" fmla="*/ 142 w 169"/>
                  <a:gd name="T61" fmla="*/ 35 h 164"/>
                  <a:gd name="T62" fmla="*/ 134 w 169"/>
                  <a:gd name="T63" fmla="*/ 51 h 164"/>
                  <a:gd name="T64" fmla="*/ 126 w 169"/>
                  <a:gd name="T65" fmla="*/ 59 h 164"/>
                  <a:gd name="T66" fmla="*/ 117 w 169"/>
                  <a:gd name="T67" fmla="*/ 70 h 164"/>
                  <a:gd name="T68" fmla="*/ 102 w 169"/>
                  <a:gd name="T69" fmla="*/ 72 h 164"/>
                  <a:gd name="T70" fmla="*/ 105 w 169"/>
                  <a:gd name="T71" fmla="*/ 64 h 164"/>
                  <a:gd name="T72" fmla="*/ 97 w 169"/>
                  <a:gd name="T73" fmla="*/ 76 h 164"/>
                  <a:gd name="T74" fmla="*/ 88 w 169"/>
                  <a:gd name="T75" fmla="*/ 90 h 164"/>
                  <a:gd name="T76" fmla="*/ 79 w 169"/>
                  <a:gd name="T77" fmla="*/ 96 h 164"/>
                  <a:gd name="T78" fmla="*/ 64 w 169"/>
                  <a:gd name="T79" fmla="*/ 94 h 164"/>
                  <a:gd name="T80" fmla="*/ 48 w 169"/>
                  <a:gd name="T81" fmla="*/ 95 h 164"/>
                  <a:gd name="T82" fmla="*/ 30 w 169"/>
                  <a:gd name="T83" fmla="*/ 107 h 164"/>
                  <a:gd name="T84" fmla="*/ 20 w 169"/>
                  <a:gd name="T85" fmla="*/ 112 h 164"/>
                  <a:gd name="T86" fmla="*/ 12 w 169"/>
                  <a:gd name="T87" fmla="*/ 121 h 164"/>
                  <a:gd name="T88" fmla="*/ 5 w 169"/>
                  <a:gd name="T89" fmla="*/ 128 h 164"/>
                  <a:gd name="T90" fmla="*/ 0 w 169"/>
                  <a:gd name="T91" fmla="*/ 130 h 164"/>
                  <a:gd name="T92" fmla="*/ 2 w 169"/>
                  <a:gd name="T93" fmla="*/ 136 h 164"/>
                  <a:gd name="T94" fmla="*/ 5 w 169"/>
                  <a:gd name="T95" fmla="*/ 138 h 164"/>
                  <a:gd name="T96" fmla="*/ 10 w 169"/>
                  <a:gd name="T97" fmla="*/ 132 h 164"/>
                  <a:gd name="T98" fmla="*/ 13 w 169"/>
                  <a:gd name="T99" fmla="*/ 139 h 164"/>
                  <a:gd name="T100" fmla="*/ 10 w 169"/>
                  <a:gd name="T101" fmla="*/ 155 h 164"/>
                  <a:gd name="T102" fmla="*/ 12 w 169"/>
                  <a:gd name="T103" fmla="*/ 156 h 164"/>
                  <a:gd name="T104" fmla="*/ 15 w 169"/>
                  <a:gd name="T105" fmla="*/ 158 h 164"/>
                  <a:gd name="T106" fmla="*/ 20 w 169"/>
                  <a:gd name="T107" fmla="*/ 160 h 164"/>
                  <a:gd name="T108" fmla="*/ 23 w 169"/>
                  <a:gd name="T109" fmla="*/ 156 h 164"/>
                  <a:gd name="T110" fmla="*/ 28 w 169"/>
                  <a:gd name="T111" fmla="*/ 141 h 164"/>
                  <a:gd name="T112" fmla="*/ 32 w 169"/>
                  <a:gd name="T113" fmla="*/ 132 h 164"/>
                  <a:gd name="T114" fmla="*/ 28 w 169"/>
                  <a:gd name="T115" fmla="*/ 124 h 164"/>
                  <a:gd name="T116" fmla="*/ 19 w 169"/>
                  <a:gd name="T117" fmla="*/ 122 h 164"/>
                  <a:gd name="T118" fmla="*/ 18 w 169"/>
                  <a:gd name="T119" fmla="*/ 1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9" h="164">
                    <a:moveTo>
                      <a:pt x="18" y="120"/>
                    </a:moveTo>
                    <a:lnTo>
                      <a:pt x="19" y="119"/>
                    </a:lnTo>
                    <a:lnTo>
                      <a:pt x="21" y="120"/>
                    </a:lnTo>
                    <a:lnTo>
                      <a:pt x="23" y="119"/>
                    </a:lnTo>
                    <a:lnTo>
                      <a:pt x="27" y="119"/>
                    </a:lnTo>
                    <a:lnTo>
                      <a:pt x="29" y="117"/>
                    </a:lnTo>
                    <a:lnTo>
                      <a:pt x="35" y="121"/>
                    </a:lnTo>
                    <a:lnTo>
                      <a:pt x="35" y="119"/>
                    </a:lnTo>
                    <a:lnTo>
                      <a:pt x="36" y="115"/>
                    </a:lnTo>
                    <a:lnTo>
                      <a:pt x="37" y="113"/>
                    </a:lnTo>
                    <a:lnTo>
                      <a:pt x="39" y="115"/>
                    </a:lnTo>
                    <a:lnTo>
                      <a:pt x="41" y="115"/>
                    </a:lnTo>
                    <a:lnTo>
                      <a:pt x="47" y="113"/>
                    </a:lnTo>
                    <a:lnTo>
                      <a:pt x="48" y="113"/>
                    </a:lnTo>
                    <a:lnTo>
                      <a:pt x="47" y="114"/>
                    </a:lnTo>
                    <a:lnTo>
                      <a:pt x="48" y="114"/>
                    </a:lnTo>
                    <a:lnTo>
                      <a:pt x="49" y="112"/>
                    </a:lnTo>
                    <a:lnTo>
                      <a:pt x="52" y="112"/>
                    </a:lnTo>
                    <a:lnTo>
                      <a:pt x="54" y="112"/>
                    </a:lnTo>
                    <a:lnTo>
                      <a:pt x="60" y="111"/>
                    </a:lnTo>
                    <a:lnTo>
                      <a:pt x="64" y="107"/>
                    </a:lnTo>
                    <a:lnTo>
                      <a:pt x="69" y="106"/>
                    </a:lnTo>
                    <a:lnTo>
                      <a:pt x="74" y="110"/>
                    </a:lnTo>
                    <a:lnTo>
                      <a:pt x="77" y="108"/>
                    </a:lnTo>
                    <a:lnTo>
                      <a:pt x="79" y="108"/>
                    </a:lnTo>
                    <a:lnTo>
                      <a:pt x="80" y="110"/>
                    </a:lnTo>
                    <a:lnTo>
                      <a:pt x="78" y="113"/>
                    </a:lnTo>
                    <a:lnTo>
                      <a:pt x="74" y="114"/>
                    </a:lnTo>
                    <a:lnTo>
                      <a:pt x="75" y="116"/>
                    </a:lnTo>
                    <a:lnTo>
                      <a:pt x="74" y="119"/>
                    </a:lnTo>
                    <a:lnTo>
                      <a:pt x="75" y="122"/>
                    </a:lnTo>
                    <a:lnTo>
                      <a:pt x="79" y="123"/>
                    </a:lnTo>
                    <a:lnTo>
                      <a:pt x="80" y="125"/>
                    </a:lnTo>
                    <a:lnTo>
                      <a:pt x="82" y="127"/>
                    </a:lnTo>
                    <a:lnTo>
                      <a:pt x="86" y="127"/>
                    </a:lnTo>
                    <a:lnTo>
                      <a:pt x="88" y="121"/>
                    </a:lnTo>
                    <a:lnTo>
                      <a:pt x="91" y="119"/>
                    </a:lnTo>
                    <a:lnTo>
                      <a:pt x="91" y="116"/>
                    </a:lnTo>
                    <a:lnTo>
                      <a:pt x="94" y="115"/>
                    </a:lnTo>
                    <a:lnTo>
                      <a:pt x="99" y="113"/>
                    </a:lnTo>
                    <a:lnTo>
                      <a:pt x="97" y="111"/>
                    </a:lnTo>
                    <a:lnTo>
                      <a:pt x="95" y="110"/>
                    </a:lnTo>
                    <a:lnTo>
                      <a:pt x="95" y="108"/>
                    </a:lnTo>
                    <a:lnTo>
                      <a:pt x="97" y="103"/>
                    </a:lnTo>
                    <a:lnTo>
                      <a:pt x="99" y="102"/>
                    </a:lnTo>
                    <a:lnTo>
                      <a:pt x="98" y="105"/>
                    </a:lnTo>
                    <a:lnTo>
                      <a:pt x="100" y="107"/>
                    </a:lnTo>
                    <a:lnTo>
                      <a:pt x="100" y="105"/>
                    </a:lnTo>
                    <a:lnTo>
                      <a:pt x="104" y="108"/>
                    </a:lnTo>
                    <a:lnTo>
                      <a:pt x="102" y="110"/>
                    </a:lnTo>
                    <a:lnTo>
                      <a:pt x="108" y="108"/>
                    </a:lnTo>
                    <a:lnTo>
                      <a:pt x="116" y="110"/>
                    </a:lnTo>
                    <a:lnTo>
                      <a:pt x="119" y="107"/>
                    </a:lnTo>
                    <a:lnTo>
                      <a:pt x="120" y="104"/>
                    </a:lnTo>
                    <a:lnTo>
                      <a:pt x="122" y="102"/>
                    </a:lnTo>
                    <a:lnTo>
                      <a:pt x="125" y="104"/>
                    </a:lnTo>
                    <a:lnTo>
                      <a:pt x="125" y="106"/>
                    </a:lnTo>
                    <a:lnTo>
                      <a:pt x="126" y="110"/>
                    </a:lnTo>
                    <a:lnTo>
                      <a:pt x="129" y="106"/>
                    </a:lnTo>
                    <a:lnTo>
                      <a:pt x="130" y="102"/>
                    </a:lnTo>
                    <a:lnTo>
                      <a:pt x="132" y="99"/>
                    </a:lnTo>
                    <a:lnTo>
                      <a:pt x="134" y="98"/>
                    </a:lnTo>
                    <a:lnTo>
                      <a:pt x="138" y="100"/>
                    </a:lnTo>
                    <a:lnTo>
                      <a:pt x="137" y="98"/>
                    </a:lnTo>
                    <a:lnTo>
                      <a:pt x="140" y="94"/>
                    </a:lnTo>
                    <a:lnTo>
                      <a:pt x="142" y="94"/>
                    </a:lnTo>
                    <a:lnTo>
                      <a:pt x="142" y="96"/>
                    </a:lnTo>
                    <a:lnTo>
                      <a:pt x="140" y="99"/>
                    </a:lnTo>
                    <a:lnTo>
                      <a:pt x="139" y="104"/>
                    </a:lnTo>
                    <a:lnTo>
                      <a:pt x="147" y="100"/>
                    </a:lnTo>
                    <a:lnTo>
                      <a:pt x="148" y="95"/>
                    </a:lnTo>
                    <a:lnTo>
                      <a:pt x="151" y="93"/>
                    </a:lnTo>
                    <a:lnTo>
                      <a:pt x="154" y="91"/>
                    </a:lnTo>
                    <a:lnTo>
                      <a:pt x="152" y="90"/>
                    </a:lnTo>
                    <a:lnTo>
                      <a:pt x="151" y="88"/>
                    </a:lnTo>
                    <a:lnTo>
                      <a:pt x="150" y="85"/>
                    </a:lnTo>
                    <a:lnTo>
                      <a:pt x="150" y="80"/>
                    </a:lnTo>
                    <a:lnTo>
                      <a:pt x="152" y="74"/>
                    </a:lnTo>
                    <a:lnTo>
                      <a:pt x="155" y="71"/>
                    </a:lnTo>
                    <a:lnTo>
                      <a:pt x="156" y="65"/>
                    </a:lnTo>
                    <a:lnTo>
                      <a:pt x="156" y="61"/>
                    </a:lnTo>
                    <a:lnTo>
                      <a:pt x="155" y="57"/>
                    </a:lnTo>
                    <a:lnTo>
                      <a:pt x="155" y="53"/>
                    </a:lnTo>
                    <a:lnTo>
                      <a:pt x="157" y="51"/>
                    </a:lnTo>
                    <a:lnTo>
                      <a:pt x="160" y="50"/>
                    </a:lnTo>
                    <a:lnTo>
                      <a:pt x="163" y="52"/>
                    </a:lnTo>
                    <a:lnTo>
                      <a:pt x="163" y="48"/>
                    </a:lnTo>
                    <a:lnTo>
                      <a:pt x="164" y="40"/>
                    </a:lnTo>
                    <a:lnTo>
                      <a:pt x="166" y="40"/>
                    </a:lnTo>
                    <a:lnTo>
                      <a:pt x="168" y="37"/>
                    </a:lnTo>
                    <a:lnTo>
                      <a:pt x="168" y="35"/>
                    </a:lnTo>
                    <a:lnTo>
                      <a:pt x="169" y="33"/>
                    </a:lnTo>
                    <a:lnTo>
                      <a:pt x="168" y="25"/>
                    </a:lnTo>
                    <a:lnTo>
                      <a:pt x="166" y="19"/>
                    </a:lnTo>
                    <a:lnTo>
                      <a:pt x="165" y="17"/>
                    </a:lnTo>
                    <a:lnTo>
                      <a:pt x="162" y="14"/>
                    </a:lnTo>
                    <a:lnTo>
                      <a:pt x="162" y="12"/>
                    </a:lnTo>
                    <a:lnTo>
                      <a:pt x="160" y="5"/>
                    </a:lnTo>
                    <a:lnTo>
                      <a:pt x="159" y="2"/>
                    </a:lnTo>
                    <a:lnTo>
                      <a:pt x="157" y="0"/>
                    </a:lnTo>
                    <a:lnTo>
                      <a:pt x="154" y="0"/>
                    </a:lnTo>
                    <a:lnTo>
                      <a:pt x="152" y="3"/>
                    </a:lnTo>
                    <a:lnTo>
                      <a:pt x="154" y="5"/>
                    </a:lnTo>
                    <a:lnTo>
                      <a:pt x="159" y="4"/>
                    </a:lnTo>
                    <a:lnTo>
                      <a:pt x="159" y="6"/>
                    </a:lnTo>
                    <a:lnTo>
                      <a:pt x="156" y="10"/>
                    </a:lnTo>
                    <a:lnTo>
                      <a:pt x="154" y="8"/>
                    </a:lnTo>
                    <a:lnTo>
                      <a:pt x="152" y="11"/>
                    </a:lnTo>
                    <a:lnTo>
                      <a:pt x="151" y="10"/>
                    </a:lnTo>
                    <a:lnTo>
                      <a:pt x="149" y="4"/>
                    </a:lnTo>
                    <a:lnTo>
                      <a:pt x="147" y="4"/>
                    </a:lnTo>
                    <a:lnTo>
                      <a:pt x="146" y="6"/>
                    </a:lnTo>
                    <a:lnTo>
                      <a:pt x="146" y="9"/>
                    </a:lnTo>
                    <a:lnTo>
                      <a:pt x="145" y="12"/>
                    </a:lnTo>
                    <a:lnTo>
                      <a:pt x="142" y="12"/>
                    </a:lnTo>
                    <a:lnTo>
                      <a:pt x="140" y="14"/>
                    </a:lnTo>
                    <a:lnTo>
                      <a:pt x="141" y="18"/>
                    </a:lnTo>
                    <a:lnTo>
                      <a:pt x="142" y="18"/>
                    </a:lnTo>
                    <a:lnTo>
                      <a:pt x="142" y="21"/>
                    </a:lnTo>
                    <a:lnTo>
                      <a:pt x="139" y="27"/>
                    </a:lnTo>
                    <a:lnTo>
                      <a:pt x="142" y="27"/>
                    </a:lnTo>
                    <a:lnTo>
                      <a:pt x="142" y="28"/>
                    </a:lnTo>
                    <a:lnTo>
                      <a:pt x="143" y="31"/>
                    </a:lnTo>
                    <a:lnTo>
                      <a:pt x="142" y="35"/>
                    </a:lnTo>
                    <a:lnTo>
                      <a:pt x="141" y="36"/>
                    </a:lnTo>
                    <a:lnTo>
                      <a:pt x="139" y="42"/>
                    </a:lnTo>
                    <a:lnTo>
                      <a:pt x="136" y="47"/>
                    </a:lnTo>
                    <a:lnTo>
                      <a:pt x="134" y="51"/>
                    </a:lnTo>
                    <a:lnTo>
                      <a:pt x="134" y="53"/>
                    </a:lnTo>
                    <a:lnTo>
                      <a:pt x="132" y="56"/>
                    </a:lnTo>
                    <a:lnTo>
                      <a:pt x="129" y="57"/>
                    </a:lnTo>
                    <a:lnTo>
                      <a:pt x="126" y="59"/>
                    </a:lnTo>
                    <a:lnTo>
                      <a:pt x="125" y="62"/>
                    </a:lnTo>
                    <a:lnTo>
                      <a:pt x="123" y="65"/>
                    </a:lnTo>
                    <a:lnTo>
                      <a:pt x="120" y="68"/>
                    </a:lnTo>
                    <a:lnTo>
                      <a:pt x="117" y="70"/>
                    </a:lnTo>
                    <a:lnTo>
                      <a:pt x="107" y="73"/>
                    </a:lnTo>
                    <a:lnTo>
                      <a:pt x="104" y="76"/>
                    </a:lnTo>
                    <a:lnTo>
                      <a:pt x="102" y="76"/>
                    </a:lnTo>
                    <a:lnTo>
                      <a:pt x="102" y="72"/>
                    </a:lnTo>
                    <a:lnTo>
                      <a:pt x="99" y="70"/>
                    </a:lnTo>
                    <a:lnTo>
                      <a:pt x="102" y="69"/>
                    </a:lnTo>
                    <a:lnTo>
                      <a:pt x="104" y="67"/>
                    </a:lnTo>
                    <a:lnTo>
                      <a:pt x="105" y="64"/>
                    </a:lnTo>
                    <a:lnTo>
                      <a:pt x="103" y="64"/>
                    </a:lnTo>
                    <a:lnTo>
                      <a:pt x="97" y="68"/>
                    </a:lnTo>
                    <a:lnTo>
                      <a:pt x="97" y="73"/>
                    </a:lnTo>
                    <a:lnTo>
                      <a:pt x="97" y="76"/>
                    </a:lnTo>
                    <a:lnTo>
                      <a:pt x="94" y="81"/>
                    </a:lnTo>
                    <a:lnTo>
                      <a:pt x="89" y="85"/>
                    </a:lnTo>
                    <a:lnTo>
                      <a:pt x="87" y="88"/>
                    </a:lnTo>
                    <a:lnTo>
                      <a:pt x="88" y="90"/>
                    </a:lnTo>
                    <a:lnTo>
                      <a:pt x="88" y="93"/>
                    </a:lnTo>
                    <a:lnTo>
                      <a:pt x="82" y="95"/>
                    </a:lnTo>
                    <a:lnTo>
                      <a:pt x="80" y="95"/>
                    </a:lnTo>
                    <a:lnTo>
                      <a:pt x="79" y="96"/>
                    </a:lnTo>
                    <a:lnTo>
                      <a:pt x="77" y="95"/>
                    </a:lnTo>
                    <a:lnTo>
                      <a:pt x="77" y="91"/>
                    </a:lnTo>
                    <a:lnTo>
                      <a:pt x="72" y="93"/>
                    </a:lnTo>
                    <a:lnTo>
                      <a:pt x="64" y="94"/>
                    </a:lnTo>
                    <a:lnTo>
                      <a:pt x="63" y="95"/>
                    </a:lnTo>
                    <a:lnTo>
                      <a:pt x="57" y="96"/>
                    </a:lnTo>
                    <a:lnTo>
                      <a:pt x="52" y="96"/>
                    </a:lnTo>
                    <a:lnTo>
                      <a:pt x="48" y="95"/>
                    </a:lnTo>
                    <a:lnTo>
                      <a:pt x="43" y="96"/>
                    </a:lnTo>
                    <a:lnTo>
                      <a:pt x="40" y="99"/>
                    </a:lnTo>
                    <a:lnTo>
                      <a:pt x="38" y="100"/>
                    </a:lnTo>
                    <a:lnTo>
                      <a:pt x="30" y="107"/>
                    </a:lnTo>
                    <a:lnTo>
                      <a:pt x="28" y="108"/>
                    </a:lnTo>
                    <a:lnTo>
                      <a:pt x="24" y="111"/>
                    </a:lnTo>
                    <a:lnTo>
                      <a:pt x="22" y="112"/>
                    </a:lnTo>
                    <a:lnTo>
                      <a:pt x="20" y="112"/>
                    </a:lnTo>
                    <a:lnTo>
                      <a:pt x="17" y="114"/>
                    </a:lnTo>
                    <a:lnTo>
                      <a:pt x="17" y="117"/>
                    </a:lnTo>
                    <a:lnTo>
                      <a:pt x="18" y="120"/>
                    </a:lnTo>
                    <a:lnTo>
                      <a:pt x="12" y="121"/>
                    </a:lnTo>
                    <a:lnTo>
                      <a:pt x="11" y="123"/>
                    </a:lnTo>
                    <a:lnTo>
                      <a:pt x="9" y="124"/>
                    </a:lnTo>
                    <a:lnTo>
                      <a:pt x="5" y="127"/>
                    </a:lnTo>
                    <a:lnTo>
                      <a:pt x="5" y="128"/>
                    </a:lnTo>
                    <a:lnTo>
                      <a:pt x="3" y="127"/>
                    </a:lnTo>
                    <a:lnTo>
                      <a:pt x="2" y="129"/>
                    </a:lnTo>
                    <a:lnTo>
                      <a:pt x="2" y="129"/>
                    </a:lnTo>
                    <a:lnTo>
                      <a:pt x="0" y="130"/>
                    </a:lnTo>
                    <a:lnTo>
                      <a:pt x="1" y="132"/>
                    </a:lnTo>
                    <a:lnTo>
                      <a:pt x="4" y="133"/>
                    </a:lnTo>
                    <a:lnTo>
                      <a:pt x="5" y="137"/>
                    </a:lnTo>
                    <a:lnTo>
                      <a:pt x="2" y="136"/>
                    </a:lnTo>
                    <a:lnTo>
                      <a:pt x="2" y="133"/>
                    </a:lnTo>
                    <a:lnTo>
                      <a:pt x="1" y="136"/>
                    </a:lnTo>
                    <a:lnTo>
                      <a:pt x="3" y="139"/>
                    </a:lnTo>
                    <a:lnTo>
                      <a:pt x="5" y="138"/>
                    </a:lnTo>
                    <a:lnTo>
                      <a:pt x="8" y="138"/>
                    </a:lnTo>
                    <a:lnTo>
                      <a:pt x="8" y="134"/>
                    </a:lnTo>
                    <a:lnTo>
                      <a:pt x="6" y="132"/>
                    </a:lnTo>
                    <a:lnTo>
                      <a:pt x="10" y="132"/>
                    </a:lnTo>
                    <a:lnTo>
                      <a:pt x="11" y="134"/>
                    </a:lnTo>
                    <a:lnTo>
                      <a:pt x="13" y="137"/>
                    </a:lnTo>
                    <a:lnTo>
                      <a:pt x="11" y="139"/>
                    </a:lnTo>
                    <a:lnTo>
                      <a:pt x="13" y="139"/>
                    </a:lnTo>
                    <a:lnTo>
                      <a:pt x="13" y="141"/>
                    </a:lnTo>
                    <a:lnTo>
                      <a:pt x="10" y="147"/>
                    </a:lnTo>
                    <a:lnTo>
                      <a:pt x="8" y="149"/>
                    </a:lnTo>
                    <a:lnTo>
                      <a:pt x="10" y="155"/>
                    </a:lnTo>
                    <a:lnTo>
                      <a:pt x="9" y="157"/>
                    </a:lnTo>
                    <a:lnTo>
                      <a:pt x="8" y="160"/>
                    </a:lnTo>
                    <a:lnTo>
                      <a:pt x="13" y="162"/>
                    </a:lnTo>
                    <a:lnTo>
                      <a:pt x="12" y="156"/>
                    </a:lnTo>
                    <a:lnTo>
                      <a:pt x="13" y="154"/>
                    </a:lnTo>
                    <a:lnTo>
                      <a:pt x="15" y="154"/>
                    </a:lnTo>
                    <a:lnTo>
                      <a:pt x="13" y="156"/>
                    </a:lnTo>
                    <a:lnTo>
                      <a:pt x="15" y="158"/>
                    </a:lnTo>
                    <a:lnTo>
                      <a:pt x="15" y="160"/>
                    </a:lnTo>
                    <a:lnTo>
                      <a:pt x="14" y="164"/>
                    </a:lnTo>
                    <a:lnTo>
                      <a:pt x="17" y="163"/>
                    </a:lnTo>
                    <a:lnTo>
                      <a:pt x="20" y="160"/>
                    </a:lnTo>
                    <a:lnTo>
                      <a:pt x="19" y="158"/>
                    </a:lnTo>
                    <a:lnTo>
                      <a:pt x="21" y="157"/>
                    </a:lnTo>
                    <a:lnTo>
                      <a:pt x="23" y="158"/>
                    </a:lnTo>
                    <a:lnTo>
                      <a:pt x="23" y="156"/>
                    </a:lnTo>
                    <a:lnTo>
                      <a:pt x="24" y="154"/>
                    </a:lnTo>
                    <a:lnTo>
                      <a:pt x="24" y="150"/>
                    </a:lnTo>
                    <a:lnTo>
                      <a:pt x="26" y="147"/>
                    </a:lnTo>
                    <a:lnTo>
                      <a:pt x="28" y="141"/>
                    </a:lnTo>
                    <a:lnTo>
                      <a:pt x="28" y="140"/>
                    </a:lnTo>
                    <a:lnTo>
                      <a:pt x="30" y="138"/>
                    </a:lnTo>
                    <a:lnTo>
                      <a:pt x="32" y="136"/>
                    </a:lnTo>
                    <a:lnTo>
                      <a:pt x="32" y="132"/>
                    </a:lnTo>
                    <a:lnTo>
                      <a:pt x="31" y="130"/>
                    </a:lnTo>
                    <a:lnTo>
                      <a:pt x="26" y="130"/>
                    </a:lnTo>
                    <a:lnTo>
                      <a:pt x="28" y="128"/>
                    </a:lnTo>
                    <a:lnTo>
                      <a:pt x="28" y="124"/>
                    </a:lnTo>
                    <a:lnTo>
                      <a:pt x="26" y="124"/>
                    </a:lnTo>
                    <a:lnTo>
                      <a:pt x="23" y="125"/>
                    </a:lnTo>
                    <a:lnTo>
                      <a:pt x="21" y="124"/>
                    </a:lnTo>
                    <a:lnTo>
                      <a:pt x="19" y="122"/>
                    </a:lnTo>
                    <a:lnTo>
                      <a:pt x="18" y="121"/>
                    </a:lnTo>
                    <a:lnTo>
                      <a:pt x="18" y="120"/>
                    </a:lnTo>
                    <a:lnTo>
                      <a:pt x="18" y="120"/>
                    </a:lnTo>
                    <a:lnTo>
                      <a:pt x="1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7" name="Freeform 183">
                <a:extLst>
                  <a:ext uri="{FF2B5EF4-FFF2-40B4-BE49-F238E27FC236}">
                    <a16:creationId xmlns:a16="http://schemas.microsoft.com/office/drawing/2014/main" id="{6788F85F-CA16-404D-B550-48EC53C375F9}"/>
                  </a:ext>
                </a:extLst>
              </p:cNvPr>
              <p:cNvSpPr>
                <a:spLocks/>
              </p:cNvSpPr>
              <p:nvPr/>
            </p:nvSpPr>
            <p:spPr bwMode="auto">
              <a:xfrm>
                <a:off x="5494" y="2316"/>
                <a:ext cx="35" cy="25"/>
              </a:xfrm>
              <a:custGeom>
                <a:avLst/>
                <a:gdLst>
                  <a:gd name="T0" fmla="*/ 20 w 35"/>
                  <a:gd name="T1" fmla="*/ 6 h 25"/>
                  <a:gd name="T2" fmla="*/ 14 w 35"/>
                  <a:gd name="T3" fmla="*/ 7 h 25"/>
                  <a:gd name="T4" fmla="*/ 12 w 35"/>
                  <a:gd name="T5" fmla="*/ 4 h 25"/>
                  <a:gd name="T6" fmla="*/ 9 w 35"/>
                  <a:gd name="T7" fmla="*/ 6 h 25"/>
                  <a:gd name="T8" fmla="*/ 9 w 35"/>
                  <a:gd name="T9" fmla="*/ 8 h 25"/>
                  <a:gd name="T10" fmla="*/ 7 w 35"/>
                  <a:gd name="T11" fmla="*/ 10 h 25"/>
                  <a:gd name="T12" fmla="*/ 3 w 35"/>
                  <a:gd name="T13" fmla="*/ 14 h 25"/>
                  <a:gd name="T14" fmla="*/ 0 w 35"/>
                  <a:gd name="T15" fmla="*/ 15 h 25"/>
                  <a:gd name="T16" fmla="*/ 3 w 35"/>
                  <a:gd name="T17" fmla="*/ 14 h 25"/>
                  <a:gd name="T18" fmla="*/ 5 w 35"/>
                  <a:gd name="T19" fmla="*/ 17 h 25"/>
                  <a:gd name="T20" fmla="*/ 5 w 35"/>
                  <a:gd name="T21" fmla="*/ 21 h 25"/>
                  <a:gd name="T22" fmla="*/ 7 w 35"/>
                  <a:gd name="T23" fmla="*/ 23 h 25"/>
                  <a:gd name="T24" fmla="*/ 10 w 35"/>
                  <a:gd name="T25" fmla="*/ 25 h 25"/>
                  <a:gd name="T26" fmla="*/ 18 w 35"/>
                  <a:gd name="T27" fmla="*/ 15 h 25"/>
                  <a:gd name="T28" fmla="*/ 21 w 35"/>
                  <a:gd name="T29" fmla="*/ 14 h 25"/>
                  <a:gd name="T30" fmla="*/ 23 w 35"/>
                  <a:gd name="T31" fmla="*/ 14 h 25"/>
                  <a:gd name="T32" fmla="*/ 27 w 35"/>
                  <a:gd name="T33" fmla="*/ 16 h 25"/>
                  <a:gd name="T34" fmla="*/ 29 w 35"/>
                  <a:gd name="T35" fmla="*/ 15 h 25"/>
                  <a:gd name="T36" fmla="*/ 31 w 35"/>
                  <a:gd name="T37" fmla="*/ 11 h 25"/>
                  <a:gd name="T38" fmla="*/ 35 w 35"/>
                  <a:gd name="T39" fmla="*/ 9 h 25"/>
                  <a:gd name="T40" fmla="*/ 35 w 35"/>
                  <a:gd name="T41" fmla="*/ 7 h 25"/>
                  <a:gd name="T42" fmla="*/ 35 w 35"/>
                  <a:gd name="T43" fmla="*/ 3 h 25"/>
                  <a:gd name="T44" fmla="*/ 35 w 35"/>
                  <a:gd name="T45" fmla="*/ 2 h 25"/>
                  <a:gd name="T46" fmla="*/ 31 w 35"/>
                  <a:gd name="T47" fmla="*/ 2 h 25"/>
                  <a:gd name="T48" fmla="*/ 29 w 35"/>
                  <a:gd name="T49" fmla="*/ 0 h 25"/>
                  <a:gd name="T50" fmla="*/ 27 w 35"/>
                  <a:gd name="T51" fmla="*/ 0 h 25"/>
                  <a:gd name="T52" fmla="*/ 23 w 35"/>
                  <a:gd name="T53" fmla="*/ 1 h 25"/>
                  <a:gd name="T54" fmla="*/ 21 w 35"/>
                  <a:gd name="T55" fmla="*/ 2 h 25"/>
                  <a:gd name="T56" fmla="*/ 20 w 35"/>
                  <a:gd name="T57" fmla="*/ 6 h 25"/>
                  <a:gd name="T58" fmla="*/ 20 w 35"/>
                  <a:gd name="T5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25">
                    <a:moveTo>
                      <a:pt x="20" y="6"/>
                    </a:moveTo>
                    <a:lnTo>
                      <a:pt x="14" y="7"/>
                    </a:lnTo>
                    <a:lnTo>
                      <a:pt x="12" y="4"/>
                    </a:lnTo>
                    <a:lnTo>
                      <a:pt x="9" y="6"/>
                    </a:lnTo>
                    <a:lnTo>
                      <a:pt x="9" y="8"/>
                    </a:lnTo>
                    <a:lnTo>
                      <a:pt x="7" y="10"/>
                    </a:lnTo>
                    <a:lnTo>
                      <a:pt x="3" y="14"/>
                    </a:lnTo>
                    <a:lnTo>
                      <a:pt x="0" y="15"/>
                    </a:lnTo>
                    <a:lnTo>
                      <a:pt x="3" y="14"/>
                    </a:lnTo>
                    <a:lnTo>
                      <a:pt x="5" y="17"/>
                    </a:lnTo>
                    <a:lnTo>
                      <a:pt x="5" y="21"/>
                    </a:lnTo>
                    <a:lnTo>
                      <a:pt x="7" y="23"/>
                    </a:lnTo>
                    <a:lnTo>
                      <a:pt x="10" y="25"/>
                    </a:lnTo>
                    <a:lnTo>
                      <a:pt x="18" y="15"/>
                    </a:lnTo>
                    <a:lnTo>
                      <a:pt x="21" y="14"/>
                    </a:lnTo>
                    <a:lnTo>
                      <a:pt x="23" y="14"/>
                    </a:lnTo>
                    <a:lnTo>
                      <a:pt x="27" y="16"/>
                    </a:lnTo>
                    <a:lnTo>
                      <a:pt x="29" y="15"/>
                    </a:lnTo>
                    <a:lnTo>
                      <a:pt x="31" y="11"/>
                    </a:lnTo>
                    <a:lnTo>
                      <a:pt x="35" y="9"/>
                    </a:lnTo>
                    <a:lnTo>
                      <a:pt x="35" y="7"/>
                    </a:lnTo>
                    <a:lnTo>
                      <a:pt x="35" y="3"/>
                    </a:lnTo>
                    <a:lnTo>
                      <a:pt x="35" y="2"/>
                    </a:lnTo>
                    <a:lnTo>
                      <a:pt x="31" y="2"/>
                    </a:lnTo>
                    <a:lnTo>
                      <a:pt x="29" y="0"/>
                    </a:lnTo>
                    <a:lnTo>
                      <a:pt x="27" y="0"/>
                    </a:lnTo>
                    <a:lnTo>
                      <a:pt x="23" y="1"/>
                    </a:lnTo>
                    <a:lnTo>
                      <a:pt x="21" y="2"/>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8" name="Freeform 184">
                <a:extLst>
                  <a:ext uri="{FF2B5EF4-FFF2-40B4-BE49-F238E27FC236}">
                    <a16:creationId xmlns:a16="http://schemas.microsoft.com/office/drawing/2014/main" id="{69212753-AC70-4C48-B824-B72029232B6E}"/>
                  </a:ext>
                </a:extLst>
              </p:cNvPr>
              <p:cNvSpPr>
                <a:spLocks/>
              </p:cNvSpPr>
              <p:nvPr/>
            </p:nvSpPr>
            <p:spPr bwMode="auto">
              <a:xfrm>
                <a:off x="5529" y="2313"/>
                <a:ext cx="4" cy="5"/>
              </a:xfrm>
              <a:custGeom>
                <a:avLst/>
                <a:gdLst>
                  <a:gd name="T0" fmla="*/ 4 w 4"/>
                  <a:gd name="T1" fmla="*/ 1 h 5"/>
                  <a:gd name="T2" fmla="*/ 4 w 4"/>
                  <a:gd name="T3" fmla="*/ 0 h 5"/>
                  <a:gd name="T4" fmla="*/ 2 w 4"/>
                  <a:gd name="T5" fmla="*/ 2 h 5"/>
                  <a:gd name="T6" fmla="*/ 0 w 4"/>
                  <a:gd name="T7" fmla="*/ 4 h 5"/>
                  <a:gd name="T8" fmla="*/ 0 w 4"/>
                  <a:gd name="T9" fmla="*/ 5 h 5"/>
                  <a:gd name="T10" fmla="*/ 3 w 4"/>
                  <a:gd name="T11" fmla="*/ 5 h 5"/>
                  <a:gd name="T12" fmla="*/ 3 w 4"/>
                  <a:gd name="T13" fmla="*/ 3 h 5"/>
                  <a:gd name="T14" fmla="*/ 4 w 4"/>
                  <a:gd name="T15" fmla="*/ 1 h 5"/>
                  <a:gd name="T16" fmla="*/ 4 w 4"/>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4" y="1"/>
                    </a:moveTo>
                    <a:lnTo>
                      <a:pt x="4" y="0"/>
                    </a:lnTo>
                    <a:lnTo>
                      <a:pt x="2" y="2"/>
                    </a:lnTo>
                    <a:lnTo>
                      <a:pt x="0" y="4"/>
                    </a:lnTo>
                    <a:lnTo>
                      <a:pt x="0" y="5"/>
                    </a:lnTo>
                    <a:lnTo>
                      <a:pt x="3" y="5"/>
                    </a:lnTo>
                    <a:lnTo>
                      <a:pt x="3" y="3"/>
                    </a:lnTo>
                    <a:lnTo>
                      <a:pt x="4"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9" name="Freeform 185">
                <a:extLst>
                  <a:ext uri="{FF2B5EF4-FFF2-40B4-BE49-F238E27FC236}">
                    <a16:creationId xmlns:a16="http://schemas.microsoft.com/office/drawing/2014/main" id="{0DBB4DCF-37C8-4BBF-A2A7-16ACD79A181F}"/>
                  </a:ext>
                </a:extLst>
              </p:cNvPr>
              <p:cNvSpPr>
                <a:spLocks/>
              </p:cNvSpPr>
              <p:nvPr/>
            </p:nvSpPr>
            <p:spPr bwMode="auto">
              <a:xfrm>
                <a:off x="5569" y="2907"/>
                <a:ext cx="20" cy="14"/>
              </a:xfrm>
              <a:custGeom>
                <a:avLst/>
                <a:gdLst>
                  <a:gd name="T0" fmla="*/ 13 w 20"/>
                  <a:gd name="T1" fmla="*/ 0 h 14"/>
                  <a:gd name="T2" fmla="*/ 7 w 20"/>
                  <a:gd name="T3" fmla="*/ 1 h 14"/>
                  <a:gd name="T4" fmla="*/ 5 w 20"/>
                  <a:gd name="T5" fmla="*/ 5 h 14"/>
                  <a:gd name="T6" fmla="*/ 4 w 20"/>
                  <a:gd name="T7" fmla="*/ 6 h 14"/>
                  <a:gd name="T8" fmla="*/ 0 w 20"/>
                  <a:gd name="T9" fmla="*/ 14 h 14"/>
                  <a:gd name="T10" fmla="*/ 12 w 20"/>
                  <a:gd name="T11" fmla="*/ 14 h 14"/>
                  <a:gd name="T12" fmla="*/ 14 w 20"/>
                  <a:gd name="T13" fmla="*/ 11 h 14"/>
                  <a:gd name="T14" fmla="*/ 15 w 20"/>
                  <a:gd name="T15" fmla="*/ 14 h 14"/>
                  <a:gd name="T16" fmla="*/ 17 w 20"/>
                  <a:gd name="T17" fmla="*/ 14 h 14"/>
                  <a:gd name="T18" fmla="*/ 16 w 20"/>
                  <a:gd name="T19" fmla="*/ 10 h 14"/>
                  <a:gd name="T20" fmla="*/ 14 w 20"/>
                  <a:gd name="T21" fmla="*/ 11 h 14"/>
                  <a:gd name="T22" fmla="*/ 16 w 20"/>
                  <a:gd name="T23" fmla="*/ 10 h 14"/>
                  <a:gd name="T24" fmla="*/ 17 w 20"/>
                  <a:gd name="T25" fmla="*/ 7 h 14"/>
                  <a:gd name="T26" fmla="*/ 20 w 20"/>
                  <a:gd name="T27" fmla="*/ 5 h 14"/>
                  <a:gd name="T28" fmla="*/ 17 w 20"/>
                  <a:gd name="T29" fmla="*/ 1 h 14"/>
                  <a:gd name="T30" fmla="*/ 15 w 20"/>
                  <a:gd name="T31" fmla="*/ 0 h 14"/>
                  <a:gd name="T32" fmla="*/ 13 w 20"/>
                  <a:gd name="T33" fmla="*/ 0 h 14"/>
                  <a:gd name="T34" fmla="*/ 13 w 2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3" y="0"/>
                    </a:moveTo>
                    <a:lnTo>
                      <a:pt x="7" y="1"/>
                    </a:lnTo>
                    <a:lnTo>
                      <a:pt x="5" y="5"/>
                    </a:lnTo>
                    <a:lnTo>
                      <a:pt x="4" y="6"/>
                    </a:lnTo>
                    <a:lnTo>
                      <a:pt x="0" y="14"/>
                    </a:lnTo>
                    <a:lnTo>
                      <a:pt x="12" y="14"/>
                    </a:lnTo>
                    <a:lnTo>
                      <a:pt x="14" y="11"/>
                    </a:lnTo>
                    <a:lnTo>
                      <a:pt x="15" y="14"/>
                    </a:lnTo>
                    <a:lnTo>
                      <a:pt x="17" y="14"/>
                    </a:lnTo>
                    <a:lnTo>
                      <a:pt x="16" y="10"/>
                    </a:lnTo>
                    <a:lnTo>
                      <a:pt x="14" y="11"/>
                    </a:lnTo>
                    <a:lnTo>
                      <a:pt x="16" y="10"/>
                    </a:lnTo>
                    <a:lnTo>
                      <a:pt x="17" y="7"/>
                    </a:lnTo>
                    <a:lnTo>
                      <a:pt x="20" y="5"/>
                    </a:lnTo>
                    <a:lnTo>
                      <a:pt x="17" y="1"/>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0" name="Freeform 186">
                <a:extLst>
                  <a:ext uri="{FF2B5EF4-FFF2-40B4-BE49-F238E27FC236}">
                    <a16:creationId xmlns:a16="http://schemas.microsoft.com/office/drawing/2014/main" id="{C4B09ED7-31CC-49AB-826B-FDA5259C040F}"/>
                  </a:ext>
                </a:extLst>
              </p:cNvPr>
              <p:cNvSpPr>
                <a:spLocks/>
              </p:cNvSpPr>
              <p:nvPr/>
            </p:nvSpPr>
            <p:spPr bwMode="auto">
              <a:xfrm>
                <a:off x="5599" y="2137"/>
                <a:ext cx="81" cy="67"/>
              </a:xfrm>
              <a:custGeom>
                <a:avLst/>
                <a:gdLst>
                  <a:gd name="T0" fmla="*/ 3 w 81"/>
                  <a:gd name="T1" fmla="*/ 66 h 67"/>
                  <a:gd name="T2" fmla="*/ 6 w 81"/>
                  <a:gd name="T3" fmla="*/ 67 h 67"/>
                  <a:gd name="T4" fmla="*/ 10 w 81"/>
                  <a:gd name="T5" fmla="*/ 62 h 67"/>
                  <a:gd name="T6" fmla="*/ 17 w 81"/>
                  <a:gd name="T7" fmla="*/ 62 h 67"/>
                  <a:gd name="T8" fmla="*/ 12 w 81"/>
                  <a:gd name="T9" fmla="*/ 56 h 67"/>
                  <a:gd name="T10" fmla="*/ 7 w 81"/>
                  <a:gd name="T11" fmla="*/ 52 h 67"/>
                  <a:gd name="T12" fmla="*/ 11 w 81"/>
                  <a:gd name="T13" fmla="*/ 49 h 67"/>
                  <a:gd name="T14" fmla="*/ 16 w 81"/>
                  <a:gd name="T15" fmla="*/ 52 h 67"/>
                  <a:gd name="T16" fmla="*/ 24 w 81"/>
                  <a:gd name="T17" fmla="*/ 48 h 67"/>
                  <a:gd name="T18" fmla="*/ 29 w 81"/>
                  <a:gd name="T19" fmla="*/ 49 h 67"/>
                  <a:gd name="T20" fmla="*/ 40 w 81"/>
                  <a:gd name="T21" fmla="*/ 54 h 67"/>
                  <a:gd name="T22" fmla="*/ 47 w 81"/>
                  <a:gd name="T23" fmla="*/ 58 h 67"/>
                  <a:gd name="T24" fmla="*/ 51 w 81"/>
                  <a:gd name="T25" fmla="*/ 50 h 67"/>
                  <a:gd name="T26" fmla="*/ 57 w 81"/>
                  <a:gd name="T27" fmla="*/ 43 h 67"/>
                  <a:gd name="T28" fmla="*/ 61 w 81"/>
                  <a:gd name="T29" fmla="*/ 41 h 67"/>
                  <a:gd name="T30" fmla="*/ 74 w 81"/>
                  <a:gd name="T31" fmla="*/ 40 h 67"/>
                  <a:gd name="T32" fmla="*/ 78 w 81"/>
                  <a:gd name="T33" fmla="*/ 37 h 67"/>
                  <a:gd name="T34" fmla="*/ 79 w 81"/>
                  <a:gd name="T35" fmla="*/ 36 h 67"/>
                  <a:gd name="T36" fmla="*/ 78 w 81"/>
                  <a:gd name="T37" fmla="*/ 37 h 67"/>
                  <a:gd name="T38" fmla="*/ 75 w 81"/>
                  <a:gd name="T39" fmla="*/ 34 h 67"/>
                  <a:gd name="T40" fmla="*/ 72 w 81"/>
                  <a:gd name="T41" fmla="*/ 29 h 67"/>
                  <a:gd name="T42" fmla="*/ 76 w 81"/>
                  <a:gd name="T43" fmla="*/ 22 h 67"/>
                  <a:gd name="T44" fmla="*/ 74 w 81"/>
                  <a:gd name="T45" fmla="*/ 22 h 67"/>
                  <a:gd name="T46" fmla="*/ 62 w 81"/>
                  <a:gd name="T47" fmla="*/ 25 h 67"/>
                  <a:gd name="T48" fmla="*/ 59 w 81"/>
                  <a:gd name="T49" fmla="*/ 23 h 67"/>
                  <a:gd name="T50" fmla="*/ 53 w 81"/>
                  <a:gd name="T51" fmla="*/ 20 h 67"/>
                  <a:gd name="T52" fmla="*/ 44 w 81"/>
                  <a:gd name="T53" fmla="*/ 15 h 67"/>
                  <a:gd name="T54" fmla="*/ 34 w 81"/>
                  <a:gd name="T55" fmla="*/ 3 h 67"/>
                  <a:gd name="T56" fmla="*/ 28 w 81"/>
                  <a:gd name="T57" fmla="*/ 0 h 67"/>
                  <a:gd name="T58" fmla="*/ 25 w 81"/>
                  <a:gd name="T59" fmla="*/ 6 h 67"/>
                  <a:gd name="T60" fmla="*/ 27 w 81"/>
                  <a:gd name="T61" fmla="*/ 15 h 67"/>
                  <a:gd name="T62" fmla="*/ 26 w 81"/>
                  <a:gd name="T63" fmla="*/ 19 h 67"/>
                  <a:gd name="T64" fmla="*/ 24 w 81"/>
                  <a:gd name="T65" fmla="*/ 27 h 67"/>
                  <a:gd name="T66" fmla="*/ 23 w 81"/>
                  <a:gd name="T67" fmla="*/ 34 h 67"/>
                  <a:gd name="T68" fmla="*/ 20 w 81"/>
                  <a:gd name="T69" fmla="*/ 39 h 67"/>
                  <a:gd name="T70" fmla="*/ 12 w 81"/>
                  <a:gd name="T71" fmla="*/ 37 h 67"/>
                  <a:gd name="T72" fmla="*/ 8 w 81"/>
                  <a:gd name="T73" fmla="*/ 37 h 67"/>
                  <a:gd name="T74" fmla="*/ 8 w 81"/>
                  <a:gd name="T75" fmla="*/ 43 h 67"/>
                  <a:gd name="T76" fmla="*/ 1 w 81"/>
                  <a:gd name="T77" fmla="*/ 49 h 67"/>
                  <a:gd name="T78" fmla="*/ 3 w 81"/>
                  <a:gd name="T79" fmla="*/ 56 h 67"/>
                  <a:gd name="T80" fmla="*/ 3 w 81"/>
                  <a:gd name="T81"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67">
                    <a:moveTo>
                      <a:pt x="3" y="63"/>
                    </a:moveTo>
                    <a:lnTo>
                      <a:pt x="3" y="66"/>
                    </a:lnTo>
                    <a:lnTo>
                      <a:pt x="3" y="67"/>
                    </a:lnTo>
                    <a:lnTo>
                      <a:pt x="6" y="67"/>
                    </a:lnTo>
                    <a:lnTo>
                      <a:pt x="9" y="66"/>
                    </a:lnTo>
                    <a:lnTo>
                      <a:pt x="10" y="62"/>
                    </a:lnTo>
                    <a:lnTo>
                      <a:pt x="12" y="61"/>
                    </a:lnTo>
                    <a:lnTo>
                      <a:pt x="17" y="62"/>
                    </a:lnTo>
                    <a:lnTo>
                      <a:pt x="17" y="59"/>
                    </a:lnTo>
                    <a:lnTo>
                      <a:pt x="12" y="56"/>
                    </a:lnTo>
                    <a:lnTo>
                      <a:pt x="9" y="54"/>
                    </a:lnTo>
                    <a:lnTo>
                      <a:pt x="7" y="52"/>
                    </a:lnTo>
                    <a:lnTo>
                      <a:pt x="8" y="49"/>
                    </a:lnTo>
                    <a:lnTo>
                      <a:pt x="11" y="49"/>
                    </a:lnTo>
                    <a:lnTo>
                      <a:pt x="13" y="49"/>
                    </a:lnTo>
                    <a:lnTo>
                      <a:pt x="16" y="52"/>
                    </a:lnTo>
                    <a:lnTo>
                      <a:pt x="18" y="51"/>
                    </a:lnTo>
                    <a:lnTo>
                      <a:pt x="24" y="48"/>
                    </a:lnTo>
                    <a:lnTo>
                      <a:pt x="26" y="48"/>
                    </a:lnTo>
                    <a:lnTo>
                      <a:pt x="29" y="49"/>
                    </a:lnTo>
                    <a:lnTo>
                      <a:pt x="34" y="52"/>
                    </a:lnTo>
                    <a:lnTo>
                      <a:pt x="40" y="54"/>
                    </a:lnTo>
                    <a:lnTo>
                      <a:pt x="45" y="57"/>
                    </a:lnTo>
                    <a:lnTo>
                      <a:pt x="47" y="58"/>
                    </a:lnTo>
                    <a:lnTo>
                      <a:pt x="49" y="52"/>
                    </a:lnTo>
                    <a:lnTo>
                      <a:pt x="51" y="50"/>
                    </a:lnTo>
                    <a:lnTo>
                      <a:pt x="52" y="46"/>
                    </a:lnTo>
                    <a:lnTo>
                      <a:pt x="57" y="43"/>
                    </a:lnTo>
                    <a:lnTo>
                      <a:pt x="59" y="42"/>
                    </a:lnTo>
                    <a:lnTo>
                      <a:pt x="61" y="41"/>
                    </a:lnTo>
                    <a:lnTo>
                      <a:pt x="68" y="42"/>
                    </a:lnTo>
                    <a:lnTo>
                      <a:pt x="74" y="40"/>
                    </a:lnTo>
                    <a:lnTo>
                      <a:pt x="76" y="39"/>
                    </a:lnTo>
                    <a:lnTo>
                      <a:pt x="78" y="37"/>
                    </a:lnTo>
                    <a:lnTo>
                      <a:pt x="81" y="36"/>
                    </a:lnTo>
                    <a:lnTo>
                      <a:pt x="79" y="36"/>
                    </a:lnTo>
                    <a:lnTo>
                      <a:pt x="78" y="36"/>
                    </a:lnTo>
                    <a:lnTo>
                      <a:pt x="78" y="37"/>
                    </a:lnTo>
                    <a:lnTo>
                      <a:pt x="76" y="36"/>
                    </a:lnTo>
                    <a:lnTo>
                      <a:pt x="75" y="34"/>
                    </a:lnTo>
                    <a:lnTo>
                      <a:pt x="76" y="32"/>
                    </a:lnTo>
                    <a:lnTo>
                      <a:pt x="72" y="29"/>
                    </a:lnTo>
                    <a:lnTo>
                      <a:pt x="72" y="27"/>
                    </a:lnTo>
                    <a:lnTo>
                      <a:pt x="76" y="22"/>
                    </a:lnTo>
                    <a:lnTo>
                      <a:pt x="76" y="18"/>
                    </a:lnTo>
                    <a:lnTo>
                      <a:pt x="74" y="22"/>
                    </a:lnTo>
                    <a:lnTo>
                      <a:pt x="68" y="26"/>
                    </a:lnTo>
                    <a:lnTo>
                      <a:pt x="62" y="25"/>
                    </a:lnTo>
                    <a:lnTo>
                      <a:pt x="61" y="23"/>
                    </a:lnTo>
                    <a:lnTo>
                      <a:pt x="59" y="23"/>
                    </a:lnTo>
                    <a:lnTo>
                      <a:pt x="55" y="23"/>
                    </a:lnTo>
                    <a:lnTo>
                      <a:pt x="53" y="20"/>
                    </a:lnTo>
                    <a:lnTo>
                      <a:pt x="50" y="19"/>
                    </a:lnTo>
                    <a:lnTo>
                      <a:pt x="44" y="15"/>
                    </a:lnTo>
                    <a:lnTo>
                      <a:pt x="41" y="11"/>
                    </a:lnTo>
                    <a:lnTo>
                      <a:pt x="34" y="3"/>
                    </a:lnTo>
                    <a:lnTo>
                      <a:pt x="30" y="1"/>
                    </a:lnTo>
                    <a:lnTo>
                      <a:pt x="28" y="0"/>
                    </a:lnTo>
                    <a:lnTo>
                      <a:pt x="26" y="0"/>
                    </a:lnTo>
                    <a:lnTo>
                      <a:pt x="25" y="6"/>
                    </a:lnTo>
                    <a:lnTo>
                      <a:pt x="27" y="9"/>
                    </a:lnTo>
                    <a:lnTo>
                      <a:pt x="27" y="15"/>
                    </a:lnTo>
                    <a:lnTo>
                      <a:pt x="27" y="17"/>
                    </a:lnTo>
                    <a:lnTo>
                      <a:pt x="26" y="19"/>
                    </a:lnTo>
                    <a:lnTo>
                      <a:pt x="26" y="25"/>
                    </a:lnTo>
                    <a:lnTo>
                      <a:pt x="24" y="27"/>
                    </a:lnTo>
                    <a:lnTo>
                      <a:pt x="21" y="28"/>
                    </a:lnTo>
                    <a:lnTo>
                      <a:pt x="23" y="34"/>
                    </a:lnTo>
                    <a:lnTo>
                      <a:pt x="21" y="37"/>
                    </a:lnTo>
                    <a:lnTo>
                      <a:pt x="20" y="39"/>
                    </a:lnTo>
                    <a:lnTo>
                      <a:pt x="18" y="39"/>
                    </a:lnTo>
                    <a:lnTo>
                      <a:pt x="12" y="37"/>
                    </a:lnTo>
                    <a:lnTo>
                      <a:pt x="10" y="35"/>
                    </a:lnTo>
                    <a:lnTo>
                      <a:pt x="8" y="37"/>
                    </a:lnTo>
                    <a:lnTo>
                      <a:pt x="9" y="40"/>
                    </a:lnTo>
                    <a:lnTo>
                      <a:pt x="8" y="43"/>
                    </a:lnTo>
                    <a:lnTo>
                      <a:pt x="6" y="44"/>
                    </a:lnTo>
                    <a:lnTo>
                      <a:pt x="1" y="49"/>
                    </a:lnTo>
                    <a:lnTo>
                      <a:pt x="0" y="53"/>
                    </a:lnTo>
                    <a:lnTo>
                      <a:pt x="3" y="56"/>
                    </a:lnTo>
                    <a:lnTo>
                      <a:pt x="4" y="58"/>
                    </a:lnTo>
                    <a:lnTo>
                      <a:pt x="3" y="63"/>
                    </a:lnTo>
                    <a:lnTo>
                      <a:pt x="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1" name="Freeform 187">
                <a:extLst>
                  <a:ext uri="{FF2B5EF4-FFF2-40B4-BE49-F238E27FC236}">
                    <a16:creationId xmlns:a16="http://schemas.microsoft.com/office/drawing/2014/main" id="{BFBC00F4-8D0C-4356-AA15-4FB6C296F42C}"/>
                  </a:ext>
                </a:extLst>
              </p:cNvPr>
              <p:cNvSpPr>
                <a:spLocks/>
              </p:cNvSpPr>
              <p:nvPr/>
            </p:nvSpPr>
            <p:spPr bwMode="auto">
              <a:xfrm>
                <a:off x="5460" y="2323"/>
                <a:ext cx="32" cy="44"/>
              </a:xfrm>
              <a:custGeom>
                <a:avLst/>
                <a:gdLst>
                  <a:gd name="T0" fmla="*/ 18 w 32"/>
                  <a:gd name="T1" fmla="*/ 0 h 44"/>
                  <a:gd name="T2" fmla="*/ 19 w 32"/>
                  <a:gd name="T3" fmla="*/ 2 h 44"/>
                  <a:gd name="T4" fmla="*/ 23 w 32"/>
                  <a:gd name="T5" fmla="*/ 5 h 44"/>
                  <a:gd name="T6" fmla="*/ 28 w 32"/>
                  <a:gd name="T7" fmla="*/ 4 h 44"/>
                  <a:gd name="T8" fmla="*/ 26 w 32"/>
                  <a:gd name="T9" fmla="*/ 10 h 44"/>
                  <a:gd name="T10" fmla="*/ 32 w 32"/>
                  <a:gd name="T11" fmla="*/ 12 h 44"/>
                  <a:gd name="T12" fmla="*/ 30 w 32"/>
                  <a:gd name="T13" fmla="*/ 18 h 44"/>
                  <a:gd name="T14" fmla="*/ 28 w 32"/>
                  <a:gd name="T15" fmla="*/ 21 h 44"/>
                  <a:gd name="T16" fmla="*/ 24 w 32"/>
                  <a:gd name="T17" fmla="*/ 30 h 44"/>
                  <a:gd name="T18" fmla="*/ 23 w 32"/>
                  <a:gd name="T19" fmla="*/ 36 h 44"/>
                  <a:gd name="T20" fmla="*/ 21 w 32"/>
                  <a:gd name="T21" fmla="*/ 37 h 44"/>
                  <a:gd name="T22" fmla="*/ 20 w 32"/>
                  <a:gd name="T23" fmla="*/ 40 h 44"/>
                  <a:gd name="T24" fmla="*/ 14 w 32"/>
                  <a:gd name="T25" fmla="*/ 44 h 44"/>
                  <a:gd name="T26" fmla="*/ 15 w 32"/>
                  <a:gd name="T27" fmla="*/ 38 h 44"/>
                  <a:gd name="T28" fmla="*/ 15 w 32"/>
                  <a:gd name="T29" fmla="*/ 34 h 44"/>
                  <a:gd name="T30" fmla="*/ 12 w 32"/>
                  <a:gd name="T31" fmla="*/ 36 h 44"/>
                  <a:gd name="T32" fmla="*/ 8 w 32"/>
                  <a:gd name="T33" fmla="*/ 40 h 44"/>
                  <a:gd name="T34" fmla="*/ 10 w 32"/>
                  <a:gd name="T35" fmla="*/ 35 h 44"/>
                  <a:gd name="T36" fmla="*/ 10 w 32"/>
                  <a:gd name="T37" fmla="*/ 27 h 44"/>
                  <a:gd name="T38" fmla="*/ 13 w 32"/>
                  <a:gd name="T39" fmla="*/ 19 h 44"/>
                  <a:gd name="T40" fmla="*/ 13 w 32"/>
                  <a:gd name="T41" fmla="*/ 17 h 44"/>
                  <a:gd name="T42" fmla="*/ 10 w 32"/>
                  <a:gd name="T43" fmla="*/ 12 h 44"/>
                  <a:gd name="T44" fmla="*/ 8 w 32"/>
                  <a:gd name="T45" fmla="*/ 14 h 44"/>
                  <a:gd name="T46" fmla="*/ 5 w 32"/>
                  <a:gd name="T47" fmla="*/ 18 h 44"/>
                  <a:gd name="T48" fmla="*/ 1 w 32"/>
                  <a:gd name="T49" fmla="*/ 16 h 44"/>
                  <a:gd name="T50" fmla="*/ 2 w 32"/>
                  <a:gd name="T51" fmla="*/ 16 h 44"/>
                  <a:gd name="T52" fmla="*/ 4 w 32"/>
                  <a:gd name="T53" fmla="*/ 13 h 44"/>
                  <a:gd name="T54" fmla="*/ 0 w 32"/>
                  <a:gd name="T55" fmla="*/ 10 h 44"/>
                  <a:gd name="T56" fmla="*/ 2 w 32"/>
                  <a:gd name="T57" fmla="*/ 9 h 44"/>
                  <a:gd name="T58" fmla="*/ 5 w 32"/>
                  <a:gd name="T59" fmla="*/ 8 h 44"/>
                  <a:gd name="T60" fmla="*/ 9 w 32"/>
                  <a:gd name="T61" fmla="*/ 4 h 44"/>
                  <a:gd name="T62" fmla="*/ 12 w 32"/>
                  <a:gd name="T63" fmla="*/ 1 h 44"/>
                  <a:gd name="T64" fmla="*/ 18 w 32"/>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4">
                    <a:moveTo>
                      <a:pt x="18" y="0"/>
                    </a:moveTo>
                    <a:lnTo>
                      <a:pt x="18" y="0"/>
                    </a:lnTo>
                    <a:lnTo>
                      <a:pt x="18" y="1"/>
                    </a:lnTo>
                    <a:lnTo>
                      <a:pt x="19" y="2"/>
                    </a:lnTo>
                    <a:lnTo>
                      <a:pt x="21" y="4"/>
                    </a:lnTo>
                    <a:lnTo>
                      <a:pt x="23" y="5"/>
                    </a:lnTo>
                    <a:lnTo>
                      <a:pt x="26" y="4"/>
                    </a:lnTo>
                    <a:lnTo>
                      <a:pt x="28" y="4"/>
                    </a:lnTo>
                    <a:lnTo>
                      <a:pt x="28" y="8"/>
                    </a:lnTo>
                    <a:lnTo>
                      <a:pt x="26" y="10"/>
                    </a:lnTo>
                    <a:lnTo>
                      <a:pt x="31" y="10"/>
                    </a:lnTo>
                    <a:lnTo>
                      <a:pt x="32" y="12"/>
                    </a:lnTo>
                    <a:lnTo>
                      <a:pt x="32" y="16"/>
                    </a:lnTo>
                    <a:lnTo>
                      <a:pt x="30" y="18"/>
                    </a:lnTo>
                    <a:lnTo>
                      <a:pt x="28" y="20"/>
                    </a:lnTo>
                    <a:lnTo>
                      <a:pt x="28" y="21"/>
                    </a:lnTo>
                    <a:lnTo>
                      <a:pt x="26" y="27"/>
                    </a:lnTo>
                    <a:lnTo>
                      <a:pt x="24" y="30"/>
                    </a:lnTo>
                    <a:lnTo>
                      <a:pt x="24" y="34"/>
                    </a:lnTo>
                    <a:lnTo>
                      <a:pt x="23" y="36"/>
                    </a:lnTo>
                    <a:lnTo>
                      <a:pt x="23" y="38"/>
                    </a:lnTo>
                    <a:lnTo>
                      <a:pt x="21" y="37"/>
                    </a:lnTo>
                    <a:lnTo>
                      <a:pt x="19" y="38"/>
                    </a:lnTo>
                    <a:lnTo>
                      <a:pt x="20" y="40"/>
                    </a:lnTo>
                    <a:lnTo>
                      <a:pt x="17" y="43"/>
                    </a:lnTo>
                    <a:lnTo>
                      <a:pt x="14" y="44"/>
                    </a:lnTo>
                    <a:lnTo>
                      <a:pt x="15" y="40"/>
                    </a:lnTo>
                    <a:lnTo>
                      <a:pt x="15" y="38"/>
                    </a:lnTo>
                    <a:lnTo>
                      <a:pt x="13" y="36"/>
                    </a:lnTo>
                    <a:lnTo>
                      <a:pt x="15" y="34"/>
                    </a:lnTo>
                    <a:lnTo>
                      <a:pt x="13" y="34"/>
                    </a:lnTo>
                    <a:lnTo>
                      <a:pt x="12" y="36"/>
                    </a:lnTo>
                    <a:lnTo>
                      <a:pt x="13" y="42"/>
                    </a:lnTo>
                    <a:lnTo>
                      <a:pt x="8" y="40"/>
                    </a:lnTo>
                    <a:lnTo>
                      <a:pt x="9" y="37"/>
                    </a:lnTo>
                    <a:lnTo>
                      <a:pt x="10" y="35"/>
                    </a:lnTo>
                    <a:lnTo>
                      <a:pt x="8" y="29"/>
                    </a:lnTo>
                    <a:lnTo>
                      <a:pt x="10" y="27"/>
                    </a:lnTo>
                    <a:lnTo>
                      <a:pt x="13" y="21"/>
                    </a:lnTo>
                    <a:lnTo>
                      <a:pt x="13" y="19"/>
                    </a:lnTo>
                    <a:lnTo>
                      <a:pt x="11" y="19"/>
                    </a:lnTo>
                    <a:lnTo>
                      <a:pt x="13" y="17"/>
                    </a:lnTo>
                    <a:lnTo>
                      <a:pt x="11" y="14"/>
                    </a:lnTo>
                    <a:lnTo>
                      <a:pt x="10" y="12"/>
                    </a:lnTo>
                    <a:lnTo>
                      <a:pt x="6" y="12"/>
                    </a:lnTo>
                    <a:lnTo>
                      <a:pt x="8" y="14"/>
                    </a:lnTo>
                    <a:lnTo>
                      <a:pt x="8" y="18"/>
                    </a:lnTo>
                    <a:lnTo>
                      <a:pt x="5" y="18"/>
                    </a:lnTo>
                    <a:lnTo>
                      <a:pt x="3" y="19"/>
                    </a:lnTo>
                    <a:lnTo>
                      <a:pt x="1" y="16"/>
                    </a:lnTo>
                    <a:lnTo>
                      <a:pt x="2" y="13"/>
                    </a:lnTo>
                    <a:lnTo>
                      <a:pt x="2" y="16"/>
                    </a:lnTo>
                    <a:lnTo>
                      <a:pt x="5" y="17"/>
                    </a:lnTo>
                    <a:lnTo>
                      <a:pt x="4" y="13"/>
                    </a:lnTo>
                    <a:lnTo>
                      <a:pt x="1" y="12"/>
                    </a:lnTo>
                    <a:lnTo>
                      <a:pt x="0" y="10"/>
                    </a:lnTo>
                    <a:lnTo>
                      <a:pt x="2" y="9"/>
                    </a:lnTo>
                    <a:lnTo>
                      <a:pt x="2" y="9"/>
                    </a:lnTo>
                    <a:lnTo>
                      <a:pt x="3" y="7"/>
                    </a:lnTo>
                    <a:lnTo>
                      <a:pt x="5" y="8"/>
                    </a:lnTo>
                    <a:lnTo>
                      <a:pt x="5" y="7"/>
                    </a:lnTo>
                    <a:lnTo>
                      <a:pt x="9" y="4"/>
                    </a:lnTo>
                    <a:lnTo>
                      <a:pt x="11" y="3"/>
                    </a:lnTo>
                    <a:lnTo>
                      <a:pt x="12"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2" name="Freeform 188">
                <a:extLst>
                  <a:ext uri="{FF2B5EF4-FFF2-40B4-BE49-F238E27FC236}">
                    <a16:creationId xmlns:a16="http://schemas.microsoft.com/office/drawing/2014/main" id="{A181707F-FA3C-498C-A601-09FAA5BBAE5D}"/>
                  </a:ext>
                </a:extLst>
              </p:cNvPr>
              <p:cNvSpPr>
                <a:spLocks/>
              </p:cNvSpPr>
              <p:nvPr/>
            </p:nvSpPr>
            <p:spPr bwMode="auto">
              <a:xfrm>
                <a:off x="5559" y="1480"/>
                <a:ext cx="116" cy="44"/>
              </a:xfrm>
              <a:custGeom>
                <a:avLst/>
                <a:gdLst>
                  <a:gd name="T0" fmla="*/ 27 w 116"/>
                  <a:gd name="T1" fmla="*/ 0 h 44"/>
                  <a:gd name="T2" fmla="*/ 22 w 116"/>
                  <a:gd name="T3" fmla="*/ 2 h 44"/>
                  <a:gd name="T4" fmla="*/ 18 w 116"/>
                  <a:gd name="T5" fmla="*/ 2 h 44"/>
                  <a:gd name="T6" fmla="*/ 10 w 116"/>
                  <a:gd name="T7" fmla="*/ 7 h 44"/>
                  <a:gd name="T8" fmla="*/ 12 w 116"/>
                  <a:gd name="T9" fmla="*/ 14 h 44"/>
                  <a:gd name="T10" fmla="*/ 3 w 116"/>
                  <a:gd name="T11" fmla="*/ 14 h 44"/>
                  <a:gd name="T12" fmla="*/ 5 w 116"/>
                  <a:gd name="T13" fmla="*/ 17 h 44"/>
                  <a:gd name="T14" fmla="*/ 4 w 116"/>
                  <a:gd name="T15" fmla="*/ 23 h 44"/>
                  <a:gd name="T16" fmla="*/ 0 w 116"/>
                  <a:gd name="T17" fmla="*/ 25 h 44"/>
                  <a:gd name="T18" fmla="*/ 5 w 116"/>
                  <a:gd name="T19" fmla="*/ 31 h 44"/>
                  <a:gd name="T20" fmla="*/ 13 w 116"/>
                  <a:gd name="T21" fmla="*/ 35 h 44"/>
                  <a:gd name="T22" fmla="*/ 16 w 116"/>
                  <a:gd name="T23" fmla="*/ 40 h 44"/>
                  <a:gd name="T24" fmla="*/ 27 w 116"/>
                  <a:gd name="T25" fmla="*/ 43 h 44"/>
                  <a:gd name="T26" fmla="*/ 33 w 116"/>
                  <a:gd name="T27" fmla="*/ 43 h 44"/>
                  <a:gd name="T28" fmla="*/ 35 w 116"/>
                  <a:gd name="T29" fmla="*/ 38 h 44"/>
                  <a:gd name="T30" fmla="*/ 41 w 116"/>
                  <a:gd name="T31" fmla="*/ 35 h 44"/>
                  <a:gd name="T32" fmla="*/ 43 w 116"/>
                  <a:gd name="T33" fmla="*/ 40 h 44"/>
                  <a:gd name="T34" fmla="*/ 63 w 116"/>
                  <a:gd name="T35" fmla="*/ 36 h 44"/>
                  <a:gd name="T36" fmla="*/ 72 w 116"/>
                  <a:gd name="T37" fmla="*/ 34 h 44"/>
                  <a:gd name="T38" fmla="*/ 72 w 116"/>
                  <a:gd name="T39" fmla="*/ 38 h 44"/>
                  <a:gd name="T40" fmla="*/ 80 w 116"/>
                  <a:gd name="T41" fmla="*/ 38 h 44"/>
                  <a:gd name="T42" fmla="*/ 91 w 116"/>
                  <a:gd name="T43" fmla="*/ 36 h 44"/>
                  <a:gd name="T44" fmla="*/ 90 w 116"/>
                  <a:gd name="T45" fmla="*/ 34 h 44"/>
                  <a:gd name="T46" fmla="*/ 81 w 116"/>
                  <a:gd name="T47" fmla="*/ 32 h 44"/>
                  <a:gd name="T48" fmla="*/ 74 w 116"/>
                  <a:gd name="T49" fmla="*/ 25 h 44"/>
                  <a:gd name="T50" fmla="*/ 73 w 116"/>
                  <a:gd name="T51" fmla="*/ 17 h 44"/>
                  <a:gd name="T52" fmla="*/ 73 w 116"/>
                  <a:gd name="T53" fmla="*/ 16 h 44"/>
                  <a:gd name="T54" fmla="*/ 82 w 116"/>
                  <a:gd name="T55" fmla="*/ 15 h 44"/>
                  <a:gd name="T56" fmla="*/ 83 w 116"/>
                  <a:gd name="T57" fmla="*/ 18 h 44"/>
                  <a:gd name="T58" fmla="*/ 77 w 116"/>
                  <a:gd name="T59" fmla="*/ 22 h 44"/>
                  <a:gd name="T60" fmla="*/ 84 w 116"/>
                  <a:gd name="T61" fmla="*/ 31 h 44"/>
                  <a:gd name="T62" fmla="*/ 93 w 116"/>
                  <a:gd name="T63" fmla="*/ 32 h 44"/>
                  <a:gd name="T64" fmla="*/ 104 w 116"/>
                  <a:gd name="T65" fmla="*/ 32 h 44"/>
                  <a:gd name="T66" fmla="*/ 108 w 116"/>
                  <a:gd name="T67" fmla="*/ 27 h 44"/>
                  <a:gd name="T68" fmla="*/ 108 w 116"/>
                  <a:gd name="T69" fmla="*/ 26 h 44"/>
                  <a:gd name="T70" fmla="*/ 112 w 116"/>
                  <a:gd name="T71" fmla="*/ 21 h 44"/>
                  <a:gd name="T72" fmla="*/ 112 w 116"/>
                  <a:gd name="T73" fmla="*/ 17 h 44"/>
                  <a:gd name="T74" fmla="*/ 107 w 116"/>
                  <a:gd name="T75" fmla="*/ 15 h 44"/>
                  <a:gd name="T76" fmla="*/ 92 w 116"/>
                  <a:gd name="T77" fmla="*/ 10 h 44"/>
                  <a:gd name="T78" fmla="*/ 82 w 116"/>
                  <a:gd name="T79" fmla="*/ 12 h 44"/>
                  <a:gd name="T80" fmla="*/ 76 w 116"/>
                  <a:gd name="T81" fmla="*/ 9 h 44"/>
                  <a:gd name="T82" fmla="*/ 65 w 116"/>
                  <a:gd name="T83" fmla="*/ 4 h 44"/>
                  <a:gd name="T84" fmla="*/ 64 w 116"/>
                  <a:gd name="T85" fmla="*/ 6 h 44"/>
                  <a:gd name="T86" fmla="*/ 56 w 116"/>
                  <a:gd name="T87" fmla="*/ 7 h 44"/>
                  <a:gd name="T88" fmla="*/ 55 w 116"/>
                  <a:gd name="T89" fmla="*/ 14 h 44"/>
                  <a:gd name="T90" fmla="*/ 55 w 116"/>
                  <a:gd name="T91" fmla="*/ 17 h 44"/>
                  <a:gd name="T92" fmla="*/ 49 w 116"/>
                  <a:gd name="T93" fmla="*/ 15 h 44"/>
                  <a:gd name="T94" fmla="*/ 43 w 116"/>
                  <a:gd name="T95" fmla="*/ 12 h 44"/>
                  <a:gd name="T96" fmla="*/ 41 w 116"/>
                  <a:gd name="T97" fmla="*/ 8 h 44"/>
                  <a:gd name="T98" fmla="*/ 30 w 116"/>
                  <a:gd name="T9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44">
                    <a:moveTo>
                      <a:pt x="30" y="4"/>
                    </a:moveTo>
                    <a:lnTo>
                      <a:pt x="27" y="0"/>
                    </a:lnTo>
                    <a:lnTo>
                      <a:pt x="25" y="0"/>
                    </a:lnTo>
                    <a:lnTo>
                      <a:pt x="22" y="2"/>
                    </a:lnTo>
                    <a:lnTo>
                      <a:pt x="21" y="5"/>
                    </a:lnTo>
                    <a:lnTo>
                      <a:pt x="18" y="2"/>
                    </a:lnTo>
                    <a:lnTo>
                      <a:pt x="16" y="6"/>
                    </a:lnTo>
                    <a:lnTo>
                      <a:pt x="10" y="7"/>
                    </a:lnTo>
                    <a:lnTo>
                      <a:pt x="7" y="8"/>
                    </a:lnTo>
                    <a:lnTo>
                      <a:pt x="12" y="14"/>
                    </a:lnTo>
                    <a:lnTo>
                      <a:pt x="6" y="13"/>
                    </a:lnTo>
                    <a:lnTo>
                      <a:pt x="3" y="14"/>
                    </a:lnTo>
                    <a:lnTo>
                      <a:pt x="3" y="17"/>
                    </a:lnTo>
                    <a:lnTo>
                      <a:pt x="5" y="17"/>
                    </a:lnTo>
                    <a:lnTo>
                      <a:pt x="5" y="21"/>
                    </a:lnTo>
                    <a:lnTo>
                      <a:pt x="4" y="23"/>
                    </a:lnTo>
                    <a:lnTo>
                      <a:pt x="6" y="25"/>
                    </a:lnTo>
                    <a:lnTo>
                      <a:pt x="0" y="25"/>
                    </a:lnTo>
                    <a:lnTo>
                      <a:pt x="1" y="29"/>
                    </a:lnTo>
                    <a:lnTo>
                      <a:pt x="5" y="31"/>
                    </a:lnTo>
                    <a:lnTo>
                      <a:pt x="9" y="34"/>
                    </a:lnTo>
                    <a:lnTo>
                      <a:pt x="13" y="35"/>
                    </a:lnTo>
                    <a:lnTo>
                      <a:pt x="14" y="39"/>
                    </a:lnTo>
                    <a:lnTo>
                      <a:pt x="16" y="40"/>
                    </a:lnTo>
                    <a:lnTo>
                      <a:pt x="25" y="42"/>
                    </a:lnTo>
                    <a:lnTo>
                      <a:pt x="27" y="43"/>
                    </a:lnTo>
                    <a:lnTo>
                      <a:pt x="31" y="44"/>
                    </a:lnTo>
                    <a:lnTo>
                      <a:pt x="33" y="43"/>
                    </a:lnTo>
                    <a:lnTo>
                      <a:pt x="37" y="40"/>
                    </a:lnTo>
                    <a:lnTo>
                      <a:pt x="35" y="38"/>
                    </a:lnTo>
                    <a:lnTo>
                      <a:pt x="38" y="35"/>
                    </a:lnTo>
                    <a:lnTo>
                      <a:pt x="41" y="35"/>
                    </a:lnTo>
                    <a:lnTo>
                      <a:pt x="43" y="39"/>
                    </a:lnTo>
                    <a:lnTo>
                      <a:pt x="43" y="40"/>
                    </a:lnTo>
                    <a:lnTo>
                      <a:pt x="57" y="36"/>
                    </a:lnTo>
                    <a:lnTo>
                      <a:pt x="63" y="36"/>
                    </a:lnTo>
                    <a:lnTo>
                      <a:pt x="68" y="34"/>
                    </a:lnTo>
                    <a:lnTo>
                      <a:pt x="72" y="34"/>
                    </a:lnTo>
                    <a:lnTo>
                      <a:pt x="74" y="36"/>
                    </a:lnTo>
                    <a:lnTo>
                      <a:pt x="72" y="38"/>
                    </a:lnTo>
                    <a:lnTo>
                      <a:pt x="76" y="40"/>
                    </a:lnTo>
                    <a:lnTo>
                      <a:pt x="80" y="38"/>
                    </a:lnTo>
                    <a:lnTo>
                      <a:pt x="85" y="38"/>
                    </a:lnTo>
                    <a:lnTo>
                      <a:pt x="91" y="36"/>
                    </a:lnTo>
                    <a:lnTo>
                      <a:pt x="92" y="34"/>
                    </a:lnTo>
                    <a:lnTo>
                      <a:pt x="90" y="34"/>
                    </a:lnTo>
                    <a:lnTo>
                      <a:pt x="84" y="32"/>
                    </a:lnTo>
                    <a:lnTo>
                      <a:pt x="81" y="32"/>
                    </a:lnTo>
                    <a:lnTo>
                      <a:pt x="78" y="31"/>
                    </a:lnTo>
                    <a:lnTo>
                      <a:pt x="74" y="25"/>
                    </a:lnTo>
                    <a:lnTo>
                      <a:pt x="70" y="17"/>
                    </a:lnTo>
                    <a:lnTo>
                      <a:pt x="73" y="17"/>
                    </a:lnTo>
                    <a:lnTo>
                      <a:pt x="70" y="16"/>
                    </a:lnTo>
                    <a:lnTo>
                      <a:pt x="73" y="16"/>
                    </a:lnTo>
                    <a:lnTo>
                      <a:pt x="76" y="15"/>
                    </a:lnTo>
                    <a:lnTo>
                      <a:pt x="82" y="15"/>
                    </a:lnTo>
                    <a:lnTo>
                      <a:pt x="84" y="16"/>
                    </a:lnTo>
                    <a:lnTo>
                      <a:pt x="83" y="18"/>
                    </a:lnTo>
                    <a:lnTo>
                      <a:pt x="80" y="19"/>
                    </a:lnTo>
                    <a:lnTo>
                      <a:pt x="77" y="22"/>
                    </a:lnTo>
                    <a:lnTo>
                      <a:pt x="78" y="25"/>
                    </a:lnTo>
                    <a:lnTo>
                      <a:pt x="84" y="31"/>
                    </a:lnTo>
                    <a:lnTo>
                      <a:pt x="90" y="32"/>
                    </a:lnTo>
                    <a:lnTo>
                      <a:pt x="93" y="32"/>
                    </a:lnTo>
                    <a:lnTo>
                      <a:pt x="98" y="33"/>
                    </a:lnTo>
                    <a:lnTo>
                      <a:pt x="104" y="32"/>
                    </a:lnTo>
                    <a:lnTo>
                      <a:pt x="107" y="31"/>
                    </a:lnTo>
                    <a:lnTo>
                      <a:pt x="108" y="27"/>
                    </a:lnTo>
                    <a:lnTo>
                      <a:pt x="110" y="26"/>
                    </a:lnTo>
                    <a:lnTo>
                      <a:pt x="108" y="26"/>
                    </a:lnTo>
                    <a:lnTo>
                      <a:pt x="107" y="23"/>
                    </a:lnTo>
                    <a:lnTo>
                      <a:pt x="112" y="21"/>
                    </a:lnTo>
                    <a:lnTo>
                      <a:pt x="116" y="18"/>
                    </a:lnTo>
                    <a:lnTo>
                      <a:pt x="112" y="17"/>
                    </a:lnTo>
                    <a:lnTo>
                      <a:pt x="110" y="17"/>
                    </a:lnTo>
                    <a:lnTo>
                      <a:pt x="107" y="15"/>
                    </a:lnTo>
                    <a:lnTo>
                      <a:pt x="104" y="15"/>
                    </a:lnTo>
                    <a:lnTo>
                      <a:pt x="92" y="10"/>
                    </a:lnTo>
                    <a:lnTo>
                      <a:pt x="84" y="12"/>
                    </a:lnTo>
                    <a:lnTo>
                      <a:pt x="82" y="12"/>
                    </a:lnTo>
                    <a:lnTo>
                      <a:pt x="78" y="10"/>
                    </a:lnTo>
                    <a:lnTo>
                      <a:pt x="76" y="9"/>
                    </a:lnTo>
                    <a:lnTo>
                      <a:pt x="70" y="6"/>
                    </a:lnTo>
                    <a:lnTo>
                      <a:pt x="65" y="4"/>
                    </a:lnTo>
                    <a:lnTo>
                      <a:pt x="61" y="4"/>
                    </a:lnTo>
                    <a:lnTo>
                      <a:pt x="64" y="6"/>
                    </a:lnTo>
                    <a:lnTo>
                      <a:pt x="58" y="5"/>
                    </a:lnTo>
                    <a:lnTo>
                      <a:pt x="56" y="7"/>
                    </a:lnTo>
                    <a:lnTo>
                      <a:pt x="56" y="12"/>
                    </a:lnTo>
                    <a:lnTo>
                      <a:pt x="55" y="14"/>
                    </a:lnTo>
                    <a:lnTo>
                      <a:pt x="57" y="16"/>
                    </a:lnTo>
                    <a:lnTo>
                      <a:pt x="55" y="17"/>
                    </a:lnTo>
                    <a:lnTo>
                      <a:pt x="52" y="17"/>
                    </a:lnTo>
                    <a:lnTo>
                      <a:pt x="49" y="15"/>
                    </a:lnTo>
                    <a:lnTo>
                      <a:pt x="49" y="12"/>
                    </a:lnTo>
                    <a:lnTo>
                      <a:pt x="43" y="12"/>
                    </a:lnTo>
                    <a:lnTo>
                      <a:pt x="42" y="10"/>
                    </a:lnTo>
                    <a:lnTo>
                      <a:pt x="41" y="8"/>
                    </a:lnTo>
                    <a:lnTo>
                      <a:pt x="30" y="4"/>
                    </a:lnTo>
                    <a:lnTo>
                      <a:pt x="3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3" name="Freeform 189">
                <a:extLst>
                  <a:ext uri="{FF2B5EF4-FFF2-40B4-BE49-F238E27FC236}">
                    <a16:creationId xmlns:a16="http://schemas.microsoft.com/office/drawing/2014/main" id="{6045414D-FF4C-445F-A755-65AFB10FE7C3}"/>
                  </a:ext>
                </a:extLst>
              </p:cNvPr>
              <p:cNvSpPr>
                <a:spLocks/>
              </p:cNvSpPr>
              <p:nvPr/>
            </p:nvSpPr>
            <p:spPr bwMode="auto">
              <a:xfrm>
                <a:off x="5599" y="1544"/>
                <a:ext cx="51" cy="19"/>
              </a:xfrm>
              <a:custGeom>
                <a:avLst/>
                <a:gdLst>
                  <a:gd name="T0" fmla="*/ 3 w 51"/>
                  <a:gd name="T1" fmla="*/ 12 h 19"/>
                  <a:gd name="T2" fmla="*/ 0 w 51"/>
                  <a:gd name="T3" fmla="*/ 12 h 19"/>
                  <a:gd name="T4" fmla="*/ 2 w 51"/>
                  <a:gd name="T5" fmla="*/ 14 h 19"/>
                  <a:gd name="T6" fmla="*/ 6 w 51"/>
                  <a:gd name="T7" fmla="*/ 13 h 19"/>
                  <a:gd name="T8" fmla="*/ 11 w 51"/>
                  <a:gd name="T9" fmla="*/ 12 h 19"/>
                  <a:gd name="T10" fmla="*/ 17 w 51"/>
                  <a:gd name="T11" fmla="*/ 13 h 19"/>
                  <a:gd name="T12" fmla="*/ 26 w 51"/>
                  <a:gd name="T13" fmla="*/ 15 h 19"/>
                  <a:gd name="T14" fmla="*/ 41 w 51"/>
                  <a:gd name="T15" fmla="*/ 18 h 19"/>
                  <a:gd name="T16" fmla="*/ 46 w 51"/>
                  <a:gd name="T17" fmla="*/ 19 h 19"/>
                  <a:gd name="T18" fmla="*/ 49 w 51"/>
                  <a:gd name="T19" fmla="*/ 18 h 19"/>
                  <a:gd name="T20" fmla="*/ 51 w 51"/>
                  <a:gd name="T21" fmla="*/ 15 h 19"/>
                  <a:gd name="T22" fmla="*/ 51 w 51"/>
                  <a:gd name="T23" fmla="*/ 12 h 19"/>
                  <a:gd name="T24" fmla="*/ 50 w 51"/>
                  <a:gd name="T25" fmla="*/ 10 h 19"/>
                  <a:gd name="T26" fmla="*/ 46 w 51"/>
                  <a:gd name="T27" fmla="*/ 8 h 19"/>
                  <a:gd name="T28" fmla="*/ 38 w 51"/>
                  <a:gd name="T29" fmla="*/ 2 h 19"/>
                  <a:gd name="T30" fmla="*/ 30 w 51"/>
                  <a:gd name="T31" fmla="*/ 0 h 19"/>
                  <a:gd name="T32" fmla="*/ 25 w 51"/>
                  <a:gd name="T33" fmla="*/ 0 h 19"/>
                  <a:gd name="T34" fmla="*/ 21 w 51"/>
                  <a:gd name="T35" fmla="*/ 1 h 19"/>
                  <a:gd name="T36" fmla="*/ 19 w 51"/>
                  <a:gd name="T37" fmla="*/ 1 h 19"/>
                  <a:gd name="T38" fmla="*/ 16 w 51"/>
                  <a:gd name="T39" fmla="*/ 2 h 19"/>
                  <a:gd name="T40" fmla="*/ 13 w 51"/>
                  <a:gd name="T41" fmla="*/ 4 h 19"/>
                  <a:gd name="T42" fmla="*/ 12 w 51"/>
                  <a:gd name="T43" fmla="*/ 8 h 19"/>
                  <a:gd name="T44" fmla="*/ 10 w 51"/>
                  <a:gd name="T45" fmla="*/ 10 h 19"/>
                  <a:gd name="T46" fmla="*/ 7 w 51"/>
                  <a:gd name="T47" fmla="*/ 12 h 19"/>
                  <a:gd name="T48" fmla="*/ 3 w 51"/>
                  <a:gd name="T49" fmla="*/ 12 h 19"/>
                  <a:gd name="T50" fmla="*/ 3 w 51"/>
                  <a:gd name="T51"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19">
                    <a:moveTo>
                      <a:pt x="3" y="12"/>
                    </a:moveTo>
                    <a:lnTo>
                      <a:pt x="0" y="12"/>
                    </a:lnTo>
                    <a:lnTo>
                      <a:pt x="2" y="14"/>
                    </a:lnTo>
                    <a:lnTo>
                      <a:pt x="6" y="13"/>
                    </a:lnTo>
                    <a:lnTo>
                      <a:pt x="11" y="12"/>
                    </a:lnTo>
                    <a:lnTo>
                      <a:pt x="17" y="13"/>
                    </a:lnTo>
                    <a:lnTo>
                      <a:pt x="26" y="15"/>
                    </a:lnTo>
                    <a:lnTo>
                      <a:pt x="41" y="18"/>
                    </a:lnTo>
                    <a:lnTo>
                      <a:pt x="46" y="19"/>
                    </a:lnTo>
                    <a:lnTo>
                      <a:pt x="49" y="18"/>
                    </a:lnTo>
                    <a:lnTo>
                      <a:pt x="51" y="15"/>
                    </a:lnTo>
                    <a:lnTo>
                      <a:pt x="51" y="12"/>
                    </a:lnTo>
                    <a:lnTo>
                      <a:pt x="50" y="10"/>
                    </a:lnTo>
                    <a:lnTo>
                      <a:pt x="46" y="8"/>
                    </a:lnTo>
                    <a:lnTo>
                      <a:pt x="38" y="2"/>
                    </a:lnTo>
                    <a:lnTo>
                      <a:pt x="30" y="0"/>
                    </a:lnTo>
                    <a:lnTo>
                      <a:pt x="25" y="0"/>
                    </a:lnTo>
                    <a:lnTo>
                      <a:pt x="21" y="1"/>
                    </a:lnTo>
                    <a:lnTo>
                      <a:pt x="19" y="1"/>
                    </a:lnTo>
                    <a:lnTo>
                      <a:pt x="16" y="2"/>
                    </a:lnTo>
                    <a:lnTo>
                      <a:pt x="13" y="4"/>
                    </a:lnTo>
                    <a:lnTo>
                      <a:pt x="12" y="8"/>
                    </a:lnTo>
                    <a:lnTo>
                      <a:pt x="10" y="10"/>
                    </a:lnTo>
                    <a:lnTo>
                      <a:pt x="7" y="12"/>
                    </a:lnTo>
                    <a:lnTo>
                      <a:pt x="3"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4" name="Freeform 190">
                <a:extLst>
                  <a:ext uri="{FF2B5EF4-FFF2-40B4-BE49-F238E27FC236}">
                    <a16:creationId xmlns:a16="http://schemas.microsoft.com/office/drawing/2014/main" id="{EE97687D-690D-47F7-B999-C069179D7B77}"/>
                  </a:ext>
                </a:extLst>
              </p:cNvPr>
              <p:cNvSpPr>
                <a:spLocks/>
              </p:cNvSpPr>
              <p:nvPr/>
            </p:nvSpPr>
            <p:spPr bwMode="auto">
              <a:xfrm>
                <a:off x="5603" y="1533"/>
                <a:ext cx="14" cy="11"/>
              </a:xfrm>
              <a:custGeom>
                <a:avLst/>
                <a:gdLst>
                  <a:gd name="T0" fmla="*/ 5 w 14"/>
                  <a:gd name="T1" fmla="*/ 11 h 11"/>
                  <a:gd name="T2" fmla="*/ 9 w 14"/>
                  <a:gd name="T3" fmla="*/ 9 h 11"/>
                  <a:gd name="T4" fmla="*/ 13 w 14"/>
                  <a:gd name="T5" fmla="*/ 8 h 11"/>
                  <a:gd name="T6" fmla="*/ 14 w 14"/>
                  <a:gd name="T7" fmla="*/ 3 h 11"/>
                  <a:gd name="T8" fmla="*/ 11 w 14"/>
                  <a:gd name="T9" fmla="*/ 2 h 11"/>
                  <a:gd name="T10" fmla="*/ 8 w 14"/>
                  <a:gd name="T11" fmla="*/ 0 h 11"/>
                  <a:gd name="T12" fmla="*/ 3 w 14"/>
                  <a:gd name="T13" fmla="*/ 2 h 11"/>
                  <a:gd name="T14" fmla="*/ 0 w 14"/>
                  <a:gd name="T15" fmla="*/ 4 h 11"/>
                  <a:gd name="T16" fmla="*/ 0 w 14"/>
                  <a:gd name="T17" fmla="*/ 7 h 11"/>
                  <a:gd name="T18" fmla="*/ 3 w 14"/>
                  <a:gd name="T19" fmla="*/ 9 h 11"/>
                  <a:gd name="T20" fmla="*/ 5 w 14"/>
                  <a:gd name="T21" fmla="*/ 11 h 11"/>
                  <a:gd name="T22" fmla="*/ 5 w 14"/>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5" y="11"/>
                    </a:moveTo>
                    <a:lnTo>
                      <a:pt x="9" y="9"/>
                    </a:lnTo>
                    <a:lnTo>
                      <a:pt x="13" y="8"/>
                    </a:lnTo>
                    <a:lnTo>
                      <a:pt x="14" y="3"/>
                    </a:lnTo>
                    <a:lnTo>
                      <a:pt x="11" y="2"/>
                    </a:lnTo>
                    <a:lnTo>
                      <a:pt x="8" y="0"/>
                    </a:lnTo>
                    <a:lnTo>
                      <a:pt x="3" y="2"/>
                    </a:lnTo>
                    <a:lnTo>
                      <a:pt x="0" y="4"/>
                    </a:lnTo>
                    <a:lnTo>
                      <a:pt x="0" y="7"/>
                    </a:lnTo>
                    <a:lnTo>
                      <a:pt x="3" y="9"/>
                    </a:lnTo>
                    <a:lnTo>
                      <a:pt x="5" y="11"/>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5" name="Freeform 191">
                <a:extLst>
                  <a:ext uri="{FF2B5EF4-FFF2-40B4-BE49-F238E27FC236}">
                    <a16:creationId xmlns:a16="http://schemas.microsoft.com/office/drawing/2014/main" id="{51AB13DD-1A3B-4021-BFBE-0AA1E5C22AE9}"/>
                  </a:ext>
                </a:extLst>
              </p:cNvPr>
              <p:cNvSpPr>
                <a:spLocks/>
              </p:cNvSpPr>
              <p:nvPr/>
            </p:nvSpPr>
            <p:spPr bwMode="auto">
              <a:xfrm>
                <a:off x="5685" y="1498"/>
                <a:ext cx="66" cy="23"/>
              </a:xfrm>
              <a:custGeom>
                <a:avLst/>
                <a:gdLst>
                  <a:gd name="T0" fmla="*/ 42 w 66"/>
                  <a:gd name="T1" fmla="*/ 23 h 23"/>
                  <a:gd name="T2" fmla="*/ 49 w 66"/>
                  <a:gd name="T3" fmla="*/ 23 h 23"/>
                  <a:gd name="T4" fmla="*/ 55 w 66"/>
                  <a:gd name="T5" fmla="*/ 21 h 23"/>
                  <a:gd name="T6" fmla="*/ 60 w 66"/>
                  <a:gd name="T7" fmla="*/ 20 h 23"/>
                  <a:gd name="T8" fmla="*/ 63 w 66"/>
                  <a:gd name="T9" fmla="*/ 17 h 23"/>
                  <a:gd name="T10" fmla="*/ 65 w 66"/>
                  <a:gd name="T11" fmla="*/ 15 h 23"/>
                  <a:gd name="T12" fmla="*/ 66 w 66"/>
                  <a:gd name="T13" fmla="*/ 13 h 23"/>
                  <a:gd name="T14" fmla="*/ 63 w 66"/>
                  <a:gd name="T15" fmla="*/ 12 h 23"/>
                  <a:gd name="T16" fmla="*/ 61 w 66"/>
                  <a:gd name="T17" fmla="*/ 13 h 23"/>
                  <a:gd name="T18" fmla="*/ 58 w 66"/>
                  <a:gd name="T19" fmla="*/ 12 h 23"/>
                  <a:gd name="T20" fmla="*/ 55 w 66"/>
                  <a:gd name="T21" fmla="*/ 11 h 23"/>
                  <a:gd name="T22" fmla="*/ 44 w 66"/>
                  <a:gd name="T23" fmla="*/ 8 h 23"/>
                  <a:gd name="T24" fmla="*/ 41 w 66"/>
                  <a:gd name="T25" fmla="*/ 9 h 23"/>
                  <a:gd name="T26" fmla="*/ 39 w 66"/>
                  <a:gd name="T27" fmla="*/ 11 h 23"/>
                  <a:gd name="T28" fmla="*/ 35 w 66"/>
                  <a:gd name="T29" fmla="*/ 11 h 23"/>
                  <a:gd name="T30" fmla="*/ 33 w 66"/>
                  <a:gd name="T31" fmla="*/ 8 h 23"/>
                  <a:gd name="T32" fmla="*/ 34 w 66"/>
                  <a:gd name="T33" fmla="*/ 6 h 23"/>
                  <a:gd name="T34" fmla="*/ 31 w 66"/>
                  <a:gd name="T35" fmla="*/ 5 h 23"/>
                  <a:gd name="T36" fmla="*/ 28 w 66"/>
                  <a:gd name="T37" fmla="*/ 5 h 23"/>
                  <a:gd name="T38" fmla="*/ 19 w 66"/>
                  <a:gd name="T39" fmla="*/ 4 h 23"/>
                  <a:gd name="T40" fmla="*/ 17 w 66"/>
                  <a:gd name="T41" fmla="*/ 7 h 23"/>
                  <a:gd name="T42" fmla="*/ 14 w 66"/>
                  <a:gd name="T43" fmla="*/ 7 h 23"/>
                  <a:gd name="T44" fmla="*/ 11 w 66"/>
                  <a:gd name="T45" fmla="*/ 7 h 23"/>
                  <a:gd name="T46" fmla="*/ 8 w 66"/>
                  <a:gd name="T47" fmla="*/ 5 h 23"/>
                  <a:gd name="T48" fmla="*/ 9 w 66"/>
                  <a:gd name="T49" fmla="*/ 3 h 23"/>
                  <a:gd name="T50" fmla="*/ 7 w 66"/>
                  <a:gd name="T51" fmla="*/ 0 h 23"/>
                  <a:gd name="T52" fmla="*/ 3 w 66"/>
                  <a:gd name="T53" fmla="*/ 3 h 23"/>
                  <a:gd name="T54" fmla="*/ 0 w 66"/>
                  <a:gd name="T55" fmla="*/ 11 h 23"/>
                  <a:gd name="T56" fmla="*/ 3 w 66"/>
                  <a:gd name="T57" fmla="*/ 12 h 23"/>
                  <a:gd name="T58" fmla="*/ 9 w 66"/>
                  <a:gd name="T59" fmla="*/ 13 h 23"/>
                  <a:gd name="T60" fmla="*/ 15 w 66"/>
                  <a:gd name="T61" fmla="*/ 16 h 23"/>
                  <a:gd name="T62" fmla="*/ 17 w 66"/>
                  <a:gd name="T63" fmla="*/ 17 h 23"/>
                  <a:gd name="T64" fmla="*/ 20 w 66"/>
                  <a:gd name="T65" fmla="*/ 17 h 23"/>
                  <a:gd name="T66" fmla="*/ 28 w 66"/>
                  <a:gd name="T67" fmla="*/ 22 h 23"/>
                  <a:gd name="T68" fmla="*/ 34 w 66"/>
                  <a:gd name="T69" fmla="*/ 23 h 23"/>
                  <a:gd name="T70" fmla="*/ 42 w 66"/>
                  <a:gd name="T71" fmla="*/ 23 h 23"/>
                  <a:gd name="T72" fmla="*/ 42 w 66"/>
                  <a:gd name="T7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23">
                    <a:moveTo>
                      <a:pt x="42" y="23"/>
                    </a:moveTo>
                    <a:lnTo>
                      <a:pt x="49" y="23"/>
                    </a:lnTo>
                    <a:lnTo>
                      <a:pt x="55" y="21"/>
                    </a:lnTo>
                    <a:lnTo>
                      <a:pt x="60" y="20"/>
                    </a:lnTo>
                    <a:lnTo>
                      <a:pt x="63" y="17"/>
                    </a:lnTo>
                    <a:lnTo>
                      <a:pt x="65" y="15"/>
                    </a:lnTo>
                    <a:lnTo>
                      <a:pt x="66" y="13"/>
                    </a:lnTo>
                    <a:lnTo>
                      <a:pt x="63" y="12"/>
                    </a:lnTo>
                    <a:lnTo>
                      <a:pt x="61" y="13"/>
                    </a:lnTo>
                    <a:lnTo>
                      <a:pt x="58" y="12"/>
                    </a:lnTo>
                    <a:lnTo>
                      <a:pt x="55" y="11"/>
                    </a:lnTo>
                    <a:lnTo>
                      <a:pt x="44" y="8"/>
                    </a:lnTo>
                    <a:lnTo>
                      <a:pt x="41" y="9"/>
                    </a:lnTo>
                    <a:lnTo>
                      <a:pt x="39" y="11"/>
                    </a:lnTo>
                    <a:lnTo>
                      <a:pt x="35" y="11"/>
                    </a:lnTo>
                    <a:lnTo>
                      <a:pt x="33" y="8"/>
                    </a:lnTo>
                    <a:lnTo>
                      <a:pt x="34" y="6"/>
                    </a:lnTo>
                    <a:lnTo>
                      <a:pt x="31" y="5"/>
                    </a:lnTo>
                    <a:lnTo>
                      <a:pt x="28" y="5"/>
                    </a:lnTo>
                    <a:lnTo>
                      <a:pt x="19" y="4"/>
                    </a:lnTo>
                    <a:lnTo>
                      <a:pt x="17" y="7"/>
                    </a:lnTo>
                    <a:lnTo>
                      <a:pt x="14" y="7"/>
                    </a:lnTo>
                    <a:lnTo>
                      <a:pt x="11" y="7"/>
                    </a:lnTo>
                    <a:lnTo>
                      <a:pt x="8" y="5"/>
                    </a:lnTo>
                    <a:lnTo>
                      <a:pt x="9" y="3"/>
                    </a:lnTo>
                    <a:lnTo>
                      <a:pt x="7" y="0"/>
                    </a:lnTo>
                    <a:lnTo>
                      <a:pt x="3" y="3"/>
                    </a:lnTo>
                    <a:lnTo>
                      <a:pt x="0" y="11"/>
                    </a:lnTo>
                    <a:lnTo>
                      <a:pt x="3" y="12"/>
                    </a:lnTo>
                    <a:lnTo>
                      <a:pt x="9" y="13"/>
                    </a:lnTo>
                    <a:lnTo>
                      <a:pt x="15" y="16"/>
                    </a:lnTo>
                    <a:lnTo>
                      <a:pt x="17" y="17"/>
                    </a:lnTo>
                    <a:lnTo>
                      <a:pt x="20" y="17"/>
                    </a:lnTo>
                    <a:lnTo>
                      <a:pt x="28" y="22"/>
                    </a:lnTo>
                    <a:lnTo>
                      <a:pt x="34" y="23"/>
                    </a:lnTo>
                    <a:lnTo>
                      <a:pt x="42" y="23"/>
                    </a:lnTo>
                    <a:lnTo>
                      <a:pt x="4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6" name="Freeform 192">
                <a:extLst>
                  <a:ext uri="{FF2B5EF4-FFF2-40B4-BE49-F238E27FC236}">
                    <a16:creationId xmlns:a16="http://schemas.microsoft.com/office/drawing/2014/main" id="{04955075-257C-4633-948B-05D71695382A}"/>
                  </a:ext>
                </a:extLst>
              </p:cNvPr>
              <p:cNvSpPr>
                <a:spLocks/>
              </p:cNvSpPr>
              <p:nvPr/>
            </p:nvSpPr>
            <p:spPr bwMode="auto">
              <a:xfrm>
                <a:off x="5716" y="2863"/>
                <a:ext cx="56" cy="28"/>
              </a:xfrm>
              <a:custGeom>
                <a:avLst/>
                <a:gdLst>
                  <a:gd name="T0" fmla="*/ 34 w 56"/>
                  <a:gd name="T1" fmla="*/ 27 h 28"/>
                  <a:gd name="T2" fmla="*/ 35 w 56"/>
                  <a:gd name="T3" fmla="*/ 26 h 28"/>
                  <a:gd name="T4" fmla="*/ 38 w 56"/>
                  <a:gd name="T5" fmla="*/ 25 h 28"/>
                  <a:gd name="T6" fmla="*/ 40 w 56"/>
                  <a:gd name="T7" fmla="*/ 23 h 28"/>
                  <a:gd name="T8" fmla="*/ 43 w 56"/>
                  <a:gd name="T9" fmla="*/ 21 h 28"/>
                  <a:gd name="T10" fmla="*/ 44 w 56"/>
                  <a:gd name="T11" fmla="*/ 19 h 28"/>
                  <a:gd name="T12" fmla="*/ 49 w 56"/>
                  <a:gd name="T13" fmla="*/ 19 h 28"/>
                  <a:gd name="T14" fmla="*/ 52 w 56"/>
                  <a:gd name="T15" fmla="*/ 17 h 28"/>
                  <a:gd name="T16" fmla="*/ 51 w 56"/>
                  <a:gd name="T17" fmla="*/ 13 h 28"/>
                  <a:gd name="T18" fmla="*/ 52 w 56"/>
                  <a:gd name="T19" fmla="*/ 11 h 28"/>
                  <a:gd name="T20" fmla="*/ 54 w 56"/>
                  <a:gd name="T21" fmla="*/ 10 h 28"/>
                  <a:gd name="T22" fmla="*/ 56 w 56"/>
                  <a:gd name="T23" fmla="*/ 7 h 28"/>
                  <a:gd name="T24" fmla="*/ 55 w 56"/>
                  <a:gd name="T25" fmla="*/ 4 h 28"/>
                  <a:gd name="T26" fmla="*/ 55 w 56"/>
                  <a:gd name="T27" fmla="*/ 2 h 28"/>
                  <a:gd name="T28" fmla="*/ 52 w 56"/>
                  <a:gd name="T29" fmla="*/ 0 h 28"/>
                  <a:gd name="T30" fmla="*/ 49 w 56"/>
                  <a:gd name="T31" fmla="*/ 2 h 28"/>
                  <a:gd name="T32" fmla="*/ 47 w 56"/>
                  <a:gd name="T33" fmla="*/ 0 h 28"/>
                  <a:gd name="T34" fmla="*/ 44 w 56"/>
                  <a:gd name="T35" fmla="*/ 2 h 28"/>
                  <a:gd name="T36" fmla="*/ 46 w 56"/>
                  <a:gd name="T37" fmla="*/ 8 h 28"/>
                  <a:gd name="T38" fmla="*/ 45 w 56"/>
                  <a:gd name="T39" fmla="*/ 10 h 28"/>
                  <a:gd name="T40" fmla="*/ 41 w 56"/>
                  <a:gd name="T41" fmla="*/ 10 h 28"/>
                  <a:gd name="T42" fmla="*/ 39 w 56"/>
                  <a:gd name="T43" fmla="*/ 12 h 28"/>
                  <a:gd name="T44" fmla="*/ 35 w 56"/>
                  <a:gd name="T45" fmla="*/ 18 h 28"/>
                  <a:gd name="T46" fmla="*/ 32 w 56"/>
                  <a:gd name="T47" fmla="*/ 19 h 28"/>
                  <a:gd name="T48" fmla="*/ 30 w 56"/>
                  <a:gd name="T49" fmla="*/ 17 h 28"/>
                  <a:gd name="T50" fmla="*/ 27 w 56"/>
                  <a:gd name="T51" fmla="*/ 19 h 28"/>
                  <a:gd name="T52" fmla="*/ 24 w 56"/>
                  <a:gd name="T53" fmla="*/ 17 h 28"/>
                  <a:gd name="T54" fmla="*/ 23 w 56"/>
                  <a:gd name="T55" fmla="*/ 12 h 28"/>
                  <a:gd name="T56" fmla="*/ 22 w 56"/>
                  <a:gd name="T57" fmla="*/ 15 h 28"/>
                  <a:gd name="T58" fmla="*/ 22 w 56"/>
                  <a:gd name="T59" fmla="*/ 16 h 28"/>
                  <a:gd name="T60" fmla="*/ 21 w 56"/>
                  <a:gd name="T61" fmla="*/ 18 h 28"/>
                  <a:gd name="T62" fmla="*/ 19 w 56"/>
                  <a:gd name="T63" fmla="*/ 19 h 28"/>
                  <a:gd name="T64" fmla="*/ 17 w 56"/>
                  <a:gd name="T65" fmla="*/ 19 h 28"/>
                  <a:gd name="T66" fmla="*/ 17 w 56"/>
                  <a:gd name="T67" fmla="*/ 19 h 28"/>
                  <a:gd name="T68" fmla="*/ 13 w 56"/>
                  <a:gd name="T69" fmla="*/ 19 h 28"/>
                  <a:gd name="T70" fmla="*/ 11 w 56"/>
                  <a:gd name="T71" fmla="*/ 18 h 28"/>
                  <a:gd name="T72" fmla="*/ 5 w 56"/>
                  <a:gd name="T73" fmla="*/ 18 h 28"/>
                  <a:gd name="T74" fmla="*/ 0 w 56"/>
                  <a:gd name="T75" fmla="*/ 19 h 28"/>
                  <a:gd name="T76" fmla="*/ 2 w 56"/>
                  <a:gd name="T77" fmla="*/ 23 h 28"/>
                  <a:gd name="T78" fmla="*/ 5 w 56"/>
                  <a:gd name="T79" fmla="*/ 23 h 28"/>
                  <a:gd name="T80" fmla="*/ 10 w 56"/>
                  <a:gd name="T81" fmla="*/ 26 h 28"/>
                  <a:gd name="T82" fmla="*/ 12 w 56"/>
                  <a:gd name="T83" fmla="*/ 26 h 28"/>
                  <a:gd name="T84" fmla="*/ 15 w 56"/>
                  <a:gd name="T85" fmla="*/ 26 h 28"/>
                  <a:gd name="T86" fmla="*/ 18 w 56"/>
                  <a:gd name="T87" fmla="*/ 28 h 28"/>
                  <a:gd name="T88" fmla="*/ 28 w 56"/>
                  <a:gd name="T89" fmla="*/ 28 h 28"/>
                  <a:gd name="T90" fmla="*/ 30 w 56"/>
                  <a:gd name="T91" fmla="*/ 27 h 28"/>
                  <a:gd name="T92" fmla="*/ 34 w 56"/>
                  <a:gd name="T93" fmla="*/ 27 h 28"/>
                  <a:gd name="T94" fmla="*/ 34 w 56"/>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28">
                    <a:moveTo>
                      <a:pt x="34" y="27"/>
                    </a:moveTo>
                    <a:lnTo>
                      <a:pt x="35" y="26"/>
                    </a:lnTo>
                    <a:lnTo>
                      <a:pt x="38" y="25"/>
                    </a:lnTo>
                    <a:lnTo>
                      <a:pt x="40" y="23"/>
                    </a:lnTo>
                    <a:lnTo>
                      <a:pt x="43" y="21"/>
                    </a:lnTo>
                    <a:lnTo>
                      <a:pt x="44" y="19"/>
                    </a:lnTo>
                    <a:lnTo>
                      <a:pt x="49" y="19"/>
                    </a:lnTo>
                    <a:lnTo>
                      <a:pt x="52" y="17"/>
                    </a:lnTo>
                    <a:lnTo>
                      <a:pt x="51" y="13"/>
                    </a:lnTo>
                    <a:lnTo>
                      <a:pt x="52" y="11"/>
                    </a:lnTo>
                    <a:lnTo>
                      <a:pt x="54" y="10"/>
                    </a:lnTo>
                    <a:lnTo>
                      <a:pt x="56" y="7"/>
                    </a:lnTo>
                    <a:lnTo>
                      <a:pt x="55" y="4"/>
                    </a:lnTo>
                    <a:lnTo>
                      <a:pt x="55" y="2"/>
                    </a:lnTo>
                    <a:lnTo>
                      <a:pt x="52" y="0"/>
                    </a:lnTo>
                    <a:lnTo>
                      <a:pt x="49" y="2"/>
                    </a:lnTo>
                    <a:lnTo>
                      <a:pt x="47" y="0"/>
                    </a:lnTo>
                    <a:lnTo>
                      <a:pt x="44" y="2"/>
                    </a:lnTo>
                    <a:lnTo>
                      <a:pt x="46" y="8"/>
                    </a:lnTo>
                    <a:lnTo>
                      <a:pt x="45" y="10"/>
                    </a:lnTo>
                    <a:lnTo>
                      <a:pt x="41" y="10"/>
                    </a:lnTo>
                    <a:lnTo>
                      <a:pt x="39" y="12"/>
                    </a:lnTo>
                    <a:lnTo>
                      <a:pt x="35" y="18"/>
                    </a:lnTo>
                    <a:lnTo>
                      <a:pt x="32" y="19"/>
                    </a:lnTo>
                    <a:lnTo>
                      <a:pt x="30" y="17"/>
                    </a:lnTo>
                    <a:lnTo>
                      <a:pt x="27" y="19"/>
                    </a:lnTo>
                    <a:lnTo>
                      <a:pt x="24" y="17"/>
                    </a:lnTo>
                    <a:lnTo>
                      <a:pt x="23" y="12"/>
                    </a:lnTo>
                    <a:lnTo>
                      <a:pt x="22" y="15"/>
                    </a:lnTo>
                    <a:lnTo>
                      <a:pt x="22" y="16"/>
                    </a:lnTo>
                    <a:lnTo>
                      <a:pt x="21" y="18"/>
                    </a:lnTo>
                    <a:lnTo>
                      <a:pt x="19" y="19"/>
                    </a:lnTo>
                    <a:lnTo>
                      <a:pt x="17" y="19"/>
                    </a:lnTo>
                    <a:lnTo>
                      <a:pt x="17" y="19"/>
                    </a:lnTo>
                    <a:lnTo>
                      <a:pt x="13" y="19"/>
                    </a:lnTo>
                    <a:lnTo>
                      <a:pt x="11" y="18"/>
                    </a:lnTo>
                    <a:lnTo>
                      <a:pt x="5" y="18"/>
                    </a:lnTo>
                    <a:lnTo>
                      <a:pt x="0" y="19"/>
                    </a:lnTo>
                    <a:lnTo>
                      <a:pt x="2" y="23"/>
                    </a:lnTo>
                    <a:lnTo>
                      <a:pt x="5" y="23"/>
                    </a:lnTo>
                    <a:lnTo>
                      <a:pt x="10" y="26"/>
                    </a:lnTo>
                    <a:lnTo>
                      <a:pt x="12" y="26"/>
                    </a:lnTo>
                    <a:lnTo>
                      <a:pt x="15" y="26"/>
                    </a:lnTo>
                    <a:lnTo>
                      <a:pt x="18" y="28"/>
                    </a:lnTo>
                    <a:lnTo>
                      <a:pt x="28" y="28"/>
                    </a:lnTo>
                    <a:lnTo>
                      <a:pt x="30" y="27"/>
                    </a:lnTo>
                    <a:lnTo>
                      <a:pt x="34"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7" name="Freeform 193">
                <a:extLst>
                  <a:ext uri="{FF2B5EF4-FFF2-40B4-BE49-F238E27FC236}">
                    <a16:creationId xmlns:a16="http://schemas.microsoft.com/office/drawing/2014/main" id="{563A6892-74EC-4EE3-AC92-6C1A94F6B3B0}"/>
                  </a:ext>
                </a:extLst>
              </p:cNvPr>
              <p:cNvSpPr>
                <a:spLocks/>
              </p:cNvSpPr>
              <p:nvPr/>
            </p:nvSpPr>
            <p:spPr bwMode="auto">
              <a:xfrm>
                <a:off x="5748" y="2843"/>
                <a:ext cx="33" cy="28"/>
              </a:xfrm>
              <a:custGeom>
                <a:avLst/>
                <a:gdLst>
                  <a:gd name="T0" fmla="*/ 28 w 33"/>
                  <a:gd name="T1" fmla="*/ 15 h 28"/>
                  <a:gd name="T2" fmla="*/ 25 w 33"/>
                  <a:gd name="T3" fmla="*/ 13 h 28"/>
                  <a:gd name="T4" fmla="*/ 20 w 33"/>
                  <a:gd name="T5" fmla="*/ 9 h 28"/>
                  <a:gd name="T6" fmla="*/ 17 w 33"/>
                  <a:gd name="T7" fmla="*/ 6 h 28"/>
                  <a:gd name="T8" fmla="*/ 14 w 33"/>
                  <a:gd name="T9" fmla="*/ 5 h 28"/>
                  <a:gd name="T10" fmla="*/ 12 w 33"/>
                  <a:gd name="T11" fmla="*/ 3 h 28"/>
                  <a:gd name="T12" fmla="*/ 4 w 33"/>
                  <a:gd name="T13" fmla="*/ 0 h 28"/>
                  <a:gd name="T14" fmla="*/ 0 w 33"/>
                  <a:gd name="T15" fmla="*/ 0 h 28"/>
                  <a:gd name="T16" fmla="*/ 4 w 33"/>
                  <a:gd name="T17" fmla="*/ 1 h 28"/>
                  <a:gd name="T18" fmla="*/ 6 w 33"/>
                  <a:gd name="T19" fmla="*/ 2 h 28"/>
                  <a:gd name="T20" fmla="*/ 17 w 33"/>
                  <a:gd name="T21" fmla="*/ 10 h 28"/>
                  <a:gd name="T22" fmla="*/ 20 w 33"/>
                  <a:gd name="T23" fmla="*/ 11 h 28"/>
                  <a:gd name="T24" fmla="*/ 22 w 33"/>
                  <a:gd name="T25" fmla="*/ 12 h 28"/>
                  <a:gd name="T26" fmla="*/ 26 w 33"/>
                  <a:gd name="T27" fmla="*/ 18 h 28"/>
                  <a:gd name="T28" fmla="*/ 28 w 33"/>
                  <a:gd name="T29" fmla="*/ 20 h 28"/>
                  <a:gd name="T30" fmla="*/ 28 w 33"/>
                  <a:gd name="T31" fmla="*/ 26 h 28"/>
                  <a:gd name="T32" fmla="*/ 30 w 33"/>
                  <a:gd name="T33" fmla="*/ 28 h 28"/>
                  <a:gd name="T34" fmla="*/ 32 w 33"/>
                  <a:gd name="T35" fmla="*/ 27 h 28"/>
                  <a:gd name="T36" fmla="*/ 33 w 33"/>
                  <a:gd name="T37" fmla="*/ 21 h 28"/>
                  <a:gd name="T38" fmla="*/ 31 w 33"/>
                  <a:gd name="T39" fmla="*/ 18 h 28"/>
                  <a:gd name="T40" fmla="*/ 29 w 33"/>
                  <a:gd name="T41" fmla="*/ 16 h 28"/>
                  <a:gd name="T42" fmla="*/ 28 w 33"/>
                  <a:gd name="T43" fmla="*/ 15 h 28"/>
                  <a:gd name="T44" fmla="*/ 28 w 33"/>
                  <a:gd name="T4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28">
                    <a:moveTo>
                      <a:pt x="28" y="15"/>
                    </a:moveTo>
                    <a:lnTo>
                      <a:pt x="25" y="13"/>
                    </a:lnTo>
                    <a:lnTo>
                      <a:pt x="20" y="9"/>
                    </a:lnTo>
                    <a:lnTo>
                      <a:pt x="17" y="6"/>
                    </a:lnTo>
                    <a:lnTo>
                      <a:pt x="14" y="5"/>
                    </a:lnTo>
                    <a:lnTo>
                      <a:pt x="12" y="3"/>
                    </a:lnTo>
                    <a:lnTo>
                      <a:pt x="4" y="0"/>
                    </a:lnTo>
                    <a:lnTo>
                      <a:pt x="0" y="0"/>
                    </a:lnTo>
                    <a:lnTo>
                      <a:pt x="4" y="1"/>
                    </a:lnTo>
                    <a:lnTo>
                      <a:pt x="6" y="2"/>
                    </a:lnTo>
                    <a:lnTo>
                      <a:pt x="17" y="10"/>
                    </a:lnTo>
                    <a:lnTo>
                      <a:pt x="20" y="11"/>
                    </a:lnTo>
                    <a:lnTo>
                      <a:pt x="22" y="12"/>
                    </a:lnTo>
                    <a:lnTo>
                      <a:pt x="26" y="18"/>
                    </a:lnTo>
                    <a:lnTo>
                      <a:pt x="28" y="20"/>
                    </a:lnTo>
                    <a:lnTo>
                      <a:pt x="28" y="26"/>
                    </a:lnTo>
                    <a:lnTo>
                      <a:pt x="30" y="28"/>
                    </a:lnTo>
                    <a:lnTo>
                      <a:pt x="32" y="27"/>
                    </a:lnTo>
                    <a:lnTo>
                      <a:pt x="33" y="21"/>
                    </a:lnTo>
                    <a:lnTo>
                      <a:pt x="31" y="18"/>
                    </a:lnTo>
                    <a:lnTo>
                      <a:pt x="29" y="16"/>
                    </a:lnTo>
                    <a:lnTo>
                      <a:pt x="28" y="15"/>
                    </a:lnTo>
                    <a:lnTo>
                      <a:pt x="2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8" name="Freeform 194">
                <a:extLst>
                  <a:ext uri="{FF2B5EF4-FFF2-40B4-BE49-F238E27FC236}">
                    <a16:creationId xmlns:a16="http://schemas.microsoft.com/office/drawing/2014/main" id="{156E1A91-DE47-45D6-8A78-F9FF469DD8D9}"/>
                  </a:ext>
                </a:extLst>
              </p:cNvPr>
              <p:cNvSpPr>
                <a:spLocks/>
              </p:cNvSpPr>
              <p:nvPr/>
            </p:nvSpPr>
            <p:spPr bwMode="auto">
              <a:xfrm>
                <a:off x="5753" y="3135"/>
                <a:ext cx="3" cy="2"/>
              </a:xfrm>
              <a:custGeom>
                <a:avLst/>
                <a:gdLst>
                  <a:gd name="T0" fmla="*/ 2 w 3"/>
                  <a:gd name="T1" fmla="*/ 2 h 2"/>
                  <a:gd name="T2" fmla="*/ 3 w 3"/>
                  <a:gd name="T3" fmla="*/ 1 h 2"/>
                  <a:gd name="T4" fmla="*/ 0 w 3"/>
                  <a:gd name="T5" fmla="*/ 0 h 2"/>
                  <a:gd name="T6" fmla="*/ 2 w 3"/>
                  <a:gd name="T7" fmla="*/ 2 h 2"/>
                  <a:gd name="T8" fmla="*/ 2 w 3"/>
                  <a:gd name="T9" fmla="*/ 2 h 2"/>
                </a:gdLst>
                <a:ahLst/>
                <a:cxnLst>
                  <a:cxn ang="0">
                    <a:pos x="T0" y="T1"/>
                  </a:cxn>
                  <a:cxn ang="0">
                    <a:pos x="T2" y="T3"/>
                  </a:cxn>
                  <a:cxn ang="0">
                    <a:pos x="T4" y="T5"/>
                  </a:cxn>
                  <a:cxn ang="0">
                    <a:pos x="T6" y="T7"/>
                  </a:cxn>
                  <a:cxn ang="0">
                    <a:pos x="T8" y="T9"/>
                  </a:cxn>
                </a:cxnLst>
                <a:rect l="0" t="0" r="r" b="b"/>
                <a:pathLst>
                  <a:path w="3" h="2">
                    <a:moveTo>
                      <a:pt x="2" y="2"/>
                    </a:moveTo>
                    <a:lnTo>
                      <a:pt x="3" y="1"/>
                    </a:lnTo>
                    <a:lnTo>
                      <a:pt x="0"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9" name="Freeform 195">
                <a:extLst>
                  <a:ext uri="{FF2B5EF4-FFF2-40B4-BE49-F238E27FC236}">
                    <a16:creationId xmlns:a16="http://schemas.microsoft.com/office/drawing/2014/main" id="{8E633E47-8754-45A8-AD07-8F55D531AEF0}"/>
                  </a:ext>
                </a:extLst>
              </p:cNvPr>
              <p:cNvSpPr>
                <a:spLocks/>
              </p:cNvSpPr>
              <p:nvPr/>
            </p:nvSpPr>
            <p:spPr bwMode="auto">
              <a:xfrm>
                <a:off x="5779" y="3153"/>
                <a:ext cx="6" cy="13"/>
              </a:xfrm>
              <a:custGeom>
                <a:avLst/>
                <a:gdLst>
                  <a:gd name="T0" fmla="*/ 2 w 6"/>
                  <a:gd name="T1" fmla="*/ 13 h 13"/>
                  <a:gd name="T2" fmla="*/ 2 w 6"/>
                  <a:gd name="T3" fmla="*/ 11 h 13"/>
                  <a:gd name="T4" fmla="*/ 6 w 6"/>
                  <a:gd name="T5" fmla="*/ 3 h 13"/>
                  <a:gd name="T6" fmla="*/ 5 w 6"/>
                  <a:gd name="T7" fmla="*/ 0 h 13"/>
                  <a:gd name="T8" fmla="*/ 3 w 6"/>
                  <a:gd name="T9" fmla="*/ 3 h 13"/>
                  <a:gd name="T10" fmla="*/ 1 w 6"/>
                  <a:gd name="T11" fmla="*/ 5 h 13"/>
                  <a:gd name="T12" fmla="*/ 1 w 6"/>
                  <a:gd name="T13" fmla="*/ 8 h 13"/>
                  <a:gd name="T14" fmla="*/ 0 w 6"/>
                  <a:gd name="T15" fmla="*/ 10 h 13"/>
                  <a:gd name="T16" fmla="*/ 1 w 6"/>
                  <a:gd name="T17" fmla="*/ 13 h 13"/>
                  <a:gd name="T18" fmla="*/ 2 w 6"/>
                  <a:gd name="T19" fmla="*/ 13 h 13"/>
                  <a:gd name="T20" fmla="*/ 2 w 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2" y="13"/>
                    </a:moveTo>
                    <a:lnTo>
                      <a:pt x="2" y="11"/>
                    </a:lnTo>
                    <a:lnTo>
                      <a:pt x="6" y="3"/>
                    </a:lnTo>
                    <a:lnTo>
                      <a:pt x="5" y="0"/>
                    </a:lnTo>
                    <a:lnTo>
                      <a:pt x="3" y="3"/>
                    </a:lnTo>
                    <a:lnTo>
                      <a:pt x="1" y="5"/>
                    </a:lnTo>
                    <a:lnTo>
                      <a:pt x="1" y="8"/>
                    </a:lnTo>
                    <a:lnTo>
                      <a:pt x="0" y="10"/>
                    </a:lnTo>
                    <a:lnTo>
                      <a:pt x="1" y="13"/>
                    </a:lnTo>
                    <a:lnTo>
                      <a:pt x="2" y="13"/>
                    </a:ln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0" name="Freeform 196">
                <a:extLst>
                  <a:ext uri="{FF2B5EF4-FFF2-40B4-BE49-F238E27FC236}">
                    <a16:creationId xmlns:a16="http://schemas.microsoft.com/office/drawing/2014/main" id="{ADD8995A-D31D-4A16-A098-3AB600912087}"/>
                  </a:ext>
                </a:extLst>
              </p:cNvPr>
              <p:cNvSpPr>
                <a:spLocks/>
              </p:cNvSpPr>
              <p:nvPr/>
            </p:nvSpPr>
            <p:spPr bwMode="auto">
              <a:xfrm>
                <a:off x="5786" y="3192"/>
                <a:ext cx="0" cy="3"/>
              </a:xfrm>
              <a:custGeom>
                <a:avLst/>
                <a:gdLst>
                  <a:gd name="T0" fmla="*/ 3 h 3"/>
                  <a:gd name="T1" fmla="*/ 3 h 3"/>
                  <a:gd name="T2" fmla="*/ 0 h 3"/>
                  <a:gd name="T3" fmla="*/ 3 h 3"/>
                  <a:gd name="T4" fmla="*/ 3 h 3"/>
                </a:gdLst>
                <a:ahLst/>
                <a:cxnLst>
                  <a:cxn ang="0">
                    <a:pos x="0" y="T0"/>
                  </a:cxn>
                  <a:cxn ang="0">
                    <a:pos x="0" y="T1"/>
                  </a:cxn>
                  <a:cxn ang="0">
                    <a:pos x="0" y="T2"/>
                  </a:cxn>
                  <a:cxn ang="0">
                    <a:pos x="0" y="T3"/>
                  </a:cxn>
                  <a:cxn ang="0">
                    <a:pos x="0" y="T4"/>
                  </a:cxn>
                </a:cxnLst>
                <a:rect l="0" t="0" r="r" b="b"/>
                <a:pathLst>
                  <a:path h="3">
                    <a:moveTo>
                      <a:pt x="0" y="3"/>
                    </a:moveTo>
                    <a:lnTo>
                      <a:pt x="0" y="3"/>
                    </a:lnTo>
                    <a:lnTo>
                      <a:pt x="0"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1" name="Freeform 197">
                <a:extLst>
                  <a:ext uri="{FF2B5EF4-FFF2-40B4-BE49-F238E27FC236}">
                    <a16:creationId xmlns:a16="http://schemas.microsoft.com/office/drawing/2014/main" id="{ED3661A8-8A6D-4AE5-A95C-CBD18C1B0A54}"/>
                  </a:ext>
                </a:extLst>
              </p:cNvPr>
              <p:cNvSpPr>
                <a:spLocks/>
              </p:cNvSpPr>
              <p:nvPr/>
            </p:nvSpPr>
            <p:spPr bwMode="auto">
              <a:xfrm>
                <a:off x="5583" y="2917"/>
                <a:ext cx="3" cy="4"/>
              </a:xfrm>
              <a:custGeom>
                <a:avLst/>
                <a:gdLst>
                  <a:gd name="T0" fmla="*/ 0 w 3"/>
                  <a:gd name="T1" fmla="*/ 1 h 4"/>
                  <a:gd name="T2" fmla="*/ 2 w 3"/>
                  <a:gd name="T3" fmla="*/ 0 h 4"/>
                  <a:gd name="T4" fmla="*/ 3 w 3"/>
                  <a:gd name="T5" fmla="*/ 4 h 4"/>
                  <a:gd name="T6" fmla="*/ 1 w 3"/>
                  <a:gd name="T7" fmla="*/ 4 h 4"/>
                  <a:gd name="T8" fmla="*/ 0 w 3"/>
                  <a:gd name="T9" fmla="*/ 1 h 4"/>
                  <a:gd name="T10" fmla="*/ 0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0" y="1"/>
                    </a:moveTo>
                    <a:lnTo>
                      <a:pt x="2" y="0"/>
                    </a:lnTo>
                    <a:lnTo>
                      <a:pt x="3" y="4"/>
                    </a:lnTo>
                    <a:lnTo>
                      <a:pt x="1"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2" name="Freeform 198">
                <a:extLst>
                  <a:ext uri="{FF2B5EF4-FFF2-40B4-BE49-F238E27FC236}">
                    <a16:creationId xmlns:a16="http://schemas.microsoft.com/office/drawing/2014/main" id="{C875B250-692B-4F6D-A8B9-275B0513513A}"/>
                  </a:ext>
                </a:extLst>
              </p:cNvPr>
              <p:cNvSpPr>
                <a:spLocks/>
              </p:cNvSpPr>
              <p:nvPr/>
            </p:nvSpPr>
            <p:spPr bwMode="auto">
              <a:xfrm>
                <a:off x="5625" y="1978"/>
                <a:ext cx="41" cy="151"/>
              </a:xfrm>
              <a:custGeom>
                <a:avLst/>
                <a:gdLst>
                  <a:gd name="T0" fmla="*/ 0 w 41"/>
                  <a:gd name="T1" fmla="*/ 36 h 151"/>
                  <a:gd name="T2" fmla="*/ 0 w 41"/>
                  <a:gd name="T3" fmla="*/ 45 h 151"/>
                  <a:gd name="T4" fmla="*/ 2 w 41"/>
                  <a:gd name="T5" fmla="*/ 50 h 151"/>
                  <a:gd name="T6" fmla="*/ 8 w 41"/>
                  <a:gd name="T7" fmla="*/ 58 h 151"/>
                  <a:gd name="T8" fmla="*/ 6 w 41"/>
                  <a:gd name="T9" fmla="*/ 64 h 151"/>
                  <a:gd name="T10" fmla="*/ 7 w 41"/>
                  <a:gd name="T11" fmla="*/ 77 h 151"/>
                  <a:gd name="T12" fmla="*/ 4 w 41"/>
                  <a:gd name="T13" fmla="*/ 97 h 151"/>
                  <a:gd name="T14" fmla="*/ 3 w 41"/>
                  <a:gd name="T15" fmla="*/ 106 h 151"/>
                  <a:gd name="T16" fmla="*/ 7 w 41"/>
                  <a:gd name="T17" fmla="*/ 114 h 151"/>
                  <a:gd name="T18" fmla="*/ 4 w 41"/>
                  <a:gd name="T19" fmla="*/ 122 h 151"/>
                  <a:gd name="T20" fmla="*/ 4 w 41"/>
                  <a:gd name="T21" fmla="*/ 127 h 151"/>
                  <a:gd name="T22" fmla="*/ 4 w 41"/>
                  <a:gd name="T23" fmla="*/ 132 h 151"/>
                  <a:gd name="T24" fmla="*/ 2 w 41"/>
                  <a:gd name="T25" fmla="*/ 141 h 151"/>
                  <a:gd name="T26" fmla="*/ 4 w 41"/>
                  <a:gd name="T27" fmla="*/ 151 h 151"/>
                  <a:gd name="T28" fmla="*/ 8 w 41"/>
                  <a:gd name="T29" fmla="*/ 145 h 151"/>
                  <a:gd name="T30" fmla="*/ 12 w 41"/>
                  <a:gd name="T31" fmla="*/ 137 h 151"/>
                  <a:gd name="T32" fmla="*/ 20 w 41"/>
                  <a:gd name="T33" fmla="*/ 140 h 151"/>
                  <a:gd name="T34" fmla="*/ 24 w 41"/>
                  <a:gd name="T35" fmla="*/ 148 h 151"/>
                  <a:gd name="T36" fmla="*/ 26 w 41"/>
                  <a:gd name="T37" fmla="*/ 142 h 151"/>
                  <a:gd name="T38" fmla="*/ 23 w 41"/>
                  <a:gd name="T39" fmla="*/ 136 h 151"/>
                  <a:gd name="T40" fmla="*/ 18 w 41"/>
                  <a:gd name="T41" fmla="*/ 128 h 151"/>
                  <a:gd name="T42" fmla="*/ 11 w 41"/>
                  <a:gd name="T43" fmla="*/ 119 h 151"/>
                  <a:gd name="T44" fmla="*/ 17 w 41"/>
                  <a:gd name="T45" fmla="*/ 100 h 151"/>
                  <a:gd name="T46" fmla="*/ 19 w 41"/>
                  <a:gd name="T47" fmla="*/ 93 h 151"/>
                  <a:gd name="T48" fmla="*/ 23 w 41"/>
                  <a:gd name="T49" fmla="*/ 92 h 151"/>
                  <a:gd name="T50" fmla="*/ 32 w 41"/>
                  <a:gd name="T51" fmla="*/ 92 h 151"/>
                  <a:gd name="T52" fmla="*/ 40 w 41"/>
                  <a:gd name="T53" fmla="*/ 99 h 151"/>
                  <a:gd name="T54" fmla="*/ 41 w 41"/>
                  <a:gd name="T55" fmla="*/ 99 h 151"/>
                  <a:gd name="T56" fmla="*/ 36 w 41"/>
                  <a:gd name="T57" fmla="*/ 94 h 151"/>
                  <a:gd name="T58" fmla="*/ 28 w 41"/>
                  <a:gd name="T59" fmla="*/ 74 h 151"/>
                  <a:gd name="T60" fmla="*/ 23 w 41"/>
                  <a:gd name="T61" fmla="*/ 56 h 151"/>
                  <a:gd name="T62" fmla="*/ 21 w 41"/>
                  <a:gd name="T63" fmla="*/ 47 h 151"/>
                  <a:gd name="T64" fmla="*/ 19 w 41"/>
                  <a:gd name="T65" fmla="*/ 41 h 151"/>
                  <a:gd name="T66" fmla="*/ 20 w 41"/>
                  <a:gd name="T67" fmla="*/ 36 h 151"/>
                  <a:gd name="T68" fmla="*/ 21 w 41"/>
                  <a:gd name="T69" fmla="*/ 36 h 151"/>
                  <a:gd name="T70" fmla="*/ 21 w 41"/>
                  <a:gd name="T71" fmla="*/ 28 h 151"/>
                  <a:gd name="T72" fmla="*/ 19 w 41"/>
                  <a:gd name="T73" fmla="*/ 19 h 151"/>
                  <a:gd name="T74" fmla="*/ 23 w 41"/>
                  <a:gd name="T75" fmla="*/ 28 h 151"/>
                  <a:gd name="T76" fmla="*/ 21 w 41"/>
                  <a:gd name="T77" fmla="*/ 20 h 151"/>
                  <a:gd name="T78" fmla="*/ 17 w 41"/>
                  <a:gd name="T79" fmla="*/ 8 h 151"/>
                  <a:gd name="T80" fmla="*/ 16 w 41"/>
                  <a:gd name="T81" fmla="*/ 0 h 151"/>
                  <a:gd name="T82" fmla="*/ 10 w 41"/>
                  <a:gd name="T83" fmla="*/ 2 h 151"/>
                  <a:gd name="T84" fmla="*/ 12 w 41"/>
                  <a:gd name="T85" fmla="*/ 6 h 151"/>
                  <a:gd name="T86" fmla="*/ 11 w 41"/>
                  <a:gd name="T87" fmla="*/ 14 h 151"/>
                  <a:gd name="T88" fmla="*/ 9 w 41"/>
                  <a:gd name="T89" fmla="*/ 19 h 151"/>
                  <a:gd name="T90" fmla="*/ 2 w 41"/>
                  <a:gd name="T91" fmla="*/ 17 h 151"/>
                  <a:gd name="T92" fmla="*/ 3 w 41"/>
                  <a:gd name="T93" fmla="*/ 25 h 151"/>
                  <a:gd name="T94" fmla="*/ 2 w 41"/>
                  <a:gd name="T95" fmla="*/ 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151">
                    <a:moveTo>
                      <a:pt x="2" y="33"/>
                    </a:moveTo>
                    <a:lnTo>
                      <a:pt x="0" y="36"/>
                    </a:lnTo>
                    <a:lnTo>
                      <a:pt x="0" y="39"/>
                    </a:lnTo>
                    <a:lnTo>
                      <a:pt x="0" y="45"/>
                    </a:lnTo>
                    <a:lnTo>
                      <a:pt x="2" y="48"/>
                    </a:lnTo>
                    <a:lnTo>
                      <a:pt x="2" y="50"/>
                    </a:lnTo>
                    <a:lnTo>
                      <a:pt x="4" y="53"/>
                    </a:lnTo>
                    <a:lnTo>
                      <a:pt x="8" y="58"/>
                    </a:lnTo>
                    <a:lnTo>
                      <a:pt x="8" y="60"/>
                    </a:lnTo>
                    <a:lnTo>
                      <a:pt x="6" y="64"/>
                    </a:lnTo>
                    <a:lnTo>
                      <a:pt x="4" y="68"/>
                    </a:lnTo>
                    <a:lnTo>
                      <a:pt x="7" y="77"/>
                    </a:lnTo>
                    <a:lnTo>
                      <a:pt x="6" y="88"/>
                    </a:lnTo>
                    <a:lnTo>
                      <a:pt x="4" y="97"/>
                    </a:lnTo>
                    <a:lnTo>
                      <a:pt x="2" y="102"/>
                    </a:lnTo>
                    <a:lnTo>
                      <a:pt x="3" y="106"/>
                    </a:lnTo>
                    <a:lnTo>
                      <a:pt x="6" y="108"/>
                    </a:lnTo>
                    <a:lnTo>
                      <a:pt x="7" y="114"/>
                    </a:lnTo>
                    <a:lnTo>
                      <a:pt x="7" y="116"/>
                    </a:lnTo>
                    <a:lnTo>
                      <a:pt x="4" y="122"/>
                    </a:lnTo>
                    <a:lnTo>
                      <a:pt x="3" y="124"/>
                    </a:lnTo>
                    <a:lnTo>
                      <a:pt x="4" y="127"/>
                    </a:lnTo>
                    <a:lnTo>
                      <a:pt x="4" y="130"/>
                    </a:lnTo>
                    <a:lnTo>
                      <a:pt x="4" y="132"/>
                    </a:lnTo>
                    <a:lnTo>
                      <a:pt x="2" y="137"/>
                    </a:lnTo>
                    <a:lnTo>
                      <a:pt x="2" y="141"/>
                    </a:lnTo>
                    <a:lnTo>
                      <a:pt x="3" y="149"/>
                    </a:lnTo>
                    <a:lnTo>
                      <a:pt x="4" y="151"/>
                    </a:lnTo>
                    <a:lnTo>
                      <a:pt x="7" y="148"/>
                    </a:lnTo>
                    <a:lnTo>
                      <a:pt x="8" y="145"/>
                    </a:lnTo>
                    <a:lnTo>
                      <a:pt x="10" y="140"/>
                    </a:lnTo>
                    <a:lnTo>
                      <a:pt x="12" y="137"/>
                    </a:lnTo>
                    <a:lnTo>
                      <a:pt x="16" y="139"/>
                    </a:lnTo>
                    <a:lnTo>
                      <a:pt x="20" y="140"/>
                    </a:lnTo>
                    <a:lnTo>
                      <a:pt x="23" y="142"/>
                    </a:lnTo>
                    <a:lnTo>
                      <a:pt x="24" y="148"/>
                    </a:lnTo>
                    <a:lnTo>
                      <a:pt x="25" y="145"/>
                    </a:lnTo>
                    <a:lnTo>
                      <a:pt x="26" y="142"/>
                    </a:lnTo>
                    <a:lnTo>
                      <a:pt x="25" y="136"/>
                    </a:lnTo>
                    <a:lnTo>
                      <a:pt x="23" y="136"/>
                    </a:lnTo>
                    <a:lnTo>
                      <a:pt x="19" y="136"/>
                    </a:lnTo>
                    <a:lnTo>
                      <a:pt x="18" y="128"/>
                    </a:lnTo>
                    <a:lnTo>
                      <a:pt x="12" y="123"/>
                    </a:lnTo>
                    <a:lnTo>
                      <a:pt x="11" y="119"/>
                    </a:lnTo>
                    <a:lnTo>
                      <a:pt x="12" y="114"/>
                    </a:lnTo>
                    <a:lnTo>
                      <a:pt x="17" y="100"/>
                    </a:lnTo>
                    <a:lnTo>
                      <a:pt x="18" y="94"/>
                    </a:lnTo>
                    <a:lnTo>
                      <a:pt x="19" y="93"/>
                    </a:lnTo>
                    <a:lnTo>
                      <a:pt x="26" y="91"/>
                    </a:lnTo>
                    <a:lnTo>
                      <a:pt x="23" y="92"/>
                    </a:lnTo>
                    <a:lnTo>
                      <a:pt x="26" y="91"/>
                    </a:lnTo>
                    <a:lnTo>
                      <a:pt x="32" y="92"/>
                    </a:lnTo>
                    <a:lnTo>
                      <a:pt x="34" y="94"/>
                    </a:lnTo>
                    <a:lnTo>
                      <a:pt x="40" y="99"/>
                    </a:lnTo>
                    <a:lnTo>
                      <a:pt x="41" y="102"/>
                    </a:lnTo>
                    <a:lnTo>
                      <a:pt x="41" y="99"/>
                    </a:lnTo>
                    <a:lnTo>
                      <a:pt x="38" y="98"/>
                    </a:lnTo>
                    <a:lnTo>
                      <a:pt x="36" y="94"/>
                    </a:lnTo>
                    <a:lnTo>
                      <a:pt x="32" y="80"/>
                    </a:lnTo>
                    <a:lnTo>
                      <a:pt x="28" y="74"/>
                    </a:lnTo>
                    <a:lnTo>
                      <a:pt x="26" y="58"/>
                    </a:lnTo>
                    <a:lnTo>
                      <a:pt x="23" y="56"/>
                    </a:lnTo>
                    <a:lnTo>
                      <a:pt x="24" y="53"/>
                    </a:lnTo>
                    <a:lnTo>
                      <a:pt x="21" y="47"/>
                    </a:lnTo>
                    <a:lnTo>
                      <a:pt x="20" y="46"/>
                    </a:lnTo>
                    <a:lnTo>
                      <a:pt x="19" y="41"/>
                    </a:lnTo>
                    <a:lnTo>
                      <a:pt x="20" y="38"/>
                    </a:lnTo>
                    <a:lnTo>
                      <a:pt x="20" y="36"/>
                    </a:lnTo>
                    <a:lnTo>
                      <a:pt x="21" y="32"/>
                    </a:lnTo>
                    <a:lnTo>
                      <a:pt x="21" y="36"/>
                    </a:lnTo>
                    <a:lnTo>
                      <a:pt x="23" y="30"/>
                    </a:lnTo>
                    <a:lnTo>
                      <a:pt x="21" y="28"/>
                    </a:lnTo>
                    <a:lnTo>
                      <a:pt x="19" y="24"/>
                    </a:lnTo>
                    <a:lnTo>
                      <a:pt x="19" y="19"/>
                    </a:lnTo>
                    <a:lnTo>
                      <a:pt x="21" y="22"/>
                    </a:lnTo>
                    <a:lnTo>
                      <a:pt x="23" y="28"/>
                    </a:lnTo>
                    <a:lnTo>
                      <a:pt x="21" y="22"/>
                    </a:lnTo>
                    <a:lnTo>
                      <a:pt x="21" y="20"/>
                    </a:lnTo>
                    <a:lnTo>
                      <a:pt x="18" y="14"/>
                    </a:lnTo>
                    <a:lnTo>
                      <a:pt x="17" y="8"/>
                    </a:lnTo>
                    <a:lnTo>
                      <a:pt x="17" y="3"/>
                    </a:lnTo>
                    <a:lnTo>
                      <a:pt x="16" y="0"/>
                    </a:lnTo>
                    <a:lnTo>
                      <a:pt x="12" y="0"/>
                    </a:lnTo>
                    <a:lnTo>
                      <a:pt x="10" y="2"/>
                    </a:lnTo>
                    <a:lnTo>
                      <a:pt x="11" y="4"/>
                    </a:lnTo>
                    <a:lnTo>
                      <a:pt x="12" y="6"/>
                    </a:lnTo>
                    <a:lnTo>
                      <a:pt x="14" y="10"/>
                    </a:lnTo>
                    <a:lnTo>
                      <a:pt x="11" y="14"/>
                    </a:lnTo>
                    <a:lnTo>
                      <a:pt x="11" y="17"/>
                    </a:lnTo>
                    <a:lnTo>
                      <a:pt x="9" y="19"/>
                    </a:lnTo>
                    <a:lnTo>
                      <a:pt x="8" y="15"/>
                    </a:lnTo>
                    <a:lnTo>
                      <a:pt x="2" y="17"/>
                    </a:lnTo>
                    <a:lnTo>
                      <a:pt x="2" y="22"/>
                    </a:lnTo>
                    <a:lnTo>
                      <a:pt x="3" y="25"/>
                    </a:lnTo>
                    <a:lnTo>
                      <a:pt x="2" y="28"/>
                    </a:lnTo>
                    <a:lnTo>
                      <a:pt x="2" y="33"/>
                    </a:lnTo>
                    <a:lnTo>
                      <a:pt x="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3" name="Freeform 199">
                <a:extLst>
                  <a:ext uri="{FF2B5EF4-FFF2-40B4-BE49-F238E27FC236}">
                    <a16:creationId xmlns:a16="http://schemas.microsoft.com/office/drawing/2014/main" id="{BD78BE68-2796-4291-B022-AA8D543173C9}"/>
                  </a:ext>
                </a:extLst>
              </p:cNvPr>
              <p:cNvSpPr>
                <a:spLocks/>
              </p:cNvSpPr>
              <p:nvPr/>
            </p:nvSpPr>
            <p:spPr bwMode="auto">
              <a:xfrm>
                <a:off x="5982" y="1643"/>
                <a:ext cx="22" cy="12"/>
              </a:xfrm>
              <a:custGeom>
                <a:avLst/>
                <a:gdLst>
                  <a:gd name="T0" fmla="*/ 9 w 22"/>
                  <a:gd name="T1" fmla="*/ 0 h 12"/>
                  <a:gd name="T2" fmla="*/ 7 w 22"/>
                  <a:gd name="T3" fmla="*/ 0 h 12"/>
                  <a:gd name="T4" fmla="*/ 5 w 22"/>
                  <a:gd name="T5" fmla="*/ 0 h 12"/>
                  <a:gd name="T6" fmla="*/ 2 w 22"/>
                  <a:gd name="T7" fmla="*/ 3 h 12"/>
                  <a:gd name="T8" fmla="*/ 0 w 22"/>
                  <a:gd name="T9" fmla="*/ 5 h 12"/>
                  <a:gd name="T10" fmla="*/ 5 w 22"/>
                  <a:gd name="T11" fmla="*/ 8 h 12"/>
                  <a:gd name="T12" fmla="*/ 8 w 22"/>
                  <a:gd name="T13" fmla="*/ 9 h 12"/>
                  <a:gd name="T14" fmla="*/ 13 w 22"/>
                  <a:gd name="T15" fmla="*/ 10 h 12"/>
                  <a:gd name="T16" fmla="*/ 19 w 22"/>
                  <a:gd name="T17" fmla="*/ 12 h 12"/>
                  <a:gd name="T18" fmla="*/ 22 w 22"/>
                  <a:gd name="T19" fmla="*/ 6 h 12"/>
                  <a:gd name="T20" fmla="*/ 20 w 22"/>
                  <a:gd name="T21" fmla="*/ 3 h 12"/>
                  <a:gd name="T22" fmla="*/ 17 w 22"/>
                  <a:gd name="T23" fmla="*/ 3 h 12"/>
                  <a:gd name="T24" fmla="*/ 9 w 22"/>
                  <a:gd name="T25" fmla="*/ 0 h 12"/>
                  <a:gd name="T26" fmla="*/ 9 w 22"/>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2">
                    <a:moveTo>
                      <a:pt x="9" y="0"/>
                    </a:moveTo>
                    <a:lnTo>
                      <a:pt x="7" y="0"/>
                    </a:lnTo>
                    <a:lnTo>
                      <a:pt x="5" y="0"/>
                    </a:lnTo>
                    <a:lnTo>
                      <a:pt x="2" y="3"/>
                    </a:lnTo>
                    <a:lnTo>
                      <a:pt x="0" y="5"/>
                    </a:lnTo>
                    <a:lnTo>
                      <a:pt x="5" y="8"/>
                    </a:lnTo>
                    <a:lnTo>
                      <a:pt x="8" y="9"/>
                    </a:lnTo>
                    <a:lnTo>
                      <a:pt x="13" y="10"/>
                    </a:lnTo>
                    <a:lnTo>
                      <a:pt x="19" y="12"/>
                    </a:lnTo>
                    <a:lnTo>
                      <a:pt x="22" y="6"/>
                    </a:lnTo>
                    <a:lnTo>
                      <a:pt x="20" y="3"/>
                    </a:lnTo>
                    <a:lnTo>
                      <a:pt x="17" y="3"/>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4" name="Freeform 200">
                <a:extLst>
                  <a:ext uri="{FF2B5EF4-FFF2-40B4-BE49-F238E27FC236}">
                    <a16:creationId xmlns:a16="http://schemas.microsoft.com/office/drawing/2014/main" id="{B8C6FD65-65B1-4FDF-9A99-8DE7B88B60EB}"/>
                  </a:ext>
                </a:extLst>
              </p:cNvPr>
              <p:cNvSpPr>
                <a:spLocks/>
              </p:cNvSpPr>
              <p:nvPr/>
            </p:nvSpPr>
            <p:spPr bwMode="auto">
              <a:xfrm>
                <a:off x="6130" y="1604"/>
                <a:ext cx="53" cy="19"/>
              </a:xfrm>
              <a:custGeom>
                <a:avLst/>
                <a:gdLst>
                  <a:gd name="T0" fmla="*/ 19 w 53"/>
                  <a:gd name="T1" fmla="*/ 15 h 19"/>
                  <a:gd name="T2" fmla="*/ 24 w 53"/>
                  <a:gd name="T3" fmla="*/ 15 h 19"/>
                  <a:gd name="T4" fmla="*/ 26 w 53"/>
                  <a:gd name="T5" fmla="*/ 18 h 19"/>
                  <a:gd name="T6" fmla="*/ 30 w 53"/>
                  <a:gd name="T7" fmla="*/ 17 h 19"/>
                  <a:gd name="T8" fmla="*/ 39 w 53"/>
                  <a:gd name="T9" fmla="*/ 15 h 19"/>
                  <a:gd name="T10" fmla="*/ 42 w 53"/>
                  <a:gd name="T11" fmla="*/ 14 h 19"/>
                  <a:gd name="T12" fmla="*/ 48 w 53"/>
                  <a:gd name="T13" fmla="*/ 13 h 19"/>
                  <a:gd name="T14" fmla="*/ 51 w 53"/>
                  <a:gd name="T15" fmla="*/ 13 h 19"/>
                  <a:gd name="T16" fmla="*/ 53 w 53"/>
                  <a:gd name="T17" fmla="*/ 11 h 19"/>
                  <a:gd name="T18" fmla="*/ 53 w 53"/>
                  <a:gd name="T19" fmla="*/ 8 h 19"/>
                  <a:gd name="T20" fmla="*/ 51 w 53"/>
                  <a:gd name="T21" fmla="*/ 6 h 19"/>
                  <a:gd name="T22" fmla="*/ 45 w 53"/>
                  <a:gd name="T23" fmla="*/ 3 h 19"/>
                  <a:gd name="T24" fmla="*/ 42 w 53"/>
                  <a:gd name="T25" fmla="*/ 1 h 19"/>
                  <a:gd name="T26" fmla="*/ 34 w 53"/>
                  <a:gd name="T27" fmla="*/ 0 h 19"/>
                  <a:gd name="T28" fmla="*/ 27 w 53"/>
                  <a:gd name="T29" fmla="*/ 1 h 19"/>
                  <a:gd name="T30" fmla="*/ 23 w 53"/>
                  <a:gd name="T31" fmla="*/ 1 h 19"/>
                  <a:gd name="T32" fmla="*/ 14 w 53"/>
                  <a:gd name="T33" fmla="*/ 3 h 19"/>
                  <a:gd name="T34" fmla="*/ 9 w 53"/>
                  <a:gd name="T35" fmla="*/ 8 h 19"/>
                  <a:gd name="T36" fmla="*/ 6 w 53"/>
                  <a:gd name="T37" fmla="*/ 9 h 19"/>
                  <a:gd name="T38" fmla="*/ 0 w 53"/>
                  <a:gd name="T39" fmla="*/ 13 h 19"/>
                  <a:gd name="T40" fmla="*/ 4 w 53"/>
                  <a:gd name="T41" fmla="*/ 19 h 19"/>
                  <a:gd name="T42" fmla="*/ 8 w 53"/>
                  <a:gd name="T43" fmla="*/ 18 h 19"/>
                  <a:gd name="T44" fmla="*/ 14 w 53"/>
                  <a:gd name="T45" fmla="*/ 18 h 19"/>
                  <a:gd name="T46" fmla="*/ 19 w 53"/>
                  <a:gd name="T47" fmla="*/ 15 h 19"/>
                  <a:gd name="T48" fmla="*/ 19 w 53"/>
                  <a:gd name="T4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19">
                    <a:moveTo>
                      <a:pt x="19" y="15"/>
                    </a:moveTo>
                    <a:lnTo>
                      <a:pt x="24" y="15"/>
                    </a:lnTo>
                    <a:lnTo>
                      <a:pt x="26" y="18"/>
                    </a:lnTo>
                    <a:lnTo>
                      <a:pt x="30" y="17"/>
                    </a:lnTo>
                    <a:lnTo>
                      <a:pt x="39" y="15"/>
                    </a:lnTo>
                    <a:lnTo>
                      <a:pt x="42" y="14"/>
                    </a:lnTo>
                    <a:lnTo>
                      <a:pt x="48" y="13"/>
                    </a:lnTo>
                    <a:lnTo>
                      <a:pt x="51" y="13"/>
                    </a:lnTo>
                    <a:lnTo>
                      <a:pt x="53" y="11"/>
                    </a:lnTo>
                    <a:lnTo>
                      <a:pt x="53" y="8"/>
                    </a:lnTo>
                    <a:lnTo>
                      <a:pt x="51" y="6"/>
                    </a:lnTo>
                    <a:lnTo>
                      <a:pt x="45" y="3"/>
                    </a:lnTo>
                    <a:lnTo>
                      <a:pt x="42" y="1"/>
                    </a:lnTo>
                    <a:lnTo>
                      <a:pt x="34" y="0"/>
                    </a:lnTo>
                    <a:lnTo>
                      <a:pt x="27" y="1"/>
                    </a:lnTo>
                    <a:lnTo>
                      <a:pt x="23" y="1"/>
                    </a:lnTo>
                    <a:lnTo>
                      <a:pt x="14" y="3"/>
                    </a:lnTo>
                    <a:lnTo>
                      <a:pt x="9" y="8"/>
                    </a:lnTo>
                    <a:lnTo>
                      <a:pt x="6" y="9"/>
                    </a:lnTo>
                    <a:lnTo>
                      <a:pt x="0" y="13"/>
                    </a:lnTo>
                    <a:lnTo>
                      <a:pt x="4" y="19"/>
                    </a:lnTo>
                    <a:lnTo>
                      <a:pt x="8" y="18"/>
                    </a:lnTo>
                    <a:lnTo>
                      <a:pt x="14" y="18"/>
                    </a:lnTo>
                    <a:lnTo>
                      <a:pt x="19" y="15"/>
                    </a:lnTo>
                    <a:lnTo>
                      <a:pt x="1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5" name="Freeform 201">
                <a:extLst>
                  <a:ext uri="{FF2B5EF4-FFF2-40B4-BE49-F238E27FC236}">
                    <a16:creationId xmlns:a16="http://schemas.microsoft.com/office/drawing/2014/main" id="{266E7798-5CDE-493F-A740-699A1D4A5626}"/>
                  </a:ext>
                </a:extLst>
              </p:cNvPr>
              <p:cNvSpPr>
                <a:spLocks/>
              </p:cNvSpPr>
              <p:nvPr/>
            </p:nvSpPr>
            <p:spPr bwMode="auto">
              <a:xfrm>
                <a:off x="5965" y="3392"/>
                <a:ext cx="106" cy="103"/>
              </a:xfrm>
              <a:custGeom>
                <a:avLst/>
                <a:gdLst>
                  <a:gd name="T0" fmla="*/ 18 w 106"/>
                  <a:gd name="T1" fmla="*/ 68 h 103"/>
                  <a:gd name="T2" fmla="*/ 12 w 106"/>
                  <a:gd name="T3" fmla="*/ 74 h 103"/>
                  <a:gd name="T4" fmla="*/ 8 w 106"/>
                  <a:gd name="T5" fmla="*/ 77 h 103"/>
                  <a:gd name="T6" fmla="*/ 9 w 106"/>
                  <a:gd name="T7" fmla="*/ 82 h 103"/>
                  <a:gd name="T8" fmla="*/ 3 w 106"/>
                  <a:gd name="T9" fmla="*/ 82 h 103"/>
                  <a:gd name="T10" fmla="*/ 3 w 106"/>
                  <a:gd name="T11" fmla="*/ 85 h 103"/>
                  <a:gd name="T12" fmla="*/ 3 w 106"/>
                  <a:gd name="T13" fmla="*/ 87 h 103"/>
                  <a:gd name="T14" fmla="*/ 1 w 106"/>
                  <a:gd name="T15" fmla="*/ 88 h 103"/>
                  <a:gd name="T16" fmla="*/ 0 w 106"/>
                  <a:gd name="T17" fmla="*/ 91 h 103"/>
                  <a:gd name="T18" fmla="*/ 1 w 106"/>
                  <a:gd name="T19" fmla="*/ 93 h 103"/>
                  <a:gd name="T20" fmla="*/ 2 w 106"/>
                  <a:gd name="T21" fmla="*/ 95 h 103"/>
                  <a:gd name="T22" fmla="*/ 12 w 106"/>
                  <a:gd name="T23" fmla="*/ 95 h 103"/>
                  <a:gd name="T24" fmla="*/ 17 w 106"/>
                  <a:gd name="T25" fmla="*/ 98 h 103"/>
                  <a:gd name="T26" fmla="*/ 25 w 106"/>
                  <a:gd name="T27" fmla="*/ 99 h 103"/>
                  <a:gd name="T28" fmla="*/ 28 w 106"/>
                  <a:gd name="T29" fmla="*/ 102 h 103"/>
                  <a:gd name="T30" fmla="*/ 33 w 106"/>
                  <a:gd name="T31" fmla="*/ 103 h 103"/>
                  <a:gd name="T32" fmla="*/ 43 w 106"/>
                  <a:gd name="T33" fmla="*/ 101 h 103"/>
                  <a:gd name="T34" fmla="*/ 47 w 106"/>
                  <a:gd name="T35" fmla="*/ 96 h 103"/>
                  <a:gd name="T36" fmla="*/ 55 w 106"/>
                  <a:gd name="T37" fmla="*/ 90 h 103"/>
                  <a:gd name="T38" fmla="*/ 59 w 106"/>
                  <a:gd name="T39" fmla="*/ 82 h 103"/>
                  <a:gd name="T40" fmla="*/ 63 w 106"/>
                  <a:gd name="T41" fmla="*/ 73 h 103"/>
                  <a:gd name="T42" fmla="*/ 63 w 106"/>
                  <a:gd name="T43" fmla="*/ 68 h 103"/>
                  <a:gd name="T44" fmla="*/ 70 w 106"/>
                  <a:gd name="T45" fmla="*/ 60 h 103"/>
                  <a:gd name="T46" fmla="*/ 90 w 106"/>
                  <a:gd name="T47" fmla="*/ 54 h 103"/>
                  <a:gd name="T48" fmla="*/ 86 w 106"/>
                  <a:gd name="T49" fmla="*/ 51 h 103"/>
                  <a:gd name="T50" fmla="*/ 85 w 106"/>
                  <a:gd name="T51" fmla="*/ 46 h 103"/>
                  <a:gd name="T52" fmla="*/ 89 w 106"/>
                  <a:gd name="T53" fmla="*/ 42 h 103"/>
                  <a:gd name="T54" fmla="*/ 96 w 106"/>
                  <a:gd name="T55" fmla="*/ 33 h 103"/>
                  <a:gd name="T56" fmla="*/ 102 w 106"/>
                  <a:gd name="T57" fmla="*/ 27 h 103"/>
                  <a:gd name="T58" fmla="*/ 106 w 106"/>
                  <a:gd name="T59" fmla="*/ 21 h 103"/>
                  <a:gd name="T60" fmla="*/ 103 w 106"/>
                  <a:gd name="T61" fmla="*/ 16 h 103"/>
                  <a:gd name="T62" fmla="*/ 103 w 106"/>
                  <a:gd name="T63" fmla="*/ 13 h 103"/>
                  <a:gd name="T64" fmla="*/ 105 w 106"/>
                  <a:gd name="T65" fmla="*/ 11 h 103"/>
                  <a:gd name="T66" fmla="*/ 103 w 106"/>
                  <a:gd name="T67" fmla="*/ 9 h 103"/>
                  <a:gd name="T68" fmla="*/ 99 w 106"/>
                  <a:gd name="T69" fmla="*/ 12 h 103"/>
                  <a:gd name="T70" fmla="*/ 99 w 106"/>
                  <a:gd name="T71" fmla="*/ 9 h 103"/>
                  <a:gd name="T72" fmla="*/ 97 w 106"/>
                  <a:gd name="T73" fmla="*/ 9 h 103"/>
                  <a:gd name="T74" fmla="*/ 90 w 106"/>
                  <a:gd name="T75" fmla="*/ 12 h 103"/>
                  <a:gd name="T76" fmla="*/ 89 w 106"/>
                  <a:gd name="T77" fmla="*/ 8 h 103"/>
                  <a:gd name="T78" fmla="*/ 86 w 106"/>
                  <a:gd name="T79" fmla="*/ 5 h 103"/>
                  <a:gd name="T80" fmla="*/ 86 w 106"/>
                  <a:gd name="T81" fmla="*/ 0 h 103"/>
                  <a:gd name="T82" fmla="*/ 81 w 106"/>
                  <a:gd name="T83" fmla="*/ 2 h 103"/>
                  <a:gd name="T84" fmla="*/ 77 w 106"/>
                  <a:gd name="T85" fmla="*/ 7 h 103"/>
                  <a:gd name="T86" fmla="*/ 75 w 106"/>
                  <a:gd name="T87" fmla="*/ 17 h 103"/>
                  <a:gd name="T88" fmla="*/ 68 w 106"/>
                  <a:gd name="T89" fmla="*/ 21 h 103"/>
                  <a:gd name="T90" fmla="*/ 64 w 106"/>
                  <a:gd name="T91" fmla="*/ 33 h 103"/>
                  <a:gd name="T92" fmla="*/ 61 w 106"/>
                  <a:gd name="T93" fmla="*/ 36 h 103"/>
                  <a:gd name="T94" fmla="*/ 56 w 106"/>
                  <a:gd name="T95" fmla="*/ 41 h 103"/>
                  <a:gd name="T96" fmla="*/ 51 w 106"/>
                  <a:gd name="T97" fmla="*/ 45 h 103"/>
                  <a:gd name="T98" fmla="*/ 43 w 106"/>
                  <a:gd name="T99" fmla="*/ 51 h 103"/>
                  <a:gd name="T100" fmla="*/ 31 w 106"/>
                  <a:gd name="T101" fmla="*/ 56 h 103"/>
                  <a:gd name="T102" fmla="*/ 24 w 106"/>
                  <a:gd name="T103" fmla="*/ 61 h 103"/>
                  <a:gd name="T104" fmla="*/ 19 w 106"/>
                  <a:gd name="T105" fmla="*/ 6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103">
                    <a:moveTo>
                      <a:pt x="19" y="65"/>
                    </a:moveTo>
                    <a:lnTo>
                      <a:pt x="18" y="68"/>
                    </a:lnTo>
                    <a:lnTo>
                      <a:pt x="16" y="69"/>
                    </a:lnTo>
                    <a:lnTo>
                      <a:pt x="12" y="74"/>
                    </a:lnTo>
                    <a:lnTo>
                      <a:pt x="9" y="73"/>
                    </a:lnTo>
                    <a:lnTo>
                      <a:pt x="8" y="77"/>
                    </a:lnTo>
                    <a:lnTo>
                      <a:pt x="7" y="79"/>
                    </a:lnTo>
                    <a:lnTo>
                      <a:pt x="9" y="82"/>
                    </a:lnTo>
                    <a:lnTo>
                      <a:pt x="5" y="80"/>
                    </a:lnTo>
                    <a:lnTo>
                      <a:pt x="3" y="82"/>
                    </a:lnTo>
                    <a:lnTo>
                      <a:pt x="5" y="84"/>
                    </a:lnTo>
                    <a:lnTo>
                      <a:pt x="3" y="85"/>
                    </a:lnTo>
                    <a:lnTo>
                      <a:pt x="5" y="85"/>
                    </a:lnTo>
                    <a:lnTo>
                      <a:pt x="3" y="87"/>
                    </a:lnTo>
                    <a:lnTo>
                      <a:pt x="5" y="87"/>
                    </a:lnTo>
                    <a:lnTo>
                      <a:pt x="1" y="88"/>
                    </a:lnTo>
                    <a:lnTo>
                      <a:pt x="0" y="91"/>
                    </a:lnTo>
                    <a:lnTo>
                      <a:pt x="0" y="91"/>
                    </a:lnTo>
                    <a:lnTo>
                      <a:pt x="2" y="90"/>
                    </a:lnTo>
                    <a:lnTo>
                      <a:pt x="1" y="93"/>
                    </a:lnTo>
                    <a:lnTo>
                      <a:pt x="3" y="93"/>
                    </a:lnTo>
                    <a:lnTo>
                      <a:pt x="2" y="95"/>
                    </a:lnTo>
                    <a:lnTo>
                      <a:pt x="10" y="96"/>
                    </a:lnTo>
                    <a:lnTo>
                      <a:pt x="12" y="95"/>
                    </a:lnTo>
                    <a:lnTo>
                      <a:pt x="16" y="95"/>
                    </a:lnTo>
                    <a:lnTo>
                      <a:pt x="17" y="98"/>
                    </a:lnTo>
                    <a:lnTo>
                      <a:pt x="21" y="97"/>
                    </a:lnTo>
                    <a:lnTo>
                      <a:pt x="25" y="99"/>
                    </a:lnTo>
                    <a:lnTo>
                      <a:pt x="25" y="102"/>
                    </a:lnTo>
                    <a:lnTo>
                      <a:pt x="28" y="102"/>
                    </a:lnTo>
                    <a:lnTo>
                      <a:pt x="30" y="102"/>
                    </a:lnTo>
                    <a:lnTo>
                      <a:pt x="33" y="103"/>
                    </a:lnTo>
                    <a:lnTo>
                      <a:pt x="38" y="103"/>
                    </a:lnTo>
                    <a:lnTo>
                      <a:pt x="43" y="101"/>
                    </a:lnTo>
                    <a:lnTo>
                      <a:pt x="45" y="98"/>
                    </a:lnTo>
                    <a:lnTo>
                      <a:pt x="47" y="96"/>
                    </a:lnTo>
                    <a:lnTo>
                      <a:pt x="52" y="90"/>
                    </a:lnTo>
                    <a:lnTo>
                      <a:pt x="55" y="90"/>
                    </a:lnTo>
                    <a:lnTo>
                      <a:pt x="56" y="87"/>
                    </a:lnTo>
                    <a:lnTo>
                      <a:pt x="59" y="82"/>
                    </a:lnTo>
                    <a:lnTo>
                      <a:pt x="60" y="79"/>
                    </a:lnTo>
                    <a:lnTo>
                      <a:pt x="63" y="73"/>
                    </a:lnTo>
                    <a:lnTo>
                      <a:pt x="64" y="71"/>
                    </a:lnTo>
                    <a:lnTo>
                      <a:pt x="63" y="68"/>
                    </a:lnTo>
                    <a:lnTo>
                      <a:pt x="65" y="63"/>
                    </a:lnTo>
                    <a:lnTo>
                      <a:pt x="70" y="60"/>
                    </a:lnTo>
                    <a:lnTo>
                      <a:pt x="80" y="55"/>
                    </a:lnTo>
                    <a:lnTo>
                      <a:pt x="90" y="54"/>
                    </a:lnTo>
                    <a:lnTo>
                      <a:pt x="88" y="52"/>
                    </a:lnTo>
                    <a:lnTo>
                      <a:pt x="86" y="51"/>
                    </a:lnTo>
                    <a:lnTo>
                      <a:pt x="85" y="47"/>
                    </a:lnTo>
                    <a:lnTo>
                      <a:pt x="85" y="46"/>
                    </a:lnTo>
                    <a:lnTo>
                      <a:pt x="87" y="44"/>
                    </a:lnTo>
                    <a:lnTo>
                      <a:pt x="89" y="42"/>
                    </a:lnTo>
                    <a:lnTo>
                      <a:pt x="93" y="39"/>
                    </a:lnTo>
                    <a:lnTo>
                      <a:pt x="96" y="33"/>
                    </a:lnTo>
                    <a:lnTo>
                      <a:pt x="102" y="27"/>
                    </a:lnTo>
                    <a:lnTo>
                      <a:pt x="102" y="27"/>
                    </a:lnTo>
                    <a:lnTo>
                      <a:pt x="104" y="24"/>
                    </a:lnTo>
                    <a:lnTo>
                      <a:pt x="106" y="21"/>
                    </a:lnTo>
                    <a:lnTo>
                      <a:pt x="105" y="18"/>
                    </a:lnTo>
                    <a:lnTo>
                      <a:pt x="103" y="16"/>
                    </a:lnTo>
                    <a:lnTo>
                      <a:pt x="105" y="12"/>
                    </a:lnTo>
                    <a:lnTo>
                      <a:pt x="103" y="13"/>
                    </a:lnTo>
                    <a:lnTo>
                      <a:pt x="103" y="12"/>
                    </a:lnTo>
                    <a:lnTo>
                      <a:pt x="105" y="11"/>
                    </a:lnTo>
                    <a:lnTo>
                      <a:pt x="106" y="9"/>
                    </a:lnTo>
                    <a:lnTo>
                      <a:pt x="103" y="9"/>
                    </a:lnTo>
                    <a:lnTo>
                      <a:pt x="103" y="11"/>
                    </a:lnTo>
                    <a:lnTo>
                      <a:pt x="99" y="12"/>
                    </a:lnTo>
                    <a:lnTo>
                      <a:pt x="101" y="12"/>
                    </a:lnTo>
                    <a:lnTo>
                      <a:pt x="99" y="9"/>
                    </a:lnTo>
                    <a:lnTo>
                      <a:pt x="103" y="7"/>
                    </a:lnTo>
                    <a:lnTo>
                      <a:pt x="97" y="9"/>
                    </a:lnTo>
                    <a:lnTo>
                      <a:pt x="93" y="12"/>
                    </a:lnTo>
                    <a:lnTo>
                      <a:pt x="90" y="12"/>
                    </a:lnTo>
                    <a:lnTo>
                      <a:pt x="89" y="10"/>
                    </a:lnTo>
                    <a:lnTo>
                      <a:pt x="89" y="8"/>
                    </a:lnTo>
                    <a:lnTo>
                      <a:pt x="89" y="4"/>
                    </a:lnTo>
                    <a:lnTo>
                      <a:pt x="86" y="5"/>
                    </a:lnTo>
                    <a:lnTo>
                      <a:pt x="85" y="3"/>
                    </a:lnTo>
                    <a:lnTo>
                      <a:pt x="86" y="0"/>
                    </a:lnTo>
                    <a:lnTo>
                      <a:pt x="84" y="2"/>
                    </a:lnTo>
                    <a:lnTo>
                      <a:pt x="81" y="2"/>
                    </a:lnTo>
                    <a:lnTo>
                      <a:pt x="78" y="4"/>
                    </a:lnTo>
                    <a:lnTo>
                      <a:pt x="77" y="7"/>
                    </a:lnTo>
                    <a:lnTo>
                      <a:pt x="77" y="12"/>
                    </a:lnTo>
                    <a:lnTo>
                      <a:pt x="75" y="17"/>
                    </a:lnTo>
                    <a:lnTo>
                      <a:pt x="72" y="19"/>
                    </a:lnTo>
                    <a:lnTo>
                      <a:pt x="68" y="21"/>
                    </a:lnTo>
                    <a:lnTo>
                      <a:pt x="65" y="29"/>
                    </a:lnTo>
                    <a:lnTo>
                      <a:pt x="64" y="33"/>
                    </a:lnTo>
                    <a:lnTo>
                      <a:pt x="63" y="34"/>
                    </a:lnTo>
                    <a:lnTo>
                      <a:pt x="61" y="36"/>
                    </a:lnTo>
                    <a:lnTo>
                      <a:pt x="59" y="39"/>
                    </a:lnTo>
                    <a:lnTo>
                      <a:pt x="56" y="41"/>
                    </a:lnTo>
                    <a:lnTo>
                      <a:pt x="53" y="42"/>
                    </a:lnTo>
                    <a:lnTo>
                      <a:pt x="51" y="45"/>
                    </a:lnTo>
                    <a:lnTo>
                      <a:pt x="45" y="48"/>
                    </a:lnTo>
                    <a:lnTo>
                      <a:pt x="43" y="51"/>
                    </a:lnTo>
                    <a:lnTo>
                      <a:pt x="39" y="52"/>
                    </a:lnTo>
                    <a:lnTo>
                      <a:pt x="31" y="56"/>
                    </a:lnTo>
                    <a:lnTo>
                      <a:pt x="26" y="57"/>
                    </a:lnTo>
                    <a:lnTo>
                      <a:pt x="24" y="61"/>
                    </a:lnTo>
                    <a:lnTo>
                      <a:pt x="21" y="63"/>
                    </a:lnTo>
                    <a:lnTo>
                      <a:pt x="19" y="65"/>
                    </a:lnTo>
                    <a:lnTo>
                      <a:pt x="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6" name="Freeform 202">
                <a:extLst>
                  <a:ext uri="{FF2B5EF4-FFF2-40B4-BE49-F238E27FC236}">
                    <a16:creationId xmlns:a16="http://schemas.microsoft.com/office/drawing/2014/main" id="{425D45A4-69E9-4BB7-8B86-3D08A282840F}"/>
                  </a:ext>
                </a:extLst>
              </p:cNvPr>
              <p:cNvSpPr>
                <a:spLocks/>
              </p:cNvSpPr>
              <p:nvPr/>
            </p:nvSpPr>
            <p:spPr bwMode="auto">
              <a:xfrm>
                <a:off x="6050" y="3297"/>
                <a:ext cx="80" cy="113"/>
              </a:xfrm>
              <a:custGeom>
                <a:avLst/>
                <a:gdLst>
                  <a:gd name="T0" fmla="*/ 27 w 80"/>
                  <a:gd name="T1" fmla="*/ 37 h 113"/>
                  <a:gd name="T2" fmla="*/ 28 w 80"/>
                  <a:gd name="T3" fmla="*/ 34 h 113"/>
                  <a:gd name="T4" fmla="*/ 28 w 80"/>
                  <a:gd name="T5" fmla="*/ 30 h 113"/>
                  <a:gd name="T6" fmla="*/ 26 w 80"/>
                  <a:gd name="T7" fmla="*/ 26 h 113"/>
                  <a:gd name="T8" fmla="*/ 25 w 80"/>
                  <a:gd name="T9" fmla="*/ 21 h 113"/>
                  <a:gd name="T10" fmla="*/ 22 w 80"/>
                  <a:gd name="T11" fmla="*/ 13 h 113"/>
                  <a:gd name="T12" fmla="*/ 17 w 80"/>
                  <a:gd name="T13" fmla="*/ 10 h 113"/>
                  <a:gd name="T14" fmla="*/ 11 w 80"/>
                  <a:gd name="T15" fmla="*/ 8 h 113"/>
                  <a:gd name="T16" fmla="*/ 3 w 80"/>
                  <a:gd name="T17" fmla="*/ 1 h 113"/>
                  <a:gd name="T18" fmla="*/ 5 w 80"/>
                  <a:gd name="T19" fmla="*/ 8 h 113"/>
                  <a:gd name="T20" fmla="*/ 9 w 80"/>
                  <a:gd name="T21" fmla="*/ 17 h 113"/>
                  <a:gd name="T22" fmla="*/ 9 w 80"/>
                  <a:gd name="T23" fmla="*/ 17 h 113"/>
                  <a:gd name="T24" fmla="*/ 17 w 80"/>
                  <a:gd name="T25" fmla="*/ 26 h 113"/>
                  <a:gd name="T26" fmla="*/ 22 w 80"/>
                  <a:gd name="T27" fmla="*/ 26 h 113"/>
                  <a:gd name="T28" fmla="*/ 21 w 80"/>
                  <a:gd name="T29" fmla="*/ 29 h 113"/>
                  <a:gd name="T30" fmla="*/ 20 w 80"/>
                  <a:gd name="T31" fmla="*/ 30 h 113"/>
                  <a:gd name="T32" fmla="*/ 24 w 80"/>
                  <a:gd name="T33" fmla="*/ 37 h 113"/>
                  <a:gd name="T34" fmla="*/ 27 w 80"/>
                  <a:gd name="T35" fmla="*/ 43 h 113"/>
                  <a:gd name="T36" fmla="*/ 28 w 80"/>
                  <a:gd name="T37" fmla="*/ 47 h 113"/>
                  <a:gd name="T38" fmla="*/ 28 w 80"/>
                  <a:gd name="T39" fmla="*/ 53 h 113"/>
                  <a:gd name="T40" fmla="*/ 26 w 80"/>
                  <a:gd name="T41" fmla="*/ 62 h 113"/>
                  <a:gd name="T42" fmla="*/ 25 w 80"/>
                  <a:gd name="T43" fmla="*/ 69 h 113"/>
                  <a:gd name="T44" fmla="*/ 18 w 80"/>
                  <a:gd name="T45" fmla="*/ 72 h 113"/>
                  <a:gd name="T46" fmla="*/ 14 w 80"/>
                  <a:gd name="T47" fmla="*/ 77 h 113"/>
                  <a:gd name="T48" fmla="*/ 18 w 80"/>
                  <a:gd name="T49" fmla="*/ 80 h 113"/>
                  <a:gd name="T50" fmla="*/ 24 w 80"/>
                  <a:gd name="T51" fmla="*/ 83 h 113"/>
                  <a:gd name="T52" fmla="*/ 29 w 80"/>
                  <a:gd name="T53" fmla="*/ 86 h 113"/>
                  <a:gd name="T54" fmla="*/ 34 w 80"/>
                  <a:gd name="T55" fmla="*/ 90 h 113"/>
                  <a:gd name="T56" fmla="*/ 34 w 80"/>
                  <a:gd name="T57" fmla="*/ 98 h 113"/>
                  <a:gd name="T58" fmla="*/ 29 w 80"/>
                  <a:gd name="T59" fmla="*/ 104 h 113"/>
                  <a:gd name="T60" fmla="*/ 27 w 80"/>
                  <a:gd name="T61" fmla="*/ 107 h 113"/>
                  <a:gd name="T62" fmla="*/ 29 w 80"/>
                  <a:gd name="T63" fmla="*/ 111 h 113"/>
                  <a:gd name="T64" fmla="*/ 34 w 80"/>
                  <a:gd name="T65" fmla="*/ 112 h 113"/>
                  <a:gd name="T66" fmla="*/ 43 w 80"/>
                  <a:gd name="T67" fmla="*/ 109 h 113"/>
                  <a:gd name="T68" fmla="*/ 48 w 80"/>
                  <a:gd name="T69" fmla="*/ 100 h 113"/>
                  <a:gd name="T70" fmla="*/ 52 w 80"/>
                  <a:gd name="T71" fmla="*/ 96 h 113"/>
                  <a:gd name="T72" fmla="*/ 56 w 80"/>
                  <a:gd name="T73" fmla="*/ 90 h 113"/>
                  <a:gd name="T74" fmla="*/ 56 w 80"/>
                  <a:gd name="T75" fmla="*/ 78 h 113"/>
                  <a:gd name="T76" fmla="*/ 61 w 80"/>
                  <a:gd name="T77" fmla="*/ 73 h 113"/>
                  <a:gd name="T78" fmla="*/ 69 w 80"/>
                  <a:gd name="T79" fmla="*/ 72 h 113"/>
                  <a:gd name="T80" fmla="*/ 71 w 80"/>
                  <a:gd name="T81" fmla="*/ 71 h 113"/>
                  <a:gd name="T82" fmla="*/ 73 w 80"/>
                  <a:gd name="T83" fmla="*/ 66 h 113"/>
                  <a:gd name="T84" fmla="*/ 77 w 80"/>
                  <a:gd name="T85" fmla="*/ 61 h 113"/>
                  <a:gd name="T86" fmla="*/ 78 w 80"/>
                  <a:gd name="T87" fmla="*/ 52 h 113"/>
                  <a:gd name="T88" fmla="*/ 74 w 80"/>
                  <a:gd name="T89" fmla="*/ 48 h 113"/>
                  <a:gd name="T90" fmla="*/ 67 w 80"/>
                  <a:gd name="T91" fmla="*/ 54 h 113"/>
                  <a:gd name="T92" fmla="*/ 60 w 80"/>
                  <a:gd name="T93" fmla="*/ 55 h 113"/>
                  <a:gd name="T94" fmla="*/ 47 w 80"/>
                  <a:gd name="T95" fmla="*/ 51 h 113"/>
                  <a:gd name="T96" fmla="*/ 44 w 80"/>
                  <a:gd name="T97" fmla="*/ 46 h 113"/>
                  <a:gd name="T98" fmla="*/ 44 w 80"/>
                  <a:gd name="T99" fmla="*/ 40 h 113"/>
                  <a:gd name="T100" fmla="*/ 41 w 80"/>
                  <a:gd name="T101" fmla="*/ 35 h 113"/>
                  <a:gd name="T102" fmla="*/ 37 w 80"/>
                  <a:gd name="T103" fmla="*/ 36 h 113"/>
                  <a:gd name="T104" fmla="*/ 36 w 80"/>
                  <a:gd name="T105" fmla="*/ 43 h 113"/>
                  <a:gd name="T106" fmla="*/ 30 w 80"/>
                  <a:gd name="T107" fmla="*/ 3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113">
                    <a:moveTo>
                      <a:pt x="30" y="38"/>
                    </a:moveTo>
                    <a:lnTo>
                      <a:pt x="27" y="37"/>
                    </a:lnTo>
                    <a:lnTo>
                      <a:pt x="28" y="36"/>
                    </a:lnTo>
                    <a:lnTo>
                      <a:pt x="28" y="34"/>
                    </a:lnTo>
                    <a:lnTo>
                      <a:pt x="28" y="34"/>
                    </a:lnTo>
                    <a:lnTo>
                      <a:pt x="28" y="30"/>
                    </a:lnTo>
                    <a:lnTo>
                      <a:pt x="28" y="28"/>
                    </a:lnTo>
                    <a:lnTo>
                      <a:pt x="26" y="26"/>
                    </a:lnTo>
                    <a:lnTo>
                      <a:pt x="22" y="20"/>
                    </a:lnTo>
                    <a:lnTo>
                      <a:pt x="25" y="21"/>
                    </a:lnTo>
                    <a:lnTo>
                      <a:pt x="24" y="17"/>
                    </a:lnTo>
                    <a:lnTo>
                      <a:pt x="22" y="13"/>
                    </a:lnTo>
                    <a:lnTo>
                      <a:pt x="20" y="12"/>
                    </a:lnTo>
                    <a:lnTo>
                      <a:pt x="17" y="10"/>
                    </a:lnTo>
                    <a:lnTo>
                      <a:pt x="14" y="9"/>
                    </a:lnTo>
                    <a:lnTo>
                      <a:pt x="11" y="8"/>
                    </a:lnTo>
                    <a:lnTo>
                      <a:pt x="7" y="5"/>
                    </a:lnTo>
                    <a:lnTo>
                      <a:pt x="3" y="1"/>
                    </a:lnTo>
                    <a:lnTo>
                      <a:pt x="0" y="0"/>
                    </a:lnTo>
                    <a:lnTo>
                      <a:pt x="5" y="8"/>
                    </a:lnTo>
                    <a:lnTo>
                      <a:pt x="7" y="13"/>
                    </a:lnTo>
                    <a:lnTo>
                      <a:pt x="9" y="17"/>
                    </a:lnTo>
                    <a:lnTo>
                      <a:pt x="11" y="13"/>
                    </a:lnTo>
                    <a:lnTo>
                      <a:pt x="9" y="17"/>
                    </a:lnTo>
                    <a:lnTo>
                      <a:pt x="17" y="28"/>
                    </a:lnTo>
                    <a:lnTo>
                      <a:pt x="17" y="26"/>
                    </a:lnTo>
                    <a:lnTo>
                      <a:pt x="20" y="27"/>
                    </a:lnTo>
                    <a:lnTo>
                      <a:pt x="22" y="26"/>
                    </a:lnTo>
                    <a:lnTo>
                      <a:pt x="24" y="28"/>
                    </a:lnTo>
                    <a:lnTo>
                      <a:pt x="21" y="29"/>
                    </a:lnTo>
                    <a:lnTo>
                      <a:pt x="24" y="31"/>
                    </a:lnTo>
                    <a:lnTo>
                      <a:pt x="20" y="30"/>
                    </a:lnTo>
                    <a:lnTo>
                      <a:pt x="20" y="31"/>
                    </a:lnTo>
                    <a:lnTo>
                      <a:pt x="24" y="37"/>
                    </a:lnTo>
                    <a:lnTo>
                      <a:pt x="29" y="39"/>
                    </a:lnTo>
                    <a:lnTo>
                      <a:pt x="27" y="43"/>
                    </a:lnTo>
                    <a:lnTo>
                      <a:pt x="28" y="45"/>
                    </a:lnTo>
                    <a:lnTo>
                      <a:pt x="28" y="47"/>
                    </a:lnTo>
                    <a:lnTo>
                      <a:pt x="28" y="51"/>
                    </a:lnTo>
                    <a:lnTo>
                      <a:pt x="28" y="53"/>
                    </a:lnTo>
                    <a:lnTo>
                      <a:pt x="28" y="55"/>
                    </a:lnTo>
                    <a:lnTo>
                      <a:pt x="26" y="62"/>
                    </a:lnTo>
                    <a:lnTo>
                      <a:pt x="26" y="66"/>
                    </a:lnTo>
                    <a:lnTo>
                      <a:pt x="25" y="69"/>
                    </a:lnTo>
                    <a:lnTo>
                      <a:pt x="22" y="71"/>
                    </a:lnTo>
                    <a:lnTo>
                      <a:pt x="18" y="72"/>
                    </a:lnTo>
                    <a:lnTo>
                      <a:pt x="14" y="73"/>
                    </a:lnTo>
                    <a:lnTo>
                      <a:pt x="14" y="77"/>
                    </a:lnTo>
                    <a:lnTo>
                      <a:pt x="16" y="79"/>
                    </a:lnTo>
                    <a:lnTo>
                      <a:pt x="18" y="80"/>
                    </a:lnTo>
                    <a:lnTo>
                      <a:pt x="21" y="81"/>
                    </a:lnTo>
                    <a:lnTo>
                      <a:pt x="24" y="83"/>
                    </a:lnTo>
                    <a:lnTo>
                      <a:pt x="26" y="85"/>
                    </a:lnTo>
                    <a:lnTo>
                      <a:pt x="29" y="86"/>
                    </a:lnTo>
                    <a:lnTo>
                      <a:pt x="31" y="87"/>
                    </a:lnTo>
                    <a:lnTo>
                      <a:pt x="34" y="90"/>
                    </a:lnTo>
                    <a:lnTo>
                      <a:pt x="35" y="91"/>
                    </a:lnTo>
                    <a:lnTo>
                      <a:pt x="34" y="98"/>
                    </a:lnTo>
                    <a:lnTo>
                      <a:pt x="31" y="102"/>
                    </a:lnTo>
                    <a:lnTo>
                      <a:pt x="29" y="104"/>
                    </a:lnTo>
                    <a:lnTo>
                      <a:pt x="29" y="105"/>
                    </a:lnTo>
                    <a:lnTo>
                      <a:pt x="27" y="107"/>
                    </a:lnTo>
                    <a:lnTo>
                      <a:pt x="28" y="107"/>
                    </a:lnTo>
                    <a:lnTo>
                      <a:pt x="29" y="111"/>
                    </a:lnTo>
                    <a:lnTo>
                      <a:pt x="33" y="109"/>
                    </a:lnTo>
                    <a:lnTo>
                      <a:pt x="34" y="112"/>
                    </a:lnTo>
                    <a:lnTo>
                      <a:pt x="36" y="113"/>
                    </a:lnTo>
                    <a:lnTo>
                      <a:pt x="43" y="109"/>
                    </a:lnTo>
                    <a:lnTo>
                      <a:pt x="45" y="106"/>
                    </a:lnTo>
                    <a:lnTo>
                      <a:pt x="48" y="100"/>
                    </a:lnTo>
                    <a:lnTo>
                      <a:pt x="48" y="99"/>
                    </a:lnTo>
                    <a:lnTo>
                      <a:pt x="52" y="96"/>
                    </a:lnTo>
                    <a:lnTo>
                      <a:pt x="54" y="92"/>
                    </a:lnTo>
                    <a:lnTo>
                      <a:pt x="56" y="90"/>
                    </a:lnTo>
                    <a:lnTo>
                      <a:pt x="59" y="83"/>
                    </a:lnTo>
                    <a:lnTo>
                      <a:pt x="56" y="78"/>
                    </a:lnTo>
                    <a:lnTo>
                      <a:pt x="59" y="75"/>
                    </a:lnTo>
                    <a:lnTo>
                      <a:pt x="61" y="73"/>
                    </a:lnTo>
                    <a:lnTo>
                      <a:pt x="64" y="72"/>
                    </a:lnTo>
                    <a:lnTo>
                      <a:pt x="69" y="72"/>
                    </a:lnTo>
                    <a:lnTo>
                      <a:pt x="71" y="74"/>
                    </a:lnTo>
                    <a:lnTo>
                      <a:pt x="71" y="71"/>
                    </a:lnTo>
                    <a:lnTo>
                      <a:pt x="71" y="66"/>
                    </a:lnTo>
                    <a:lnTo>
                      <a:pt x="73" y="66"/>
                    </a:lnTo>
                    <a:lnTo>
                      <a:pt x="76" y="63"/>
                    </a:lnTo>
                    <a:lnTo>
                      <a:pt x="77" y="61"/>
                    </a:lnTo>
                    <a:lnTo>
                      <a:pt x="77" y="55"/>
                    </a:lnTo>
                    <a:lnTo>
                      <a:pt x="78" y="52"/>
                    </a:lnTo>
                    <a:lnTo>
                      <a:pt x="80" y="49"/>
                    </a:lnTo>
                    <a:lnTo>
                      <a:pt x="74" y="48"/>
                    </a:lnTo>
                    <a:lnTo>
                      <a:pt x="69" y="51"/>
                    </a:lnTo>
                    <a:lnTo>
                      <a:pt x="67" y="54"/>
                    </a:lnTo>
                    <a:lnTo>
                      <a:pt x="63" y="55"/>
                    </a:lnTo>
                    <a:lnTo>
                      <a:pt x="60" y="55"/>
                    </a:lnTo>
                    <a:lnTo>
                      <a:pt x="50" y="51"/>
                    </a:lnTo>
                    <a:lnTo>
                      <a:pt x="47" y="51"/>
                    </a:lnTo>
                    <a:lnTo>
                      <a:pt x="45" y="48"/>
                    </a:lnTo>
                    <a:lnTo>
                      <a:pt x="44" y="46"/>
                    </a:lnTo>
                    <a:lnTo>
                      <a:pt x="43" y="43"/>
                    </a:lnTo>
                    <a:lnTo>
                      <a:pt x="44" y="40"/>
                    </a:lnTo>
                    <a:lnTo>
                      <a:pt x="43" y="38"/>
                    </a:lnTo>
                    <a:lnTo>
                      <a:pt x="41" y="35"/>
                    </a:lnTo>
                    <a:lnTo>
                      <a:pt x="37" y="34"/>
                    </a:lnTo>
                    <a:lnTo>
                      <a:pt x="37" y="36"/>
                    </a:lnTo>
                    <a:lnTo>
                      <a:pt x="38" y="42"/>
                    </a:lnTo>
                    <a:lnTo>
                      <a:pt x="36" y="43"/>
                    </a:lnTo>
                    <a:lnTo>
                      <a:pt x="33" y="38"/>
                    </a:lnTo>
                    <a:lnTo>
                      <a:pt x="30" y="38"/>
                    </a:lnTo>
                    <a:lnTo>
                      <a:pt x="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7" name="Freeform 203">
                <a:extLst>
                  <a:ext uri="{FF2B5EF4-FFF2-40B4-BE49-F238E27FC236}">
                    <a16:creationId xmlns:a16="http://schemas.microsoft.com/office/drawing/2014/main" id="{E2D45C62-977E-4D27-9E96-1D9F4B927E8C}"/>
                  </a:ext>
                </a:extLst>
              </p:cNvPr>
              <p:cNvSpPr>
                <a:spLocks/>
              </p:cNvSpPr>
              <p:nvPr/>
            </p:nvSpPr>
            <p:spPr bwMode="auto">
              <a:xfrm>
                <a:off x="2491" y="1740"/>
                <a:ext cx="94" cy="62"/>
              </a:xfrm>
              <a:custGeom>
                <a:avLst/>
                <a:gdLst>
                  <a:gd name="T0" fmla="*/ 52 w 94"/>
                  <a:gd name="T1" fmla="*/ 19 h 62"/>
                  <a:gd name="T2" fmla="*/ 56 w 94"/>
                  <a:gd name="T3" fmla="*/ 22 h 62"/>
                  <a:gd name="T4" fmla="*/ 63 w 94"/>
                  <a:gd name="T5" fmla="*/ 26 h 62"/>
                  <a:gd name="T6" fmla="*/ 69 w 94"/>
                  <a:gd name="T7" fmla="*/ 27 h 62"/>
                  <a:gd name="T8" fmla="*/ 74 w 94"/>
                  <a:gd name="T9" fmla="*/ 35 h 62"/>
                  <a:gd name="T10" fmla="*/ 73 w 94"/>
                  <a:gd name="T11" fmla="*/ 43 h 62"/>
                  <a:gd name="T12" fmla="*/ 79 w 94"/>
                  <a:gd name="T13" fmla="*/ 40 h 62"/>
                  <a:gd name="T14" fmla="*/ 87 w 94"/>
                  <a:gd name="T15" fmla="*/ 40 h 62"/>
                  <a:gd name="T16" fmla="*/ 89 w 94"/>
                  <a:gd name="T17" fmla="*/ 45 h 62"/>
                  <a:gd name="T18" fmla="*/ 94 w 94"/>
                  <a:gd name="T19" fmla="*/ 48 h 62"/>
                  <a:gd name="T20" fmla="*/ 84 w 94"/>
                  <a:gd name="T21" fmla="*/ 54 h 62"/>
                  <a:gd name="T22" fmla="*/ 72 w 94"/>
                  <a:gd name="T23" fmla="*/ 50 h 62"/>
                  <a:gd name="T24" fmla="*/ 67 w 94"/>
                  <a:gd name="T25" fmla="*/ 49 h 62"/>
                  <a:gd name="T26" fmla="*/ 65 w 94"/>
                  <a:gd name="T27" fmla="*/ 44 h 62"/>
                  <a:gd name="T28" fmla="*/ 56 w 94"/>
                  <a:gd name="T29" fmla="*/ 41 h 62"/>
                  <a:gd name="T30" fmla="*/ 54 w 94"/>
                  <a:gd name="T31" fmla="*/ 39 h 62"/>
                  <a:gd name="T32" fmla="*/ 48 w 94"/>
                  <a:gd name="T33" fmla="*/ 41 h 62"/>
                  <a:gd name="T34" fmla="*/ 47 w 94"/>
                  <a:gd name="T35" fmla="*/ 47 h 62"/>
                  <a:gd name="T36" fmla="*/ 42 w 94"/>
                  <a:gd name="T37" fmla="*/ 52 h 62"/>
                  <a:gd name="T38" fmla="*/ 37 w 94"/>
                  <a:gd name="T39" fmla="*/ 54 h 62"/>
                  <a:gd name="T40" fmla="*/ 30 w 94"/>
                  <a:gd name="T41" fmla="*/ 60 h 62"/>
                  <a:gd name="T42" fmla="*/ 25 w 94"/>
                  <a:gd name="T43" fmla="*/ 62 h 62"/>
                  <a:gd name="T44" fmla="*/ 21 w 94"/>
                  <a:gd name="T45" fmla="*/ 58 h 62"/>
                  <a:gd name="T46" fmla="*/ 21 w 94"/>
                  <a:gd name="T47" fmla="*/ 50 h 62"/>
                  <a:gd name="T48" fmla="*/ 19 w 94"/>
                  <a:gd name="T49" fmla="*/ 48 h 62"/>
                  <a:gd name="T50" fmla="*/ 13 w 94"/>
                  <a:gd name="T51" fmla="*/ 50 h 62"/>
                  <a:gd name="T52" fmla="*/ 5 w 94"/>
                  <a:gd name="T53" fmla="*/ 52 h 62"/>
                  <a:gd name="T54" fmla="*/ 0 w 94"/>
                  <a:gd name="T55" fmla="*/ 52 h 62"/>
                  <a:gd name="T56" fmla="*/ 3 w 94"/>
                  <a:gd name="T57" fmla="*/ 46 h 62"/>
                  <a:gd name="T58" fmla="*/ 11 w 94"/>
                  <a:gd name="T59" fmla="*/ 41 h 62"/>
                  <a:gd name="T60" fmla="*/ 11 w 94"/>
                  <a:gd name="T61" fmla="*/ 36 h 62"/>
                  <a:gd name="T62" fmla="*/ 14 w 94"/>
                  <a:gd name="T63" fmla="*/ 22 h 62"/>
                  <a:gd name="T64" fmla="*/ 14 w 94"/>
                  <a:gd name="T65" fmla="*/ 17 h 62"/>
                  <a:gd name="T66" fmla="*/ 14 w 94"/>
                  <a:gd name="T67" fmla="*/ 9 h 62"/>
                  <a:gd name="T68" fmla="*/ 19 w 94"/>
                  <a:gd name="T69" fmla="*/ 1 h 62"/>
                  <a:gd name="T70" fmla="*/ 27 w 94"/>
                  <a:gd name="T71" fmla="*/ 4 h 62"/>
                  <a:gd name="T72" fmla="*/ 27 w 94"/>
                  <a:gd name="T73" fmla="*/ 10 h 62"/>
                  <a:gd name="T74" fmla="*/ 30 w 94"/>
                  <a:gd name="T75" fmla="*/ 14 h 62"/>
                  <a:gd name="T76" fmla="*/ 35 w 94"/>
                  <a:gd name="T77" fmla="*/ 11 h 62"/>
                  <a:gd name="T78" fmla="*/ 42 w 94"/>
                  <a:gd name="T79" fmla="*/ 15 h 62"/>
                  <a:gd name="T80" fmla="*/ 50 w 94"/>
                  <a:gd name="T81"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62">
                    <a:moveTo>
                      <a:pt x="50" y="17"/>
                    </a:moveTo>
                    <a:lnTo>
                      <a:pt x="52" y="19"/>
                    </a:lnTo>
                    <a:lnTo>
                      <a:pt x="54" y="21"/>
                    </a:lnTo>
                    <a:lnTo>
                      <a:pt x="56" y="22"/>
                    </a:lnTo>
                    <a:lnTo>
                      <a:pt x="61" y="26"/>
                    </a:lnTo>
                    <a:lnTo>
                      <a:pt x="63" y="26"/>
                    </a:lnTo>
                    <a:lnTo>
                      <a:pt x="67" y="26"/>
                    </a:lnTo>
                    <a:lnTo>
                      <a:pt x="69" y="27"/>
                    </a:lnTo>
                    <a:lnTo>
                      <a:pt x="74" y="31"/>
                    </a:lnTo>
                    <a:lnTo>
                      <a:pt x="74" y="35"/>
                    </a:lnTo>
                    <a:lnTo>
                      <a:pt x="76" y="39"/>
                    </a:lnTo>
                    <a:lnTo>
                      <a:pt x="73" y="43"/>
                    </a:lnTo>
                    <a:lnTo>
                      <a:pt x="76" y="41"/>
                    </a:lnTo>
                    <a:lnTo>
                      <a:pt x="79" y="40"/>
                    </a:lnTo>
                    <a:lnTo>
                      <a:pt x="85" y="43"/>
                    </a:lnTo>
                    <a:lnTo>
                      <a:pt x="87" y="40"/>
                    </a:lnTo>
                    <a:lnTo>
                      <a:pt x="90" y="43"/>
                    </a:lnTo>
                    <a:lnTo>
                      <a:pt x="89" y="45"/>
                    </a:lnTo>
                    <a:lnTo>
                      <a:pt x="91" y="46"/>
                    </a:lnTo>
                    <a:lnTo>
                      <a:pt x="94" y="48"/>
                    </a:lnTo>
                    <a:lnTo>
                      <a:pt x="91" y="49"/>
                    </a:lnTo>
                    <a:lnTo>
                      <a:pt x="84" y="54"/>
                    </a:lnTo>
                    <a:lnTo>
                      <a:pt x="78" y="52"/>
                    </a:lnTo>
                    <a:lnTo>
                      <a:pt x="72" y="50"/>
                    </a:lnTo>
                    <a:lnTo>
                      <a:pt x="70" y="49"/>
                    </a:lnTo>
                    <a:lnTo>
                      <a:pt x="67" y="49"/>
                    </a:lnTo>
                    <a:lnTo>
                      <a:pt x="64" y="49"/>
                    </a:lnTo>
                    <a:lnTo>
                      <a:pt x="65" y="44"/>
                    </a:lnTo>
                    <a:lnTo>
                      <a:pt x="60" y="43"/>
                    </a:lnTo>
                    <a:lnTo>
                      <a:pt x="56" y="41"/>
                    </a:lnTo>
                    <a:lnTo>
                      <a:pt x="56" y="38"/>
                    </a:lnTo>
                    <a:lnTo>
                      <a:pt x="54" y="39"/>
                    </a:lnTo>
                    <a:lnTo>
                      <a:pt x="51" y="39"/>
                    </a:lnTo>
                    <a:lnTo>
                      <a:pt x="48" y="41"/>
                    </a:lnTo>
                    <a:lnTo>
                      <a:pt x="48" y="45"/>
                    </a:lnTo>
                    <a:lnTo>
                      <a:pt x="47" y="47"/>
                    </a:lnTo>
                    <a:lnTo>
                      <a:pt x="45" y="48"/>
                    </a:lnTo>
                    <a:lnTo>
                      <a:pt x="42" y="52"/>
                    </a:lnTo>
                    <a:lnTo>
                      <a:pt x="39" y="52"/>
                    </a:lnTo>
                    <a:lnTo>
                      <a:pt x="37" y="54"/>
                    </a:lnTo>
                    <a:lnTo>
                      <a:pt x="36" y="56"/>
                    </a:lnTo>
                    <a:lnTo>
                      <a:pt x="30" y="60"/>
                    </a:lnTo>
                    <a:lnTo>
                      <a:pt x="28" y="61"/>
                    </a:lnTo>
                    <a:lnTo>
                      <a:pt x="25" y="62"/>
                    </a:lnTo>
                    <a:lnTo>
                      <a:pt x="22" y="61"/>
                    </a:lnTo>
                    <a:lnTo>
                      <a:pt x="21" y="58"/>
                    </a:lnTo>
                    <a:lnTo>
                      <a:pt x="21" y="56"/>
                    </a:lnTo>
                    <a:lnTo>
                      <a:pt x="21" y="50"/>
                    </a:lnTo>
                    <a:lnTo>
                      <a:pt x="20" y="47"/>
                    </a:lnTo>
                    <a:lnTo>
                      <a:pt x="19" y="48"/>
                    </a:lnTo>
                    <a:lnTo>
                      <a:pt x="16" y="49"/>
                    </a:lnTo>
                    <a:lnTo>
                      <a:pt x="13" y="50"/>
                    </a:lnTo>
                    <a:lnTo>
                      <a:pt x="8" y="49"/>
                    </a:lnTo>
                    <a:lnTo>
                      <a:pt x="5" y="52"/>
                    </a:lnTo>
                    <a:lnTo>
                      <a:pt x="3" y="52"/>
                    </a:lnTo>
                    <a:lnTo>
                      <a:pt x="0" y="52"/>
                    </a:lnTo>
                    <a:lnTo>
                      <a:pt x="0" y="48"/>
                    </a:lnTo>
                    <a:lnTo>
                      <a:pt x="3" y="46"/>
                    </a:lnTo>
                    <a:lnTo>
                      <a:pt x="5" y="44"/>
                    </a:lnTo>
                    <a:lnTo>
                      <a:pt x="11" y="41"/>
                    </a:lnTo>
                    <a:lnTo>
                      <a:pt x="13" y="39"/>
                    </a:lnTo>
                    <a:lnTo>
                      <a:pt x="11" y="36"/>
                    </a:lnTo>
                    <a:lnTo>
                      <a:pt x="11" y="28"/>
                    </a:lnTo>
                    <a:lnTo>
                      <a:pt x="14" y="22"/>
                    </a:lnTo>
                    <a:lnTo>
                      <a:pt x="13" y="20"/>
                    </a:lnTo>
                    <a:lnTo>
                      <a:pt x="14" y="17"/>
                    </a:lnTo>
                    <a:lnTo>
                      <a:pt x="13" y="14"/>
                    </a:lnTo>
                    <a:lnTo>
                      <a:pt x="14" y="9"/>
                    </a:lnTo>
                    <a:lnTo>
                      <a:pt x="17" y="4"/>
                    </a:lnTo>
                    <a:lnTo>
                      <a:pt x="19" y="1"/>
                    </a:lnTo>
                    <a:lnTo>
                      <a:pt x="22" y="0"/>
                    </a:lnTo>
                    <a:lnTo>
                      <a:pt x="27" y="4"/>
                    </a:lnTo>
                    <a:lnTo>
                      <a:pt x="29" y="6"/>
                    </a:lnTo>
                    <a:lnTo>
                      <a:pt x="27" y="10"/>
                    </a:lnTo>
                    <a:lnTo>
                      <a:pt x="29" y="12"/>
                    </a:lnTo>
                    <a:lnTo>
                      <a:pt x="30" y="14"/>
                    </a:lnTo>
                    <a:lnTo>
                      <a:pt x="34" y="13"/>
                    </a:lnTo>
                    <a:lnTo>
                      <a:pt x="35" y="11"/>
                    </a:lnTo>
                    <a:lnTo>
                      <a:pt x="40" y="12"/>
                    </a:lnTo>
                    <a:lnTo>
                      <a:pt x="42" y="15"/>
                    </a:lnTo>
                    <a:lnTo>
                      <a:pt x="46" y="17"/>
                    </a:lnTo>
                    <a:lnTo>
                      <a:pt x="50" y="17"/>
                    </a:lnTo>
                    <a:lnTo>
                      <a:pt x="5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8" name="Freeform 204">
                <a:extLst>
                  <a:ext uri="{FF2B5EF4-FFF2-40B4-BE49-F238E27FC236}">
                    <a16:creationId xmlns:a16="http://schemas.microsoft.com/office/drawing/2014/main" id="{77B46D1F-07FF-4500-94D6-1AF3B6AE354F}"/>
                  </a:ext>
                </a:extLst>
              </p:cNvPr>
              <p:cNvSpPr>
                <a:spLocks/>
              </p:cNvSpPr>
              <p:nvPr/>
            </p:nvSpPr>
            <p:spPr bwMode="auto">
              <a:xfrm>
                <a:off x="4777" y="2670"/>
                <a:ext cx="29" cy="55"/>
              </a:xfrm>
              <a:custGeom>
                <a:avLst/>
                <a:gdLst>
                  <a:gd name="T0" fmla="*/ 11 w 29"/>
                  <a:gd name="T1" fmla="*/ 55 h 55"/>
                  <a:gd name="T2" fmla="*/ 14 w 29"/>
                  <a:gd name="T3" fmla="*/ 52 h 55"/>
                  <a:gd name="T4" fmla="*/ 18 w 29"/>
                  <a:gd name="T5" fmla="*/ 51 h 55"/>
                  <a:gd name="T6" fmla="*/ 21 w 29"/>
                  <a:gd name="T7" fmla="*/ 51 h 55"/>
                  <a:gd name="T8" fmla="*/ 27 w 29"/>
                  <a:gd name="T9" fmla="*/ 47 h 55"/>
                  <a:gd name="T10" fmla="*/ 29 w 29"/>
                  <a:gd name="T11" fmla="*/ 41 h 55"/>
                  <a:gd name="T12" fmla="*/ 29 w 29"/>
                  <a:gd name="T13" fmla="*/ 35 h 55"/>
                  <a:gd name="T14" fmla="*/ 28 w 29"/>
                  <a:gd name="T15" fmla="*/ 33 h 55"/>
                  <a:gd name="T16" fmla="*/ 28 w 29"/>
                  <a:gd name="T17" fmla="*/ 33 h 55"/>
                  <a:gd name="T18" fmla="*/ 27 w 29"/>
                  <a:gd name="T19" fmla="*/ 30 h 55"/>
                  <a:gd name="T20" fmla="*/ 24 w 29"/>
                  <a:gd name="T21" fmla="*/ 26 h 55"/>
                  <a:gd name="T22" fmla="*/ 22 w 29"/>
                  <a:gd name="T23" fmla="*/ 22 h 55"/>
                  <a:gd name="T24" fmla="*/ 20 w 29"/>
                  <a:gd name="T25" fmla="*/ 19 h 55"/>
                  <a:gd name="T26" fmla="*/ 18 w 29"/>
                  <a:gd name="T27" fmla="*/ 13 h 55"/>
                  <a:gd name="T28" fmla="*/ 15 w 29"/>
                  <a:gd name="T29" fmla="*/ 11 h 55"/>
                  <a:gd name="T30" fmla="*/ 12 w 29"/>
                  <a:gd name="T31" fmla="*/ 6 h 55"/>
                  <a:gd name="T32" fmla="*/ 4 w 29"/>
                  <a:gd name="T33" fmla="*/ 0 h 55"/>
                  <a:gd name="T34" fmla="*/ 3 w 29"/>
                  <a:gd name="T35" fmla="*/ 3 h 55"/>
                  <a:gd name="T36" fmla="*/ 6 w 29"/>
                  <a:gd name="T37" fmla="*/ 4 h 55"/>
                  <a:gd name="T38" fmla="*/ 9 w 29"/>
                  <a:gd name="T39" fmla="*/ 5 h 55"/>
                  <a:gd name="T40" fmla="*/ 9 w 29"/>
                  <a:gd name="T41" fmla="*/ 5 h 55"/>
                  <a:gd name="T42" fmla="*/ 6 w 29"/>
                  <a:gd name="T43" fmla="*/ 5 h 55"/>
                  <a:gd name="T44" fmla="*/ 4 w 29"/>
                  <a:gd name="T45" fmla="*/ 7 h 55"/>
                  <a:gd name="T46" fmla="*/ 4 w 29"/>
                  <a:gd name="T47" fmla="*/ 9 h 55"/>
                  <a:gd name="T48" fmla="*/ 2 w 29"/>
                  <a:gd name="T49" fmla="*/ 13 h 55"/>
                  <a:gd name="T50" fmla="*/ 3 w 29"/>
                  <a:gd name="T51" fmla="*/ 15 h 55"/>
                  <a:gd name="T52" fmla="*/ 2 w 29"/>
                  <a:gd name="T53" fmla="*/ 20 h 55"/>
                  <a:gd name="T54" fmla="*/ 1 w 29"/>
                  <a:gd name="T55" fmla="*/ 23 h 55"/>
                  <a:gd name="T56" fmla="*/ 1 w 29"/>
                  <a:gd name="T57" fmla="*/ 26 h 55"/>
                  <a:gd name="T58" fmla="*/ 0 w 29"/>
                  <a:gd name="T59" fmla="*/ 23 h 55"/>
                  <a:gd name="T60" fmla="*/ 0 w 29"/>
                  <a:gd name="T61" fmla="*/ 29 h 55"/>
                  <a:gd name="T62" fmla="*/ 1 w 29"/>
                  <a:gd name="T63" fmla="*/ 33 h 55"/>
                  <a:gd name="T64" fmla="*/ 1 w 29"/>
                  <a:gd name="T65" fmla="*/ 38 h 55"/>
                  <a:gd name="T66" fmla="*/ 1 w 29"/>
                  <a:gd name="T67" fmla="*/ 41 h 55"/>
                  <a:gd name="T68" fmla="*/ 3 w 29"/>
                  <a:gd name="T69" fmla="*/ 46 h 55"/>
                  <a:gd name="T70" fmla="*/ 3 w 29"/>
                  <a:gd name="T71" fmla="*/ 48 h 55"/>
                  <a:gd name="T72" fmla="*/ 5 w 29"/>
                  <a:gd name="T73" fmla="*/ 52 h 55"/>
                  <a:gd name="T74" fmla="*/ 9 w 29"/>
                  <a:gd name="T75"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55">
                    <a:moveTo>
                      <a:pt x="9" y="54"/>
                    </a:moveTo>
                    <a:lnTo>
                      <a:pt x="11" y="55"/>
                    </a:lnTo>
                    <a:lnTo>
                      <a:pt x="13" y="54"/>
                    </a:lnTo>
                    <a:lnTo>
                      <a:pt x="14" y="52"/>
                    </a:lnTo>
                    <a:lnTo>
                      <a:pt x="17" y="51"/>
                    </a:lnTo>
                    <a:lnTo>
                      <a:pt x="18" y="51"/>
                    </a:lnTo>
                    <a:lnTo>
                      <a:pt x="21" y="51"/>
                    </a:lnTo>
                    <a:lnTo>
                      <a:pt x="21" y="51"/>
                    </a:lnTo>
                    <a:lnTo>
                      <a:pt x="27" y="47"/>
                    </a:lnTo>
                    <a:lnTo>
                      <a:pt x="27" y="47"/>
                    </a:lnTo>
                    <a:lnTo>
                      <a:pt x="28" y="43"/>
                    </a:lnTo>
                    <a:lnTo>
                      <a:pt x="29" y="41"/>
                    </a:lnTo>
                    <a:lnTo>
                      <a:pt x="29" y="39"/>
                    </a:lnTo>
                    <a:lnTo>
                      <a:pt x="29" y="35"/>
                    </a:lnTo>
                    <a:lnTo>
                      <a:pt x="28" y="33"/>
                    </a:lnTo>
                    <a:lnTo>
                      <a:pt x="28" y="33"/>
                    </a:lnTo>
                    <a:lnTo>
                      <a:pt x="28" y="33"/>
                    </a:lnTo>
                    <a:lnTo>
                      <a:pt x="28" y="33"/>
                    </a:lnTo>
                    <a:lnTo>
                      <a:pt x="28" y="32"/>
                    </a:lnTo>
                    <a:lnTo>
                      <a:pt x="27" y="30"/>
                    </a:lnTo>
                    <a:lnTo>
                      <a:pt x="27" y="30"/>
                    </a:lnTo>
                    <a:lnTo>
                      <a:pt x="24" y="26"/>
                    </a:lnTo>
                    <a:lnTo>
                      <a:pt x="23" y="25"/>
                    </a:lnTo>
                    <a:lnTo>
                      <a:pt x="22" y="22"/>
                    </a:lnTo>
                    <a:lnTo>
                      <a:pt x="20" y="20"/>
                    </a:lnTo>
                    <a:lnTo>
                      <a:pt x="20" y="19"/>
                    </a:lnTo>
                    <a:lnTo>
                      <a:pt x="19" y="16"/>
                    </a:lnTo>
                    <a:lnTo>
                      <a:pt x="18" y="13"/>
                    </a:lnTo>
                    <a:lnTo>
                      <a:pt x="15" y="13"/>
                    </a:lnTo>
                    <a:lnTo>
                      <a:pt x="15" y="11"/>
                    </a:lnTo>
                    <a:lnTo>
                      <a:pt x="14" y="8"/>
                    </a:lnTo>
                    <a:lnTo>
                      <a:pt x="12" y="6"/>
                    </a:lnTo>
                    <a:lnTo>
                      <a:pt x="6" y="3"/>
                    </a:lnTo>
                    <a:lnTo>
                      <a:pt x="4" y="0"/>
                    </a:lnTo>
                    <a:lnTo>
                      <a:pt x="3" y="0"/>
                    </a:lnTo>
                    <a:lnTo>
                      <a:pt x="3" y="3"/>
                    </a:lnTo>
                    <a:lnTo>
                      <a:pt x="6" y="4"/>
                    </a:lnTo>
                    <a:lnTo>
                      <a:pt x="6" y="4"/>
                    </a:lnTo>
                    <a:lnTo>
                      <a:pt x="9" y="5"/>
                    </a:lnTo>
                    <a:lnTo>
                      <a:pt x="9" y="5"/>
                    </a:lnTo>
                    <a:lnTo>
                      <a:pt x="10" y="5"/>
                    </a:lnTo>
                    <a:lnTo>
                      <a:pt x="9" y="5"/>
                    </a:lnTo>
                    <a:lnTo>
                      <a:pt x="9" y="5"/>
                    </a:lnTo>
                    <a:lnTo>
                      <a:pt x="6" y="5"/>
                    </a:lnTo>
                    <a:lnTo>
                      <a:pt x="4" y="4"/>
                    </a:lnTo>
                    <a:lnTo>
                      <a:pt x="4" y="7"/>
                    </a:lnTo>
                    <a:lnTo>
                      <a:pt x="5" y="9"/>
                    </a:lnTo>
                    <a:lnTo>
                      <a:pt x="4" y="9"/>
                    </a:lnTo>
                    <a:lnTo>
                      <a:pt x="3" y="12"/>
                    </a:lnTo>
                    <a:lnTo>
                      <a:pt x="2" y="13"/>
                    </a:lnTo>
                    <a:lnTo>
                      <a:pt x="2" y="15"/>
                    </a:lnTo>
                    <a:lnTo>
                      <a:pt x="3" y="15"/>
                    </a:lnTo>
                    <a:lnTo>
                      <a:pt x="2" y="19"/>
                    </a:lnTo>
                    <a:lnTo>
                      <a:pt x="2" y="20"/>
                    </a:lnTo>
                    <a:lnTo>
                      <a:pt x="1" y="22"/>
                    </a:lnTo>
                    <a:lnTo>
                      <a:pt x="1" y="23"/>
                    </a:lnTo>
                    <a:lnTo>
                      <a:pt x="1" y="25"/>
                    </a:lnTo>
                    <a:lnTo>
                      <a:pt x="1" y="26"/>
                    </a:lnTo>
                    <a:lnTo>
                      <a:pt x="0" y="26"/>
                    </a:lnTo>
                    <a:lnTo>
                      <a:pt x="0" y="23"/>
                    </a:lnTo>
                    <a:lnTo>
                      <a:pt x="0" y="26"/>
                    </a:lnTo>
                    <a:lnTo>
                      <a:pt x="0" y="29"/>
                    </a:lnTo>
                    <a:lnTo>
                      <a:pt x="1" y="31"/>
                    </a:lnTo>
                    <a:lnTo>
                      <a:pt x="1" y="33"/>
                    </a:lnTo>
                    <a:lnTo>
                      <a:pt x="1" y="35"/>
                    </a:lnTo>
                    <a:lnTo>
                      <a:pt x="1" y="38"/>
                    </a:lnTo>
                    <a:lnTo>
                      <a:pt x="2" y="40"/>
                    </a:lnTo>
                    <a:lnTo>
                      <a:pt x="1" y="41"/>
                    </a:lnTo>
                    <a:lnTo>
                      <a:pt x="2" y="43"/>
                    </a:lnTo>
                    <a:lnTo>
                      <a:pt x="3" y="46"/>
                    </a:lnTo>
                    <a:lnTo>
                      <a:pt x="3" y="47"/>
                    </a:lnTo>
                    <a:lnTo>
                      <a:pt x="3" y="48"/>
                    </a:lnTo>
                    <a:lnTo>
                      <a:pt x="4" y="50"/>
                    </a:lnTo>
                    <a:lnTo>
                      <a:pt x="5" y="52"/>
                    </a:lnTo>
                    <a:lnTo>
                      <a:pt x="9" y="54"/>
                    </a:lnTo>
                    <a:lnTo>
                      <a:pt x="9"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9" name="Freeform 205">
                <a:extLst>
                  <a:ext uri="{FF2B5EF4-FFF2-40B4-BE49-F238E27FC236}">
                    <a16:creationId xmlns:a16="http://schemas.microsoft.com/office/drawing/2014/main" id="{E8F804E6-8A12-4E24-ABEA-07499C84A664}"/>
                  </a:ext>
                </a:extLst>
              </p:cNvPr>
              <p:cNvSpPr>
                <a:spLocks/>
              </p:cNvSpPr>
              <p:nvPr/>
            </p:nvSpPr>
            <p:spPr bwMode="auto">
              <a:xfrm>
                <a:off x="4488" y="2132"/>
                <a:ext cx="10" cy="23"/>
              </a:xfrm>
              <a:custGeom>
                <a:avLst/>
                <a:gdLst>
                  <a:gd name="T0" fmla="*/ 4 w 10"/>
                  <a:gd name="T1" fmla="*/ 3 h 23"/>
                  <a:gd name="T2" fmla="*/ 5 w 10"/>
                  <a:gd name="T3" fmla="*/ 3 h 23"/>
                  <a:gd name="T4" fmla="*/ 6 w 10"/>
                  <a:gd name="T5" fmla="*/ 3 h 23"/>
                  <a:gd name="T6" fmla="*/ 8 w 10"/>
                  <a:gd name="T7" fmla="*/ 3 h 23"/>
                  <a:gd name="T8" fmla="*/ 9 w 10"/>
                  <a:gd name="T9" fmla="*/ 6 h 23"/>
                  <a:gd name="T10" fmla="*/ 9 w 10"/>
                  <a:gd name="T11" fmla="*/ 8 h 23"/>
                  <a:gd name="T12" fmla="*/ 9 w 10"/>
                  <a:gd name="T13" fmla="*/ 7 h 23"/>
                  <a:gd name="T14" fmla="*/ 9 w 10"/>
                  <a:gd name="T15" fmla="*/ 6 h 23"/>
                  <a:gd name="T16" fmla="*/ 9 w 10"/>
                  <a:gd name="T17" fmla="*/ 4 h 23"/>
                  <a:gd name="T18" fmla="*/ 10 w 10"/>
                  <a:gd name="T19" fmla="*/ 4 h 23"/>
                  <a:gd name="T20" fmla="*/ 10 w 10"/>
                  <a:gd name="T21" fmla="*/ 7 h 23"/>
                  <a:gd name="T22" fmla="*/ 10 w 10"/>
                  <a:gd name="T23" fmla="*/ 12 h 23"/>
                  <a:gd name="T24" fmla="*/ 9 w 10"/>
                  <a:gd name="T25" fmla="*/ 14 h 23"/>
                  <a:gd name="T26" fmla="*/ 8 w 10"/>
                  <a:gd name="T27" fmla="*/ 16 h 23"/>
                  <a:gd name="T28" fmla="*/ 6 w 10"/>
                  <a:gd name="T29" fmla="*/ 17 h 23"/>
                  <a:gd name="T30" fmla="*/ 6 w 10"/>
                  <a:gd name="T31" fmla="*/ 16 h 23"/>
                  <a:gd name="T32" fmla="*/ 6 w 10"/>
                  <a:gd name="T33" fmla="*/ 19 h 23"/>
                  <a:gd name="T34" fmla="*/ 8 w 10"/>
                  <a:gd name="T35" fmla="*/ 22 h 23"/>
                  <a:gd name="T36" fmla="*/ 6 w 10"/>
                  <a:gd name="T37" fmla="*/ 20 h 23"/>
                  <a:gd name="T38" fmla="*/ 5 w 10"/>
                  <a:gd name="T39" fmla="*/ 21 h 23"/>
                  <a:gd name="T40" fmla="*/ 4 w 10"/>
                  <a:gd name="T41" fmla="*/ 21 h 23"/>
                  <a:gd name="T42" fmla="*/ 4 w 10"/>
                  <a:gd name="T43" fmla="*/ 22 h 23"/>
                  <a:gd name="T44" fmla="*/ 2 w 10"/>
                  <a:gd name="T45" fmla="*/ 23 h 23"/>
                  <a:gd name="T46" fmla="*/ 1 w 10"/>
                  <a:gd name="T47" fmla="*/ 21 h 23"/>
                  <a:gd name="T48" fmla="*/ 1 w 10"/>
                  <a:gd name="T49" fmla="*/ 20 h 23"/>
                  <a:gd name="T50" fmla="*/ 1 w 10"/>
                  <a:gd name="T51" fmla="*/ 19 h 23"/>
                  <a:gd name="T52" fmla="*/ 0 w 10"/>
                  <a:gd name="T53" fmla="*/ 19 h 23"/>
                  <a:gd name="T54" fmla="*/ 0 w 10"/>
                  <a:gd name="T55" fmla="*/ 17 h 23"/>
                  <a:gd name="T56" fmla="*/ 1 w 10"/>
                  <a:gd name="T57" fmla="*/ 19 h 23"/>
                  <a:gd name="T58" fmla="*/ 2 w 10"/>
                  <a:gd name="T59" fmla="*/ 19 h 23"/>
                  <a:gd name="T60" fmla="*/ 3 w 10"/>
                  <a:gd name="T61" fmla="*/ 20 h 23"/>
                  <a:gd name="T62" fmla="*/ 3 w 10"/>
                  <a:gd name="T63" fmla="*/ 17 h 23"/>
                  <a:gd name="T64" fmla="*/ 2 w 10"/>
                  <a:gd name="T65" fmla="*/ 16 h 23"/>
                  <a:gd name="T66" fmla="*/ 1 w 10"/>
                  <a:gd name="T67" fmla="*/ 17 h 23"/>
                  <a:gd name="T68" fmla="*/ 1 w 10"/>
                  <a:gd name="T69" fmla="*/ 15 h 23"/>
                  <a:gd name="T70" fmla="*/ 2 w 10"/>
                  <a:gd name="T71" fmla="*/ 14 h 23"/>
                  <a:gd name="T72" fmla="*/ 2 w 10"/>
                  <a:gd name="T73" fmla="*/ 13 h 23"/>
                  <a:gd name="T74" fmla="*/ 3 w 10"/>
                  <a:gd name="T75" fmla="*/ 13 h 23"/>
                  <a:gd name="T76" fmla="*/ 3 w 10"/>
                  <a:gd name="T77" fmla="*/ 12 h 23"/>
                  <a:gd name="T78" fmla="*/ 2 w 10"/>
                  <a:gd name="T79" fmla="*/ 13 h 23"/>
                  <a:gd name="T80" fmla="*/ 1 w 10"/>
                  <a:gd name="T81" fmla="*/ 13 h 23"/>
                  <a:gd name="T82" fmla="*/ 0 w 10"/>
                  <a:gd name="T83" fmla="*/ 12 h 23"/>
                  <a:gd name="T84" fmla="*/ 1 w 10"/>
                  <a:gd name="T85" fmla="*/ 12 h 23"/>
                  <a:gd name="T86" fmla="*/ 2 w 10"/>
                  <a:gd name="T87" fmla="*/ 11 h 23"/>
                  <a:gd name="T88" fmla="*/ 1 w 10"/>
                  <a:gd name="T89" fmla="*/ 10 h 23"/>
                  <a:gd name="T90" fmla="*/ 1 w 10"/>
                  <a:gd name="T91" fmla="*/ 8 h 23"/>
                  <a:gd name="T92" fmla="*/ 1 w 10"/>
                  <a:gd name="T93" fmla="*/ 7 h 23"/>
                  <a:gd name="T94" fmla="*/ 1 w 10"/>
                  <a:gd name="T95" fmla="*/ 6 h 23"/>
                  <a:gd name="T96" fmla="*/ 1 w 10"/>
                  <a:gd name="T97" fmla="*/ 5 h 23"/>
                  <a:gd name="T98" fmla="*/ 2 w 10"/>
                  <a:gd name="T99" fmla="*/ 4 h 23"/>
                  <a:gd name="T100" fmla="*/ 3 w 10"/>
                  <a:gd name="T101" fmla="*/ 3 h 23"/>
                  <a:gd name="T102" fmla="*/ 4 w 10"/>
                  <a:gd name="T103" fmla="*/ 3 h 23"/>
                  <a:gd name="T104" fmla="*/ 3 w 10"/>
                  <a:gd name="T105" fmla="*/ 2 h 23"/>
                  <a:gd name="T106" fmla="*/ 3 w 10"/>
                  <a:gd name="T10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23">
                    <a:moveTo>
                      <a:pt x="4" y="0"/>
                    </a:moveTo>
                    <a:lnTo>
                      <a:pt x="4" y="0"/>
                    </a:lnTo>
                    <a:lnTo>
                      <a:pt x="4" y="3"/>
                    </a:lnTo>
                    <a:lnTo>
                      <a:pt x="4" y="3"/>
                    </a:lnTo>
                    <a:lnTo>
                      <a:pt x="4" y="3"/>
                    </a:lnTo>
                    <a:lnTo>
                      <a:pt x="5" y="3"/>
                    </a:lnTo>
                    <a:lnTo>
                      <a:pt x="5" y="3"/>
                    </a:lnTo>
                    <a:lnTo>
                      <a:pt x="5" y="3"/>
                    </a:lnTo>
                    <a:lnTo>
                      <a:pt x="5" y="3"/>
                    </a:lnTo>
                    <a:lnTo>
                      <a:pt x="5" y="3"/>
                    </a:lnTo>
                    <a:lnTo>
                      <a:pt x="5" y="3"/>
                    </a:lnTo>
                    <a:lnTo>
                      <a:pt x="6" y="3"/>
                    </a:lnTo>
                    <a:lnTo>
                      <a:pt x="6" y="3"/>
                    </a:lnTo>
                    <a:lnTo>
                      <a:pt x="8" y="3"/>
                    </a:lnTo>
                    <a:lnTo>
                      <a:pt x="8" y="3"/>
                    </a:lnTo>
                    <a:lnTo>
                      <a:pt x="8" y="3"/>
                    </a:lnTo>
                    <a:lnTo>
                      <a:pt x="8" y="3"/>
                    </a:lnTo>
                    <a:lnTo>
                      <a:pt x="8" y="3"/>
                    </a:lnTo>
                    <a:lnTo>
                      <a:pt x="9" y="3"/>
                    </a:lnTo>
                    <a:lnTo>
                      <a:pt x="9" y="6"/>
                    </a:lnTo>
                    <a:lnTo>
                      <a:pt x="8" y="6"/>
                    </a:lnTo>
                    <a:lnTo>
                      <a:pt x="9" y="7"/>
                    </a:lnTo>
                    <a:lnTo>
                      <a:pt x="9" y="7"/>
                    </a:lnTo>
                    <a:lnTo>
                      <a:pt x="9" y="8"/>
                    </a:lnTo>
                    <a:lnTo>
                      <a:pt x="9" y="8"/>
                    </a:lnTo>
                    <a:lnTo>
                      <a:pt x="9" y="8"/>
                    </a:lnTo>
                    <a:lnTo>
                      <a:pt x="9" y="8"/>
                    </a:lnTo>
                    <a:lnTo>
                      <a:pt x="9" y="7"/>
                    </a:lnTo>
                    <a:lnTo>
                      <a:pt x="9" y="7"/>
                    </a:lnTo>
                    <a:lnTo>
                      <a:pt x="9" y="6"/>
                    </a:lnTo>
                    <a:lnTo>
                      <a:pt x="9" y="6"/>
                    </a:lnTo>
                    <a:lnTo>
                      <a:pt x="9" y="6"/>
                    </a:lnTo>
                    <a:lnTo>
                      <a:pt x="9" y="5"/>
                    </a:lnTo>
                    <a:lnTo>
                      <a:pt x="9" y="5"/>
                    </a:lnTo>
                    <a:lnTo>
                      <a:pt x="9" y="5"/>
                    </a:lnTo>
                    <a:lnTo>
                      <a:pt x="9" y="4"/>
                    </a:lnTo>
                    <a:lnTo>
                      <a:pt x="9" y="4"/>
                    </a:lnTo>
                    <a:lnTo>
                      <a:pt x="9" y="4"/>
                    </a:lnTo>
                    <a:lnTo>
                      <a:pt x="10" y="4"/>
                    </a:lnTo>
                    <a:lnTo>
                      <a:pt x="10" y="4"/>
                    </a:lnTo>
                    <a:lnTo>
                      <a:pt x="10" y="5"/>
                    </a:lnTo>
                    <a:lnTo>
                      <a:pt x="10" y="6"/>
                    </a:lnTo>
                    <a:lnTo>
                      <a:pt x="10" y="6"/>
                    </a:lnTo>
                    <a:lnTo>
                      <a:pt x="10" y="7"/>
                    </a:lnTo>
                    <a:lnTo>
                      <a:pt x="10" y="7"/>
                    </a:lnTo>
                    <a:lnTo>
                      <a:pt x="10" y="8"/>
                    </a:lnTo>
                    <a:lnTo>
                      <a:pt x="10" y="8"/>
                    </a:lnTo>
                    <a:lnTo>
                      <a:pt x="10" y="12"/>
                    </a:lnTo>
                    <a:lnTo>
                      <a:pt x="10" y="12"/>
                    </a:lnTo>
                    <a:lnTo>
                      <a:pt x="10" y="13"/>
                    </a:lnTo>
                    <a:lnTo>
                      <a:pt x="10" y="13"/>
                    </a:lnTo>
                    <a:lnTo>
                      <a:pt x="9" y="14"/>
                    </a:lnTo>
                    <a:lnTo>
                      <a:pt x="9" y="14"/>
                    </a:lnTo>
                    <a:lnTo>
                      <a:pt x="9" y="15"/>
                    </a:lnTo>
                    <a:lnTo>
                      <a:pt x="8" y="15"/>
                    </a:lnTo>
                    <a:lnTo>
                      <a:pt x="8" y="16"/>
                    </a:lnTo>
                    <a:lnTo>
                      <a:pt x="8" y="16"/>
                    </a:lnTo>
                    <a:lnTo>
                      <a:pt x="8" y="17"/>
                    </a:lnTo>
                    <a:lnTo>
                      <a:pt x="8" y="17"/>
                    </a:lnTo>
                    <a:lnTo>
                      <a:pt x="6" y="17"/>
                    </a:lnTo>
                    <a:lnTo>
                      <a:pt x="6" y="17"/>
                    </a:lnTo>
                    <a:lnTo>
                      <a:pt x="6" y="17"/>
                    </a:lnTo>
                    <a:lnTo>
                      <a:pt x="6" y="17"/>
                    </a:lnTo>
                    <a:lnTo>
                      <a:pt x="6" y="16"/>
                    </a:lnTo>
                    <a:lnTo>
                      <a:pt x="6" y="16"/>
                    </a:lnTo>
                    <a:lnTo>
                      <a:pt x="6" y="17"/>
                    </a:lnTo>
                    <a:lnTo>
                      <a:pt x="6" y="17"/>
                    </a:lnTo>
                    <a:lnTo>
                      <a:pt x="6" y="19"/>
                    </a:lnTo>
                    <a:lnTo>
                      <a:pt x="6" y="20"/>
                    </a:lnTo>
                    <a:lnTo>
                      <a:pt x="6" y="20"/>
                    </a:lnTo>
                    <a:lnTo>
                      <a:pt x="8" y="21"/>
                    </a:lnTo>
                    <a:lnTo>
                      <a:pt x="8" y="22"/>
                    </a:lnTo>
                    <a:lnTo>
                      <a:pt x="6" y="22"/>
                    </a:lnTo>
                    <a:lnTo>
                      <a:pt x="6" y="21"/>
                    </a:lnTo>
                    <a:lnTo>
                      <a:pt x="6" y="21"/>
                    </a:lnTo>
                    <a:lnTo>
                      <a:pt x="6" y="20"/>
                    </a:lnTo>
                    <a:lnTo>
                      <a:pt x="6" y="21"/>
                    </a:lnTo>
                    <a:lnTo>
                      <a:pt x="6" y="21"/>
                    </a:lnTo>
                    <a:lnTo>
                      <a:pt x="6" y="21"/>
                    </a:lnTo>
                    <a:lnTo>
                      <a:pt x="5" y="21"/>
                    </a:lnTo>
                    <a:lnTo>
                      <a:pt x="5" y="21"/>
                    </a:lnTo>
                    <a:lnTo>
                      <a:pt x="5" y="20"/>
                    </a:lnTo>
                    <a:lnTo>
                      <a:pt x="4" y="20"/>
                    </a:lnTo>
                    <a:lnTo>
                      <a:pt x="4" y="21"/>
                    </a:lnTo>
                    <a:lnTo>
                      <a:pt x="4" y="21"/>
                    </a:lnTo>
                    <a:lnTo>
                      <a:pt x="4" y="21"/>
                    </a:lnTo>
                    <a:lnTo>
                      <a:pt x="4" y="22"/>
                    </a:lnTo>
                    <a:lnTo>
                      <a:pt x="4" y="22"/>
                    </a:lnTo>
                    <a:lnTo>
                      <a:pt x="4" y="23"/>
                    </a:lnTo>
                    <a:lnTo>
                      <a:pt x="4" y="23"/>
                    </a:lnTo>
                    <a:lnTo>
                      <a:pt x="4" y="23"/>
                    </a:lnTo>
                    <a:lnTo>
                      <a:pt x="2" y="23"/>
                    </a:lnTo>
                    <a:lnTo>
                      <a:pt x="2" y="23"/>
                    </a:lnTo>
                    <a:lnTo>
                      <a:pt x="1" y="23"/>
                    </a:lnTo>
                    <a:lnTo>
                      <a:pt x="1" y="22"/>
                    </a:lnTo>
                    <a:lnTo>
                      <a:pt x="1" y="21"/>
                    </a:lnTo>
                    <a:lnTo>
                      <a:pt x="1" y="21"/>
                    </a:lnTo>
                    <a:lnTo>
                      <a:pt x="1" y="21"/>
                    </a:lnTo>
                    <a:lnTo>
                      <a:pt x="1" y="20"/>
                    </a:lnTo>
                    <a:lnTo>
                      <a:pt x="1" y="20"/>
                    </a:lnTo>
                    <a:lnTo>
                      <a:pt x="1" y="20"/>
                    </a:lnTo>
                    <a:lnTo>
                      <a:pt x="1" y="20"/>
                    </a:lnTo>
                    <a:lnTo>
                      <a:pt x="1" y="19"/>
                    </a:lnTo>
                    <a:lnTo>
                      <a:pt x="1" y="19"/>
                    </a:lnTo>
                    <a:lnTo>
                      <a:pt x="0" y="19"/>
                    </a:lnTo>
                    <a:lnTo>
                      <a:pt x="0" y="19"/>
                    </a:lnTo>
                    <a:lnTo>
                      <a:pt x="0" y="19"/>
                    </a:lnTo>
                    <a:lnTo>
                      <a:pt x="0" y="19"/>
                    </a:lnTo>
                    <a:lnTo>
                      <a:pt x="0" y="19"/>
                    </a:lnTo>
                    <a:lnTo>
                      <a:pt x="0" y="17"/>
                    </a:lnTo>
                    <a:lnTo>
                      <a:pt x="0" y="17"/>
                    </a:lnTo>
                    <a:lnTo>
                      <a:pt x="0" y="17"/>
                    </a:lnTo>
                    <a:lnTo>
                      <a:pt x="0" y="17"/>
                    </a:lnTo>
                    <a:lnTo>
                      <a:pt x="0" y="17"/>
                    </a:lnTo>
                    <a:lnTo>
                      <a:pt x="0" y="19"/>
                    </a:lnTo>
                    <a:lnTo>
                      <a:pt x="1" y="19"/>
                    </a:lnTo>
                    <a:lnTo>
                      <a:pt x="2" y="19"/>
                    </a:lnTo>
                    <a:lnTo>
                      <a:pt x="2" y="19"/>
                    </a:lnTo>
                    <a:lnTo>
                      <a:pt x="2" y="19"/>
                    </a:lnTo>
                    <a:lnTo>
                      <a:pt x="2" y="19"/>
                    </a:lnTo>
                    <a:lnTo>
                      <a:pt x="2" y="20"/>
                    </a:lnTo>
                    <a:lnTo>
                      <a:pt x="2" y="20"/>
                    </a:lnTo>
                    <a:lnTo>
                      <a:pt x="2" y="20"/>
                    </a:lnTo>
                    <a:lnTo>
                      <a:pt x="3" y="20"/>
                    </a:lnTo>
                    <a:lnTo>
                      <a:pt x="3" y="20"/>
                    </a:lnTo>
                    <a:lnTo>
                      <a:pt x="3" y="19"/>
                    </a:lnTo>
                    <a:lnTo>
                      <a:pt x="3" y="17"/>
                    </a:lnTo>
                    <a:lnTo>
                      <a:pt x="3" y="17"/>
                    </a:lnTo>
                    <a:lnTo>
                      <a:pt x="3" y="16"/>
                    </a:lnTo>
                    <a:lnTo>
                      <a:pt x="3" y="16"/>
                    </a:lnTo>
                    <a:lnTo>
                      <a:pt x="2" y="16"/>
                    </a:lnTo>
                    <a:lnTo>
                      <a:pt x="2" y="16"/>
                    </a:lnTo>
                    <a:lnTo>
                      <a:pt x="2" y="16"/>
                    </a:lnTo>
                    <a:lnTo>
                      <a:pt x="2" y="16"/>
                    </a:lnTo>
                    <a:lnTo>
                      <a:pt x="2" y="17"/>
                    </a:lnTo>
                    <a:lnTo>
                      <a:pt x="1" y="17"/>
                    </a:lnTo>
                    <a:lnTo>
                      <a:pt x="1" y="16"/>
                    </a:lnTo>
                    <a:lnTo>
                      <a:pt x="1" y="16"/>
                    </a:lnTo>
                    <a:lnTo>
                      <a:pt x="1" y="15"/>
                    </a:lnTo>
                    <a:lnTo>
                      <a:pt x="1" y="15"/>
                    </a:lnTo>
                    <a:lnTo>
                      <a:pt x="1" y="15"/>
                    </a:lnTo>
                    <a:lnTo>
                      <a:pt x="2" y="15"/>
                    </a:lnTo>
                    <a:lnTo>
                      <a:pt x="2" y="14"/>
                    </a:lnTo>
                    <a:lnTo>
                      <a:pt x="2" y="14"/>
                    </a:lnTo>
                    <a:lnTo>
                      <a:pt x="2" y="14"/>
                    </a:lnTo>
                    <a:lnTo>
                      <a:pt x="2" y="14"/>
                    </a:lnTo>
                    <a:lnTo>
                      <a:pt x="2" y="13"/>
                    </a:lnTo>
                    <a:lnTo>
                      <a:pt x="2" y="13"/>
                    </a:lnTo>
                    <a:lnTo>
                      <a:pt x="3" y="13"/>
                    </a:lnTo>
                    <a:lnTo>
                      <a:pt x="3" y="13"/>
                    </a:lnTo>
                    <a:lnTo>
                      <a:pt x="3" y="13"/>
                    </a:lnTo>
                    <a:lnTo>
                      <a:pt x="3" y="13"/>
                    </a:lnTo>
                    <a:lnTo>
                      <a:pt x="3" y="12"/>
                    </a:lnTo>
                    <a:lnTo>
                      <a:pt x="4" y="12"/>
                    </a:lnTo>
                    <a:lnTo>
                      <a:pt x="4" y="12"/>
                    </a:lnTo>
                    <a:lnTo>
                      <a:pt x="3" y="12"/>
                    </a:lnTo>
                    <a:lnTo>
                      <a:pt x="3" y="12"/>
                    </a:lnTo>
                    <a:lnTo>
                      <a:pt x="2" y="12"/>
                    </a:lnTo>
                    <a:lnTo>
                      <a:pt x="2" y="12"/>
                    </a:lnTo>
                    <a:lnTo>
                      <a:pt x="2" y="13"/>
                    </a:lnTo>
                    <a:lnTo>
                      <a:pt x="2" y="13"/>
                    </a:lnTo>
                    <a:lnTo>
                      <a:pt x="1" y="13"/>
                    </a:lnTo>
                    <a:lnTo>
                      <a:pt x="1" y="13"/>
                    </a:lnTo>
                    <a:lnTo>
                      <a:pt x="1" y="13"/>
                    </a:lnTo>
                    <a:lnTo>
                      <a:pt x="0" y="13"/>
                    </a:lnTo>
                    <a:lnTo>
                      <a:pt x="0" y="13"/>
                    </a:lnTo>
                    <a:lnTo>
                      <a:pt x="0" y="13"/>
                    </a:lnTo>
                    <a:lnTo>
                      <a:pt x="0" y="12"/>
                    </a:lnTo>
                    <a:lnTo>
                      <a:pt x="0" y="12"/>
                    </a:lnTo>
                    <a:lnTo>
                      <a:pt x="0" y="12"/>
                    </a:lnTo>
                    <a:lnTo>
                      <a:pt x="1" y="12"/>
                    </a:lnTo>
                    <a:lnTo>
                      <a:pt x="1" y="12"/>
                    </a:lnTo>
                    <a:lnTo>
                      <a:pt x="1" y="11"/>
                    </a:lnTo>
                    <a:lnTo>
                      <a:pt x="2" y="11"/>
                    </a:lnTo>
                    <a:lnTo>
                      <a:pt x="2" y="11"/>
                    </a:lnTo>
                    <a:lnTo>
                      <a:pt x="2" y="11"/>
                    </a:lnTo>
                    <a:lnTo>
                      <a:pt x="2" y="10"/>
                    </a:lnTo>
                    <a:lnTo>
                      <a:pt x="2" y="10"/>
                    </a:lnTo>
                    <a:lnTo>
                      <a:pt x="2" y="10"/>
                    </a:lnTo>
                    <a:lnTo>
                      <a:pt x="1" y="10"/>
                    </a:lnTo>
                    <a:lnTo>
                      <a:pt x="1" y="10"/>
                    </a:lnTo>
                    <a:lnTo>
                      <a:pt x="1" y="8"/>
                    </a:lnTo>
                    <a:lnTo>
                      <a:pt x="1" y="8"/>
                    </a:lnTo>
                    <a:lnTo>
                      <a:pt x="1" y="8"/>
                    </a:lnTo>
                    <a:lnTo>
                      <a:pt x="1" y="8"/>
                    </a:lnTo>
                    <a:lnTo>
                      <a:pt x="1" y="7"/>
                    </a:lnTo>
                    <a:lnTo>
                      <a:pt x="1" y="7"/>
                    </a:lnTo>
                    <a:lnTo>
                      <a:pt x="1" y="7"/>
                    </a:lnTo>
                    <a:lnTo>
                      <a:pt x="1" y="6"/>
                    </a:lnTo>
                    <a:lnTo>
                      <a:pt x="1" y="6"/>
                    </a:lnTo>
                    <a:lnTo>
                      <a:pt x="1" y="6"/>
                    </a:lnTo>
                    <a:lnTo>
                      <a:pt x="1" y="6"/>
                    </a:lnTo>
                    <a:lnTo>
                      <a:pt x="1" y="6"/>
                    </a:lnTo>
                    <a:lnTo>
                      <a:pt x="1" y="6"/>
                    </a:lnTo>
                    <a:lnTo>
                      <a:pt x="1" y="5"/>
                    </a:lnTo>
                    <a:lnTo>
                      <a:pt x="1" y="5"/>
                    </a:lnTo>
                    <a:lnTo>
                      <a:pt x="2" y="5"/>
                    </a:lnTo>
                    <a:lnTo>
                      <a:pt x="2" y="4"/>
                    </a:lnTo>
                    <a:lnTo>
                      <a:pt x="2" y="4"/>
                    </a:lnTo>
                    <a:lnTo>
                      <a:pt x="2" y="4"/>
                    </a:lnTo>
                    <a:lnTo>
                      <a:pt x="3" y="3"/>
                    </a:lnTo>
                    <a:lnTo>
                      <a:pt x="3" y="3"/>
                    </a:lnTo>
                    <a:lnTo>
                      <a:pt x="3" y="3"/>
                    </a:lnTo>
                    <a:lnTo>
                      <a:pt x="3" y="3"/>
                    </a:lnTo>
                    <a:lnTo>
                      <a:pt x="4" y="3"/>
                    </a:lnTo>
                    <a:lnTo>
                      <a:pt x="4" y="3"/>
                    </a:lnTo>
                    <a:lnTo>
                      <a:pt x="4" y="3"/>
                    </a:lnTo>
                    <a:lnTo>
                      <a:pt x="4" y="3"/>
                    </a:lnTo>
                    <a:lnTo>
                      <a:pt x="3" y="3"/>
                    </a:lnTo>
                    <a:lnTo>
                      <a:pt x="3" y="3"/>
                    </a:lnTo>
                    <a:lnTo>
                      <a:pt x="3" y="3"/>
                    </a:lnTo>
                    <a:lnTo>
                      <a:pt x="3" y="2"/>
                    </a:lnTo>
                    <a:lnTo>
                      <a:pt x="3" y="2"/>
                    </a:lnTo>
                    <a:lnTo>
                      <a:pt x="3" y="2"/>
                    </a:lnTo>
                    <a:lnTo>
                      <a:pt x="3" y="0"/>
                    </a:lnTo>
                    <a:lnTo>
                      <a:pt x="3"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grpSp>
        <p:sp>
          <p:nvSpPr>
            <p:cNvPr id="7" name="Freeform 207">
              <a:extLst>
                <a:ext uri="{FF2B5EF4-FFF2-40B4-BE49-F238E27FC236}">
                  <a16:creationId xmlns:a16="http://schemas.microsoft.com/office/drawing/2014/main" id="{09FB67DB-EA93-4577-A443-38479F2DB984}"/>
                </a:ext>
              </a:extLst>
            </p:cNvPr>
            <p:cNvSpPr>
              <a:spLocks noEditPoints="1"/>
            </p:cNvSpPr>
            <p:nvPr/>
          </p:nvSpPr>
          <p:spPr bwMode="auto">
            <a:xfrm>
              <a:off x="3851275" y="2009775"/>
              <a:ext cx="671512" cy="342900"/>
            </a:xfrm>
            <a:custGeom>
              <a:avLst/>
              <a:gdLst>
                <a:gd name="T0" fmla="*/ 381 w 423"/>
                <a:gd name="T1" fmla="*/ 10 h 216"/>
                <a:gd name="T2" fmla="*/ 322 w 423"/>
                <a:gd name="T3" fmla="*/ 16 h 216"/>
                <a:gd name="T4" fmla="*/ 317 w 423"/>
                <a:gd name="T5" fmla="*/ 5 h 216"/>
                <a:gd name="T6" fmla="*/ 267 w 423"/>
                <a:gd name="T7" fmla="*/ 1 h 216"/>
                <a:gd name="T8" fmla="*/ 230 w 423"/>
                <a:gd name="T9" fmla="*/ 2 h 216"/>
                <a:gd name="T10" fmla="*/ 215 w 423"/>
                <a:gd name="T11" fmla="*/ 22 h 216"/>
                <a:gd name="T12" fmla="*/ 162 w 423"/>
                <a:gd name="T13" fmla="*/ 6 h 216"/>
                <a:gd name="T14" fmla="*/ 151 w 423"/>
                <a:gd name="T15" fmla="*/ 10 h 216"/>
                <a:gd name="T16" fmla="*/ 133 w 423"/>
                <a:gd name="T17" fmla="*/ 22 h 216"/>
                <a:gd name="T18" fmla="*/ 164 w 423"/>
                <a:gd name="T19" fmla="*/ 40 h 216"/>
                <a:gd name="T20" fmla="*/ 127 w 423"/>
                <a:gd name="T21" fmla="*/ 35 h 216"/>
                <a:gd name="T22" fmla="*/ 87 w 423"/>
                <a:gd name="T23" fmla="*/ 28 h 216"/>
                <a:gd name="T24" fmla="*/ 86 w 423"/>
                <a:gd name="T25" fmla="*/ 40 h 216"/>
                <a:gd name="T26" fmla="*/ 37 w 423"/>
                <a:gd name="T27" fmla="*/ 40 h 216"/>
                <a:gd name="T28" fmla="*/ 15 w 423"/>
                <a:gd name="T29" fmla="*/ 50 h 216"/>
                <a:gd name="T30" fmla="*/ 42 w 423"/>
                <a:gd name="T31" fmla="*/ 52 h 216"/>
                <a:gd name="T32" fmla="*/ 35 w 423"/>
                <a:gd name="T33" fmla="*/ 62 h 216"/>
                <a:gd name="T34" fmla="*/ 60 w 423"/>
                <a:gd name="T35" fmla="*/ 68 h 216"/>
                <a:gd name="T36" fmla="*/ 66 w 423"/>
                <a:gd name="T37" fmla="*/ 70 h 216"/>
                <a:gd name="T38" fmla="*/ 73 w 423"/>
                <a:gd name="T39" fmla="*/ 75 h 216"/>
                <a:gd name="T40" fmla="*/ 121 w 423"/>
                <a:gd name="T41" fmla="*/ 67 h 216"/>
                <a:gd name="T42" fmla="*/ 85 w 423"/>
                <a:gd name="T43" fmla="*/ 84 h 216"/>
                <a:gd name="T44" fmla="*/ 133 w 423"/>
                <a:gd name="T45" fmla="*/ 77 h 216"/>
                <a:gd name="T46" fmla="*/ 156 w 423"/>
                <a:gd name="T47" fmla="*/ 79 h 216"/>
                <a:gd name="T48" fmla="*/ 202 w 423"/>
                <a:gd name="T49" fmla="*/ 57 h 216"/>
                <a:gd name="T50" fmla="*/ 211 w 423"/>
                <a:gd name="T51" fmla="*/ 75 h 216"/>
                <a:gd name="T52" fmla="*/ 182 w 423"/>
                <a:gd name="T53" fmla="*/ 84 h 216"/>
                <a:gd name="T54" fmla="*/ 129 w 423"/>
                <a:gd name="T55" fmla="*/ 99 h 216"/>
                <a:gd name="T56" fmla="*/ 150 w 423"/>
                <a:gd name="T57" fmla="*/ 115 h 216"/>
                <a:gd name="T58" fmla="*/ 88 w 423"/>
                <a:gd name="T59" fmla="*/ 93 h 216"/>
                <a:gd name="T60" fmla="*/ 83 w 423"/>
                <a:gd name="T61" fmla="*/ 111 h 216"/>
                <a:gd name="T62" fmla="*/ 105 w 423"/>
                <a:gd name="T63" fmla="*/ 134 h 216"/>
                <a:gd name="T64" fmla="*/ 127 w 423"/>
                <a:gd name="T65" fmla="*/ 142 h 216"/>
                <a:gd name="T66" fmla="*/ 78 w 423"/>
                <a:gd name="T67" fmla="*/ 138 h 216"/>
                <a:gd name="T68" fmla="*/ 79 w 423"/>
                <a:gd name="T69" fmla="*/ 161 h 216"/>
                <a:gd name="T70" fmla="*/ 99 w 423"/>
                <a:gd name="T71" fmla="*/ 161 h 216"/>
                <a:gd name="T72" fmla="*/ 95 w 423"/>
                <a:gd name="T73" fmla="*/ 176 h 216"/>
                <a:gd name="T74" fmla="*/ 58 w 423"/>
                <a:gd name="T75" fmla="*/ 167 h 216"/>
                <a:gd name="T76" fmla="*/ 58 w 423"/>
                <a:gd name="T77" fmla="*/ 188 h 216"/>
                <a:gd name="T78" fmla="*/ 48 w 423"/>
                <a:gd name="T79" fmla="*/ 204 h 216"/>
                <a:gd name="T80" fmla="*/ 83 w 423"/>
                <a:gd name="T81" fmla="*/ 211 h 216"/>
                <a:gd name="T82" fmla="*/ 119 w 423"/>
                <a:gd name="T83" fmla="*/ 209 h 216"/>
                <a:gd name="T84" fmla="*/ 144 w 423"/>
                <a:gd name="T85" fmla="*/ 207 h 216"/>
                <a:gd name="T86" fmla="*/ 190 w 423"/>
                <a:gd name="T87" fmla="*/ 203 h 216"/>
                <a:gd name="T88" fmla="*/ 161 w 423"/>
                <a:gd name="T89" fmla="*/ 186 h 216"/>
                <a:gd name="T90" fmla="*/ 152 w 423"/>
                <a:gd name="T91" fmla="*/ 183 h 216"/>
                <a:gd name="T92" fmla="*/ 190 w 423"/>
                <a:gd name="T93" fmla="*/ 164 h 216"/>
                <a:gd name="T94" fmla="*/ 224 w 423"/>
                <a:gd name="T95" fmla="*/ 156 h 216"/>
                <a:gd name="T96" fmla="*/ 229 w 423"/>
                <a:gd name="T97" fmla="*/ 136 h 216"/>
                <a:gd name="T98" fmla="*/ 194 w 423"/>
                <a:gd name="T99" fmla="*/ 132 h 216"/>
                <a:gd name="T100" fmla="*/ 199 w 423"/>
                <a:gd name="T101" fmla="*/ 128 h 216"/>
                <a:gd name="T102" fmla="*/ 239 w 423"/>
                <a:gd name="T103" fmla="*/ 132 h 216"/>
                <a:gd name="T104" fmla="*/ 203 w 423"/>
                <a:gd name="T105" fmla="*/ 121 h 216"/>
                <a:gd name="T106" fmla="*/ 235 w 423"/>
                <a:gd name="T107" fmla="*/ 119 h 216"/>
                <a:gd name="T108" fmla="*/ 252 w 423"/>
                <a:gd name="T109" fmla="*/ 108 h 216"/>
                <a:gd name="T110" fmla="*/ 292 w 423"/>
                <a:gd name="T111" fmla="*/ 100 h 216"/>
                <a:gd name="T112" fmla="*/ 299 w 423"/>
                <a:gd name="T113" fmla="*/ 93 h 216"/>
                <a:gd name="T114" fmla="*/ 339 w 423"/>
                <a:gd name="T115" fmla="*/ 72 h 216"/>
                <a:gd name="T116" fmla="*/ 350 w 423"/>
                <a:gd name="T117" fmla="*/ 57 h 216"/>
                <a:gd name="T118" fmla="*/ 305 w 423"/>
                <a:gd name="T119" fmla="*/ 64 h 216"/>
                <a:gd name="T120" fmla="*/ 323 w 423"/>
                <a:gd name="T121" fmla="*/ 53 h 216"/>
                <a:gd name="T122" fmla="*/ 360 w 423"/>
                <a:gd name="T123" fmla="*/ 49 h 216"/>
                <a:gd name="T124" fmla="*/ 408 w 423"/>
                <a:gd name="T125" fmla="*/ 3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216">
                  <a:moveTo>
                    <a:pt x="421" y="25"/>
                  </a:moveTo>
                  <a:lnTo>
                    <a:pt x="419" y="23"/>
                  </a:lnTo>
                  <a:lnTo>
                    <a:pt x="416" y="22"/>
                  </a:lnTo>
                  <a:lnTo>
                    <a:pt x="415" y="22"/>
                  </a:lnTo>
                  <a:lnTo>
                    <a:pt x="411" y="22"/>
                  </a:lnTo>
                  <a:lnTo>
                    <a:pt x="409" y="22"/>
                  </a:lnTo>
                  <a:lnTo>
                    <a:pt x="406" y="22"/>
                  </a:lnTo>
                  <a:lnTo>
                    <a:pt x="402" y="21"/>
                  </a:lnTo>
                  <a:lnTo>
                    <a:pt x="400" y="21"/>
                  </a:lnTo>
                  <a:lnTo>
                    <a:pt x="397" y="22"/>
                  </a:lnTo>
                  <a:lnTo>
                    <a:pt x="394" y="23"/>
                  </a:lnTo>
                  <a:lnTo>
                    <a:pt x="391" y="23"/>
                  </a:lnTo>
                  <a:lnTo>
                    <a:pt x="394" y="23"/>
                  </a:lnTo>
                  <a:lnTo>
                    <a:pt x="395" y="19"/>
                  </a:lnTo>
                  <a:lnTo>
                    <a:pt x="392" y="18"/>
                  </a:lnTo>
                  <a:lnTo>
                    <a:pt x="390" y="15"/>
                  </a:lnTo>
                  <a:lnTo>
                    <a:pt x="386" y="14"/>
                  </a:lnTo>
                  <a:lnTo>
                    <a:pt x="390" y="13"/>
                  </a:lnTo>
                  <a:lnTo>
                    <a:pt x="390" y="10"/>
                  </a:lnTo>
                  <a:lnTo>
                    <a:pt x="386" y="9"/>
                  </a:lnTo>
                  <a:lnTo>
                    <a:pt x="383" y="9"/>
                  </a:lnTo>
                  <a:lnTo>
                    <a:pt x="381" y="10"/>
                  </a:lnTo>
                  <a:lnTo>
                    <a:pt x="377" y="12"/>
                  </a:lnTo>
                  <a:lnTo>
                    <a:pt x="375" y="12"/>
                  </a:lnTo>
                  <a:lnTo>
                    <a:pt x="372" y="10"/>
                  </a:lnTo>
                  <a:lnTo>
                    <a:pt x="369" y="9"/>
                  </a:lnTo>
                  <a:lnTo>
                    <a:pt x="373" y="8"/>
                  </a:lnTo>
                  <a:lnTo>
                    <a:pt x="369" y="7"/>
                  </a:lnTo>
                  <a:lnTo>
                    <a:pt x="366" y="8"/>
                  </a:lnTo>
                  <a:lnTo>
                    <a:pt x="364" y="10"/>
                  </a:lnTo>
                  <a:lnTo>
                    <a:pt x="361" y="12"/>
                  </a:lnTo>
                  <a:lnTo>
                    <a:pt x="358" y="9"/>
                  </a:lnTo>
                  <a:lnTo>
                    <a:pt x="356" y="10"/>
                  </a:lnTo>
                  <a:lnTo>
                    <a:pt x="352" y="10"/>
                  </a:lnTo>
                  <a:lnTo>
                    <a:pt x="350" y="12"/>
                  </a:lnTo>
                  <a:lnTo>
                    <a:pt x="347" y="13"/>
                  </a:lnTo>
                  <a:lnTo>
                    <a:pt x="344" y="14"/>
                  </a:lnTo>
                  <a:lnTo>
                    <a:pt x="342" y="14"/>
                  </a:lnTo>
                  <a:lnTo>
                    <a:pt x="339" y="15"/>
                  </a:lnTo>
                  <a:lnTo>
                    <a:pt x="335" y="16"/>
                  </a:lnTo>
                  <a:lnTo>
                    <a:pt x="333" y="16"/>
                  </a:lnTo>
                  <a:lnTo>
                    <a:pt x="327" y="16"/>
                  </a:lnTo>
                  <a:lnTo>
                    <a:pt x="324" y="16"/>
                  </a:lnTo>
                  <a:lnTo>
                    <a:pt x="322" y="16"/>
                  </a:lnTo>
                  <a:lnTo>
                    <a:pt x="318" y="17"/>
                  </a:lnTo>
                  <a:lnTo>
                    <a:pt x="321" y="15"/>
                  </a:lnTo>
                  <a:lnTo>
                    <a:pt x="324" y="15"/>
                  </a:lnTo>
                  <a:lnTo>
                    <a:pt x="326" y="14"/>
                  </a:lnTo>
                  <a:lnTo>
                    <a:pt x="330" y="14"/>
                  </a:lnTo>
                  <a:lnTo>
                    <a:pt x="333" y="13"/>
                  </a:lnTo>
                  <a:lnTo>
                    <a:pt x="335" y="13"/>
                  </a:lnTo>
                  <a:lnTo>
                    <a:pt x="339" y="12"/>
                  </a:lnTo>
                  <a:lnTo>
                    <a:pt x="341" y="12"/>
                  </a:lnTo>
                  <a:lnTo>
                    <a:pt x="348" y="9"/>
                  </a:lnTo>
                  <a:lnTo>
                    <a:pt x="349" y="7"/>
                  </a:lnTo>
                  <a:lnTo>
                    <a:pt x="347" y="6"/>
                  </a:lnTo>
                  <a:lnTo>
                    <a:pt x="343" y="6"/>
                  </a:lnTo>
                  <a:lnTo>
                    <a:pt x="341" y="6"/>
                  </a:lnTo>
                  <a:lnTo>
                    <a:pt x="338" y="6"/>
                  </a:lnTo>
                  <a:lnTo>
                    <a:pt x="335" y="6"/>
                  </a:lnTo>
                  <a:lnTo>
                    <a:pt x="332" y="6"/>
                  </a:lnTo>
                  <a:lnTo>
                    <a:pt x="329" y="6"/>
                  </a:lnTo>
                  <a:lnTo>
                    <a:pt x="326" y="7"/>
                  </a:lnTo>
                  <a:lnTo>
                    <a:pt x="323" y="5"/>
                  </a:lnTo>
                  <a:lnTo>
                    <a:pt x="321" y="4"/>
                  </a:lnTo>
                  <a:lnTo>
                    <a:pt x="317" y="5"/>
                  </a:lnTo>
                  <a:lnTo>
                    <a:pt x="315" y="5"/>
                  </a:lnTo>
                  <a:lnTo>
                    <a:pt x="312" y="4"/>
                  </a:lnTo>
                  <a:lnTo>
                    <a:pt x="306" y="5"/>
                  </a:lnTo>
                  <a:lnTo>
                    <a:pt x="303" y="2"/>
                  </a:lnTo>
                  <a:lnTo>
                    <a:pt x="299" y="0"/>
                  </a:lnTo>
                  <a:lnTo>
                    <a:pt x="293" y="0"/>
                  </a:lnTo>
                  <a:lnTo>
                    <a:pt x="291" y="1"/>
                  </a:lnTo>
                  <a:lnTo>
                    <a:pt x="288" y="1"/>
                  </a:lnTo>
                  <a:lnTo>
                    <a:pt x="284" y="1"/>
                  </a:lnTo>
                  <a:lnTo>
                    <a:pt x="282" y="2"/>
                  </a:lnTo>
                  <a:lnTo>
                    <a:pt x="279" y="4"/>
                  </a:lnTo>
                  <a:lnTo>
                    <a:pt x="282" y="6"/>
                  </a:lnTo>
                  <a:lnTo>
                    <a:pt x="286" y="7"/>
                  </a:lnTo>
                  <a:lnTo>
                    <a:pt x="288" y="8"/>
                  </a:lnTo>
                  <a:lnTo>
                    <a:pt x="284" y="8"/>
                  </a:lnTo>
                  <a:lnTo>
                    <a:pt x="282" y="7"/>
                  </a:lnTo>
                  <a:lnTo>
                    <a:pt x="279" y="7"/>
                  </a:lnTo>
                  <a:lnTo>
                    <a:pt x="275" y="5"/>
                  </a:lnTo>
                  <a:lnTo>
                    <a:pt x="277" y="1"/>
                  </a:lnTo>
                  <a:lnTo>
                    <a:pt x="273" y="1"/>
                  </a:lnTo>
                  <a:lnTo>
                    <a:pt x="270" y="1"/>
                  </a:lnTo>
                  <a:lnTo>
                    <a:pt x="267" y="1"/>
                  </a:lnTo>
                  <a:lnTo>
                    <a:pt x="264" y="1"/>
                  </a:lnTo>
                  <a:lnTo>
                    <a:pt x="262" y="1"/>
                  </a:lnTo>
                  <a:lnTo>
                    <a:pt x="258" y="2"/>
                  </a:lnTo>
                  <a:lnTo>
                    <a:pt x="255" y="4"/>
                  </a:lnTo>
                  <a:lnTo>
                    <a:pt x="253" y="5"/>
                  </a:lnTo>
                  <a:lnTo>
                    <a:pt x="249" y="6"/>
                  </a:lnTo>
                  <a:lnTo>
                    <a:pt x="253" y="8"/>
                  </a:lnTo>
                  <a:lnTo>
                    <a:pt x="255" y="10"/>
                  </a:lnTo>
                  <a:lnTo>
                    <a:pt x="258" y="12"/>
                  </a:lnTo>
                  <a:lnTo>
                    <a:pt x="264" y="14"/>
                  </a:lnTo>
                  <a:lnTo>
                    <a:pt x="261" y="14"/>
                  </a:lnTo>
                  <a:lnTo>
                    <a:pt x="258" y="13"/>
                  </a:lnTo>
                  <a:lnTo>
                    <a:pt x="255" y="13"/>
                  </a:lnTo>
                  <a:lnTo>
                    <a:pt x="253" y="12"/>
                  </a:lnTo>
                  <a:lnTo>
                    <a:pt x="249" y="10"/>
                  </a:lnTo>
                  <a:lnTo>
                    <a:pt x="247" y="9"/>
                  </a:lnTo>
                  <a:lnTo>
                    <a:pt x="245" y="7"/>
                  </a:lnTo>
                  <a:lnTo>
                    <a:pt x="241" y="5"/>
                  </a:lnTo>
                  <a:lnTo>
                    <a:pt x="239" y="4"/>
                  </a:lnTo>
                  <a:lnTo>
                    <a:pt x="236" y="4"/>
                  </a:lnTo>
                  <a:lnTo>
                    <a:pt x="232" y="2"/>
                  </a:lnTo>
                  <a:lnTo>
                    <a:pt x="230" y="2"/>
                  </a:lnTo>
                  <a:lnTo>
                    <a:pt x="228" y="4"/>
                  </a:lnTo>
                  <a:lnTo>
                    <a:pt x="226" y="4"/>
                  </a:lnTo>
                  <a:lnTo>
                    <a:pt x="215" y="2"/>
                  </a:lnTo>
                  <a:lnTo>
                    <a:pt x="213" y="2"/>
                  </a:lnTo>
                  <a:lnTo>
                    <a:pt x="210" y="4"/>
                  </a:lnTo>
                  <a:lnTo>
                    <a:pt x="206" y="4"/>
                  </a:lnTo>
                  <a:lnTo>
                    <a:pt x="201" y="4"/>
                  </a:lnTo>
                  <a:lnTo>
                    <a:pt x="197" y="6"/>
                  </a:lnTo>
                  <a:lnTo>
                    <a:pt x="201" y="7"/>
                  </a:lnTo>
                  <a:lnTo>
                    <a:pt x="203" y="7"/>
                  </a:lnTo>
                  <a:lnTo>
                    <a:pt x="206" y="9"/>
                  </a:lnTo>
                  <a:lnTo>
                    <a:pt x="210" y="12"/>
                  </a:lnTo>
                  <a:lnTo>
                    <a:pt x="212" y="12"/>
                  </a:lnTo>
                  <a:lnTo>
                    <a:pt x="215" y="12"/>
                  </a:lnTo>
                  <a:lnTo>
                    <a:pt x="212" y="14"/>
                  </a:lnTo>
                  <a:lnTo>
                    <a:pt x="215" y="15"/>
                  </a:lnTo>
                  <a:lnTo>
                    <a:pt x="218" y="16"/>
                  </a:lnTo>
                  <a:lnTo>
                    <a:pt x="221" y="17"/>
                  </a:lnTo>
                  <a:lnTo>
                    <a:pt x="223" y="18"/>
                  </a:lnTo>
                  <a:lnTo>
                    <a:pt x="221" y="18"/>
                  </a:lnTo>
                  <a:lnTo>
                    <a:pt x="218" y="21"/>
                  </a:lnTo>
                  <a:lnTo>
                    <a:pt x="215" y="22"/>
                  </a:lnTo>
                  <a:lnTo>
                    <a:pt x="212" y="23"/>
                  </a:lnTo>
                  <a:lnTo>
                    <a:pt x="214" y="21"/>
                  </a:lnTo>
                  <a:lnTo>
                    <a:pt x="216" y="18"/>
                  </a:lnTo>
                  <a:lnTo>
                    <a:pt x="213" y="17"/>
                  </a:lnTo>
                  <a:lnTo>
                    <a:pt x="211" y="16"/>
                  </a:lnTo>
                  <a:lnTo>
                    <a:pt x="207" y="16"/>
                  </a:lnTo>
                  <a:lnTo>
                    <a:pt x="205" y="14"/>
                  </a:lnTo>
                  <a:lnTo>
                    <a:pt x="202" y="12"/>
                  </a:lnTo>
                  <a:lnTo>
                    <a:pt x="199" y="9"/>
                  </a:lnTo>
                  <a:lnTo>
                    <a:pt x="196" y="9"/>
                  </a:lnTo>
                  <a:lnTo>
                    <a:pt x="194" y="8"/>
                  </a:lnTo>
                  <a:lnTo>
                    <a:pt x="190" y="7"/>
                  </a:lnTo>
                  <a:lnTo>
                    <a:pt x="187" y="9"/>
                  </a:lnTo>
                  <a:lnTo>
                    <a:pt x="185" y="8"/>
                  </a:lnTo>
                  <a:lnTo>
                    <a:pt x="182" y="6"/>
                  </a:lnTo>
                  <a:lnTo>
                    <a:pt x="179" y="7"/>
                  </a:lnTo>
                  <a:lnTo>
                    <a:pt x="176" y="8"/>
                  </a:lnTo>
                  <a:lnTo>
                    <a:pt x="175" y="6"/>
                  </a:lnTo>
                  <a:lnTo>
                    <a:pt x="171" y="5"/>
                  </a:lnTo>
                  <a:lnTo>
                    <a:pt x="169" y="6"/>
                  </a:lnTo>
                  <a:lnTo>
                    <a:pt x="165" y="6"/>
                  </a:lnTo>
                  <a:lnTo>
                    <a:pt x="162" y="6"/>
                  </a:lnTo>
                  <a:lnTo>
                    <a:pt x="159" y="7"/>
                  </a:lnTo>
                  <a:lnTo>
                    <a:pt x="161" y="9"/>
                  </a:lnTo>
                  <a:lnTo>
                    <a:pt x="164" y="9"/>
                  </a:lnTo>
                  <a:lnTo>
                    <a:pt x="168" y="10"/>
                  </a:lnTo>
                  <a:lnTo>
                    <a:pt x="164" y="10"/>
                  </a:lnTo>
                  <a:lnTo>
                    <a:pt x="168" y="14"/>
                  </a:lnTo>
                  <a:lnTo>
                    <a:pt x="170" y="14"/>
                  </a:lnTo>
                  <a:lnTo>
                    <a:pt x="173" y="15"/>
                  </a:lnTo>
                  <a:lnTo>
                    <a:pt x="177" y="15"/>
                  </a:lnTo>
                  <a:lnTo>
                    <a:pt x="179" y="15"/>
                  </a:lnTo>
                  <a:lnTo>
                    <a:pt x="182" y="15"/>
                  </a:lnTo>
                  <a:lnTo>
                    <a:pt x="180" y="16"/>
                  </a:lnTo>
                  <a:lnTo>
                    <a:pt x="177" y="15"/>
                  </a:lnTo>
                  <a:lnTo>
                    <a:pt x="175" y="16"/>
                  </a:lnTo>
                  <a:lnTo>
                    <a:pt x="171" y="15"/>
                  </a:lnTo>
                  <a:lnTo>
                    <a:pt x="168" y="15"/>
                  </a:lnTo>
                  <a:lnTo>
                    <a:pt x="164" y="14"/>
                  </a:lnTo>
                  <a:lnTo>
                    <a:pt x="162" y="15"/>
                  </a:lnTo>
                  <a:lnTo>
                    <a:pt x="159" y="13"/>
                  </a:lnTo>
                  <a:lnTo>
                    <a:pt x="156" y="12"/>
                  </a:lnTo>
                  <a:lnTo>
                    <a:pt x="153" y="10"/>
                  </a:lnTo>
                  <a:lnTo>
                    <a:pt x="151" y="10"/>
                  </a:lnTo>
                  <a:lnTo>
                    <a:pt x="147" y="10"/>
                  </a:lnTo>
                  <a:lnTo>
                    <a:pt x="144" y="10"/>
                  </a:lnTo>
                  <a:lnTo>
                    <a:pt x="144" y="13"/>
                  </a:lnTo>
                  <a:lnTo>
                    <a:pt x="147" y="14"/>
                  </a:lnTo>
                  <a:lnTo>
                    <a:pt x="150" y="16"/>
                  </a:lnTo>
                  <a:lnTo>
                    <a:pt x="153" y="18"/>
                  </a:lnTo>
                  <a:lnTo>
                    <a:pt x="150" y="19"/>
                  </a:lnTo>
                  <a:lnTo>
                    <a:pt x="147" y="18"/>
                  </a:lnTo>
                  <a:lnTo>
                    <a:pt x="144" y="17"/>
                  </a:lnTo>
                  <a:lnTo>
                    <a:pt x="141" y="16"/>
                  </a:lnTo>
                  <a:lnTo>
                    <a:pt x="138" y="16"/>
                  </a:lnTo>
                  <a:lnTo>
                    <a:pt x="135" y="15"/>
                  </a:lnTo>
                  <a:lnTo>
                    <a:pt x="133" y="16"/>
                  </a:lnTo>
                  <a:lnTo>
                    <a:pt x="132" y="18"/>
                  </a:lnTo>
                  <a:lnTo>
                    <a:pt x="135" y="19"/>
                  </a:lnTo>
                  <a:lnTo>
                    <a:pt x="137" y="21"/>
                  </a:lnTo>
                  <a:lnTo>
                    <a:pt x="141" y="21"/>
                  </a:lnTo>
                  <a:lnTo>
                    <a:pt x="143" y="22"/>
                  </a:lnTo>
                  <a:lnTo>
                    <a:pt x="141" y="22"/>
                  </a:lnTo>
                  <a:lnTo>
                    <a:pt x="139" y="22"/>
                  </a:lnTo>
                  <a:lnTo>
                    <a:pt x="136" y="21"/>
                  </a:lnTo>
                  <a:lnTo>
                    <a:pt x="133" y="22"/>
                  </a:lnTo>
                  <a:lnTo>
                    <a:pt x="130" y="21"/>
                  </a:lnTo>
                  <a:lnTo>
                    <a:pt x="127" y="23"/>
                  </a:lnTo>
                  <a:lnTo>
                    <a:pt x="127" y="26"/>
                  </a:lnTo>
                  <a:lnTo>
                    <a:pt x="130" y="27"/>
                  </a:lnTo>
                  <a:lnTo>
                    <a:pt x="133" y="28"/>
                  </a:lnTo>
                  <a:lnTo>
                    <a:pt x="136" y="30"/>
                  </a:lnTo>
                  <a:lnTo>
                    <a:pt x="138" y="31"/>
                  </a:lnTo>
                  <a:lnTo>
                    <a:pt x="142" y="32"/>
                  </a:lnTo>
                  <a:lnTo>
                    <a:pt x="144" y="32"/>
                  </a:lnTo>
                  <a:lnTo>
                    <a:pt x="147" y="33"/>
                  </a:lnTo>
                  <a:lnTo>
                    <a:pt x="150" y="34"/>
                  </a:lnTo>
                  <a:lnTo>
                    <a:pt x="153" y="35"/>
                  </a:lnTo>
                  <a:lnTo>
                    <a:pt x="155" y="36"/>
                  </a:lnTo>
                  <a:lnTo>
                    <a:pt x="159" y="36"/>
                  </a:lnTo>
                  <a:lnTo>
                    <a:pt x="161" y="36"/>
                  </a:lnTo>
                  <a:lnTo>
                    <a:pt x="164" y="39"/>
                  </a:lnTo>
                  <a:lnTo>
                    <a:pt x="168" y="40"/>
                  </a:lnTo>
                  <a:lnTo>
                    <a:pt x="170" y="41"/>
                  </a:lnTo>
                  <a:lnTo>
                    <a:pt x="173" y="44"/>
                  </a:lnTo>
                  <a:lnTo>
                    <a:pt x="170" y="44"/>
                  </a:lnTo>
                  <a:lnTo>
                    <a:pt x="167" y="42"/>
                  </a:lnTo>
                  <a:lnTo>
                    <a:pt x="164" y="40"/>
                  </a:lnTo>
                  <a:lnTo>
                    <a:pt x="161" y="39"/>
                  </a:lnTo>
                  <a:lnTo>
                    <a:pt x="159" y="39"/>
                  </a:lnTo>
                  <a:lnTo>
                    <a:pt x="155" y="39"/>
                  </a:lnTo>
                  <a:lnTo>
                    <a:pt x="153" y="36"/>
                  </a:lnTo>
                  <a:lnTo>
                    <a:pt x="151" y="36"/>
                  </a:lnTo>
                  <a:lnTo>
                    <a:pt x="147" y="35"/>
                  </a:lnTo>
                  <a:lnTo>
                    <a:pt x="142" y="34"/>
                  </a:lnTo>
                  <a:lnTo>
                    <a:pt x="139" y="33"/>
                  </a:lnTo>
                  <a:lnTo>
                    <a:pt x="136" y="32"/>
                  </a:lnTo>
                  <a:lnTo>
                    <a:pt x="134" y="32"/>
                  </a:lnTo>
                  <a:lnTo>
                    <a:pt x="130" y="30"/>
                  </a:lnTo>
                  <a:lnTo>
                    <a:pt x="128" y="28"/>
                  </a:lnTo>
                  <a:lnTo>
                    <a:pt x="125" y="28"/>
                  </a:lnTo>
                  <a:lnTo>
                    <a:pt x="122" y="31"/>
                  </a:lnTo>
                  <a:lnTo>
                    <a:pt x="125" y="32"/>
                  </a:lnTo>
                  <a:lnTo>
                    <a:pt x="127" y="35"/>
                  </a:lnTo>
                  <a:lnTo>
                    <a:pt x="130" y="35"/>
                  </a:lnTo>
                  <a:lnTo>
                    <a:pt x="133" y="35"/>
                  </a:lnTo>
                  <a:lnTo>
                    <a:pt x="136" y="36"/>
                  </a:lnTo>
                  <a:lnTo>
                    <a:pt x="134" y="36"/>
                  </a:lnTo>
                  <a:lnTo>
                    <a:pt x="130" y="35"/>
                  </a:lnTo>
                  <a:lnTo>
                    <a:pt x="127" y="35"/>
                  </a:lnTo>
                  <a:lnTo>
                    <a:pt x="125" y="35"/>
                  </a:lnTo>
                  <a:lnTo>
                    <a:pt x="121" y="35"/>
                  </a:lnTo>
                  <a:lnTo>
                    <a:pt x="121" y="32"/>
                  </a:lnTo>
                  <a:lnTo>
                    <a:pt x="119" y="31"/>
                  </a:lnTo>
                  <a:lnTo>
                    <a:pt x="117" y="28"/>
                  </a:lnTo>
                  <a:lnTo>
                    <a:pt x="113" y="27"/>
                  </a:lnTo>
                  <a:lnTo>
                    <a:pt x="111" y="26"/>
                  </a:lnTo>
                  <a:lnTo>
                    <a:pt x="109" y="25"/>
                  </a:lnTo>
                  <a:lnTo>
                    <a:pt x="105" y="26"/>
                  </a:lnTo>
                  <a:lnTo>
                    <a:pt x="102" y="25"/>
                  </a:lnTo>
                  <a:lnTo>
                    <a:pt x="99" y="24"/>
                  </a:lnTo>
                  <a:lnTo>
                    <a:pt x="96" y="23"/>
                  </a:lnTo>
                  <a:lnTo>
                    <a:pt x="99" y="23"/>
                  </a:lnTo>
                  <a:lnTo>
                    <a:pt x="100" y="23"/>
                  </a:lnTo>
                  <a:lnTo>
                    <a:pt x="96" y="22"/>
                  </a:lnTo>
                  <a:lnTo>
                    <a:pt x="93" y="22"/>
                  </a:lnTo>
                  <a:lnTo>
                    <a:pt x="91" y="22"/>
                  </a:lnTo>
                  <a:lnTo>
                    <a:pt x="87" y="23"/>
                  </a:lnTo>
                  <a:lnTo>
                    <a:pt x="84" y="24"/>
                  </a:lnTo>
                  <a:lnTo>
                    <a:pt x="87" y="26"/>
                  </a:lnTo>
                  <a:lnTo>
                    <a:pt x="90" y="28"/>
                  </a:lnTo>
                  <a:lnTo>
                    <a:pt x="87" y="28"/>
                  </a:lnTo>
                  <a:lnTo>
                    <a:pt x="84" y="30"/>
                  </a:lnTo>
                  <a:lnTo>
                    <a:pt x="82" y="30"/>
                  </a:lnTo>
                  <a:lnTo>
                    <a:pt x="78" y="31"/>
                  </a:lnTo>
                  <a:lnTo>
                    <a:pt x="75" y="31"/>
                  </a:lnTo>
                  <a:lnTo>
                    <a:pt x="73" y="31"/>
                  </a:lnTo>
                  <a:lnTo>
                    <a:pt x="69" y="32"/>
                  </a:lnTo>
                  <a:lnTo>
                    <a:pt x="73" y="34"/>
                  </a:lnTo>
                  <a:lnTo>
                    <a:pt x="75" y="34"/>
                  </a:lnTo>
                  <a:lnTo>
                    <a:pt x="77" y="34"/>
                  </a:lnTo>
                  <a:lnTo>
                    <a:pt x="81" y="35"/>
                  </a:lnTo>
                  <a:lnTo>
                    <a:pt x="83" y="36"/>
                  </a:lnTo>
                  <a:lnTo>
                    <a:pt x="86" y="36"/>
                  </a:lnTo>
                  <a:lnTo>
                    <a:pt x="92" y="36"/>
                  </a:lnTo>
                  <a:lnTo>
                    <a:pt x="95" y="38"/>
                  </a:lnTo>
                  <a:lnTo>
                    <a:pt x="98" y="39"/>
                  </a:lnTo>
                  <a:lnTo>
                    <a:pt x="98" y="41"/>
                  </a:lnTo>
                  <a:lnTo>
                    <a:pt x="96" y="39"/>
                  </a:lnTo>
                  <a:lnTo>
                    <a:pt x="94" y="39"/>
                  </a:lnTo>
                  <a:lnTo>
                    <a:pt x="95" y="41"/>
                  </a:lnTo>
                  <a:lnTo>
                    <a:pt x="93" y="39"/>
                  </a:lnTo>
                  <a:lnTo>
                    <a:pt x="90" y="38"/>
                  </a:lnTo>
                  <a:lnTo>
                    <a:pt x="86" y="40"/>
                  </a:lnTo>
                  <a:lnTo>
                    <a:pt x="90" y="42"/>
                  </a:lnTo>
                  <a:lnTo>
                    <a:pt x="86" y="41"/>
                  </a:lnTo>
                  <a:lnTo>
                    <a:pt x="84" y="39"/>
                  </a:lnTo>
                  <a:lnTo>
                    <a:pt x="81" y="38"/>
                  </a:lnTo>
                  <a:lnTo>
                    <a:pt x="78" y="36"/>
                  </a:lnTo>
                  <a:lnTo>
                    <a:pt x="75" y="36"/>
                  </a:lnTo>
                  <a:lnTo>
                    <a:pt x="71" y="36"/>
                  </a:lnTo>
                  <a:lnTo>
                    <a:pt x="69" y="39"/>
                  </a:lnTo>
                  <a:lnTo>
                    <a:pt x="66" y="40"/>
                  </a:lnTo>
                  <a:lnTo>
                    <a:pt x="69" y="41"/>
                  </a:lnTo>
                  <a:lnTo>
                    <a:pt x="66" y="40"/>
                  </a:lnTo>
                  <a:lnTo>
                    <a:pt x="64" y="40"/>
                  </a:lnTo>
                  <a:lnTo>
                    <a:pt x="64" y="36"/>
                  </a:lnTo>
                  <a:lnTo>
                    <a:pt x="61" y="35"/>
                  </a:lnTo>
                  <a:lnTo>
                    <a:pt x="58" y="35"/>
                  </a:lnTo>
                  <a:lnTo>
                    <a:pt x="56" y="35"/>
                  </a:lnTo>
                  <a:lnTo>
                    <a:pt x="52" y="35"/>
                  </a:lnTo>
                  <a:lnTo>
                    <a:pt x="50" y="35"/>
                  </a:lnTo>
                  <a:lnTo>
                    <a:pt x="47" y="35"/>
                  </a:lnTo>
                  <a:lnTo>
                    <a:pt x="44" y="36"/>
                  </a:lnTo>
                  <a:lnTo>
                    <a:pt x="41" y="38"/>
                  </a:lnTo>
                  <a:lnTo>
                    <a:pt x="37" y="40"/>
                  </a:lnTo>
                  <a:lnTo>
                    <a:pt x="35" y="41"/>
                  </a:lnTo>
                  <a:lnTo>
                    <a:pt x="37" y="42"/>
                  </a:lnTo>
                  <a:lnTo>
                    <a:pt x="35" y="44"/>
                  </a:lnTo>
                  <a:lnTo>
                    <a:pt x="32" y="43"/>
                  </a:lnTo>
                  <a:lnTo>
                    <a:pt x="30" y="41"/>
                  </a:lnTo>
                  <a:lnTo>
                    <a:pt x="26" y="42"/>
                  </a:lnTo>
                  <a:lnTo>
                    <a:pt x="25" y="41"/>
                  </a:lnTo>
                  <a:lnTo>
                    <a:pt x="22" y="41"/>
                  </a:lnTo>
                  <a:lnTo>
                    <a:pt x="19" y="42"/>
                  </a:lnTo>
                  <a:lnTo>
                    <a:pt x="17" y="43"/>
                  </a:lnTo>
                  <a:lnTo>
                    <a:pt x="14" y="43"/>
                  </a:lnTo>
                  <a:lnTo>
                    <a:pt x="11" y="45"/>
                  </a:lnTo>
                  <a:lnTo>
                    <a:pt x="8" y="45"/>
                  </a:lnTo>
                  <a:lnTo>
                    <a:pt x="5" y="45"/>
                  </a:lnTo>
                  <a:lnTo>
                    <a:pt x="2" y="49"/>
                  </a:lnTo>
                  <a:lnTo>
                    <a:pt x="0" y="50"/>
                  </a:lnTo>
                  <a:lnTo>
                    <a:pt x="0" y="51"/>
                  </a:lnTo>
                  <a:lnTo>
                    <a:pt x="4" y="51"/>
                  </a:lnTo>
                  <a:lnTo>
                    <a:pt x="6" y="53"/>
                  </a:lnTo>
                  <a:lnTo>
                    <a:pt x="9" y="53"/>
                  </a:lnTo>
                  <a:lnTo>
                    <a:pt x="11" y="53"/>
                  </a:lnTo>
                  <a:lnTo>
                    <a:pt x="15" y="50"/>
                  </a:lnTo>
                  <a:lnTo>
                    <a:pt x="17" y="49"/>
                  </a:lnTo>
                  <a:lnTo>
                    <a:pt x="21" y="49"/>
                  </a:lnTo>
                  <a:lnTo>
                    <a:pt x="24" y="49"/>
                  </a:lnTo>
                  <a:lnTo>
                    <a:pt x="26" y="50"/>
                  </a:lnTo>
                  <a:lnTo>
                    <a:pt x="28" y="50"/>
                  </a:lnTo>
                  <a:lnTo>
                    <a:pt x="32" y="51"/>
                  </a:lnTo>
                  <a:lnTo>
                    <a:pt x="28" y="51"/>
                  </a:lnTo>
                  <a:lnTo>
                    <a:pt x="26" y="52"/>
                  </a:lnTo>
                  <a:lnTo>
                    <a:pt x="24" y="52"/>
                  </a:lnTo>
                  <a:lnTo>
                    <a:pt x="21" y="53"/>
                  </a:lnTo>
                  <a:lnTo>
                    <a:pt x="17" y="55"/>
                  </a:lnTo>
                  <a:lnTo>
                    <a:pt x="15" y="57"/>
                  </a:lnTo>
                  <a:lnTo>
                    <a:pt x="17" y="57"/>
                  </a:lnTo>
                  <a:lnTo>
                    <a:pt x="21" y="59"/>
                  </a:lnTo>
                  <a:lnTo>
                    <a:pt x="24" y="58"/>
                  </a:lnTo>
                  <a:lnTo>
                    <a:pt x="26" y="57"/>
                  </a:lnTo>
                  <a:lnTo>
                    <a:pt x="27" y="57"/>
                  </a:lnTo>
                  <a:lnTo>
                    <a:pt x="31" y="56"/>
                  </a:lnTo>
                  <a:lnTo>
                    <a:pt x="33" y="55"/>
                  </a:lnTo>
                  <a:lnTo>
                    <a:pt x="36" y="55"/>
                  </a:lnTo>
                  <a:lnTo>
                    <a:pt x="39" y="53"/>
                  </a:lnTo>
                  <a:lnTo>
                    <a:pt x="42" y="52"/>
                  </a:lnTo>
                  <a:lnTo>
                    <a:pt x="44" y="52"/>
                  </a:lnTo>
                  <a:lnTo>
                    <a:pt x="48" y="52"/>
                  </a:lnTo>
                  <a:lnTo>
                    <a:pt x="50" y="52"/>
                  </a:lnTo>
                  <a:lnTo>
                    <a:pt x="53" y="52"/>
                  </a:lnTo>
                  <a:lnTo>
                    <a:pt x="57" y="53"/>
                  </a:lnTo>
                  <a:lnTo>
                    <a:pt x="59" y="53"/>
                  </a:lnTo>
                  <a:lnTo>
                    <a:pt x="61" y="55"/>
                  </a:lnTo>
                  <a:lnTo>
                    <a:pt x="59" y="53"/>
                  </a:lnTo>
                  <a:lnTo>
                    <a:pt x="57" y="53"/>
                  </a:lnTo>
                  <a:lnTo>
                    <a:pt x="53" y="53"/>
                  </a:lnTo>
                  <a:lnTo>
                    <a:pt x="50" y="53"/>
                  </a:lnTo>
                  <a:lnTo>
                    <a:pt x="48" y="53"/>
                  </a:lnTo>
                  <a:lnTo>
                    <a:pt x="44" y="53"/>
                  </a:lnTo>
                  <a:lnTo>
                    <a:pt x="41" y="56"/>
                  </a:lnTo>
                  <a:lnTo>
                    <a:pt x="39" y="56"/>
                  </a:lnTo>
                  <a:lnTo>
                    <a:pt x="35" y="58"/>
                  </a:lnTo>
                  <a:lnTo>
                    <a:pt x="32" y="58"/>
                  </a:lnTo>
                  <a:lnTo>
                    <a:pt x="30" y="59"/>
                  </a:lnTo>
                  <a:lnTo>
                    <a:pt x="27" y="60"/>
                  </a:lnTo>
                  <a:lnTo>
                    <a:pt x="30" y="61"/>
                  </a:lnTo>
                  <a:lnTo>
                    <a:pt x="33" y="61"/>
                  </a:lnTo>
                  <a:lnTo>
                    <a:pt x="35" y="62"/>
                  </a:lnTo>
                  <a:lnTo>
                    <a:pt x="39" y="62"/>
                  </a:lnTo>
                  <a:lnTo>
                    <a:pt x="41" y="62"/>
                  </a:lnTo>
                  <a:lnTo>
                    <a:pt x="37" y="62"/>
                  </a:lnTo>
                  <a:lnTo>
                    <a:pt x="35" y="64"/>
                  </a:lnTo>
                  <a:lnTo>
                    <a:pt x="32" y="64"/>
                  </a:lnTo>
                  <a:lnTo>
                    <a:pt x="30" y="62"/>
                  </a:lnTo>
                  <a:lnTo>
                    <a:pt x="26" y="62"/>
                  </a:lnTo>
                  <a:lnTo>
                    <a:pt x="24" y="64"/>
                  </a:lnTo>
                  <a:lnTo>
                    <a:pt x="22" y="66"/>
                  </a:lnTo>
                  <a:lnTo>
                    <a:pt x="24" y="68"/>
                  </a:lnTo>
                  <a:lnTo>
                    <a:pt x="26" y="69"/>
                  </a:lnTo>
                  <a:lnTo>
                    <a:pt x="28" y="70"/>
                  </a:lnTo>
                  <a:lnTo>
                    <a:pt x="31" y="70"/>
                  </a:lnTo>
                  <a:lnTo>
                    <a:pt x="34" y="70"/>
                  </a:lnTo>
                  <a:lnTo>
                    <a:pt x="36" y="70"/>
                  </a:lnTo>
                  <a:lnTo>
                    <a:pt x="40" y="69"/>
                  </a:lnTo>
                  <a:lnTo>
                    <a:pt x="42" y="69"/>
                  </a:lnTo>
                  <a:lnTo>
                    <a:pt x="45" y="69"/>
                  </a:lnTo>
                  <a:lnTo>
                    <a:pt x="48" y="68"/>
                  </a:lnTo>
                  <a:lnTo>
                    <a:pt x="54" y="68"/>
                  </a:lnTo>
                  <a:lnTo>
                    <a:pt x="57" y="68"/>
                  </a:lnTo>
                  <a:lnTo>
                    <a:pt x="60" y="68"/>
                  </a:lnTo>
                  <a:lnTo>
                    <a:pt x="62" y="68"/>
                  </a:lnTo>
                  <a:lnTo>
                    <a:pt x="73" y="67"/>
                  </a:lnTo>
                  <a:lnTo>
                    <a:pt x="75" y="66"/>
                  </a:lnTo>
                  <a:lnTo>
                    <a:pt x="78" y="65"/>
                  </a:lnTo>
                  <a:lnTo>
                    <a:pt x="81" y="64"/>
                  </a:lnTo>
                  <a:lnTo>
                    <a:pt x="84" y="62"/>
                  </a:lnTo>
                  <a:lnTo>
                    <a:pt x="86" y="62"/>
                  </a:lnTo>
                  <a:lnTo>
                    <a:pt x="90" y="61"/>
                  </a:lnTo>
                  <a:lnTo>
                    <a:pt x="92" y="61"/>
                  </a:lnTo>
                  <a:lnTo>
                    <a:pt x="95" y="60"/>
                  </a:lnTo>
                  <a:lnTo>
                    <a:pt x="98" y="62"/>
                  </a:lnTo>
                  <a:lnTo>
                    <a:pt x="95" y="62"/>
                  </a:lnTo>
                  <a:lnTo>
                    <a:pt x="92" y="64"/>
                  </a:lnTo>
                  <a:lnTo>
                    <a:pt x="90" y="64"/>
                  </a:lnTo>
                  <a:lnTo>
                    <a:pt x="86" y="65"/>
                  </a:lnTo>
                  <a:lnTo>
                    <a:pt x="84" y="66"/>
                  </a:lnTo>
                  <a:lnTo>
                    <a:pt x="81" y="68"/>
                  </a:lnTo>
                  <a:lnTo>
                    <a:pt x="78" y="68"/>
                  </a:lnTo>
                  <a:lnTo>
                    <a:pt x="75" y="69"/>
                  </a:lnTo>
                  <a:lnTo>
                    <a:pt x="71" y="70"/>
                  </a:lnTo>
                  <a:lnTo>
                    <a:pt x="69" y="70"/>
                  </a:lnTo>
                  <a:lnTo>
                    <a:pt x="66" y="70"/>
                  </a:lnTo>
                  <a:lnTo>
                    <a:pt x="64" y="72"/>
                  </a:lnTo>
                  <a:lnTo>
                    <a:pt x="60" y="72"/>
                  </a:lnTo>
                  <a:lnTo>
                    <a:pt x="58" y="70"/>
                  </a:lnTo>
                  <a:lnTo>
                    <a:pt x="54" y="70"/>
                  </a:lnTo>
                  <a:lnTo>
                    <a:pt x="49" y="70"/>
                  </a:lnTo>
                  <a:lnTo>
                    <a:pt x="43" y="70"/>
                  </a:lnTo>
                  <a:lnTo>
                    <a:pt x="40" y="72"/>
                  </a:lnTo>
                  <a:lnTo>
                    <a:pt x="37" y="72"/>
                  </a:lnTo>
                  <a:lnTo>
                    <a:pt x="35" y="73"/>
                  </a:lnTo>
                  <a:lnTo>
                    <a:pt x="36" y="75"/>
                  </a:lnTo>
                  <a:lnTo>
                    <a:pt x="41" y="77"/>
                  </a:lnTo>
                  <a:lnTo>
                    <a:pt x="44" y="78"/>
                  </a:lnTo>
                  <a:lnTo>
                    <a:pt x="48" y="79"/>
                  </a:lnTo>
                  <a:lnTo>
                    <a:pt x="50" y="81"/>
                  </a:lnTo>
                  <a:lnTo>
                    <a:pt x="53" y="81"/>
                  </a:lnTo>
                  <a:lnTo>
                    <a:pt x="56" y="82"/>
                  </a:lnTo>
                  <a:lnTo>
                    <a:pt x="59" y="83"/>
                  </a:lnTo>
                  <a:lnTo>
                    <a:pt x="61" y="83"/>
                  </a:lnTo>
                  <a:lnTo>
                    <a:pt x="65" y="82"/>
                  </a:lnTo>
                  <a:lnTo>
                    <a:pt x="67" y="79"/>
                  </a:lnTo>
                  <a:lnTo>
                    <a:pt x="70" y="77"/>
                  </a:lnTo>
                  <a:lnTo>
                    <a:pt x="73" y="75"/>
                  </a:lnTo>
                  <a:lnTo>
                    <a:pt x="75" y="74"/>
                  </a:lnTo>
                  <a:lnTo>
                    <a:pt x="78" y="72"/>
                  </a:lnTo>
                  <a:lnTo>
                    <a:pt x="82" y="70"/>
                  </a:lnTo>
                  <a:lnTo>
                    <a:pt x="84" y="69"/>
                  </a:lnTo>
                  <a:lnTo>
                    <a:pt x="87" y="69"/>
                  </a:lnTo>
                  <a:lnTo>
                    <a:pt x="90" y="69"/>
                  </a:lnTo>
                  <a:lnTo>
                    <a:pt x="92" y="68"/>
                  </a:lnTo>
                  <a:lnTo>
                    <a:pt x="95" y="68"/>
                  </a:lnTo>
                  <a:lnTo>
                    <a:pt x="101" y="68"/>
                  </a:lnTo>
                  <a:lnTo>
                    <a:pt x="104" y="67"/>
                  </a:lnTo>
                  <a:lnTo>
                    <a:pt x="108" y="67"/>
                  </a:lnTo>
                  <a:lnTo>
                    <a:pt x="111" y="67"/>
                  </a:lnTo>
                  <a:lnTo>
                    <a:pt x="113" y="67"/>
                  </a:lnTo>
                  <a:lnTo>
                    <a:pt x="117" y="66"/>
                  </a:lnTo>
                  <a:lnTo>
                    <a:pt x="119" y="66"/>
                  </a:lnTo>
                  <a:lnTo>
                    <a:pt x="122" y="66"/>
                  </a:lnTo>
                  <a:lnTo>
                    <a:pt x="125" y="65"/>
                  </a:lnTo>
                  <a:lnTo>
                    <a:pt x="127" y="65"/>
                  </a:lnTo>
                  <a:lnTo>
                    <a:pt x="130" y="65"/>
                  </a:lnTo>
                  <a:lnTo>
                    <a:pt x="127" y="66"/>
                  </a:lnTo>
                  <a:lnTo>
                    <a:pt x="125" y="67"/>
                  </a:lnTo>
                  <a:lnTo>
                    <a:pt x="121" y="67"/>
                  </a:lnTo>
                  <a:lnTo>
                    <a:pt x="119" y="67"/>
                  </a:lnTo>
                  <a:lnTo>
                    <a:pt x="113" y="68"/>
                  </a:lnTo>
                  <a:lnTo>
                    <a:pt x="110" y="68"/>
                  </a:lnTo>
                  <a:lnTo>
                    <a:pt x="107" y="68"/>
                  </a:lnTo>
                  <a:lnTo>
                    <a:pt x="104" y="69"/>
                  </a:lnTo>
                  <a:lnTo>
                    <a:pt x="101" y="69"/>
                  </a:lnTo>
                  <a:lnTo>
                    <a:pt x="99" y="69"/>
                  </a:lnTo>
                  <a:lnTo>
                    <a:pt x="95" y="69"/>
                  </a:lnTo>
                  <a:lnTo>
                    <a:pt x="93" y="70"/>
                  </a:lnTo>
                  <a:lnTo>
                    <a:pt x="90" y="70"/>
                  </a:lnTo>
                  <a:lnTo>
                    <a:pt x="86" y="72"/>
                  </a:lnTo>
                  <a:lnTo>
                    <a:pt x="83" y="73"/>
                  </a:lnTo>
                  <a:lnTo>
                    <a:pt x="81" y="75"/>
                  </a:lnTo>
                  <a:lnTo>
                    <a:pt x="78" y="77"/>
                  </a:lnTo>
                  <a:lnTo>
                    <a:pt x="75" y="78"/>
                  </a:lnTo>
                  <a:lnTo>
                    <a:pt x="73" y="81"/>
                  </a:lnTo>
                  <a:lnTo>
                    <a:pt x="71" y="84"/>
                  </a:lnTo>
                  <a:lnTo>
                    <a:pt x="74" y="84"/>
                  </a:lnTo>
                  <a:lnTo>
                    <a:pt x="77" y="85"/>
                  </a:lnTo>
                  <a:lnTo>
                    <a:pt x="79" y="85"/>
                  </a:lnTo>
                  <a:lnTo>
                    <a:pt x="83" y="84"/>
                  </a:lnTo>
                  <a:lnTo>
                    <a:pt x="85" y="84"/>
                  </a:lnTo>
                  <a:lnTo>
                    <a:pt x="83" y="85"/>
                  </a:lnTo>
                  <a:lnTo>
                    <a:pt x="85" y="85"/>
                  </a:lnTo>
                  <a:lnTo>
                    <a:pt x="88" y="86"/>
                  </a:lnTo>
                  <a:lnTo>
                    <a:pt x="92" y="86"/>
                  </a:lnTo>
                  <a:lnTo>
                    <a:pt x="94" y="86"/>
                  </a:lnTo>
                  <a:lnTo>
                    <a:pt x="98" y="86"/>
                  </a:lnTo>
                  <a:lnTo>
                    <a:pt x="100" y="86"/>
                  </a:lnTo>
                  <a:lnTo>
                    <a:pt x="103" y="86"/>
                  </a:lnTo>
                  <a:lnTo>
                    <a:pt x="105" y="85"/>
                  </a:lnTo>
                  <a:lnTo>
                    <a:pt x="109" y="85"/>
                  </a:lnTo>
                  <a:lnTo>
                    <a:pt x="111" y="84"/>
                  </a:lnTo>
                  <a:lnTo>
                    <a:pt x="112" y="82"/>
                  </a:lnTo>
                  <a:lnTo>
                    <a:pt x="112" y="78"/>
                  </a:lnTo>
                  <a:lnTo>
                    <a:pt x="116" y="77"/>
                  </a:lnTo>
                  <a:lnTo>
                    <a:pt x="118" y="77"/>
                  </a:lnTo>
                  <a:lnTo>
                    <a:pt x="116" y="81"/>
                  </a:lnTo>
                  <a:lnTo>
                    <a:pt x="118" y="81"/>
                  </a:lnTo>
                  <a:lnTo>
                    <a:pt x="121" y="79"/>
                  </a:lnTo>
                  <a:lnTo>
                    <a:pt x="124" y="79"/>
                  </a:lnTo>
                  <a:lnTo>
                    <a:pt x="127" y="79"/>
                  </a:lnTo>
                  <a:lnTo>
                    <a:pt x="129" y="78"/>
                  </a:lnTo>
                  <a:lnTo>
                    <a:pt x="133" y="77"/>
                  </a:lnTo>
                  <a:lnTo>
                    <a:pt x="135" y="76"/>
                  </a:lnTo>
                  <a:lnTo>
                    <a:pt x="138" y="77"/>
                  </a:lnTo>
                  <a:lnTo>
                    <a:pt x="135" y="78"/>
                  </a:lnTo>
                  <a:lnTo>
                    <a:pt x="133" y="79"/>
                  </a:lnTo>
                  <a:lnTo>
                    <a:pt x="129" y="79"/>
                  </a:lnTo>
                  <a:lnTo>
                    <a:pt x="126" y="81"/>
                  </a:lnTo>
                  <a:lnTo>
                    <a:pt x="124" y="82"/>
                  </a:lnTo>
                  <a:lnTo>
                    <a:pt x="120" y="83"/>
                  </a:lnTo>
                  <a:lnTo>
                    <a:pt x="120" y="85"/>
                  </a:lnTo>
                  <a:lnTo>
                    <a:pt x="122" y="85"/>
                  </a:lnTo>
                  <a:lnTo>
                    <a:pt x="126" y="85"/>
                  </a:lnTo>
                  <a:lnTo>
                    <a:pt x="129" y="85"/>
                  </a:lnTo>
                  <a:lnTo>
                    <a:pt x="132" y="84"/>
                  </a:lnTo>
                  <a:lnTo>
                    <a:pt x="135" y="84"/>
                  </a:lnTo>
                  <a:lnTo>
                    <a:pt x="137" y="84"/>
                  </a:lnTo>
                  <a:lnTo>
                    <a:pt x="141" y="84"/>
                  </a:lnTo>
                  <a:lnTo>
                    <a:pt x="143" y="83"/>
                  </a:lnTo>
                  <a:lnTo>
                    <a:pt x="146" y="83"/>
                  </a:lnTo>
                  <a:lnTo>
                    <a:pt x="149" y="82"/>
                  </a:lnTo>
                  <a:lnTo>
                    <a:pt x="152" y="82"/>
                  </a:lnTo>
                  <a:lnTo>
                    <a:pt x="154" y="81"/>
                  </a:lnTo>
                  <a:lnTo>
                    <a:pt x="156" y="79"/>
                  </a:lnTo>
                  <a:lnTo>
                    <a:pt x="160" y="79"/>
                  </a:lnTo>
                  <a:lnTo>
                    <a:pt x="163" y="78"/>
                  </a:lnTo>
                  <a:lnTo>
                    <a:pt x="165" y="77"/>
                  </a:lnTo>
                  <a:lnTo>
                    <a:pt x="169" y="76"/>
                  </a:lnTo>
                  <a:lnTo>
                    <a:pt x="171" y="74"/>
                  </a:lnTo>
                  <a:lnTo>
                    <a:pt x="175" y="72"/>
                  </a:lnTo>
                  <a:lnTo>
                    <a:pt x="172" y="69"/>
                  </a:lnTo>
                  <a:lnTo>
                    <a:pt x="176" y="67"/>
                  </a:lnTo>
                  <a:lnTo>
                    <a:pt x="173" y="66"/>
                  </a:lnTo>
                  <a:lnTo>
                    <a:pt x="170" y="65"/>
                  </a:lnTo>
                  <a:lnTo>
                    <a:pt x="172" y="66"/>
                  </a:lnTo>
                  <a:lnTo>
                    <a:pt x="176" y="66"/>
                  </a:lnTo>
                  <a:lnTo>
                    <a:pt x="178" y="67"/>
                  </a:lnTo>
                  <a:lnTo>
                    <a:pt x="181" y="67"/>
                  </a:lnTo>
                  <a:lnTo>
                    <a:pt x="182" y="64"/>
                  </a:lnTo>
                  <a:lnTo>
                    <a:pt x="185" y="62"/>
                  </a:lnTo>
                  <a:lnTo>
                    <a:pt x="187" y="61"/>
                  </a:lnTo>
                  <a:lnTo>
                    <a:pt x="190" y="59"/>
                  </a:lnTo>
                  <a:lnTo>
                    <a:pt x="193" y="59"/>
                  </a:lnTo>
                  <a:lnTo>
                    <a:pt x="196" y="58"/>
                  </a:lnTo>
                  <a:lnTo>
                    <a:pt x="199" y="57"/>
                  </a:lnTo>
                  <a:lnTo>
                    <a:pt x="202" y="57"/>
                  </a:lnTo>
                  <a:lnTo>
                    <a:pt x="205" y="57"/>
                  </a:lnTo>
                  <a:lnTo>
                    <a:pt x="202" y="58"/>
                  </a:lnTo>
                  <a:lnTo>
                    <a:pt x="199" y="59"/>
                  </a:lnTo>
                  <a:lnTo>
                    <a:pt x="196" y="59"/>
                  </a:lnTo>
                  <a:lnTo>
                    <a:pt x="194" y="60"/>
                  </a:lnTo>
                  <a:lnTo>
                    <a:pt x="190" y="62"/>
                  </a:lnTo>
                  <a:lnTo>
                    <a:pt x="188" y="65"/>
                  </a:lnTo>
                  <a:lnTo>
                    <a:pt x="185" y="66"/>
                  </a:lnTo>
                  <a:lnTo>
                    <a:pt x="182" y="68"/>
                  </a:lnTo>
                  <a:lnTo>
                    <a:pt x="179" y="69"/>
                  </a:lnTo>
                  <a:lnTo>
                    <a:pt x="178" y="73"/>
                  </a:lnTo>
                  <a:lnTo>
                    <a:pt x="179" y="75"/>
                  </a:lnTo>
                  <a:lnTo>
                    <a:pt x="182" y="75"/>
                  </a:lnTo>
                  <a:lnTo>
                    <a:pt x="185" y="75"/>
                  </a:lnTo>
                  <a:lnTo>
                    <a:pt x="188" y="74"/>
                  </a:lnTo>
                  <a:lnTo>
                    <a:pt x="190" y="74"/>
                  </a:lnTo>
                  <a:lnTo>
                    <a:pt x="194" y="74"/>
                  </a:lnTo>
                  <a:lnTo>
                    <a:pt x="196" y="74"/>
                  </a:lnTo>
                  <a:lnTo>
                    <a:pt x="199" y="74"/>
                  </a:lnTo>
                  <a:lnTo>
                    <a:pt x="202" y="74"/>
                  </a:lnTo>
                  <a:lnTo>
                    <a:pt x="209" y="74"/>
                  </a:lnTo>
                  <a:lnTo>
                    <a:pt x="211" y="75"/>
                  </a:lnTo>
                  <a:lnTo>
                    <a:pt x="209" y="76"/>
                  </a:lnTo>
                  <a:lnTo>
                    <a:pt x="202" y="76"/>
                  </a:lnTo>
                  <a:lnTo>
                    <a:pt x="198" y="76"/>
                  </a:lnTo>
                  <a:lnTo>
                    <a:pt x="196" y="76"/>
                  </a:lnTo>
                  <a:lnTo>
                    <a:pt x="193" y="76"/>
                  </a:lnTo>
                  <a:lnTo>
                    <a:pt x="189" y="77"/>
                  </a:lnTo>
                  <a:lnTo>
                    <a:pt x="182" y="78"/>
                  </a:lnTo>
                  <a:lnTo>
                    <a:pt x="180" y="78"/>
                  </a:lnTo>
                  <a:lnTo>
                    <a:pt x="178" y="79"/>
                  </a:lnTo>
                  <a:lnTo>
                    <a:pt x="175" y="79"/>
                  </a:lnTo>
                  <a:lnTo>
                    <a:pt x="169" y="82"/>
                  </a:lnTo>
                  <a:lnTo>
                    <a:pt x="165" y="83"/>
                  </a:lnTo>
                  <a:lnTo>
                    <a:pt x="169" y="84"/>
                  </a:lnTo>
                  <a:lnTo>
                    <a:pt x="172" y="83"/>
                  </a:lnTo>
                  <a:lnTo>
                    <a:pt x="176" y="83"/>
                  </a:lnTo>
                  <a:lnTo>
                    <a:pt x="178" y="83"/>
                  </a:lnTo>
                  <a:lnTo>
                    <a:pt x="181" y="83"/>
                  </a:lnTo>
                  <a:lnTo>
                    <a:pt x="184" y="83"/>
                  </a:lnTo>
                  <a:lnTo>
                    <a:pt x="187" y="84"/>
                  </a:lnTo>
                  <a:lnTo>
                    <a:pt x="190" y="84"/>
                  </a:lnTo>
                  <a:lnTo>
                    <a:pt x="188" y="84"/>
                  </a:lnTo>
                  <a:lnTo>
                    <a:pt x="182" y="84"/>
                  </a:lnTo>
                  <a:lnTo>
                    <a:pt x="179" y="85"/>
                  </a:lnTo>
                  <a:lnTo>
                    <a:pt x="173" y="85"/>
                  </a:lnTo>
                  <a:lnTo>
                    <a:pt x="171" y="85"/>
                  </a:lnTo>
                  <a:lnTo>
                    <a:pt x="168" y="85"/>
                  </a:lnTo>
                  <a:lnTo>
                    <a:pt x="164" y="85"/>
                  </a:lnTo>
                  <a:lnTo>
                    <a:pt x="162" y="85"/>
                  </a:lnTo>
                  <a:lnTo>
                    <a:pt x="159" y="87"/>
                  </a:lnTo>
                  <a:lnTo>
                    <a:pt x="156" y="87"/>
                  </a:lnTo>
                  <a:lnTo>
                    <a:pt x="153" y="89"/>
                  </a:lnTo>
                  <a:lnTo>
                    <a:pt x="151" y="89"/>
                  </a:lnTo>
                  <a:lnTo>
                    <a:pt x="145" y="89"/>
                  </a:lnTo>
                  <a:lnTo>
                    <a:pt x="142" y="90"/>
                  </a:lnTo>
                  <a:lnTo>
                    <a:pt x="139" y="90"/>
                  </a:lnTo>
                  <a:lnTo>
                    <a:pt x="136" y="90"/>
                  </a:lnTo>
                  <a:lnTo>
                    <a:pt x="133" y="91"/>
                  </a:lnTo>
                  <a:lnTo>
                    <a:pt x="130" y="91"/>
                  </a:lnTo>
                  <a:lnTo>
                    <a:pt x="127" y="91"/>
                  </a:lnTo>
                  <a:lnTo>
                    <a:pt x="124" y="91"/>
                  </a:lnTo>
                  <a:lnTo>
                    <a:pt x="121" y="93"/>
                  </a:lnTo>
                  <a:lnTo>
                    <a:pt x="124" y="95"/>
                  </a:lnTo>
                  <a:lnTo>
                    <a:pt x="127" y="98"/>
                  </a:lnTo>
                  <a:lnTo>
                    <a:pt x="129" y="99"/>
                  </a:lnTo>
                  <a:lnTo>
                    <a:pt x="133" y="101"/>
                  </a:lnTo>
                  <a:lnTo>
                    <a:pt x="135" y="102"/>
                  </a:lnTo>
                  <a:lnTo>
                    <a:pt x="138" y="103"/>
                  </a:lnTo>
                  <a:lnTo>
                    <a:pt x="141" y="103"/>
                  </a:lnTo>
                  <a:lnTo>
                    <a:pt x="144" y="104"/>
                  </a:lnTo>
                  <a:lnTo>
                    <a:pt x="142" y="107"/>
                  </a:lnTo>
                  <a:lnTo>
                    <a:pt x="141" y="110"/>
                  </a:lnTo>
                  <a:lnTo>
                    <a:pt x="144" y="111"/>
                  </a:lnTo>
                  <a:lnTo>
                    <a:pt x="146" y="111"/>
                  </a:lnTo>
                  <a:lnTo>
                    <a:pt x="149" y="112"/>
                  </a:lnTo>
                  <a:lnTo>
                    <a:pt x="152" y="113"/>
                  </a:lnTo>
                  <a:lnTo>
                    <a:pt x="154" y="113"/>
                  </a:lnTo>
                  <a:lnTo>
                    <a:pt x="158" y="112"/>
                  </a:lnTo>
                  <a:lnTo>
                    <a:pt x="161" y="112"/>
                  </a:lnTo>
                  <a:lnTo>
                    <a:pt x="163" y="111"/>
                  </a:lnTo>
                  <a:lnTo>
                    <a:pt x="165" y="112"/>
                  </a:lnTo>
                  <a:lnTo>
                    <a:pt x="163" y="113"/>
                  </a:lnTo>
                  <a:lnTo>
                    <a:pt x="162" y="113"/>
                  </a:lnTo>
                  <a:lnTo>
                    <a:pt x="159" y="113"/>
                  </a:lnTo>
                  <a:lnTo>
                    <a:pt x="156" y="115"/>
                  </a:lnTo>
                  <a:lnTo>
                    <a:pt x="153" y="116"/>
                  </a:lnTo>
                  <a:lnTo>
                    <a:pt x="150" y="115"/>
                  </a:lnTo>
                  <a:lnTo>
                    <a:pt x="147" y="115"/>
                  </a:lnTo>
                  <a:lnTo>
                    <a:pt x="144" y="113"/>
                  </a:lnTo>
                  <a:lnTo>
                    <a:pt x="141" y="115"/>
                  </a:lnTo>
                  <a:lnTo>
                    <a:pt x="138" y="112"/>
                  </a:lnTo>
                  <a:lnTo>
                    <a:pt x="135" y="109"/>
                  </a:lnTo>
                  <a:lnTo>
                    <a:pt x="134" y="107"/>
                  </a:lnTo>
                  <a:lnTo>
                    <a:pt x="130" y="105"/>
                  </a:lnTo>
                  <a:lnTo>
                    <a:pt x="128" y="103"/>
                  </a:lnTo>
                  <a:lnTo>
                    <a:pt x="125" y="102"/>
                  </a:lnTo>
                  <a:lnTo>
                    <a:pt x="122" y="101"/>
                  </a:lnTo>
                  <a:lnTo>
                    <a:pt x="120" y="100"/>
                  </a:lnTo>
                  <a:lnTo>
                    <a:pt x="117" y="98"/>
                  </a:lnTo>
                  <a:lnTo>
                    <a:pt x="115" y="96"/>
                  </a:lnTo>
                  <a:lnTo>
                    <a:pt x="111" y="94"/>
                  </a:lnTo>
                  <a:lnTo>
                    <a:pt x="109" y="94"/>
                  </a:lnTo>
                  <a:lnTo>
                    <a:pt x="105" y="94"/>
                  </a:lnTo>
                  <a:lnTo>
                    <a:pt x="103" y="93"/>
                  </a:lnTo>
                  <a:lnTo>
                    <a:pt x="100" y="93"/>
                  </a:lnTo>
                  <a:lnTo>
                    <a:pt x="96" y="94"/>
                  </a:lnTo>
                  <a:lnTo>
                    <a:pt x="94" y="94"/>
                  </a:lnTo>
                  <a:lnTo>
                    <a:pt x="91" y="94"/>
                  </a:lnTo>
                  <a:lnTo>
                    <a:pt x="88" y="93"/>
                  </a:lnTo>
                  <a:lnTo>
                    <a:pt x="83" y="92"/>
                  </a:lnTo>
                  <a:lnTo>
                    <a:pt x="79" y="92"/>
                  </a:lnTo>
                  <a:lnTo>
                    <a:pt x="77" y="92"/>
                  </a:lnTo>
                  <a:lnTo>
                    <a:pt x="74" y="94"/>
                  </a:lnTo>
                  <a:lnTo>
                    <a:pt x="73" y="96"/>
                  </a:lnTo>
                  <a:lnTo>
                    <a:pt x="73" y="100"/>
                  </a:lnTo>
                  <a:lnTo>
                    <a:pt x="75" y="102"/>
                  </a:lnTo>
                  <a:lnTo>
                    <a:pt x="77" y="102"/>
                  </a:lnTo>
                  <a:lnTo>
                    <a:pt x="79" y="102"/>
                  </a:lnTo>
                  <a:lnTo>
                    <a:pt x="83" y="103"/>
                  </a:lnTo>
                  <a:lnTo>
                    <a:pt x="86" y="103"/>
                  </a:lnTo>
                  <a:lnTo>
                    <a:pt x="88" y="105"/>
                  </a:lnTo>
                  <a:lnTo>
                    <a:pt x="86" y="104"/>
                  </a:lnTo>
                  <a:lnTo>
                    <a:pt x="83" y="104"/>
                  </a:lnTo>
                  <a:lnTo>
                    <a:pt x="81" y="103"/>
                  </a:lnTo>
                  <a:lnTo>
                    <a:pt x="78" y="103"/>
                  </a:lnTo>
                  <a:lnTo>
                    <a:pt x="75" y="104"/>
                  </a:lnTo>
                  <a:lnTo>
                    <a:pt x="75" y="107"/>
                  </a:lnTo>
                  <a:lnTo>
                    <a:pt x="75" y="110"/>
                  </a:lnTo>
                  <a:lnTo>
                    <a:pt x="77" y="110"/>
                  </a:lnTo>
                  <a:lnTo>
                    <a:pt x="81" y="111"/>
                  </a:lnTo>
                  <a:lnTo>
                    <a:pt x="83" y="111"/>
                  </a:lnTo>
                  <a:lnTo>
                    <a:pt x="86" y="111"/>
                  </a:lnTo>
                  <a:lnTo>
                    <a:pt x="90" y="112"/>
                  </a:lnTo>
                  <a:lnTo>
                    <a:pt x="92" y="113"/>
                  </a:lnTo>
                  <a:lnTo>
                    <a:pt x="95" y="116"/>
                  </a:lnTo>
                  <a:lnTo>
                    <a:pt x="96" y="118"/>
                  </a:lnTo>
                  <a:lnTo>
                    <a:pt x="100" y="119"/>
                  </a:lnTo>
                  <a:lnTo>
                    <a:pt x="102" y="122"/>
                  </a:lnTo>
                  <a:lnTo>
                    <a:pt x="103" y="125"/>
                  </a:lnTo>
                  <a:lnTo>
                    <a:pt x="104" y="127"/>
                  </a:lnTo>
                  <a:lnTo>
                    <a:pt x="108" y="128"/>
                  </a:lnTo>
                  <a:lnTo>
                    <a:pt x="111" y="129"/>
                  </a:lnTo>
                  <a:lnTo>
                    <a:pt x="113" y="132"/>
                  </a:lnTo>
                  <a:lnTo>
                    <a:pt x="117" y="132"/>
                  </a:lnTo>
                  <a:lnTo>
                    <a:pt x="113" y="133"/>
                  </a:lnTo>
                  <a:lnTo>
                    <a:pt x="111" y="132"/>
                  </a:lnTo>
                  <a:lnTo>
                    <a:pt x="108" y="130"/>
                  </a:lnTo>
                  <a:lnTo>
                    <a:pt x="104" y="129"/>
                  </a:lnTo>
                  <a:lnTo>
                    <a:pt x="102" y="128"/>
                  </a:lnTo>
                  <a:lnTo>
                    <a:pt x="99" y="130"/>
                  </a:lnTo>
                  <a:lnTo>
                    <a:pt x="100" y="133"/>
                  </a:lnTo>
                  <a:lnTo>
                    <a:pt x="103" y="134"/>
                  </a:lnTo>
                  <a:lnTo>
                    <a:pt x="105" y="134"/>
                  </a:lnTo>
                  <a:lnTo>
                    <a:pt x="109" y="135"/>
                  </a:lnTo>
                  <a:lnTo>
                    <a:pt x="111" y="135"/>
                  </a:lnTo>
                  <a:lnTo>
                    <a:pt x="115" y="135"/>
                  </a:lnTo>
                  <a:lnTo>
                    <a:pt x="117" y="135"/>
                  </a:lnTo>
                  <a:lnTo>
                    <a:pt x="120" y="135"/>
                  </a:lnTo>
                  <a:lnTo>
                    <a:pt x="122" y="135"/>
                  </a:lnTo>
                  <a:lnTo>
                    <a:pt x="128" y="136"/>
                  </a:lnTo>
                  <a:lnTo>
                    <a:pt x="132" y="136"/>
                  </a:lnTo>
                  <a:lnTo>
                    <a:pt x="134" y="136"/>
                  </a:lnTo>
                  <a:lnTo>
                    <a:pt x="137" y="133"/>
                  </a:lnTo>
                  <a:lnTo>
                    <a:pt x="139" y="132"/>
                  </a:lnTo>
                  <a:lnTo>
                    <a:pt x="143" y="132"/>
                  </a:lnTo>
                  <a:lnTo>
                    <a:pt x="139" y="135"/>
                  </a:lnTo>
                  <a:lnTo>
                    <a:pt x="138" y="137"/>
                  </a:lnTo>
                  <a:lnTo>
                    <a:pt x="135" y="137"/>
                  </a:lnTo>
                  <a:lnTo>
                    <a:pt x="133" y="138"/>
                  </a:lnTo>
                  <a:lnTo>
                    <a:pt x="129" y="138"/>
                  </a:lnTo>
                  <a:lnTo>
                    <a:pt x="126" y="138"/>
                  </a:lnTo>
                  <a:lnTo>
                    <a:pt x="124" y="137"/>
                  </a:lnTo>
                  <a:lnTo>
                    <a:pt x="121" y="139"/>
                  </a:lnTo>
                  <a:lnTo>
                    <a:pt x="124" y="141"/>
                  </a:lnTo>
                  <a:lnTo>
                    <a:pt x="127" y="142"/>
                  </a:lnTo>
                  <a:lnTo>
                    <a:pt x="129" y="141"/>
                  </a:lnTo>
                  <a:lnTo>
                    <a:pt x="133" y="142"/>
                  </a:lnTo>
                  <a:lnTo>
                    <a:pt x="129" y="144"/>
                  </a:lnTo>
                  <a:lnTo>
                    <a:pt x="132" y="146"/>
                  </a:lnTo>
                  <a:lnTo>
                    <a:pt x="128" y="145"/>
                  </a:lnTo>
                  <a:lnTo>
                    <a:pt x="126" y="143"/>
                  </a:lnTo>
                  <a:lnTo>
                    <a:pt x="122" y="142"/>
                  </a:lnTo>
                  <a:lnTo>
                    <a:pt x="120" y="142"/>
                  </a:lnTo>
                  <a:lnTo>
                    <a:pt x="118" y="139"/>
                  </a:lnTo>
                  <a:lnTo>
                    <a:pt x="115" y="139"/>
                  </a:lnTo>
                  <a:lnTo>
                    <a:pt x="111" y="138"/>
                  </a:lnTo>
                  <a:lnTo>
                    <a:pt x="109" y="137"/>
                  </a:lnTo>
                  <a:lnTo>
                    <a:pt x="105" y="137"/>
                  </a:lnTo>
                  <a:lnTo>
                    <a:pt x="103" y="137"/>
                  </a:lnTo>
                  <a:lnTo>
                    <a:pt x="100" y="137"/>
                  </a:lnTo>
                  <a:lnTo>
                    <a:pt x="98" y="136"/>
                  </a:lnTo>
                  <a:lnTo>
                    <a:pt x="95" y="136"/>
                  </a:lnTo>
                  <a:lnTo>
                    <a:pt x="92" y="136"/>
                  </a:lnTo>
                  <a:lnTo>
                    <a:pt x="90" y="136"/>
                  </a:lnTo>
                  <a:lnTo>
                    <a:pt x="86" y="137"/>
                  </a:lnTo>
                  <a:lnTo>
                    <a:pt x="81" y="138"/>
                  </a:lnTo>
                  <a:lnTo>
                    <a:pt x="78" y="138"/>
                  </a:lnTo>
                  <a:lnTo>
                    <a:pt x="75" y="139"/>
                  </a:lnTo>
                  <a:lnTo>
                    <a:pt x="71" y="139"/>
                  </a:lnTo>
                  <a:lnTo>
                    <a:pt x="69" y="141"/>
                  </a:lnTo>
                  <a:lnTo>
                    <a:pt x="67" y="144"/>
                  </a:lnTo>
                  <a:lnTo>
                    <a:pt x="68" y="146"/>
                  </a:lnTo>
                  <a:lnTo>
                    <a:pt x="66" y="146"/>
                  </a:lnTo>
                  <a:lnTo>
                    <a:pt x="62" y="149"/>
                  </a:lnTo>
                  <a:lnTo>
                    <a:pt x="60" y="151"/>
                  </a:lnTo>
                  <a:lnTo>
                    <a:pt x="60" y="154"/>
                  </a:lnTo>
                  <a:lnTo>
                    <a:pt x="62" y="156"/>
                  </a:lnTo>
                  <a:lnTo>
                    <a:pt x="65" y="158"/>
                  </a:lnTo>
                  <a:lnTo>
                    <a:pt x="62" y="160"/>
                  </a:lnTo>
                  <a:lnTo>
                    <a:pt x="65" y="160"/>
                  </a:lnTo>
                  <a:lnTo>
                    <a:pt x="68" y="160"/>
                  </a:lnTo>
                  <a:lnTo>
                    <a:pt x="71" y="160"/>
                  </a:lnTo>
                  <a:lnTo>
                    <a:pt x="74" y="156"/>
                  </a:lnTo>
                  <a:lnTo>
                    <a:pt x="77" y="158"/>
                  </a:lnTo>
                  <a:lnTo>
                    <a:pt x="79" y="156"/>
                  </a:lnTo>
                  <a:lnTo>
                    <a:pt x="83" y="154"/>
                  </a:lnTo>
                  <a:lnTo>
                    <a:pt x="81" y="156"/>
                  </a:lnTo>
                  <a:lnTo>
                    <a:pt x="77" y="159"/>
                  </a:lnTo>
                  <a:lnTo>
                    <a:pt x="79" y="161"/>
                  </a:lnTo>
                  <a:lnTo>
                    <a:pt x="83" y="161"/>
                  </a:lnTo>
                  <a:lnTo>
                    <a:pt x="85" y="160"/>
                  </a:lnTo>
                  <a:lnTo>
                    <a:pt x="88" y="160"/>
                  </a:lnTo>
                  <a:lnTo>
                    <a:pt x="91" y="158"/>
                  </a:lnTo>
                  <a:lnTo>
                    <a:pt x="93" y="155"/>
                  </a:lnTo>
                  <a:lnTo>
                    <a:pt x="95" y="152"/>
                  </a:lnTo>
                  <a:lnTo>
                    <a:pt x="96" y="150"/>
                  </a:lnTo>
                  <a:lnTo>
                    <a:pt x="99" y="147"/>
                  </a:lnTo>
                  <a:lnTo>
                    <a:pt x="98" y="150"/>
                  </a:lnTo>
                  <a:lnTo>
                    <a:pt x="96" y="152"/>
                  </a:lnTo>
                  <a:lnTo>
                    <a:pt x="100" y="153"/>
                  </a:lnTo>
                  <a:lnTo>
                    <a:pt x="96" y="154"/>
                  </a:lnTo>
                  <a:lnTo>
                    <a:pt x="98" y="156"/>
                  </a:lnTo>
                  <a:lnTo>
                    <a:pt x="100" y="156"/>
                  </a:lnTo>
                  <a:lnTo>
                    <a:pt x="103" y="156"/>
                  </a:lnTo>
                  <a:lnTo>
                    <a:pt x="105" y="159"/>
                  </a:lnTo>
                  <a:lnTo>
                    <a:pt x="103" y="158"/>
                  </a:lnTo>
                  <a:lnTo>
                    <a:pt x="100" y="158"/>
                  </a:lnTo>
                  <a:lnTo>
                    <a:pt x="98" y="158"/>
                  </a:lnTo>
                  <a:lnTo>
                    <a:pt x="95" y="158"/>
                  </a:lnTo>
                  <a:lnTo>
                    <a:pt x="95" y="161"/>
                  </a:lnTo>
                  <a:lnTo>
                    <a:pt x="99" y="161"/>
                  </a:lnTo>
                  <a:lnTo>
                    <a:pt x="101" y="161"/>
                  </a:lnTo>
                  <a:lnTo>
                    <a:pt x="104" y="161"/>
                  </a:lnTo>
                  <a:lnTo>
                    <a:pt x="101" y="161"/>
                  </a:lnTo>
                  <a:lnTo>
                    <a:pt x="99" y="162"/>
                  </a:lnTo>
                  <a:lnTo>
                    <a:pt x="95" y="162"/>
                  </a:lnTo>
                  <a:lnTo>
                    <a:pt x="93" y="162"/>
                  </a:lnTo>
                  <a:lnTo>
                    <a:pt x="90" y="162"/>
                  </a:lnTo>
                  <a:lnTo>
                    <a:pt x="87" y="164"/>
                  </a:lnTo>
                  <a:lnTo>
                    <a:pt x="87" y="167"/>
                  </a:lnTo>
                  <a:lnTo>
                    <a:pt x="93" y="166"/>
                  </a:lnTo>
                  <a:lnTo>
                    <a:pt x="95" y="166"/>
                  </a:lnTo>
                  <a:lnTo>
                    <a:pt x="95" y="167"/>
                  </a:lnTo>
                  <a:lnTo>
                    <a:pt x="93" y="167"/>
                  </a:lnTo>
                  <a:lnTo>
                    <a:pt x="91" y="169"/>
                  </a:lnTo>
                  <a:lnTo>
                    <a:pt x="93" y="169"/>
                  </a:lnTo>
                  <a:lnTo>
                    <a:pt x="91" y="171"/>
                  </a:lnTo>
                  <a:lnTo>
                    <a:pt x="93" y="173"/>
                  </a:lnTo>
                  <a:lnTo>
                    <a:pt x="95" y="175"/>
                  </a:lnTo>
                  <a:lnTo>
                    <a:pt x="95" y="175"/>
                  </a:lnTo>
                  <a:lnTo>
                    <a:pt x="95" y="175"/>
                  </a:lnTo>
                  <a:lnTo>
                    <a:pt x="95" y="175"/>
                  </a:lnTo>
                  <a:lnTo>
                    <a:pt x="95" y="176"/>
                  </a:lnTo>
                  <a:lnTo>
                    <a:pt x="94" y="176"/>
                  </a:lnTo>
                  <a:lnTo>
                    <a:pt x="91" y="176"/>
                  </a:lnTo>
                  <a:lnTo>
                    <a:pt x="88" y="177"/>
                  </a:lnTo>
                  <a:lnTo>
                    <a:pt x="91" y="177"/>
                  </a:lnTo>
                  <a:lnTo>
                    <a:pt x="94" y="179"/>
                  </a:lnTo>
                  <a:lnTo>
                    <a:pt x="95" y="178"/>
                  </a:lnTo>
                  <a:lnTo>
                    <a:pt x="95" y="181"/>
                  </a:lnTo>
                  <a:lnTo>
                    <a:pt x="93" y="181"/>
                  </a:lnTo>
                  <a:lnTo>
                    <a:pt x="90" y="180"/>
                  </a:lnTo>
                  <a:lnTo>
                    <a:pt x="87" y="179"/>
                  </a:lnTo>
                  <a:lnTo>
                    <a:pt x="84" y="179"/>
                  </a:lnTo>
                  <a:lnTo>
                    <a:pt x="84" y="177"/>
                  </a:lnTo>
                  <a:lnTo>
                    <a:pt x="83" y="173"/>
                  </a:lnTo>
                  <a:lnTo>
                    <a:pt x="79" y="171"/>
                  </a:lnTo>
                  <a:lnTo>
                    <a:pt x="77" y="169"/>
                  </a:lnTo>
                  <a:lnTo>
                    <a:pt x="74" y="168"/>
                  </a:lnTo>
                  <a:lnTo>
                    <a:pt x="71" y="167"/>
                  </a:lnTo>
                  <a:lnTo>
                    <a:pt x="69" y="167"/>
                  </a:lnTo>
                  <a:lnTo>
                    <a:pt x="66" y="167"/>
                  </a:lnTo>
                  <a:lnTo>
                    <a:pt x="64" y="167"/>
                  </a:lnTo>
                  <a:lnTo>
                    <a:pt x="60" y="167"/>
                  </a:lnTo>
                  <a:lnTo>
                    <a:pt x="58" y="167"/>
                  </a:lnTo>
                  <a:lnTo>
                    <a:pt x="54" y="168"/>
                  </a:lnTo>
                  <a:lnTo>
                    <a:pt x="52" y="169"/>
                  </a:lnTo>
                  <a:lnTo>
                    <a:pt x="51" y="171"/>
                  </a:lnTo>
                  <a:lnTo>
                    <a:pt x="52" y="175"/>
                  </a:lnTo>
                  <a:lnTo>
                    <a:pt x="54" y="176"/>
                  </a:lnTo>
                  <a:lnTo>
                    <a:pt x="58" y="177"/>
                  </a:lnTo>
                  <a:lnTo>
                    <a:pt x="57" y="179"/>
                  </a:lnTo>
                  <a:lnTo>
                    <a:pt x="58" y="183"/>
                  </a:lnTo>
                  <a:lnTo>
                    <a:pt x="61" y="183"/>
                  </a:lnTo>
                  <a:lnTo>
                    <a:pt x="64" y="181"/>
                  </a:lnTo>
                  <a:lnTo>
                    <a:pt x="67" y="181"/>
                  </a:lnTo>
                  <a:lnTo>
                    <a:pt x="69" y="183"/>
                  </a:lnTo>
                  <a:lnTo>
                    <a:pt x="67" y="183"/>
                  </a:lnTo>
                  <a:lnTo>
                    <a:pt x="64" y="184"/>
                  </a:lnTo>
                  <a:lnTo>
                    <a:pt x="67" y="186"/>
                  </a:lnTo>
                  <a:lnTo>
                    <a:pt x="69" y="187"/>
                  </a:lnTo>
                  <a:lnTo>
                    <a:pt x="73" y="187"/>
                  </a:lnTo>
                  <a:lnTo>
                    <a:pt x="69" y="188"/>
                  </a:lnTo>
                  <a:lnTo>
                    <a:pt x="67" y="187"/>
                  </a:lnTo>
                  <a:lnTo>
                    <a:pt x="64" y="187"/>
                  </a:lnTo>
                  <a:lnTo>
                    <a:pt x="61" y="189"/>
                  </a:lnTo>
                  <a:lnTo>
                    <a:pt x="58" y="188"/>
                  </a:lnTo>
                  <a:lnTo>
                    <a:pt x="56" y="188"/>
                  </a:lnTo>
                  <a:lnTo>
                    <a:pt x="52" y="189"/>
                  </a:lnTo>
                  <a:lnTo>
                    <a:pt x="50" y="188"/>
                  </a:lnTo>
                  <a:lnTo>
                    <a:pt x="47" y="190"/>
                  </a:lnTo>
                  <a:lnTo>
                    <a:pt x="44" y="192"/>
                  </a:lnTo>
                  <a:lnTo>
                    <a:pt x="41" y="193"/>
                  </a:lnTo>
                  <a:lnTo>
                    <a:pt x="35" y="195"/>
                  </a:lnTo>
                  <a:lnTo>
                    <a:pt x="33" y="196"/>
                  </a:lnTo>
                  <a:lnTo>
                    <a:pt x="33" y="199"/>
                  </a:lnTo>
                  <a:lnTo>
                    <a:pt x="34" y="202"/>
                  </a:lnTo>
                  <a:lnTo>
                    <a:pt x="31" y="205"/>
                  </a:lnTo>
                  <a:lnTo>
                    <a:pt x="36" y="209"/>
                  </a:lnTo>
                  <a:lnTo>
                    <a:pt x="40" y="209"/>
                  </a:lnTo>
                  <a:lnTo>
                    <a:pt x="42" y="209"/>
                  </a:lnTo>
                  <a:lnTo>
                    <a:pt x="44" y="205"/>
                  </a:lnTo>
                  <a:lnTo>
                    <a:pt x="45" y="207"/>
                  </a:lnTo>
                  <a:lnTo>
                    <a:pt x="47" y="205"/>
                  </a:lnTo>
                  <a:lnTo>
                    <a:pt x="45" y="203"/>
                  </a:lnTo>
                  <a:lnTo>
                    <a:pt x="44" y="199"/>
                  </a:lnTo>
                  <a:lnTo>
                    <a:pt x="47" y="198"/>
                  </a:lnTo>
                  <a:lnTo>
                    <a:pt x="47" y="202"/>
                  </a:lnTo>
                  <a:lnTo>
                    <a:pt x="48" y="204"/>
                  </a:lnTo>
                  <a:lnTo>
                    <a:pt x="49" y="206"/>
                  </a:lnTo>
                  <a:lnTo>
                    <a:pt x="48" y="210"/>
                  </a:lnTo>
                  <a:lnTo>
                    <a:pt x="50" y="210"/>
                  </a:lnTo>
                  <a:lnTo>
                    <a:pt x="53" y="211"/>
                  </a:lnTo>
                  <a:lnTo>
                    <a:pt x="56" y="210"/>
                  </a:lnTo>
                  <a:lnTo>
                    <a:pt x="59" y="211"/>
                  </a:lnTo>
                  <a:lnTo>
                    <a:pt x="61" y="211"/>
                  </a:lnTo>
                  <a:lnTo>
                    <a:pt x="60" y="207"/>
                  </a:lnTo>
                  <a:lnTo>
                    <a:pt x="60" y="205"/>
                  </a:lnTo>
                  <a:lnTo>
                    <a:pt x="62" y="207"/>
                  </a:lnTo>
                  <a:lnTo>
                    <a:pt x="66" y="210"/>
                  </a:lnTo>
                  <a:lnTo>
                    <a:pt x="69" y="210"/>
                  </a:lnTo>
                  <a:lnTo>
                    <a:pt x="71" y="210"/>
                  </a:lnTo>
                  <a:lnTo>
                    <a:pt x="73" y="207"/>
                  </a:lnTo>
                  <a:lnTo>
                    <a:pt x="75" y="205"/>
                  </a:lnTo>
                  <a:lnTo>
                    <a:pt x="73" y="203"/>
                  </a:lnTo>
                  <a:lnTo>
                    <a:pt x="75" y="204"/>
                  </a:lnTo>
                  <a:lnTo>
                    <a:pt x="78" y="206"/>
                  </a:lnTo>
                  <a:lnTo>
                    <a:pt x="75" y="207"/>
                  </a:lnTo>
                  <a:lnTo>
                    <a:pt x="77" y="210"/>
                  </a:lnTo>
                  <a:lnTo>
                    <a:pt x="81" y="210"/>
                  </a:lnTo>
                  <a:lnTo>
                    <a:pt x="83" y="211"/>
                  </a:lnTo>
                  <a:lnTo>
                    <a:pt x="86" y="211"/>
                  </a:lnTo>
                  <a:lnTo>
                    <a:pt x="88" y="212"/>
                  </a:lnTo>
                  <a:lnTo>
                    <a:pt x="92" y="212"/>
                  </a:lnTo>
                  <a:lnTo>
                    <a:pt x="94" y="212"/>
                  </a:lnTo>
                  <a:lnTo>
                    <a:pt x="98" y="212"/>
                  </a:lnTo>
                  <a:lnTo>
                    <a:pt x="100" y="212"/>
                  </a:lnTo>
                  <a:lnTo>
                    <a:pt x="103" y="211"/>
                  </a:lnTo>
                  <a:lnTo>
                    <a:pt x="98" y="210"/>
                  </a:lnTo>
                  <a:lnTo>
                    <a:pt x="95" y="207"/>
                  </a:lnTo>
                  <a:lnTo>
                    <a:pt x="95" y="205"/>
                  </a:lnTo>
                  <a:lnTo>
                    <a:pt x="98" y="206"/>
                  </a:lnTo>
                  <a:lnTo>
                    <a:pt x="100" y="209"/>
                  </a:lnTo>
                  <a:lnTo>
                    <a:pt x="103" y="209"/>
                  </a:lnTo>
                  <a:lnTo>
                    <a:pt x="105" y="207"/>
                  </a:lnTo>
                  <a:lnTo>
                    <a:pt x="105" y="205"/>
                  </a:lnTo>
                  <a:lnTo>
                    <a:pt x="104" y="202"/>
                  </a:lnTo>
                  <a:lnTo>
                    <a:pt x="108" y="203"/>
                  </a:lnTo>
                  <a:lnTo>
                    <a:pt x="109" y="206"/>
                  </a:lnTo>
                  <a:lnTo>
                    <a:pt x="111" y="207"/>
                  </a:lnTo>
                  <a:lnTo>
                    <a:pt x="113" y="209"/>
                  </a:lnTo>
                  <a:lnTo>
                    <a:pt x="117" y="209"/>
                  </a:lnTo>
                  <a:lnTo>
                    <a:pt x="119" y="209"/>
                  </a:lnTo>
                  <a:lnTo>
                    <a:pt x="119" y="206"/>
                  </a:lnTo>
                  <a:lnTo>
                    <a:pt x="117" y="203"/>
                  </a:lnTo>
                  <a:lnTo>
                    <a:pt x="117" y="201"/>
                  </a:lnTo>
                  <a:lnTo>
                    <a:pt x="119" y="203"/>
                  </a:lnTo>
                  <a:lnTo>
                    <a:pt x="121" y="205"/>
                  </a:lnTo>
                  <a:lnTo>
                    <a:pt x="121" y="209"/>
                  </a:lnTo>
                  <a:lnTo>
                    <a:pt x="125" y="210"/>
                  </a:lnTo>
                  <a:lnTo>
                    <a:pt x="130" y="210"/>
                  </a:lnTo>
                  <a:lnTo>
                    <a:pt x="133" y="206"/>
                  </a:lnTo>
                  <a:lnTo>
                    <a:pt x="134" y="204"/>
                  </a:lnTo>
                  <a:lnTo>
                    <a:pt x="130" y="203"/>
                  </a:lnTo>
                  <a:lnTo>
                    <a:pt x="128" y="202"/>
                  </a:lnTo>
                  <a:lnTo>
                    <a:pt x="127" y="198"/>
                  </a:lnTo>
                  <a:lnTo>
                    <a:pt x="129" y="201"/>
                  </a:lnTo>
                  <a:lnTo>
                    <a:pt x="133" y="203"/>
                  </a:lnTo>
                  <a:lnTo>
                    <a:pt x="135" y="203"/>
                  </a:lnTo>
                  <a:lnTo>
                    <a:pt x="138" y="202"/>
                  </a:lnTo>
                  <a:lnTo>
                    <a:pt x="135" y="204"/>
                  </a:lnTo>
                  <a:lnTo>
                    <a:pt x="135" y="206"/>
                  </a:lnTo>
                  <a:lnTo>
                    <a:pt x="138" y="207"/>
                  </a:lnTo>
                  <a:lnTo>
                    <a:pt x="141" y="207"/>
                  </a:lnTo>
                  <a:lnTo>
                    <a:pt x="144" y="207"/>
                  </a:lnTo>
                  <a:lnTo>
                    <a:pt x="146" y="206"/>
                  </a:lnTo>
                  <a:lnTo>
                    <a:pt x="150" y="207"/>
                  </a:lnTo>
                  <a:lnTo>
                    <a:pt x="153" y="209"/>
                  </a:lnTo>
                  <a:lnTo>
                    <a:pt x="151" y="211"/>
                  </a:lnTo>
                  <a:lnTo>
                    <a:pt x="149" y="214"/>
                  </a:lnTo>
                  <a:lnTo>
                    <a:pt x="150" y="216"/>
                  </a:lnTo>
                  <a:lnTo>
                    <a:pt x="155" y="215"/>
                  </a:lnTo>
                  <a:lnTo>
                    <a:pt x="158" y="215"/>
                  </a:lnTo>
                  <a:lnTo>
                    <a:pt x="161" y="214"/>
                  </a:lnTo>
                  <a:lnTo>
                    <a:pt x="163" y="214"/>
                  </a:lnTo>
                  <a:lnTo>
                    <a:pt x="165" y="213"/>
                  </a:lnTo>
                  <a:lnTo>
                    <a:pt x="168" y="212"/>
                  </a:lnTo>
                  <a:lnTo>
                    <a:pt x="170" y="212"/>
                  </a:lnTo>
                  <a:lnTo>
                    <a:pt x="173" y="212"/>
                  </a:lnTo>
                  <a:lnTo>
                    <a:pt x="175" y="209"/>
                  </a:lnTo>
                  <a:lnTo>
                    <a:pt x="178" y="207"/>
                  </a:lnTo>
                  <a:lnTo>
                    <a:pt x="180" y="204"/>
                  </a:lnTo>
                  <a:lnTo>
                    <a:pt x="182" y="205"/>
                  </a:lnTo>
                  <a:lnTo>
                    <a:pt x="182" y="207"/>
                  </a:lnTo>
                  <a:lnTo>
                    <a:pt x="186" y="206"/>
                  </a:lnTo>
                  <a:lnTo>
                    <a:pt x="188" y="205"/>
                  </a:lnTo>
                  <a:lnTo>
                    <a:pt x="190" y="203"/>
                  </a:lnTo>
                  <a:lnTo>
                    <a:pt x="193" y="201"/>
                  </a:lnTo>
                  <a:lnTo>
                    <a:pt x="194" y="198"/>
                  </a:lnTo>
                  <a:lnTo>
                    <a:pt x="193" y="195"/>
                  </a:lnTo>
                  <a:lnTo>
                    <a:pt x="190" y="193"/>
                  </a:lnTo>
                  <a:lnTo>
                    <a:pt x="188" y="192"/>
                  </a:lnTo>
                  <a:lnTo>
                    <a:pt x="185" y="193"/>
                  </a:lnTo>
                  <a:lnTo>
                    <a:pt x="182" y="195"/>
                  </a:lnTo>
                  <a:lnTo>
                    <a:pt x="180" y="197"/>
                  </a:lnTo>
                  <a:lnTo>
                    <a:pt x="177" y="197"/>
                  </a:lnTo>
                  <a:lnTo>
                    <a:pt x="178" y="194"/>
                  </a:lnTo>
                  <a:lnTo>
                    <a:pt x="175" y="194"/>
                  </a:lnTo>
                  <a:lnTo>
                    <a:pt x="171" y="194"/>
                  </a:lnTo>
                  <a:lnTo>
                    <a:pt x="175" y="192"/>
                  </a:lnTo>
                  <a:lnTo>
                    <a:pt x="177" y="189"/>
                  </a:lnTo>
                  <a:lnTo>
                    <a:pt x="175" y="186"/>
                  </a:lnTo>
                  <a:lnTo>
                    <a:pt x="171" y="186"/>
                  </a:lnTo>
                  <a:lnTo>
                    <a:pt x="169" y="185"/>
                  </a:lnTo>
                  <a:lnTo>
                    <a:pt x="165" y="186"/>
                  </a:lnTo>
                  <a:lnTo>
                    <a:pt x="163" y="187"/>
                  </a:lnTo>
                  <a:lnTo>
                    <a:pt x="162" y="188"/>
                  </a:lnTo>
                  <a:lnTo>
                    <a:pt x="159" y="189"/>
                  </a:lnTo>
                  <a:lnTo>
                    <a:pt x="161" y="186"/>
                  </a:lnTo>
                  <a:lnTo>
                    <a:pt x="158" y="186"/>
                  </a:lnTo>
                  <a:lnTo>
                    <a:pt x="155" y="185"/>
                  </a:lnTo>
                  <a:lnTo>
                    <a:pt x="150" y="184"/>
                  </a:lnTo>
                  <a:lnTo>
                    <a:pt x="146" y="185"/>
                  </a:lnTo>
                  <a:lnTo>
                    <a:pt x="144" y="186"/>
                  </a:lnTo>
                  <a:lnTo>
                    <a:pt x="141" y="187"/>
                  </a:lnTo>
                  <a:lnTo>
                    <a:pt x="138" y="187"/>
                  </a:lnTo>
                  <a:lnTo>
                    <a:pt x="136" y="185"/>
                  </a:lnTo>
                  <a:lnTo>
                    <a:pt x="134" y="184"/>
                  </a:lnTo>
                  <a:lnTo>
                    <a:pt x="136" y="184"/>
                  </a:lnTo>
                  <a:lnTo>
                    <a:pt x="139" y="184"/>
                  </a:lnTo>
                  <a:lnTo>
                    <a:pt x="142" y="184"/>
                  </a:lnTo>
                  <a:lnTo>
                    <a:pt x="145" y="181"/>
                  </a:lnTo>
                  <a:lnTo>
                    <a:pt x="142" y="181"/>
                  </a:lnTo>
                  <a:lnTo>
                    <a:pt x="139" y="179"/>
                  </a:lnTo>
                  <a:lnTo>
                    <a:pt x="141" y="177"/>
                  </a:lnTo>
                  <a:lnTo>
                    <a:pt x="138" y="173"/>
                  </a:lnTo>
                  <a:lnTo>
                    <a:pt x="141" y="176"/>
                  </a:lnTo>
                  <a:lnTo>
                    <a:pt x="144" y="178"/>
                  </a:lnTo>
                  <a:lnTo>
                    <a:pt x="146" y="180"/>
                  </a:lnTo>
                  <a:lnTo>
                    <a:pt x="150" y="181"/>
                  </a:lnTo>
                  <a:lnTo>
                    <a:pt x="152" y="183"/>
                  </a:lnTo>
                  <a:lnTo>
                    <a:pt x="155" y="184"/>
                  </a:lnTo>
                  <a:lnTo>
                    <a:pt x="158" y="184"/>
                  </a:lnTo>
                  <a:lnTo>
                    <a:pt x="161" y="184"/>
                  </a:lnTo>
                  <a:lnTo>
                    <a:pt x="163" y="184"/>
                  </a:lnTo>
                  <a:lnTo>
                    <a:pt x="164" y="184"/>
                  </a:lnTo>
                  <a:lnTo>
                    <a:pt x="167" y="184"/>
                  </a:lnTo>
                  <a:lnTo>
                    <a:pt x="170" y="184"/>
                  </a:lnTo>
                  <a:lnTo>
                    <a:pt x="172" y="184"/>
                  </a:lnTo>
                  <a:lnTo>
                    <a:pt x="176" y="184"/>
                  </a:lnTo>
                  <a:lnTo>
                    <a:pt x="178" y="181"/>
                  </a:lnTo>
                  <a:lnTo>
                    <a:pt x="181" y="184"/>
                  </a:lnTo>
                  <a:lnTo>
                    <a:pt x="184" y="181"/>
                  </a:lnTo>
                  <a:lnTo>
                    <a:pt x="187" y="180"/>
                  </a:lnTo>
                  <a:lnTo>
                    <a:pt x="189" y="179"/>
                  </a:lnTo>
                  <a:lnTo>
                    <a:pt x="190" y="176"/>
                  </a:lnTo>
                  <a:lnTo>
                    <a:pt x="194" y="175"/>
                  </a:lnTo>
                  <a:lnTo>
                    <a:pt x="190" y="171"/>
                  </a:lnTo>
                  <a:lnTo>
                    <a:pt x="192" y="169"/>
                  </a:lnTo>
                  <a:lnTo>
                    <a:pt x="188" y="167"/>
                  </a:lnTo>
                  <a:lnTo>
                    <a:pt x="185" y="166"/>
                  </a:lnTo>
                  <a:lnTo>
                    <a:pt x="188" y="163"/>
                  </a:lnTo>
                  <a:lnTo>
                    <a:pt x="190" y="164"/>
                  </a:lnTo>
                  <a:lnTo>
                    <a:pt x="194" y="164"/>
                  </a:lnTo>
                  <a:lnTo>
                    <a:pt x="196" y="164"/>
                  </a:lnTo>
                  <a:lnTo>
                    <a:pt x="202" y="164"/>
                  </a:lnTo>
                  <a:lnTo>
                    <a:pt x="205" y="166"/>
                  </a:lnTo>
                  <a:lnTo>
                    <a:pt x="207" y="164"/>
                  </a:lnTo>
                  <a:lnTo>
                    <a:pt x="211" y="164"/>
                  </a:lnTo>
                  <a:lnTo>
                    <a:pt x="213" y="163"/>
                  </a:lnTo>
                  <a:lnTo>
                    <a:pt x="216" y="163"/>
                  </a:lnTo>
                  <a:lnTo>
                    <a:pt x="219" y="164"/>
                  </a:lnTo>
                  <a:lnTo>
                    <a:pt x="222" y="162"/>
                  </a:lnTo>
                  <a:lnTo>
                    <a:pt x="222" y="159"/>
                  </a:lnTo>
                  <a:lnTo>
                    <a:pt x="219" y="159"/>
                  </a:lnTo>
                  <a:lnTo>
                    <a:pt x="216" y="159"/>
                  </a:lnTo>
                  <a:lnTo>
                    <a:pt x="214" y="159"/>
                  </a:lnTo>
                  <a:lnTo>
                    <a:pt x="211" y="159"/>
                  </a:lnTo>
                  <a:lnTo>
                    <a:pt x="209" y="156"/>
                  </a:lnTo>
                  <a:lnTo>
                    <a:pt x="211" y="155"/>
                  </a:lnTo>
                  <a:lnTo>
                    <a:pt x="213" y="156"/>
                  </a:lnTo>
                  <a:lnTo>
                    <a:pt x="216" y="156"/>
                  </a:lnTo>
                  <a:lnTo>
                    <a:pt x="219" y="156"/>
                  </a:lnTo>
                  <a:lnTo>
                    <a:pt x="222" y="156"/>
                  </a:lnTo>
                  <a:lnTo>
                    <a:pt x="224" y="156"/>
                  </a:lnTo>
                  <a:lnTo>
                    <a:pt x="228" y="154"/>
                  </a:lnTo>
                  <a:lnTo>
                    <a:pt x="230" y="152"/>
                  </a:lnTo>
                  <a:lnTo>
                    <a:pt x="228" y="151"/>
                  </a:lnTo>
                  <a:lnTo>
                    <a:pt x="224" y="150"/>
                  </a:lnTo>
                  <a:lnTo>
                    <a:pt x="222" y="150"/>
                  </a:lnTo>
                  <a:lnTo>
                    <a:pt x="219" y="150"/>
                  </a:lnTo>
                  <a:lnTo>
                    <a:pt x="215" y="149"/>
                  </a:lnTo>
                  <a:lnTo>
                    <a:pt x="213" y="147"/>
                  </a:lnTo>
                  <a:lnTo>
                    <a:pt x="210" y="147"/>
                  </a:lnTo>
                  <a:lnTo>
                    <a:pt x="213" y="146"/>
                  </a:lnTo>
                  <a:lnTo>
                    <a:pt x="216" y="147"/>
                  </a:lnTo>
                  <a:lnTo>
                    <a:pt x="219" y="147"/>
                  </a:lnTo>
                  <a:lnTo>
                    <a:pt x="224" y="147"/>
                  </a:lnTo>
                  <a:lnTo>
                    <a:pt x="228" y="147"/>
                  </a:lnTo>
                  <a:lnTo>
                    <a:pt x="231" y="147"/>
                  </a:lnTo>
                  <a:lnTo>
                    <a:pt x="233" y="146"/>
                  </a:lnTo>
                  <a:lnTo>
                    <a:pt x="236" y="145"/>
                  </a:lnTo>
                  <a:lnTo>
                    <a:pt x="233" y="144"/>
                  </a:lnTo>
                  <a:lnTo>
                    <a:pt x="235" y="141"/>
                  </a:lnTo>
                  <a:lnTo>
                    <a:pt x="235" y="138"/>
                  </a:lnTo>
                  <a:lnTo>
                    <a:pt x="232" y="137"/>
                  </a:lnTo>
                  <a:lnTo>
                    <a:pt x="229" y="136"/>
                  </a:lnTo>
                  <a:lnTo>
                    <a:pt x="227" y="136"/>
                  </a:lnTo>
                  <a:lnTo>
                    <a:pt x="223" y="136"/>
                  </a:lnTo>
                  <a:lnTo>
                    <a:pt x="221" y="136"/>
                  </a:lnTo>
                  <a:lnTo>
                    <a:pt x="218" y="137"/>
                  </a:lnTo>
                  <a:lnTo>
                    <a:pt x="215" y="136"/>
                  </a:lnTo>
                  <a:lnTo>
                    <a:pt x="212" y="137"/>
                  </a:lnTo>
                  <a:lnTo>
                    <a:pt x="215" y="136"/>
                  </a:lnTo>
                  <a:lnTo>
                    <a:pt x="218" y="136"/>
                  </a:lnTo>
                  <a:lnTo>
                    <a:pt x="221" y="134"/>
                  </a:lnTo>
                  <a:lnTo>
                    <a:pt x="218" y="133"/>
                  </a:lnTo>
                  <a:lnTo>
                    <a:pt x="215" y="133"/>
                  </a:lnTo>
                  <a:lnTo>
                    <a:pt x="213" y="133"/>
                  </a:lnTo>
                  <a:lnTo>
                    <a:pt x="206" y="133"/>
                  </a:lnTo>
                  <a:lnTo>
                    <a:pt x="201" y="134"/>
                  </a:lnTo>
                  <a:lnTo>
                    <a:pt x="197" y="134"/>
                  </a:lnTo>
                  <a:lnTo>
                    <a:pt x="195" y="134"/>
                  </a:lnTo>
                  <a:lnTo>
                    <a:pt x="192" y="136"/>
                  </a:lnTo>
                  <a:lnTo>
                    <a:pt x="189" y="138"/>
                  </a:lnTo>
                  <a:lnTo>
                    <a:pt x="187" y="139"/>
                  </a:lnTo>
                  <a:lnTo>
                    <a:pt x="188" y="137"/>
                  </a:lnTo>
                  <a:lnTo>
                    <a:pt x="192" y="135"/>
                  </a:lnTo>
                  <a:lnTo>
                    <a:pt x="194" y="132"/>
                  </a:lnTo>
                  <a:lnTo>
                    <a:pt x="192" y="132"/>
                  </a:lnTo>
                  <a:lnTo>
                    <a:pt x="188" y="132"/>
                  </a:lnTo>
                  <a:lnTo>
                    <a:pt x="185" y="132"/>
                  </a:lnTo>
                  <a:lnTo>
                    <a:pt x="182" y="132"/>
                  </a:lnTo>
                  <a:lnTo>
                    <a:pt x="179" y="132"/>
                  </a:lnTo>
                  <a:lnTo>
                    <a:pt x="185" y="130"/>
                  </a:lnTo>
                  <a:lnTo>
                    <a:pt x="188" y="132"/>
                  </a:lnTo>
                  <a:lnTo>
                    <a:pt x="192" y="132"/>
                  </a:lnTo>
                  <a:lnTo>
                    <a:pt x="194" y="132"/>
                  </a:lnTo>
                  <a:lnTo>
                    <a:pt x="197" y="133"/>
                  </a:lnTo>
                  <a:lnTo>
                    <a:pt x="199" y="132"/>
                  </a:lnTo>
                  <a:lnTo>
                    <a:pt x="203" y="132"/>
                  </a:lnTo>
                  <a:lnTo>
                    <a:pt x="209" y="130"/>
                  </a:lnTo>
                  <a:lnTo>
                    <a:pt x="211" y="130"/>
                  </a:lnTo>
                  <a:lnTo>
                    <a:pt x="214" y="130"/>
                  </a:lnTo>
                  <a:lnTo>
                    <a:pt x="216" y="130"/>
                  </a:lnTo>
                  <a:lnTo>
                    <a:pt x="214" y="129"/>
                  </a:lnTo>
                  <a:lnTo>
                    <a:pt x="211" y="129"/>
                  </a:lnTo>
                  <a:lnTo>
                    <a:pt x="209" y="128"/>
                  </a:lnTo>
                  <a:lnTo>
                    <a:pt x="205" y="128"/>
                  </a:lnTo>
                  <a:lnTo>
                    <a:pt x="203" y="128"/>
                  </a:lnTo>
                  <a:lnTo>
                    <a:pt x="199" y="128"/>
                  </a:lnTo>
                  <a:lnTo>
                    <a:pt x="196" y="128"/>
                  </a:lnTo>
                  <a:lnTo>
                    <a:pt x="194" y="127"/>
                  </a:lnTo>
                  <a:lnTo>
                    <a:pt x="192" y="127"/>
                  </a:lnTo>
                  <a:lnTo>
                    <a:pt x="188" y="127"/>
                  </a:lnTo>
                  <a:lnTo>
                    <a:pt x="192" y="127"/>
                  </a:lnTo>
                  <a:lnTo>
                    <a:pt x="194" y="127"/>
                  </a:lnTo>
                  <a:lnTo>
                    <a:pt x="197" y="127"/>
                  </a:lnTo>
                  <a:lnTo>
                    <a:pt x="201" y="127"/>
                  </a:lnTo>
                  <a:lnTo>
                    <a:pt x="203" y="127"/>
                  </a:lnTo>
                  <a:lnTo>
                    <a:pt x="206" y="127"/>
                  </a:lnTo>
                  <a:lnTo>
                    <a:pt x="210" y="127"/>
                  </a:lnTo>
                  <a:lnTo>
                    <a:pt x="212" y="127"/>
                  </a:lnTo>
                  <a:lnTo>
                    <a:pt x="214" y="127"/>
                  </a:lnTo>
                  <a:lnTo>
                    <a:pt x="218" y="127"/>
                  </a:lnTo>
                  <a:lnTo>
                    <a:pt x="220" y="130"/>
                  </a:lnTo>
                  <a:lnTo>
                    <a:pt x="223" y="132"/>
                  </a:lnTo>
                  <a:lnTo>
                    <a:pt x="226" y="132"/>
                  </a:lnTo>
                  <a:lnTo>
                    <a:pt x="229" y="132"/>
                  </a:lnTo>
                  <a:lnTo>
                    <a:pt x="231" y="132"/>
                  </a:lnTo>
                  <a:lnTo>
                    <a:pt x="233" y="132"/>
                  </a:lnTo>
                  <a:lnTo>
                    <a:pt x="236" y="133"/>
                  </a:lnTo>
                  <a:lnTo>
                    <a:pt x="239" y="132"/>
                  </a:lnTo>
                  <a:lnTo>
                    <a:pt x="237" y="129"/>
                  </a:lnTo>
                  <a:lnTo>
                    <a:pt x="235" y="127"/>
                  </a:lnTo>
                  <a:lnTo>
                    <a:pt x="237" y="126"/>
                  </a:lnTo>
                  <a:lnTo>
                    <a:pt x="235" y="126"/>
                  </a:lnTo>
                  <a:lnTo>
                    <a:pt x="231" y="126"/>
                  </a:lnTo>
                  <a:lnTo>
                    <a:pt x="229" y="126"/>
                  </a:lnTo>
                  <a:lnTo>
                    <a:pt x="223" y="126"/>
                  </a:lnTo>
                  <a:lnTo>
                    <a:pt x="220" y="126"/>
                  </a:lnTo>
                  <a:lnTo>
                    <a:pt x="218" y="125"/>
                  </a:lnTo>
                  <a:lnTo>
                    <a:pt x="214" y="125"/>
                  </a:lnTo>
                  <a:lnTo>
                    <a:pt x="212" y="125"/>
                  </a:lnTo>
                  <a:lnTo>
                    <a:pt x="206" y="125"/>
                  </a:lnTo>
                  <a:lnTo>
                    <a:pt x="203" y="125"/>
                  </a:lnTo>
                  <a:lnTo>
                    <a:pt x="201" y="125"/>
                  </a:lnTo>
                  <a:lnTo>
                    <a:pt x="197" y="124"/>
                  </a:lnTo>
                  <a:lnTo>
                    <a:pt x="195" y="124"/>
                  </a:lnTo>
                  <a:lnTo>
                    <a:pt x="192" y="122"/>
                  </a:lnTo>
                  <a:lnTo>
                    <a:pt x="195" y="122"/>
                  </a:lnTo>
                  <a:lnTo>
                    <a:pt x="198" y="122"/>
                  </a:lnTo>
                  <a:lnTo>
                    <a:pt x="201" y="122"/>
                  </a:lnTo>
                  <a:lnTo>
                    <a:pt x="201" y="119"/>
                  </a:lnTo>
                  <a:lnTo>
                    <a:pt x="203" y="121"/>
                  </a:lnTo>
                  <a:lnTo>
                    <a:pt x="206" y="122"/>
                  </a:lnTo>
                  <a:lnTo>
                    <a:pt x="210" y="122"/>
                  </a:lnTo>
                  <a:lnTo>
                    <a:pt x="212" y="122"/>
                  </a:lnTo>
                  <a:lnTo>
                    <a:pt x="214" y="122"/>
                  </a:lnTo>
                  <a:lnTo>
                    <a:pt x="218" y="121"/>
                  </a:lnTo>
                  <a:lnTo>
                    <a:pt x="214" y="119"/>
                  </a:lnTo>
                  <a:lnTo>
                    <a:pt x="212" y="119"/>
                  </a:lnTo>
                  <a:lnTo>
                    <a:pt x="210" y="119"/>
                  </a:lnTo>
                  <a:lnTo>
                    <a:pt x="206" y="118"/>
                  </a:lnTo>
                  <a:lnTo>
                    <a:pt x="204" y="117"/>
                  </a:lnTo>
                  <a:lnTo>
                    <a:pt x="206" y="118"/>
                  </a:lnTo>
                  <a:lnTo>
                    <a:pt x="210" y="117"/>
                  </a:lnTo>
                  <a:lnTo>
                    <a:pt x="212" y="118"/>
                  </a:lnTo>
                  <a:lnTo>
                    <a:pt x="215" y="118"/>
                  </a:lnTo>
                  <a:lnTo>
                    <a:pt x="218" y="120"/>
                  </a:lnTo>
                  <a:lnTo>
                    <a:pt x="221" y="119"/>
                  </a:lnTo>
                  <a:lnTo>
                    <a:pt x="223" y="120"/>
                  </a:lnTo>
                  <a:lnTo>
                    <a:pt x="226" y="121"/>
                  </a:lnTo>
                  <a:lnTo>
                    <a:pt x="229" y="121"/>
                  </a:lnTo>
                  <a:lnTo>
                    <a:pt x="231" y="121"/>
                  </a:lnTo>
                  <a:lnTo>
                    <a:pt x="231" y="119"/>
                  </a:lnTo>
                  <a:lnTo>
                    <a:pt x="235" y="119"/>
                  </a:lnTo>
                  <a:lnTo>
                    <a:pt x="237" y="119"/>
                  </a:lnTo>
                  <a:lnTo>
                    <a:pt x="240" y="119"/>
                  </a:lnTo>
                  <a:lnTo>
                    <a:pt x="244" y="119"/>
                  </a:lnTo>
                  <a:lnTo>
                    <a:pt x="246" y="119"/>
                  </a:lnTo>
                  <a:lnTo>
                    <a:pt x="246" y="116"/>
                  </a:lnTo>
                  <a:lnTo>
                    <a:pt x="248" y="118"/>
                  </a:lnTo>
                  <a:lnTo>
                    <a:pt x="252" y="118"/>
                  </a:lnTo>
                  <a:lnTo>
                    <a:pt x="255" y="118"/>
                  </a:lnTo>
                  <a:lnTo>
                    <a:pt x="257" y="116"/>
                  </a:lnTo>
                  <a:lnTo>
                    <a:pt x="257" y="113"/>
                  </a:lnTo>
                  <a:lnTo>
                    <a:pt x="254" y="111"/>
                  </a:lnTo>
                  <a:lnTo>
                    <a:pt x="252" y="110"/>
                  </a:lnTo>
                  <a:lnTo>
                    <a:pt x="248" y="110"/>
                  </a:lnTo>
                  <a:lnTo>
                    <a:pt x="246" y="109"/>
                  </a:lnTo>
                  <a:lnTo>
                    <a:pt x="243" y="109"/>
                  </a:lnTo>
                  <a:lnTo>
                    <a:pt x="239" y="109"/>
                  </a:lnTo>
                  <a:lnTo>
                    <a:pt x="237" y="109"/>
                  </a:lnTo>
                  <a:lnTo>
                    <a:pt x="233" y="107"/>
                  </a:lnTo>
                  <a:lnTo>
                    <a:pt x="239" y="107"/>
                  </a:lnTo>
                  <a:lnTo>
                    <a:pt x="243" y="105"/>
                  </a:lnTo>
                  <a:lnTo>
                    <a:pt x="245" y="105"/>
                  </a:lnTo>
                  <a:lnTo>
                    <a:pt x="252" y="108"/>
                  </a:lnTo>
                  <a:lnTo>
                    <a:pt x="254" y="108"/>
                  </a:lnTo>
                  <a:lnTo>
                    <a:pt x="257" y="108"/>
                  </a:lnTo>
                  <a:lnTo>
                    <a:pt x="260" y="108"/>
                  </a:lnTo>
                  <a:lnTo>
                    <a:pt x="260" y="110"/>
                  </a:lnTo>
                  <a:lnTo>
                    <a:pt x="263" y="112"/>
                  </a:lnTo>
                  <a:lnTo>
                    <a:pt x="265" y="112"/>
                  </a:lnTo>
                  <a:lnTo>
                    <a:pt x="269" y="112"/>
                  </a:lnTo>
                  <a:lnTo>
                    <a:pt x="271" y="112"/>
                  </a:lnTo>
                  <a:lnTo>
                    <a:pt x="274" y="111"/>
                  </a:lnTo>
                  <a:lnTo>
                    <a:pt x="277" y="111"/>
                  </a:lnTo>
                  <a:lnTo>
                    <a:pt x="280" y="110"/>
                  </a:lnTo>
                  <a:lnTo>
                    <a:pt x="282" y="110"/>
                  </a:lnTo>
                  <a:lnTo>
                    <a:pt x="286" y="108"/>
                  </a:lnTo>
                  <a:lnTo>
                    <a:pt x="287" y="105"/>
                  </a:lnTo>
                  <a:lnTo>
                    <a:pt x="283" y="105"/>
                  </a:lnTo>
                  <a:lnTo>
                    <a:pt x="281" y="105"/>
                  </a:lnTo>
                  <a:lnTo>
                    <a:pt x="283" y="103"/>
                  </a:lnTo>
                  <a:lnTo>
                    <a:pt x="287" y="103"/>
                  </a:lnTo>
                  <a:lnTo>
                    <a:pt x="290" y="103"/>
                  </a:lnTo>
                  <a:lnTo>
                    <a:pt x="291" y="102"/>
                  </a:lnTo>
                  <a:lnTo>
                    <a:pt x="290" y="102"/>
                  </a:lnTo>
                  <a:lnTo>
                    <a:pt x="292" y="100"/>
                  </a:lnTo>
                  <a:lnTo>
                    <a:pt x="290" y="98"/>
                  </a:lnTo>
                  <a:lnTo>
                    <a:pt x="284" y="99"/>
                  </a:lnTo>
                  <a:lnTo>
                    <a:pt x="281" y="100"/>
                  </a:lnTo>
                  <a:lnTo>
                    <a:pt x="278" y="100"/>
                  </a:lnTo>
                  <a:lnTo>
                    <a:pt x="275" y="100"/>
                  </a:lnTo>
                  <a:lnTo>
                    <a:pt x="272" y="101"/>
                  </a:lnTo>
                  <a:lnTo>
                    <a:pt x="270" y="101"/>
                  </a:lnTo>
                  <a:lnTo>
                    <a:pt x="266" y="100"/>
                  </a:lnTo>
                  <a:lnTo>
                    <a:pt x="272" y="100"/>
                  </a:lnTo>
                  <a:lnTo>
                    <a:pt x="270" y="98"/>
                  </a:lnTo>
                  <a:lnTo>
                    <a:pt x="266" y="96"/>
                  </a:lnTo>
                  <a:lnTo>
                    <a:pt x="269" y="96"/>
                  </a:lnTo>
                  <a:lnTo>
                    <a:pt x="272" y="96"/>
                  </a:lnTo>
                  <a:lnTo>
                    <a:pt x="274" y="99"/>
                  </a:lnTo>
                  <a:lnTo>
                    <a:pt x="278" y="99"/>
                  </a:lnTo>
                  <a:lnTo>
                    <a:pt x="280" y="98"/>
                  </a:lnTo>
                  <a:lnTo>
                    <a:pt x="283" y="98"/>
                  </a:lnTo>
                  <a:lnTo>
                    <a:pt x="286" y="96"/>
                  </a:lnTo>
                  <a:lnTo>
                    <a:pt x="289" y="96"/>
                  </a:lnTo>
                  <a:lnTo>
                    <a:pt x="291" y="96"/>
                  </a:lnTo>
                  <a:lnTo>
                    <a:pt x="298" y="96"/>
                  </a:lnTo>
                  <a:lnTo>
                    <a:pt x="299" y="93"/>
                  </a:lnTo>
                  <a:lnTo>
                    <a:pt x="296" y="93"/>
                  </a:lnTo>
                  <a:lnTo>
                    <a:pt x="293" y="92"/>
                  </a:lnTo>
                  <a:lnTo>
                    <a:pt x="293" y="89"/>
                  </a:lnTo>
                  <a:lnTo>
                    <a:pt x="291" y="86"/>
                  </a:lnTo>
                  <a:lnTo>
                    <a:pt x="293" y="86"/>
                  </a:lnTo>
                  <a:lnTo>
                    <a:pt x="296" y="89"/>
                  </a:lnTo>
                  <a:lnTo>
                    <a:pt x="296" y="92"/>
                  </a:lnTo>
                  <a:lnTo>
                    <a:pt x="299" y="92"/>
                  </a:lnTo>
                  <a:lnTo>
                    <a:pt x="303" y="91"/>
                  </a:lnTo>
                  <a:lnTo>
                    <a:pt x="305" y="91"/>
                  </a:lnTo>
                  <a:lnTo>
                    <a:pt x="308" y="90"/>
                  </a:lnTo>
                  <a:lnTo>
                    <a:pt x="310" y="87"/>
                  </a:lnTo>
                  <a:lnTo>
                    <a:pt x="313" y="85"/>
                  </a:lnTo>
                  <a:lnTo>
                    <a:pt x="316" y="83"/>
                  </a:lnTo>
                  <a:lnTo>
                    <a:pt x="318" y="81"/>
                  </a:lnTo>
                  <a:lnTo>
                    <a:pt x="322" y="79"/>
                  </a:lnTo>
                  <a:lnTo>
                    <a:pt x="325" y="78"/>
                  </a:lnTo>
                  <a:lnTo>
                    <a:pt x="327" y="77"/>
                  </a:lnTo>
                  <a:lnTo>
                    <a:pt x="331" y="75"/>
                  </a:lnTo>
                  <a:lnTo>
                    <a:pt x="333" y="75"/>
                  </a:lnTo>
                  <a:lnTo>
                    <a:pt x="337" y="73"/>
                  </a:lnTo>
                  <a:lnTo>
                    <a:pt x="339" y="72"/>
                  </a:lnTo>
                  <a:lnTo>
                    <a:pt x="342" y="70"/>
                  </a:lnTo>
                  <a:lnTo>
                    <a:pt x="344" y="70"/>
                  </a:lnTo>
                  <a:lnTo>
                    <a:pt x="348" y="68"/>
                  </a:lnTo>
                  <a:lnTo>
                    <a:pt x="350" y="66"/>
                  </a:lnTo>
                  <a:lnTo>
                    <a:pt x="352" y="65"/>
                  </a:lnTo>
                  <a:lnTo>
                    <a:pt x="356" y="64"/>
                  </a:lnTo>
                  <a:lnTo>
                    <a:pt x="359" y="62"/>
                  </a:lnTo>
                  <a:lnTo>
                    <a:pt x="361" y="62"/>
                  </a:lnTo>
                  <a:lnTo>
                    <a:pt x="365" y="61"/>
                  </a:lnTo>
                  <a:lnTo>
                    <a:pt x="367" y="60"/>
                  </a:lnTo>
                  <a:lnTo>
                    <a:pt x="371" y="59"/>
                  </a:lnTo>
                  <a:lnTo>
                    <a:pt x="373" y="58"/>
                  </a:lnTo>
                  <a:lnTo>
                    <a:pt x="375" y="56"/>
                  </a:lnTo>
                  <a:lnTo>
                    <a:pt x="375" y="53"/>
                  </a:lnTo>
                  <a:lnTo>
                    <a:pt x="369" y="53"/>
                  </a:lnTo>
                  <a:lnTo>
                    <a:pt x="366" y="53"/>
                  </a:lnTo>
                  <a:lnTo>
                    <a:pt x="364" y="53"/>
                  </a:lnTo>
                  <a:lnTo>
                    <a:pt x="361" y="55"/>
                  </a:lnTo>
                  <a:lnTo>
                    <a:pt x="358" y="55"/>
                  </a:lnTo>
                  <a:lnTo>
                    <a:pt x="356" y="56"/>
                  </a:lnTo>
                  <a:lnTo>
                    <a:pt x="352" y="56"/>
                  </a:lnTo>
                  <a:lnTo>
                    <a:pt x="350" y="57"/>
                  </a:lnTo>
                  <a:lnTo>
                    <a:pt x="347" y="57"/>
                  </a:lnTo>
                  <a:lnTo>
                    <a:pt x="340" y="58"/>
                  </a:lnTo>
                  <a:lnTo>
                    <a:pt x="338" y="58"/>
                  </a:lnTo>
                  <a:lnTo>
                    <a:pt x="334" y="59"/>
                  </a:lnTo>
                  <a:lnTo>
                    <a:pt x="332" y="60"/>
                  </a:lnTo>
                  <a:lnTo>
                    <a:pt x="330" y="60"/>
                  </a:lnTo>
                  <a:lnTo>
                    <a:pt x="326" y="61"/>
                  </a:lnTo>
                  <a:lnTo>
                    <a:pt x="324" y="61"/>
                  </a:lnTo>
                  <a:lnTo>
                    <a:pt x="321" y="62"/>
                  </a:lnTo>
                  <a:lnTo>
                    <a:pt x="318" y="62"/>
                  </a:lnTo>
                  <a:lnTo>
                    <a:pt x="315" y="64"/>
                  </a:lnTo>
                  <a:lnTo>
                    <a:pt x="313" y="64"/>
                  </a:lnTo>
                  <a:lnTo>
                    <a:pt x="309" y="65"/>
                  </a:lnTo>
                  <a:lnTo>
                    <a:pt x="306" y="65"/>
                  </a:lnTo>
                  <a:lnTo>
                    <a:pt x="304" y="66"/>
                  </a:lnTo>
                  <a:lnTo>
                    <a:pt x="300" y="67"/>
                  </a:lnTo>
                  <a:lnTo>
                    <a:pt x="299" y="67"/>
                  </a:lnTo>
                  <a:lnTo>
                    <a:pt x="303" y="66"/>
                  </a:lnTo>
                  <a:lnTo>
                    <a:pt x="299" y="66"/>
                  </a:lnTo>
                  <a:lnTo>
                    <a:pt x="297" y="65"/>
                  </a:lnTo>
                  <a:lnTo>
                    <a:pt x="299" y="65"/>
                  </a:lnTo>
                  <a:lnTo>
                    <a:pt x="305" y="64"/>
                  </a:lnTo>
                  <a:lnTo>
                    <a:pt x="308" y="62"/>
                  </a:lnTo>
                  <a:lnTo>
                    <a:pt x="312" y="62"/>
                  </a:lnTo>
                  <a:lnTo>
                    <a:pt x="314" y="62"/>
                  </a:lnTo>
                  <a:lnTo>
                    <a:pt x="317" y="61"/>
                  </a:lnTo>
                  <a:lnTo>
                    <a:pt x="321" y="61"/>
                  </a:lnTo>
                  <a:lnTo>
                    <a:pt x="323" y="60"/>
                  </a:lnTo>
                  <a:lnTo>
                    <a:pt x="326" y="59"/>
                  </a:lnTo>
                  <a:lnTo>
                    <a:pt x="330" y="58"/>
                  </a:lnTo>
                  <a:lnTo>
                    <a:pt x="332" y="58"/>
                  </a:lnTo>
                  <a:lnTo>
                    <a:pt x="334" y="57"/>
                  </a:lnTo>
                  <a:lnTo>
                    <a:pt x="338" y="56"/>
                  </a:lnTo>
                  <a:lnTo>
                    <a:pt x="340" y="56"/>
                  </a:lnTo>
                  <a:lnTo>
                    <a:pt x="343" y="55"/>
                  </a:lnTo>
                  <a:lnTo>
                    <a:pt x="347" y="53"/>
                  </a:lnTo>
                  <a:lnTo>
                    <a:pt x="343" y="53"/>
                  </a:lnTo>
                  <a:lnTo>
                    <a:pt x="340" y="52"/>
                  </a:lnTo>
                  <a:lnTo>
                    <a:pt x="338" y="52"/>
                  </a:lnTo>
                  <a:lnTo>
                    <a:pt x="334" y="52"/>
                  </a:lnTo>
                  <a:lnTo>
                    <a:pt x="332" y="52"/>
                  </a:lnTo>
                  <a:lnTo>
                    <a:pt x="329" y="53"/>
                  </a:lnTo>
                  <a:lnTo>
                    <a:pt x="325" y="53"/>
                  </a:lnTo>
                  <a:lnTo>
                    <a:pt x="323" y="53"/>
                  </a:lnTo>
                  <a:lnTo>
                    <a:pt x="320" y="53"/>
                  </a:lnTo>
                  <a:lnTo>
                    <a:pt x="317" y="53"/>
                  </a:lnTo>
                  <a:lnTo>
                    <a:pt x="321" y="53"/>
                  </a:lnTo>
                  <a:lnTo>
                    <a:pt x="317" y="50"/>
                  </a:lnTo>
                  <a:lnTo>
                    <a:pt x="312" y="49"/>
                  </a:lnTo>
                  <a:lnTo>
                    <a:pt x="314" y="49"/>
                  </a:lnTo>
                  <a:lnTo>
                    <a:pt x="317" y="50"/>
                  </a:lnTo>
                  <a:lnTo>
                    <a:pt x="321" y="51"/>
                  </a:lnTo>
                  <a:lnTo>
                    <a:pt x="323" y="52"/>
                  </a:lnTo>
                  <a:lnTo>
                    <a:pt x="325" y="52"/>
                  </a:lnTo>
                  <a:lnTo>
                    <a:pt x="329" y="52"/>
                  </a:lnTo>
                  <a:lnTo>
                    <a:pt x="332" y="51"/>
                  </a:lnTo>
                  <a:lnTo>
                    <a:pt x="334" y="51"/>
                  </a:lnTo>
                  <a:lnTo>
                    <a:pt x="338" y="51"/>
                  </a:lnTo>
                  <a:lnTo>
                    <a:pt x="340" y="51"/>
                  </a:lnTo>
                  <a:lnTo>
                    <a:pt x="343" y="51"/>
                  </a:lnTo>
                  <a:lnTo>
                    <a:pt x="346" y="50"/>
                  </a:lnTo>
                  <a:lnTo>
                    <a:pt x="349" y="50"/>
                  </a:lnTo>
                  <a:lnTo>
                    <a:pt x="351" y="50"/>
                  </a:lnTo>
                  <a:lnTo>
                    <a:pt x="355" y="49"/>
                  </a:lnTo>
                  <a:lnTo>
                    <a:pt x="357" y="50"/>
                  </a:lnTo>
                  <a:lnTo>
                    <a:pt x="360" y="49"/>
                  </a:lnTo>
                  <a:lnTo>
                    <a:pt x="363" y="49"/>
                  </a:lnTo>
                  <a:lnTo>
                    <a:pt x="360" y="49"/>
                  </a:lnTo>
                  <a:lnTo>
                    <a:pt x="355" y="49"/>
                  </a:lnTo>
                  <a:lnTo>
                    <a:pt x="357" y="48"/>
                  </a:lnTo>
                  <a:lnTo>
                    <a:pt x="360" y="48"/>
                  </a:lnTo>
                  <a:lnTo>
                    <a:pt x="363" y="47"/>
                  </a:lnTo>
                  <a:lnTo>
                    <a:pt x="366" y="47"/>
                  </a:lnTo>
                  <a:lnTo>
                    <a:pt x="368" y="47"/>
                  </a:lnTo>
                  <a:lnTo>
                    <a:pt x="372" y="47"/>
                  </a:lnTo>
                  <a:lnTo>
                    <a:pt x="374" y="47"/>
                  </a:lnTo>
                  <a:lnTo>
                    <a:pt x="377" y="47"/>
                  </a:lnTo>
                  <a:lnTo>
                    <a:pt x="380" y="47"/>
                  </a:lnTo>
                  <a:lnTo>
                    <a:pt x="383" y="44"/>
                  </a:lnTo>
                  <a:lnTo>
                    <a:pt x="385" y="44"/>
                  </a:lnTo>
                  <a:lnTo>
                    <a:pt x="389" y="42"/>
                  </a:lnTo>
                  <a:lnTo>
                    <a:pt x="391" y="42"/>
                  </a:lnTo>
                  <a:lnTo>
                    <a:pt x="394" y="41"/>
                  </a:lnTo>
                  <a:lnTo>
                    <a:pt x="397" y="40"/>
                  </a:lnTo>
                  <a:lnTo>
                    <a:pt x="400" y="40"/>
                  </a:lnTo>
                  <a:lnTo>
                    <a:pt x="402" y="39"/>
                  </a:lnTo>
                  <a:lnTo>
                    <a:pt x="406" y="38"/>
                  </a:lnTo>
                  <a:lnTo>
                    <a:pt x="408" y="36"/>
                  </a:lnTo>
                  <a:lnTo>
                    <a:pt x="414" y="33"/>
                  </a:lnTo>
                  <a:lnTo>
                    <a:pt x="417" y="32"/>
                  </a:lnTo>
                  <a:lnTo>
                    <a:pt x="419" y="31"/>
                  </a:lnTo>
                  <a:lnTo>
                    <a:pt x="423" y="28"/>
                  </a:lnTo>
                  <a:lnTo>
                    <a:pt x="421" y="25"/>
                  </a:lnTo>
                  <a:close/>
                  <a:moveTo>
                    <a:pt x="99" y="166"/>
                  </a:moveTo>
                  <a:lnTo>
                    <a:pt x="101" y="166"/>
                  </a:lnTo>
                  <a:lnTo>
                    <a:pt x="99" y="167"/>
                  </a:lnTo>
                  <a:lnTo>
                    <a:pt x="98" y="167"/>
                  </a:lnTo>
                  <a:lnTo>
                    <a:pt x="101" y="166"/>
                  </a:lnTo>
                  <a:lnTo>
                    <a:pt x="96" y="166"/>
                  </a:lnTo>
                  <a:lnTo>
                    <a:pt x="99"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 name="Freeform 208">
              <a:extLst>
                <a:ext uri="{FF2B5EF4-FFF2-40B4-BE49-F238E27FC236}">
                  <a16:creationId xmlns:a16="http://schemas.microsoft.com/office/drawing/2014/main" id="{5BBB452F-967C-4EDE-9442-85C10173DBA8}"/>
                </a:ext>
              </a:extLst>
            </p:cNvPr>
            <p:cNvSpPr>
              <a:spLocks noEditPoints="1"/>
            </p:cNvSpPr>
            <p:nvPr/>
          </p:nvSpPr>
          <p:spPr bwMode="auto">
            <a:xfrm>
              <a:off x="3143250" y="3273425"/>
              <a:ext cx="1382712" cy="246063"/>
            </a:xfrm>
            <a:custGeom>
              <a:avLst/>
              <a:gdLst>
                <a:gd name="T0" fmla="*/ 25 w 871"/>
                <a:gd name="T1" fmla="*/ 26 h 155"/>
                <a:gd name="T2" fmla="*/ 29 w 871"/>
                <a:gd name="T3" fmla="*/ 31 h 155"/>
                <a:gd name="T4" fmla="*/ 26 w 871"/>
                <a:gd name="T5" fmla="*/ 29 h 155"/>
                <a:gd name="T6" fmla="*/ 26 w 871"/>
                <a:gd name="T7" fmla="*/ 24 h 155"/>
                <a:gd name="T8" fmla="*/ 5 w 871"/>
                <a:gd name="T9" fmla="*/ 5 h 155"/>
                <a:gd name="T10" fmla="*/ 0 w 871"/>
                <a:gd name="T11" fmla="*/ 0 h 155"/>
                <a:gd name="T12" fmla="*/ 4 w 871"/>
                <a:gd name="T13" fmla="*/ 5 h 155"/>
                <a:gd name="T14" fmla="*/ 5 w 871"/>
                <a:gd name="T15" fmla="*/ 5 h 155"/>
                <a:gd name="T16" fmla="*/ 29 w 871"/>
                <a:gd name="T17" fmla="*/ 30 h 155"/>
                <a:gd name="T18" fmla="*/ 28 w 871"/>
                <a:gd name="T19" fmla="*/ 27 h 155"/>
                <a:gd name="T20" fmla="*/ 411 w 871"/>
                <a:gd name="T21" fmla="*/ 9 h 155"/>
                <a:gd name="T22" fmla="*/ 411 w 871"/>
                <a:gd name="T23" fmla="*/ 9 h 155"/>
                <a:gd name="T24" fmla="*/ 464 w 871"/>
                <a:gd name="T25" fmla="*/ 50 h 155"/>
                <a:gd name="T26" fmla="*/ 464 w 871"/>
                <a:gd name="T27" fmla="*/ 50 h 155"/>
                <a:gd name="T28" fmla="*/ 503 w 871"/>
                <a:gd name="T29" fmla="*/ 16 h 155"/>
                <a:gd name="T30" fmla="*/ 503 w 871"/>
                <a:gd name="T31" fmla="*/ 16 h 155"/>
                <a:gd name="T32" fmla="*/ 503 w 871"/>
                <a:gd name="T33" fmla="*/ 16 h 155"/>
                <a:gd name="T34" fmla="*/ 497 w 871"/>
                <a:gd name="T35" fmla="*/ 44 h 155"/>
                <a:gd name="T36" fmla="*/ 491 w 871"/>
                <a:gd name="T37" fmla="*/ 46 h 155"/>
                <a:gd name="T38" fmla="*/ 495 w 871"/>
                <a:gd name="T39" fmla="*/ 41 h 155"/>
                <a:gd name="T40" fmla="*/ 500 w 871"/>
                <a:gd name="T41" fmla="*/ 40 h 155"/>
                <a:gd name="T42" fmla="*/ 500 w 871"/>
                <a:gd name="T43" fmla="*/ 41 h 155"/>
                <a:gd name="T44" fmla="*/ 499 w 871"/>
                <a:gd name="T45" fmla="*/ 42 h 155"/>
                <a:gd name="T46" fmla="*/ 557 w 871"/>
                <a:gd name="T47" fmla="*/ 61 h 155"/>
                <a:gd name="T48" fmla="*/ 555 w 871"/>
                <a:gd name="T49" fmla="*/ 63 h 155"/>
                <a:gd name="T50" fmla="*/ 556 w 871"/>
                <a:gd name="T51" fmla="*/ 64 h 155"/>
                <a:gd name="T52" fmla="*/ 561 w 871"/>
                <a:gd name="T53" fmla="*/ 66 h 155"/>
                <a:gd name="T54" fmla="*/ 558 w 871"/>
                <a:gd name="T55" fmla="*/ 64 h 155"/>
                <a:gd name="T56" fmla="*/ 559 w 871"/>
                <a:gd name="T57" fmla="*/ 64 h 155"/>
                <a:gd name="T58" fmla="*/ 587 w 871"/>
                <a:gd name="T59" fmla="*/ 72 h 155"/>
                <a:gd name="T60" fmla="*/ 583 w 871"/>
                <a:gd name="T61" fmla="*/ 67 h 155"/>
                <a:gd name="T62" fmla="*/ 579 w 871"/>
                <a:gd name="T63" fmla="*/ 67 h 155"/>
                <a:gd name="T64" fmla="*/ 573 w 871"/>
                <a:gd name="T65" fmla="*/ 68 h 155"/>
                <a:gd name="T66" fmla="*/ 568 w 871"/>
                <a:gd name="T67" fmla="*/ 66 h 155"/>
                <a:gd name="T68" fmla="*/ 568 w 871"/>
                <a:gd name="T69" fmla="*/ 68 h 155"/>
                <a:gd name="T70" fmla="*/ 573 w 871"/>
                <a:gd name="T71" fmla="*/ 69 h 155"/>
                <a:gd name="T72" fmla="*/ 579 w 871"/>
                <a:gd name="T73" fmla="*/ 72 h 155"/>
                <a:gd name="T74" fmla="*/ 584 w 871"/>
                <a:gd name="T75" fmla="*/ 70 h 155"/>
                <a:gd name="T76" fmla="*/ 584 w 871"/>
                <a:gd name="T77" fmla="*/ 74 h 155"/>
                <a:gd name="T78" fmla="*/ 658 w 871"/>
                <a:gd name="T79" fmla="*/ 95 h 155"/>
                <a:gd name="T80" fmla="*/ 659 w 871"/>
                <a:gd name="T81" fmla="*/ 95 h 155"/>
                <a:gd name="T82" fmla="*/ 658 w 871"/>
                <a:gd name="T83" fmla="*/ 95 h 155"/>
                <a:gd name="T84" fmla="*/ 733 w 871"/>
                <a:gd name="T85" fmla="*/ 50 h 155"/>
                <a:gd name="T86" fmla="*/ 735 w 871"/>
                <a:gd name="T87" fmla="*/ 48 h 155"/>
                <a:gd name="T88" fmla="*/ 729 w 871"/>
                <a:gd name="T89" fmla="*/ 138 h 155"/>
                <a:gd name="T90" fmla="*/ 729 w 871"/>
                <a:gd name="T91" fmla="*/ 138 h 155"/>
                <a:gd name="T92" fmla="*/ 729 w 871"/>
                <a:gd name="T93" fmla="*/ 138 h 155"/>
                <a:gd name="T94" fmla="*/ 696 w 871"/>
                <a:gd name="T95" fmla="*/ 154 h 155"/>
                <a:gd name="T96" fmla="*/ 691 w 871"/>
                <a:gd name="T97" fmla="*/ 155 h 155"/>
                <a:gd name="T98" fmla="*/ 694 w 871"/>
                <a:gd name="T99" fmla="*/ 152 h 155"/>
                <a:gd name="T100" fmla="*/ 700 w 871"/>
                <a:gd name="T101" fmla="*/ 151 h 155"/>
                <a:gd name="T102" fmla="*/ 706 w 871"/>
                <a:gd name="T103" fmla="*/ 150 h 155"/>
                <a:gd name="T104" fmla="*/ 711 w 871"/>
                <a:gd name="T105" fmla="*/ 149 h 155"/>
                <a:gd name="T106" fmla="*/ 711 w 871"/>
                <a:gd name="T107" fmla="*/ 150 h 155"/>
                <a:gd name="T108" fmla="*/ 716 w 871"/>
                <a:gd name="T109" fmla="*/ 147 h 155"/>
                <a:gd name="T110" fmla="*/ 713 w 871"/>
                <a:gd name="T111" fmla="*/ 151 h 155"/>
                <a:gd name="T112" fmla="*/ 708 w 871"/>
                <a:gd name="T113" fmla="*/ 152 h 155"/>
                <a:gd name="T114" fmla="*/ 703 w 871"/>
                <a:gd name="T115" fmla="*/ 154 h 155"/>
                <a:gd name="T116" fmla="*/ 700 w 871"/>
                <a:gd name="T117" fmla="*/ 154 h 155"/>
                <a:gd name="T118" fmla="*/ 871 w 871"/>
                <a:gd name="T119" fmla="*/ 73 h 155"/>
                <a:gd name="T120" fmla="*/ 871 w 871"/>
                <a:gd name="T121" fmla="*/ 73 h 155"/>
                <a:gd name="T122" fmla="*/ 871 w 871"/>
                <a:gd name="T123" fmla="*/ 7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1" h="155">
                  <a:moveTo>
                    <a:pt x="26" y="24"/>
                  </a:moveTo>
                  <a:lnTo>
                    <a:pt x="25" y="26"/>
                  </a:lnTo>
                  <a:lnTo>
                    <a:pt x="27" y="30"/>
                  </a:lnTo>
                  <a:lnTo>
                    <a:pt x="29" y="31"/>
                  </a:lnTo>
                  <a:lnTo>
                    <a:pt x="27" y="31"/>
                  </a:lnTo>
                  <a:lnTo>
                    <a:pt x="26" y="29"/>
                  </a:lnTo>
                  <a:lnTo>
                    <a:pt x="25" y="25"/>
                  </a:lnTo>
                  <a:lnTo>
                    <a:pt x="26" y="24"/>
                  </a:lnTo>
                  <a:lnTo>
                    <a:pt x="26" y="24"/>
                  </a:lnTo>
                  <a:close/>
                  <a:moveTo>
                    <a:pt x="5" y="5"/>
                  </a:moveTo>
                  <a:lnTo>
                    <a:pt x="2" y="1"/>
                  </a:lnTo>
                  <a:lnTo>
                    <a:pt x="0" y="0"/>
                  </a:lnTo>
                  <a:lnTo>
                    <a:pt x="2" y="3"/>
                  </a:lnTo>
                  <a:lnTo>
                    <a:pt x="4" y="5"/>
                  </a:lnTo>
                  <a:lnTo>
                    <a:pt x="5" y="5"/>
                  </a:lnTo>
                  <a:lnTo>
                    <a:pt x="5" y="5"/>
                  </a:lnTo>
                  <a:close/>
                  <a:moveTo>
                    <a:pt x="28" y="27"/>
                  </a:moveTo>
                  <a:lnTo>
                    <a:pt x="29" y="30"/>
                  </a:lnTo>
                  <a:lnTo>
                    <a:pt x="27" y="27"/>
                  </a:lnTo>
                  <a:lnTo>
                    <a:pt x="28" y="27"/>
                  </a:lnTo>
                  <a:lnTo>
                    <a:pt x="28" y="27"/>
                  </a:lnTo>
                  <a:close/>
                  <a:moveTo>
                    <a:pt x="411" y="9"/>
                  </a:moveTo>
                  <a:lnTo>
                    <a:pt x="409" y="12"/>
                  </a:lnTo>
                  <a:lnTo>
                    <a:pt x="411" y="9"/>
                  </a:lnTo>
                  <a:lnTo>
                    <a:pt x="411" y="9"/>
                  </a:lnTo>
                  <a:close/>
                  <a:moveTo>
                    <a:pt x="464" y="50"/>
                  </a:moveTo>
                  <a:lnTo>
                    <a:pt x="461" y="52"/>
                  </a:lnTo>
                  <a:lnTo>
                    <a:pt x="464" y="50"/>
                  </a:lnTo>
                  <a:lnTo>
                    <a:pt x="464" y="50"/>
                  </a:lnTo>
                  <a:close/>
                  <a:moveTo>
                    <a:pt x="503" y="16"/>
                  </a:moveTo>
                  <a:lnTo>
                    <a:pt x="500" y="17"/>
                  </a:lnTo>
                  <a:lnTo>
                    <a:pt x="503" y="16"/>
                  </a:lnTo>
                  <a:lnTo>
                    <a:pt x="503" y="16"/>
                  </a:lnTo>
                  <a:lnTo>
                    <a:pt x="503" y="16"/>
                  </a:lnTo>
                  <a:close/>
                  <a:moveTo>
                    <a:pt x="499" y="42"/>
                  </a:moveTo>
                  <a:lnTo>
                    <a:pt x="497" y="44"/>
                  </a:lnTo>
                  <a:lnTo>
                    <a:pt x="495" y="47"/>
                  </a:lnTo>
                  <a:lnTo>
                    <a:pt x="491" y="46"/>
                  </a:lnTo>
                  <a:lnTo>
                    <a:pt x="493" y="43"/>
                  </a:lnTo>
                  <a:lnTo>
                    <a:pt x="495" y="41"/>
                  </a:lnTo>
                  <a:lnTo>
                    <a:pt x="498" y="40"/>
                  </a:lnTo>
                  <a:lnTo>
                    <a:pt x="500" y="40"/>
                  </a:lnTo>
                  <a:lnTo>
                    <a:pt x="503" y="41"/>
                  </a:lnTo>
                  <a:lnTo>
                    <a:pt x="500" y="41"/>
                  </a:lnTo>
                  <a:lnTo>
                    <a:pt x="499" y="42"/>
                  </a:lnTo>
                  <a:lnTo>
                    <a:pt x="499" y="42"/>
                  </a:lnTo>
                  <a:close/>
                  <a:moveTo>
                    <a:pt x="556" y="64"/>
                  </a:moveTo>
                  <a:lnTo>
                    <a:pt x="557" y="61"/>
                  </a:lnTo>
                  <a:lnTo>
                    <a:pt x="554" y="60"/>
                  </a:lnTo>
                  <a:lnTo>
                    <a:pt x="555" y="63"/>
                  </a:lnTo>
                  <a:lnTo>
                    <a:pt x="556" y="64"/>
                  </a:lnTo>
                  <a:lnTo>
                    <a:pt x="556" y="64"/>
                  </a:lnTo>
                  <a:close/>
                  <a:moveTo>
                    <a:pt x="559" y="64"/>
                  </a:moveTo>
                  <a:lnTo>
                    <a:pt x="561" y="66"/>
                  </a:lnTo>
                  <a:lnTo>
                    <a:pt x="558" y="67"/>
                  </a:lnTo>
                  <a:lnTo>
                    <a:pt x="558" y="64"/>
                  </a:lnTo>
                  <a:lnTo>
                    <a:pt x="559" y="64"/>
                  </a:lnTo>
                  <a:lnTo>
                    <a:pt x="559" y="64"/>
                  </a:lnTo>
                  <a:close/>
                  <a:moveTo>
                    <a:pt x="584" y="74"/>
                  </a:moveTo>
                  <a:lnTo>
                    <a:pt x="587" y="72"/>
                  </a:lnTo>
                  <a:lnTo>
                    <a:pt x="587" y="68"/>
                  </a:lnTo>
                  <a:lnTo>
                    <a:pt x="583" y="67"/>
                  </a:lnTo>
                  <a:lnTo>
                    <a:pt x="581" y="66"/>
                  </a:lnTo>
                  <a:lnTo>
                    <a:pt x="579" y="67"/>
                  </a:lnTo>
                  <a:lnTo>
                    <a:pt x="575" y="67"/>
                  </a:lnTo>
                  <a:lnTo>
                    <a:pt x="573" y="68"/>
                  </a:lnTo>
                  <a:lnTo>
                    <a:pt x="571" y="66"/>
                  </a:lnTo>
                  <a:lnTo>
                    <a:pt x="568" y="66"/>
                  </a:lnTo>
                  <a:lnTo>
                    <a:pt x="565" y="67"/>
                  </a:lnTo>
                  <a:lnTo>
                    <a:pt x="568" y="68"/>
                  </a:lnTo>
                  <a:lnTo>
                    <a:pt x="571" y="69"/>
                  </a:lnTo>
                  <a:lnTo>
                    <a:pt x="573" y="69"/>
                  </a:lnTo>
                  <a:lnTo>
                    <a:pt x="576" y="70"/>
                  </a:lnTo>
                  <a:lnTo>
                    <a:pt x="579" y="72"/>
                  </a:lnTo>
                  <a:lnTo>
                    <a:pt x="581" y="73"/>
                  </a:lnTo>
                  <a:lnTo>
                    <a:pt x="584" y="70"/>
                  </a:lnTo>
                  <a:lnTo>
                    <a:pt x="583" y="74"/>
                  </a:lnTo>
                  <a:lnTo>
                    <a:pt x="584" y="74"/>
                  </a:lnTo>
                  <a:lnTo>
                    <a:pt x="584" y="74"/>
                  </a:lnTo>
                  <a:close/>
                  <a:moveTo>
                    <a:pt x="658" y="95"/>
                  </a:moveTo>
                  <a:lnTo>
                    <a:pt x="661" y="95"/>
                  </a:lnTo>
                  <a:lnTo>
                    <a:pt x="659" y="95"/>
                  </a:lnTo>
                  <a:lnTo>
                    <a:pt x="658" y="95"/>
                  </a:lnTo>
                  <a:lnTo>
                    <a:pt x="658" y="95"/>
                  </a:lnTo>
                  <a:close/>
                  <a:moveTo>
                    <a:pt x="735" y="48"/>
                  </a:moveTo>
                  <a:lnTo>
                    <a:pt x="733" y="50"/>
                  </a:lnTo>
                  <a:lnTo>
                    <a:pt x="734" y="48"/>
                  </a:lnTo>
                  <a:lnTo>
                    <a:pt x="735" y="48"/>
                  </a:lnTo>
                  <a:lnTo>
                    <a:pt x="735" y="48"/>
                  </a:lnTo>
                  <a:close/>
                  <a:moveTo>
                    <a:pt x="729" y="138"/>
                  </a:moveTo>
                  <a:lnTo>
                    <a:pt x="728" y="141"/>
                  </a:lnTo>
                  <a:lnTo>
                    <a:pt x="729" y="138"/>
                  </a:lnTo>
                  <a:lnTo>
                    <a:pt x="729" y="138"/>
                  </a:lnTo>
                  <a:lnTo>
                    <a:pt x="729" y="138"/>
                  </a:lnTo>
                  <a:close/>
                  <a:moveTo>
                    <a:pt x="700" y="154"/>
                  </a:moveTo>
                  <a:lnTo>
                    <a:pt x="696" y="154"/>
                  </a:lnTo>
                  <a:lnTo>
                    <a:pt x="694" y="155"/>
                  </a:lnTo>
                  <a:lnTo>
                    <a:pt x="691" y="155"/>
                  </a:lnTo>
                  <a:lnTo>
                    <a:pt x="692" y="153"/>
                  </a:lnTo>
                  <a:lnTo>
                    <a:pt x="694" y="152"/>
                  </a:lnTo>
                  <a:lnTo>
                    <a:pt x="698" y="150"/>
                  </a:lnTo>
                  <a:lnTo>
                    <a:pt x="700" y="151"/>
                  </a:lnTo>
                  <a:lnTo>
                    <a:pt x="703" y="150"/>
                  </a:lnTo>
                  <a:lnTo>
                    <a:pt x="706" y="150"/>
                  </a:lnTo>
                  <a:lnTo>
                    <a:pt x="708" y="150"/>
                  </a:lnTo>
                  <a:lnTo>
                    <a:pt x="711" y="149"/>
                  </a:lnTo>
                  <a:lnTo>
                    <a:pt x="713" y="147"/>
                  </a:lnTo>
                  <a:lnTo>
                    <a:pt x="711" y="150"/>
                  </a:lnTo>
                  <a:lnTo>
                    <a:pt x="713" y="149"/>
                  </a:lnTo>
                  <a:lnTo>
                    <a:pt x="716" y="147"/>
                  </a:lnTo>
                  <a:lnTo>
                    <a:pt x="719" y="149"/>
                  </a:lnTo>
                  <a:lnTo>
                    <a:pt x="713" y="151"/>
                  </a:lnTo>
                  <a:lnTo>
                    <a:pt x="711" y="152"/>
                  </a:lnTo>
                  <a:lnTo>
                    <a:pt x="708" y="152"/>
                  </a:lnTo>
                  <a:lnTo>
                    <a:pt x="706" y="153"/>
                  </a:lnTo>
                  <a:lnTo>
                    <a:pt x="703" y="154"/>
                  </a:lnTo>
                  <a:lnTo>
                    <a:pt x="700" y="154"/>
                  </a:lnTo>
                  <a:lnTo>
                    <a:pt x="700" y="154"/>
                  </a:lnTo>
                  <a:lnTo>
                    <a:pt x="700" y="154"/>
                  </a:lnTo>
                  <a:close/>
                  <a:moveTo>
                    <a:pt x="871" y="73"/>
                  </a:moveTo>
                  <a:lnTo>
                    <a:pt x="867" y="74"/>
                  </a:lnTo>
                  <a:lnTo>
                    <a:pt x="871" y="73"/>
                  </a:lnTo>
                  <a:lnTo>
                    <a:pt x="871" y="73"/>
                  </a:lnTo>
                  <a:lnTo>
                    <a:pt x="87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 name="Freeform 209">
              <a:extLst>
                <a:ext uri="{FF2B5EF4-FFF2-40B4-BE49-F238E27FC236}">
                  <a16:creationId xmlns:a16="http://schemas.microsoft.com/office/drawing/2014/main" id="{0C101803-4D1A-4137-B686-6F779CCB904E}"/>
                </a:ext>
              </a:extLst>
            </p:cNvPr>
            <p:cNvSpPr>
              <a:spLocks noEditPoints="1"/>
            </p:cNvSpPr>
            <p:nvPr/>
          </p:nvSpPr>
          <p:spPr bwMode="auto">
            <a:xfrm>
              <a:off x="2484438" y="3016250"/>
              <a:ext cx="534987" cy="109538"/>
            </a:xfrm>
            <a:custGeom>
              <a:avLst/>
              <a:gdLst>
                <a:gd name="T0" fmla="*/ 22 w 337"/>
                <a:gd name="T1" fmla="*/ 23 h 69"/>
                <a:gd name="T2" fmla="*/ 27 w 337"/>
                <a:gd name="T3" fmla="*/ 21 h 69"/>
                <a:gd name="T4" fmla="*/ 27 w 337"/>
                <a:gd name="T5" fmla="*/ 17 h 69"/>
                <a:gd name="T6" fmla="*/ 27 w 337"/>
                <a:gd name="T7" fmla="*/ 17 h 69"/>
                <a:gd name="T8" fmla="*/ 33 w 337"/>
                <a:gd name="T9" fmla="*/ 18 h 69"/>
                <a:gd name="T10" fmla="*/ 33 w 337"/>
                <a:gd name="T11" fmla="*/ 15 h 69"/>
                <a:gd name="T12" fmla="*/ 32 w 337"/>
                <a:gd name="T13" fmla="*/ 9 h 69"/>
                <a:gd name="T14" fmla="*/ 26 w 337"/>
                <a:gd name="T15" fmla="*/ 11 h 69"/>
                <a:gd name="T16" fmla="*/ 21 w 337"/>
                <a:gd name="T17" fmla="*/ 7 h 69"/>
                <a:gd name="T18" fmla="*/ 22 w 337"/>
                <a:gd name="T19" fmla="*/ 13 h 69"/>
                <a:gd name="T20" fmla="*/ 18 w 337"/>
                <a:gd name="T21" fmla="*/ 13 h 69"/>
                <a:gd name="T22" fmla="*/ 14 w 337"/>
                <a:gd name="T23" fmla="*/ 9 h 69"/>
                <a:gd name="T24" fmla="*/ 14 w 337"/>
                <a:gd name="T25" fmla="*/ 13 h 69"/>
                <a:gd name="T26" fmla="*/ 13 w 337"/>
                <a:gd name="T27" fmla="*/ 18 h 69"/>
                <a:gd name="T28" fmla="*/ 13 w 337"/>
                <a:gd name="T29" fmla="*/ 20 h 69"/>
                <a:gd name="T30" fmla="*/ 10 w 337"/>
                <a:gd name="T31" fmla="*/ 14 h 69"/>
                <a:gd name="T32" fmla="*/ 3 w 337"/>
                <a:gd name="T33" fmla="*/ 17 h 69"/>
                <a:gd name="T34" fmla="*/ 3 w 337"/>
                <a:gd name="T35" fmla="*/ 22 h 69"/>
                <a:gd name="T36" fmla="*/ 6 w 337"/>
                <a:gd name="T37" fmla="*/ 28 h 69"/>
                <a:gd name="T38" fmla="*/ 9 w 337"/>
                <a:gd name="T39" fmla="*/ 25 h 69"/>
                <a:gd name="T40" fmla="*/ 9 w 337"/>
                <a:gd name="T41" fmla="*/ 24 h 69"/>
                <a:gd name="T42" fmla="*/ 12 w 337"/>
                <a:gd name="T43" fmla="*/ 25 h 69"/>
                <a:gd name="T44" fmla="*/ 12 w 337"/>
                <a:gd name="T45" fmla="*/ 26 h 69"/>
                <a:gd name="T46" fmla="*/ 8 w 337"/>
                <a:gd name="T47" fmla="*/ 32 h 69"/>
                <a:gd name="T48" fmla="*/ 14 w 337"/>
                <a:gd name="T49" fmla="*/ 30 h 69"/>
                <a:gd name="T50" fmla="*/ 14 w 337"/>
                <a:gd name="T51" fmla="*/ 26 h 69"/>
                <a:gd name="T52" fmla="*/ 19 w 337"/>
                <a:gd name="T53" fmla="*/ 24 h 69"/>
                <a:gd name="T54" fmla="*/ 278 w 337"/>
                <a:gd name="T55" fmla="*/ 0 h 69"/>
                <a:gd name="T56" fmla="*/ 278 w 337"/>
                <a:gd name="T57" fmla="*/ 3 h 69"/>
                <a:gd name="T58" fmla="*/ 278 w 337"/>
                <a:gd name="T59" fmla="*/ 0 h 69"/>
                <a:gd name="T60" fmla="*/ 252 w 337"/>
                <a:gd name="T61" fmla="*/ 8 h 69"/>
                <a:gd name="T62" fmla="*/ 251 w 337"/>
                <a:gd name="T63" fmla="*/ 5 h 69"/>
                <a:gd name="T64" fmla="*/ 302 w 337"/>
                <a:gd name="T65" fmla="*/ 31 h 69"/>
                <a:gd name="T66" fmla="*/ 303 w 337"/>
                <a:gd name="T67" fmla="*/ 37 h 69"/>
                <a:gd name="T68" fmla="*/ 299 w 337"/>
                <a:gd name="T69" fmla="*/ 33 h 69"/>
                <a:gd name="T70" fmla="*/ 302 w 337"/>
                <a:gd name="T71" fmla="*/ 31 h 69"/>
                <a:gd name="T72" fmla="*/ 303 w 337"/>
                <a:gd name="T73" fmla="*/ 38 h 69"/>
                <a:gd name="T74" fmla="*/ 300 w 337"/>
                <a:gd name="T75" fmla="*/ 42 h 69"/>
                <a:gd name="T76" fmla="*/ 300 w 337"/>
                <a:gd name="T77" fmla="*/ 38 h 69"/>
                <a:gd name="T78" fmla="*/ 303 w 337"/>
                <a:gd name="T79" fmla="*/ 38 h 69"/>
                <a:gd name="T80" fmla="*/ 311 w 337"/>
                <a:gd name="T81" fmla="*/ 40 h 69"/>
                <a:gd name="T82" fmla="*/ 309 w 337"/>
                <a:gd name="T83" fmla="*/ 43 h 69"/>
                <a:gd name="T84" fmla="*/ 307 w 337"/>
                <a:gd name="T85" fmla="*/ 39 h 69"/>
                <a:gd name="T86" fmla="*/ 307 w 337"/>
                <a:gd name="T87" fmla="*/ 37 h 69"/>
                <a:gd name="T88" fmla="*/ 305 w 337"/>
                <a:gd name="T89" fmla="*/ 42 h 69"/>
                <a:gd name="T90" fmla="*/ 309 w 337"/>
                <a:gd name="T91" fmla="*/ 46 h 69"/>
                <a:gd name="T92" fmla="*/ 304 w 337"/>
                <a:gd name="T93" fmla="*/ 45 h 69"/>
                <a:gd name="T94" fmla="*/ 305 w 337"/>
                <a:gd name="T95" fmla="*/ 40 h 69"/>
                <a:gd name="T96" fmla="*/ 307 w 337"/>
                <a:gd name="T97" fmla="*/ 40 h 69"/>
                <a:gd name="T98" fmla="*/ 337 w 337"/>
                <a:gd name="T99" fmla="*/ 68 h 69"/>
                <a:gd name="T100" fmla="*/ 336 w 337"/>
                <a:gd name="T101" fmla="*/ 67 h 69"/>
                <a:gd name="T102" fmla="*/ 337 w 337"/>
                <a:gd name="T103"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 h="69">
                  <a:moveTo>
                    <a:pt x="19" y="24"/>
                  </a:moveTo>
                  <a:lnTo>
                    <a:pt x="22" y="23"/>
                  </a:lnTo>
                  <a:lnTo>
                    <a:pt x="25" y="22"/>
                  </a:lnTo>
                  <a:lnTo>
                    <a:pt x="27" y="21"/>
                  </a:lnTo>
                  <a:lnTo>
                    <a:pt x="30" y="20"/>
                  </a:lnTo>
                  <a:lnTo>
                    <a:pt x="27" y="17"/>
                  </a:lnTo>
                  <a:lnTo>
                    <a:pt x="25" y="18"/>
                  </a:lnTo>
                  <a:lnTo>
                    <a:pt x="27" y="17"/>
                  </a:lnTo>
                  <a:lnTo>
                    <a:pt x="30" y="17"/>
                  </a:lnTo>
                  <a:lnTo>
                    <a:pt x="33" y="18"/>
                  </a:lnTo>
                  <a:lnTo>
                    <a:pt x="35" y="16"/>
                  </a:lnTo>
                  <a:lnTo>
                    <a:pt x="33" y="15"/>
                  </a:lnTo>
                  <a:lnTo>
                    <a:pt x="32" y="12"/>
                  </a:lnTo>
                  <a:lnTo>
                    <a:pt x="32" y="9"/>
                  </a:lnTo>
                  <a:lnTo>
                    <a:pt x="30" y="9"/>
                  </a:lnTo>
                  <a:lnTo>
                    <a:pt x="26" y="11"/>
                  </a:lnTo>
                  <a:lnTo>
                    <a:pt x="24" y="8"/>
                  </a:lnTo>
                  <a:lnTo>
                    <a:pt x="21" y="7"/>
                  </a:lnTo>
                  <a:lnTo>
                    <a:pt x="23" y="9"/>
                  </a:lnTo>
                  <a:lnTo>
                    <a:pt x="22" y="13"/>
                  </a:lnTo>
                  <a:lnTo>
                    <a:pt x="19" y="11"/>
                  </a:lnTo>
                  <a:lnTo>
                    <a:pt x="18" y="13"/>
                  </a:lnTo>
                  <a:lnTo>
                    <a:pt x="17" y="11"/>
                  </a:lnTo>
                  <a:lnTo>
                    <a:pt x="14" y="9"/>
                  </a:lnTo>
                  <a:lnTo>
                    <a:pt x="12" y="12"/>
                  </a:lnTo>
                  <a:lnTo>
                    <a:pt x="14" y="13"/>
                  </a:lnTo>
                  <a:lnTo>
                    <a:pt x="15" y="16"/>
                  </a:lnTo>
                  <a:lnTo>
                    <a:pt x="13" y="18"/>
                  </a:lnTo>
                  <a:lnTo>
                    <a:pt x="16" y="21"/>
                  </a:lnTo>
                  <a:lnTo>
                    <a:pt x="13" y="20"/>
                  </a:lnTo>
                  <a:lnTo>
                    <a:pt x="12" y="16"/>
                  </a:lnTo>
                  <a:lnTo>
                    <a:pt x="10" y="14"/>
                  </a:lnTo>
                  <a:lnTo>
                    <a:pt x="7" y="14"/>
                  </a:lnTo>
                  <a:lnTo>
                    <a:pt x="3" y="17"/>
                  </a:lnTo>
                  <a:lnTo>
                    <a:pt x="0" y="20"/>
                  </a:lnTo>
                  <a:lnTo>
                    <a:pt x="3" y="22"/>
                  </a:lnTo>
                  <a:lnTo>
                    <a:pt x="4" y="25"/>
                  </a:lnTo>
                  <a:lnTo>
                    <a:pt x="6" y="28"/>
                  </a:lnTo>
                  <a:lnTo>
                    <a:pt x="8" y="28"/>
                  </a:lnTo>
                  <a:lnTo>
                    <a:pt x="9" y="25"/>
                  </a:lnTo>
                  <a:lnTo>
                    <a:pt x="7" y="24"/>
                  </a:lnTo>
                  <a:lnTo>
                    <a:pt x="9" y="24"/>
                  </a:lnTo>
                  <a:lnTo>
                    <a:pt x="9" y="26"/>
                  </a:lnTo>
                  <a:lnTo>
                    <a:pt x="12" y="25"/>
                  </a:lnTo>
                  <a:lnTo>
                    <a:pt x="14" y="24"/>
                  </a:lnTo>
                  <a:lnTo>
                    <a:pt x="12" y="26"/>
                  </a:lnTo>
                  <a:lnTo>
                    <a:pt x="10" y="29"/>
                  </a:lnTo>
                  <a:lnTo>
                    <a:pt x="8" y="32"/>
                  </a:lnTo>
                  <a:lnTo>
                    <a:pt x="12" y="32"/>
                  </a:lnTo>
                  <a:lnTo>
                    <a:pt x="14" y="30"/>
                  </a:lnTo>
                  <a:lnTo>
                    <a:pt x="17" y="28"/>
                  </a:lnTo>
                  <a:lnTo>
                    <a:pt x="14" y="26"/>
                  </a:lnTo>
                  <a:lnTo>
                    <a:pt x="17" y="25"/>
                  </a:lnTo>
                  <a:lnTo>
                    <a:pt x="19" y="24"/>
                  </a:lnTo>
                  <a:lnTo>
                    <a:pt x="19" y="24"/>
                  </a:lnTo>
                  <a:close/>
                  <a:moveTo>
                    <a:pt x="278" y="0"/>
                  </a:moveTo>
                  <a:lnTo>
                    <a:pt x="280" y="3"/>
                  </a:lnTo>
                  <a:lnTo>
                    <a:pt x="278" y="3"/>
                  </a:lnTo>
                  <a:lnTo>
                    <a:pt x="278" y="0"/>
                  </a:lnTo>
                  <a:lnTo>
                    <a:pt x="278" y="0"/>
                  </a:lnTo>
                  <a:close/>
                  <a:moveTo>
                    <a:pt x="251" y="5"/>
                  </a:moveTo>
                  <a:lnTo>
                    <a:pt x="252" y="8"/>
                  </a:lnTo>
                  <a:lnTo>
                    <a:pt x="251" y="5"/>
                  </a:lnTo>
                  <a:lnTo>
                    <a:pt x="251" y="5"/>
                  </a:lnTo>
                  <a:lnTo>
                    <a:pt x="251" y="5"/>
                  </a:lnTo>
                  <a:close/>
                  <a:moveTo>
                    <a:pt x="302" y="31"/>
                  </a:moveTo>
                  <a:lnTo>
                    <a:pt x="304" y="33"/>
                  </a:lnTo>
                  <a:lnTo>
                    <a:pt x="303" y="37"/>
                  </a:lnTo>
                  <a:lnTo>
                    <a:pt x="299" y="37"/>
                  </a:lnTo>
                  <a:lnTo>
                    <a:pt x="299" y="33"/>
                  </a:lnTo>
                  <a:lnTo>
                    <a:pt x="299" y="31"/>
                  </a:lnTo>
                  <a:lnTo>
                    <a:pt x="302" y="31"/>
                  </a:lnTo>
                  <a:lnTo>
                    <a:pt x="302" y="31"/>
                  </a:lnTo>
                  <a:close/>
                  <a:moveTo>
                    <a:pt x="303" y="38"/>
                  </a:moveTo>
                  <a:lnTo>
                    <a:pt x="304" y="40"/>
                  </a:lnTo>
                  <a:lnTo>
                    <a:pt x="300" y="42"/>
                  </a:lnTo>
                  <a:lnTo>
                    <a:pt x="298" y="40"/>
                  </a:lnTo>
                  <a:lnTo>
                    <a:pt x="300" y="38"/>
                  </a:lnTo>
                  <a:lnTo>
                    <a:pt x="303" y="38"/>
                  </a:lnTo>
                  <a:lnTo>
                    <a:pt x="303" y="38"/>
                  </a:lnTo>
                  <a:close/>
                  <a:moveTo>
                    <a:pt x="307" y="37"/>
                  </a:moveTo>
                  <a:lnTo>
                    <a:pt x="311" y="40"/>
                  </a:lnTo>
                  <a:lnTo>
                    <a:pt x="313" y="42"/>
                  </a:lnTo>
                  <a:lnTo>
                    <a:pt x="309" y="43"/>
                  </a:lnTo>
                  <a:lnTo>
                    <a:pt x="307" y="41"/>
                  </a:lnTo>
                  <a:lnTo>
                    <a:pt x="307" y="39"/>
                  </a:lnTo>
                  <a:lnTo>
                    <a:pt x="307" y="37"/>
                  </a:lnTo>
                  <a:lnTo>
                    <a:pt x="307" y="37"/>
                  </a:lnTo>
                  <a:close/>
                  <a:moveTo>
                    <a:pt x="307" y="40"/>
                  </a:moveTo>
                  <a:lnTo>
                    <a:pt x="305" y="42"/>
                  </a:lnTo>
                  <a:lnTo>
                    <a:pt x="308" y="42"/>
                  </a:lnTo>
                  <a:lnTo>
                    <a:pt x="309" y="46"/>
                  </a:lnTo>
                  <a:lnTo>
                    <a:pt x="307" y="47"/>
                  </a:lnTo>
                  <a:lnTo>
                    <a:pt x="304" y="45"/>
                  </a:lnTo>
                  <a:lnTo>
                    <a:pt x="303" y="42"/>
                  </a:lnTo>
                  <a:lnTo>
                    <a:pt x="305" y="40"/>
                  </a:lnTo>
                  <a:lnTo>
                    <a:pt x="307" y="40"/>
                  </a:lnTo>
                  <a:lnTo>
                    <a:pt x="307" y="40"/>
                  </a:lnTo>
                  <a:close/>
                  <a:moveTo>
                    <a:pt x="337" y="65"/>
                  </a:moveTo>
                  <a:lnTo>
                    <a:pt x="337" y="68"/>
                  </a:lnTo>
                  <a:lnTo>
                    <a:pt x="333" y="69"/>
                  </a:lnTo>
                  <a:lnTo>
                    <a:pt x="336" y="67"/>
                  </a:lnTo>
                  <a:lnTo>
                    <a:pt x="337" y="65"/>
                  </a:lnTo>
                  <a:lnTo>
                    <a:pt x="33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 name="Freeform 210">
              <a:extLst>
                <a:ext uri="{FF2B5EF4-FFF2-40B4-BE49-F238E27FC236}">
                  <a16:creationId xmlns:a16="http://schemas.microsoft.com/office/drawing/2014/main" id="{5B336565-924E-4550-9E60-A2D00953E6E5}"/>
                </a:ext>
              </a:extLst>
            </p:cNvPr>
            <p:cNvSpPr>
              <a:spLocks noEditPoints="1"/>
            </p:cNvSpPr>
            <p:nvPr/>
          </p:nvSpPr>
          <p:spPr bwMode="auto">
            <a:xfrm>
              <a:off x="2346325" y="2619375"/>
              <a:ext cx="2997200" cy="390525"/>
            </a:xfrm>
            <a:custGeom>
              <a:avLst/>
              <a:gdLst>
                <a:gd name="T0" fmla="*/ 1622 w 1888"/>
                <a:gd name="T1" fmla="*/ 198 h 246"/>
                <a:gd name="T2" fmla="*/ 1619 w 1888"/>
                <a:gd name="T3" fmla="*/ 198 h 246"/>
                <a:gd name="T4" fmla="*/ 1575 w 1888"/>
                <a:gd name="T5" fmla="*/ 198 h 246"/>
                <a:gd name="T6" fmla="*/ 1569 w 1888"/>
                <a:gd name="T7" fmla="*/ 201 h 246"/>
                <a:gd name="T8" fmla="*/ 1569 w 1888"/>
                <a:gd name="T9" fmla="*/ 199 h 246"/>
                <a:gd name="T10" fmla="*/ 1575 w 1888"/>
                <a:gd name="T11" fmla="*/ 197 h 246"/>
                <a:gd name="T12" fmla="*/ 1575 w 1888"/>
                <a:gd name="T13" fmla="*/ 198 h 246"/>
                <a:gd name="T14" fmla="*/ 1550 w 1888"/>
                <a:gd name="T15" fmla="*/ 203 h 246"/>
                <a:gd name="T16" fmla="*/ 1550 w 1888"/>
                <a:gd name="T17" fmla="*/ 199 h 246"/>
                <a:gd name="T18" fmla="*/ 1553 w 1888"/>
                <a:gd name="T19" fmla="*/ 201 h 246"/>
                <a:gd name="T20" fmla="*/ 1570 w 1888"/>
                <a:gd name="T21" fmla="*/ 203 h 246"/>
                <a:gd name="T22" fmla="*/ 1573 w 1888"/>
                <a:gd name="T23" fmla="*/ 201 h 246"/>
                <a:gd name="T24" fmla="*/ 1575 w 1888"/>
                <a:gd name="T25" fmla="*/ 204 h 246"/>
                <a:gd name="T26" fmla="*/ 1578 w 1888"/>
                <a:gd name="T27" fmla="*/ 203 h 246"/>
                <a:gd name="T28" fmla="*/ 1577 w 1888"/>
                <a:gd name="T29" fmla="*/ 204 h 246"/>
                <a:gd name="T30" fmla="*/ 1579 w 1888"/>
                <a:gd name="T31" fmla="*/ 203 h 246"/>
                <a:gd name="T32" fmla="*/ 1587 w 1888"/>
                <a:gd name="T33" fmla="*/ 212 h 246"/>
                <a:gd name="T34" fmla="*/ 1588 w 1888"/>
                <a:gd name="T35" fmla="*/ 210 h 246"/>
                <a:gd name="T36" fmla="*/ 1704 w 1888"/>
                <a:gd name="T37" fmla="*/ 93 h 246"/>
                <a:gd name="T38" fmla="*/ 1706 w 1888"/>
                <a:gd name="T39" fmla="*/ 88 h 246"/>
                <a:gd name="T40" fmla="*/ 1704 w 1888"/>
                <a:gd name="T41" fmla="*/ 93 h 246"/>
                <a:gd name="T42" fmla="*/ 1703 w 1888"/>
                <a:gd name="T43" fmla="*/ 94 h 246"/>
                <a:gd name="T44" fmla="*/ 1703 w 1888"/>
                <a:gd name="T45" fmla="*/ 94 h 246"/>
                <a:gd name="T46" fmla="*/ 1700 w 1888"/>
                <a:gd name="T47" fmla="*/ 97 h 246"/>
                <a:gd name="T48" fmla="*/ 1700 w 1888"/>
                <a:gd name="T49" fmla="*/ 95 h 246"/>
                <a:gd name="T50" fmla="*/ 1700 w 1888"/>
                <a:gd name="T51" fmla="*/ 97 h 246"/>
                <a:gd name="T52" fmla="*/ 1687 w 1888"/>
                <a:gd name="T53" fmla="*/ 96 h 246"/>
                <a:gd name="T54" fmla="*/ 1688 w 1888"/>
                <a:gd name="T55" fmla="*/ 92 h 246"/>
                <a:gd name="T56" fmla="*/ 1693 w 1888"/>
                <a:gd name="T57" fmla="*/ 92 h 246"/>
                <a:gd name="T58" fmla="*/ 1690 w 1888"/>
                <a:gd name="T59" fmla="*/ 95 h 246"/>
                <a:gd name="T60" fmla="*/ 1690 w 1888"/>
                <a:gd name="T61" fmla="*/ 97 h 246"/>
                <a:gd name="T62" fmla="*/ 1662 w 1888"/>
                <a:gd name="T63" fmla="*/ 103 h 246"/>
                <a:gd name="T64" fmla="*/ 1664 w 1888"/>
                <a:gd name="T65" fmla="*/ 104 h 246"/>
                <a:gd name="T66" fmla="*/ 1888 w 1888"/>
                <a:gd name="T67" fmla="*/ 0 h 246"/>
                <a:gd name="T68" fmla="*/ 1888 w 1888"/>
                <a:gd name="T69" fmla="*/ 0 h 246"/>
                <a:gd name="T70" fmla="*/ 1888 w 1888"/>
                <a:gd name="T71" fmla="*/ 0 h 246"/>
                <a:gd name="T72" fmla="*/ 3 w 1888"/>
                <a:gd name="T73" fmla="*/ 242 h 246"/>
                <a:gd name="T74" fmla="*/ 5 w 1888"/>
                <a:gd name="T75" fmla="*/ 244 h 246"/>
                <a:gd name="T76" fmla="*/ 0 w 1888"/>
                <a:gd name="T77"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8" h="246">
                  <a:moveTo>
                    <a:pt x="1619" y="198"/>
                  </a:moveTo>
                  <a:lnTo>
                    <a:pt x="1622" y="198"/>
                  </a:lnTo>
                  <a:lnTo>
                    <a:pt x="1619" y="199"/>
                  </a:lnTo>
                  <a:lnTo>
                    <a:pt x="1619" y="198"/>
                  </a:lnTo>
                  <a:lnTo>
                    <a:pt x="1619" y="198"/>
                  </a:lnTo>
                  <a:close/>
                  <a:moveTo>
                    <a:pt x="1575" y="198"/>
                  </a:moveTo>
                  <a:lnTo>
                    <a:pt x="1571" y="199"/>
                  </a:lnTo>
                  <a:lnTo>
                    <a:pt x="1569" y="201"/>
                  </a:lnTo>
                  <a:lnTo>
                    <a:pt x="1565" y="202"/>
                  </a:lnTo>
                  <a:lnTo>
                    <a:pt x="1569" y="199"/>
                  </a:lnTo>
                  <a:lnTo>
                    <a:pt x="1571" y="198"/>
                  </a:lnTo>
                  <a:lnTo>
                    <a:pt x="1575" y="197"/>
                  </a:lnTo>
                  <a:lnTo>
                    <a:pt x="1575" y="198"/>
                  </a:lnTo>
                  <a:lnTo>
                    <a:pt x="1575" y="198"/>
                  </a:lnTo>
                  <a:close/>
                  <a:moveTo>
                    <a:pt x="1553" y="201"/>
                  </a:moveTo>
                  <a:lnTo>
                    <a:pt x="1550" y="203"/>
                  </a:lnTo>
                  <a:lnTo>
                    <a:pt x="1547" y="202"/>
                  </a:lnTo>
                  <a:lnTo>
                    <a:pt x="1550" y="199"/>
                  </a:lnTo>
                  <a:lnTo>
                    <a:pt x="1553" y="201"/>
                  </a:lnTo>
                  <a:lnTo>
                    <a:pt x="1553" y="201"/>
                  </a:lnTo>
                  <a:close/>
                  <a:moveTo>
                    <a:pt x="1573" y="201"/>
                  </a:moveTo>
                  <a:lnTo>
                    <a:pt x="1570" y="203"/>
                  </a:lnTo>
                  <a:lnTo>
                    <a:pt x="1573" y="201"/>
                  </a:lnTo>
                  <a:lnTo>
                    <a:pt x="1573" y="201"/>
                  </a:lnTo>
                  <a:close/>
                  <a:moveTo>
                    <a:pt x="1578" y="203"/>
                  </a:moveTo>
                  <a:lnTo>
                    <a:pt x="1575" y="204"/>
                  </a:lnTo>
                  <a:lnTo>
                    <a:pt x="1578" y="203"/>
                  </a:lnTo>
                  <a:lnTo>
                    <a:pt x="1578" y="203"/>
                  </a:lnTo>
                  <a:close/>
                  <a:moveTo>
                    <a:pt x="1579" y="203"/>
                  </a:moveTo>
                  <a:lnTo>
                    <a:pt x="1577" y="204"/>
                  </a:lnTo>
                  <a:lnTo>
                    <a:pt x="1579" y="203"/>
                  </a:lnTo>
                  <a:lnTo>
                    <a:pt x="1579" y="203"/>
                  </a:lnTo>
                  <a:close/>
                  <a:moveTo>
                    <a:pt x="1588" y="210"/>
                  </a:moveTo>
                  <a:lnTo>
                    <a:pt x="1587" y="212"/>
                  </a:lnTo>
                  <a:lnTo>
                    <a:pt x="1586" y="210"/>
                  </a:lnTo>
                  <a:lnTo>
                    <a:pt x="1588" y="210"/>
                  </a:lnTo>
                  <a:lnTo>
                    <a:pt x="1588" y="210"/>
                  </a:lnTo>
                  <a:close/>
                  <a:moveTo>
                    <a:pt x="1704" y="93"/>
                  </a:moveTo>
                  <a:lnTo>
                    <a:pt x="1704" y="90"/>
                  </a:lnTo>
                  <a:lnTo>
                    <a:pt x="1706" y="88"/>
                  </a:lnTo>
                  <a:lnTo>
                    <a:pt x="1706" y="92"/>
                  </a:lnTo>
                  <a:lnTo>
                    <a:pt x="1704" y="93"/>
                  </a:lnTo>
                  <a:lnTo>
                    <a:pt x="1704" y="93"/>
                  </a:lnTo>
                  <a:close/>
                  <a:moveTo>
                    <a:pt x="1703" y="94"/>
                  </a:moveTo>
                  <a:lnTo>
                    <a:pt x="1701" y="91"/>
                  </a:lnTo>
                  <a:lnTo>
                    <a:pt x="1703" y="94"/>
                  </a:lnTo>
                  <a:lnTo>
                    <a:pt x="1703" y="94"/>
                  </a:lnTo>
                  <a:close/>
                  <a:moveTo>
                    <a:pt x="1700" y="97"/>
                  </a:moveTo>
                  <a:lnTo>
                    <a:pt x="1698" y="94"/>
                  </a:lnTo>
                  <a:lnTo>
                    <a:pt x="1700" y="95"/>
                  </a:lnTo>
                  <a:lnTo>
                    <a:pt x="1700" y="97"/>
                  </a:lnTo>
                  <a:lnTo>
                    <a:pt x="1700" y="97"/>
                  </a:lnTo>
                  <a:close/>
                  <a:moveTo>
                    <a:pt x="1690" y="97"/>
                  </a:moveTo>
                  <a:lnTo>
                    <a:pt x="1687" y="96"/>
                  </a:lnTo>
                  <a:lnTo>
                    <a:pt x="1687" y="94"/>
                  </a:lnTo>
                  <a:lnTo>
                    <a:pt x="1688" y="92"/>
                  </a:lnTo>
                  <a:lnTo>
                    <a:pt x="1691" y="90"/>
                  </a:lnTo>
                  <a:lnTo>
                    <a:pt x="1693" y="92"/>
                  </a:lnTo>
                  <a:lnTo>
                    <a:pt x="1693" y="94"/>
                  </a:lnTo>
                  <a:lnTo>
                    <a:pt x="1690" y="95"/>
                  </a:lnTo>
                  <a:lnTo>
                    <a:pt x="1690" y="97"/>
                  </a:lnTo>
                  <a:lnTo>
                    <a:pt x="1690" y="97"/>
                  </a:lnTo>
                  <a:close/>
                  <a:moveTo>
                    <a:pt x="1664" y="104"/>
                  </a:moveTo>
                  <a:lnTo>
                    <a:pt x="1662" y="103"/>
                  </a:lnTo>
                  <a:lnTo>
                    <a:pt x="1664" y="103"/>
                  </a:lnTo>
                  <a:lnTo>
                    <a:pt x="1664" y="104"/>
                  </a:lnTo>
                  <a:lnTo>
                    <a:pt x="1664" y="104"/>
                  </a:lnTo>
                  <a:close/>
                  <a:moveTo>
                    <a:pt x="1888" y="0"/>
                  </a:moveTo>
                  <a:lnTo>
                    <a:pt x="1885" y="2"/>
                  </a:lnTo>
                  <a:lnTo>
                    <a:pt x="1888" y="0"/>
                  </a:lnTo>
                  <a:lnTo>
                    <a:pt x="1888" y="0"/>
                  </a:lnTo>
                  <a:lnTo>
                    <a:pt x="1888" y="0"/>
                  </a:lnTo>
                  <a:close/>
                  <a:moveTo>
                    <a:pt x="0" y="244"/>
                  </a:moveTo>
                  <a:lnTo>
                    <a:pt x="3" y="242"/>
                  </a:lnTo>
                  <a:lnTo>
                    <a:pt x="6" y="241"/>
                  </a:lnTo>
                  <a:lnTo>
                    <a:pt x="5" y="244"/>
                  </a:lnTo>
                  <a:lnTo>
                    <a:pt x="2" y="246"/>
                  </a:lnTo>
                  <a:lnTo>
                    <a:pt x="0" y="244"/>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 name="Freeform 211">
              <a:extLst>
                <a:ext uri="{FF2B5EF4-FFF2-40B4-BE49-F238E27FC236}">
                  <a16:creationId xmlns:a16="http://schemas.microsoft.com/office/drawing/2014/main" id="{0823EA6E-69D3-4AD5-90CC-291E0409C298}"/>
                </a:ext>
              </a:extLst>
            </p:cNvPr>
            <p:cNvSpPr>
              <a:spLocks noEditPoints="1"/>
            </p:cNvSpPr>
            <p:nvPr/>
          </p:nvSpPr>
          <p:spPr bwMode="auto">
            <a:xfrm>
              <a:off x="4165600" y="2620963"/>
              <a:ext cx="331787" cy="258763"/>
            </a:xfrm>
            <a:custGeom>
              <a:avLst/>
              <a:gdLst>
                <a:gd name="T0" fmla="*/ 8 w 209"/>
                <a:gd name="T1" fmla="*/ 139 h 163"/>
                <a:gd name="T2" fmla="*/ 3 w 209"/>
                <a:gd name="T3" fmla="*/ 138 h 163"/>
                <a:gd name="T4" fmla="*/ 3 w 209"/>
                <a:gd name="T5" fmla="*/ 141 h 163"/>
                <a:gd name="T6" fmla="*/ 7 w 209"/>
                <a:gd name="T7" fmla="*/ 144 h 163"/>
                <a:gd name="T8" fmla="*/ 11 w 209"/>
                <a:gd name="T9" fmla="*/ 143 h 163"/>
                <a:gd name="T10" fmla="*/ 33 w 209"/>
                <a:gd name="T11" fmla="*/ 33 h 163"/>
                <a:gd name="T12" fmla="*/ 29 w 209"/>
                <a:gd name="T13" fmla="*/ 29 h 163"/>
                <a:gd name="T14" fmla="*/ 31 w 209"/>
                <a:gd name="T15" fmla="*/ 24 h 163"/>
                <a:gd name="T16" fmla="*/ 34 w 209"/>
                <a:gd name="T17" fmla="*/ 27 h 163"/>
                <a:gd name="T18" fmla="*/ 37 w 209"/>
                <a:gd name="T19" fmla="*/ 33 h 163"/>
                <a:gd name="T20" fmla="*/ 33 w 209"/>
                <a:gd name="T21" fmla="*/ 33 h 163"/>
                <a:gd name="T22" fmla="*/ 97 w 209"/>
                <a:gd name="T23" fmla="*/ 159 h 163"/>
                <a:gd name="T24" fmla="*/ 97 w 209"/>
                <a:gd name="T25" fmla="*/ 163 h 163"/>
                <a:gd name="T26" fmla="*/ 91 w 209"/>
                <a:gd name="T27" fmla="*/ 161 h 163"/>
                <a:gd name="T28" fmla="*/ 88 w 209"/>
                <a:gd name="T29" fmla="*/ 158 h 163"/>
                <a:gd name="T30" fmla="*/ 93 w 209"/>
                <a:gd name="T31" fmla="*/ 156 h 163"/>
                <a:gd name="T32" fmla="*/ 94 w 209"/>
                <a:gd name="T33" fmla="*/ 158 h 163"/>
                <a:gd name="T34" fmla="*/ 49 w 209"/>
                <a:gd name="T35" fmla="*/ 40 h 163"/>
                <a:gd name="T36" fmla="*/ 43 w 209"/>
                <a:gd name="T37" fmla="*/ 39 h 163"/>
                <a:gd name="T38" fmla="*/ 40 w 209"/>
                <a:gd name="T39" fmla="*/ 39 h 163"/>
                <a:gd name="T40" fmla="*/ 37 w 209"/>
                <a:gd name="T41" fmla="*/ 42 h 163"/>
                <a:gd name="T42" fmla="*/ 41 w 209"/>
                <a:gd name="T43" fmla="*/ 46 h 163"/>
                <a:gd name="T44" fmla="*/ 47 w 209"/>
                <a:gd name="T45" fmla="*/ 46 h 163"/>
                <a:gd name="T46" fmla="*/ 52 w 209"/>
                <a:gd name="T47" fmla="*/ 46 h 163"/>
                <a:gd name="T48" fmla="*/ 56 w 209"/>
                <a:gd name="T49" fmla="*/ 43 h 163"/>
                <a:gd name="T50" fmla="*/ 52 w 209"/>
                <a:gd name="T51" fmla="*/ 41 h 163"/>
                <a:gd name="T52" fmla="*/ 132 w 209"/>
                <a:gd name="T53" fmla="*/ 0 h 163"/>
                <a:gd name="T54" fmla="*/ 128 w 209"/>
                <a:gd name="T55" fmla="*/ 4 h 163"/>
                <a:gd name="T56" fmla="*/ 128 w 209"/>
                <a:gd name="T57" fmla="*/ 0 h 163"/>
                <a:gd name="T58" fmla="*/ 132 w 209"/>
                <a:gd name="T59" fmla="*/ 0 h 163"/>
                <a:gd name="T60" fmla="*/ 124 w 209"/>
                <a:gd name="T61" fmla="*/ 22 h 163"/>
                <a:gd name="T62" fmla="*/ 132 w 209"/>
                <a:gd name="T63" fmla="*/ 23 h 163"/>
                <a:gd name="T64" fmla="*/ 126 w 209"/>
                <a:gd name="T65" fmla="*/ 23 h 163"/>
                <a:gd name="T66" fmla="*/ 124 w 209"/>
                <a:gd name="T67" fmla="*/ 22 h 163"/>
                <a:gd name="T68" fmla="*/ 185 w 209"/>
                <a:gd name="T69" fmla="*/ 49 h 163"/>
                <a:gd name="T70" fmla="*/ 185 w 209"/>
                <a:gd name="T71" fmla="*/ 52 h 163"/>
                <a:gd name="T72" fmla="*/ 185 w 209"/>
                <a:gd name="T73" fmla="*/ 49 h 163"/>
                <a:gd name="T74" fmla="*/ 192 w 209"/>
                <a:gd name="T75" fmla="*/ 58 h 163"/>
                <a:gd name="T76" fmla="*/ 192 w 209"/>
                <a:gd name="T77" fmla="*/ 56 h 163"/>
                <a:gd name="T78" fmla="*/ 192 w 209"/>
                <a:gd name="T79" fmla="*/ 58 h 163"/>
                <a:gd name="T80" fmla="*/ 202 w 209"/>
                <a:gd name="T81" fmla="*/ 61 h 163"/>
                <a:gd name="T82" fmla="*/ 203 w 209"/>
                <a:gd name="T83" fmla="*/ 62 h 163"/>
                <a:gd name="T84" fmla="*/ 200 w 209"/>
                <a:gd name="T85" fmla="*/ 62 h 163"/>
                <a:gd name="T86" fmla="*/ 208 w 209"/>
                <a:gd name="T87" fmla="*/ 93 h 163"/>
                <a:gd name="T88" fmla="*/ 207 w 209"/>
                <a:gd name="T89" fmla="*/ 94 h 163"/>
                <a:gd name="T90" fmla="*/ 208 w 209"/>
                <a:gd name="T91" fmla="*/ 93 h 163"/>
                <a:gd name="T92" fmla="*/ 166 w 209"/>
                <a:gd name="T93" fmla="*/ 119 h 163"/>
                <a:gd name="T94" fmla="*/ 163 w 209"/>
                <a:gd name="T95" fmla="*/ 117 h 163"/>
                <a:gd name="T96" fmla="*/ 167 w 209"/>
                <a:gd name="T97" fmla="*/ 116 h 163"/>
                <a:gd name="T98" fmla="*/ 179 w 209"/>
                <a:gd name="T99" fmla="*/ 139 h 163"/>
                <a:gd name="T100" fmla="*/ 182 w 209"/>
                <a:gd name="T101" fmla="*/ 145 h 163"/>
                <a:gd name="T102" fmla="*/ 177 w 209"/>
                <a:gd name="T103" fmla="*/ 139 h 163"/>
                <a:gd name="T104" fmla="*/ 179 w 209"/>
                <a:gd name="T105" fmla="*/ 13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163">
                  <a:moveTo>
                    <a:pt x="11" y="143"/>
                  </a:moveTo>
                  <a:lnTo>
                    <a:pt x="8" y="139"/>
                  </a:lnTo>
                  <a:lnTo>
                    <a:pt x="6" y="138"/>
                  </a:lnTo>
                  <a:lnTo>
                    <a:pt x="3" y="138"/>
                  </a:lnTo>
                  <a:lnTo>
                    <a:pt x="0" y="138"/>
                  </a:lnTo>
                  <a:lnTo>
                    <a:pt x="3" y="141"/>
                  </a:lnTo>
                  <a:lnTo>
                    <a:pt x="5" y="143"/>
                  </a:lnTo>
                  <a:lnTo>
                    <a:pt x="7" y="144"/>
                  </a:lnTo>
                  <a:lnTo>
                    <a:pt x="11" y="145"/>
                  </a:lnTo>
                  <a:lnTo>
                    <a:pt x="11" y="143"/>
                  </a:lnTo>
                  <a:lnTo>
                    <a:pt x="11" y="143"/>
                  </a:lnTo>
                  <a:close/>
                  <a:moveTo>
                    <a:pt x="33" y="33"/>
                  </a:moveTo>
                  <a:lnTo>
                    <a:pt x="31" y="31"/>
                  </a:lnTo>
                  <a:lnTo>
                    <a:pt x="29" y="29"/>
                  </a:lnTo>
                  <a:lnTo>
                    <a:pt x="29" y="26"/>
                  </a:lnTo>
                  <a:lnTo>
                    <a:pt x="31" y="24"/>
                  </a:lnTo>
                  <a:lnTo>
                    <a:pt x="33" y="25"/>
                  </a:lnTo>
                  <a:lnTo>
                    <a:pt x="34" y="27"/>
                  </a:lnTo>
                  <a:lnTo>
                    <a:pt x="35" y="30"/>
                  </a:lnTo>
                  <a:lnTo>
                    <a:pt x="37" y="33"/>
                  </a:lnTo>
                  <a:lnTo>
                    <a:pt x="33" y="33"/>
                  </a:lnTo>
                  <a:lnTo>
                    <a:pt x="33" y="33"/>
                  </a:lnTo>
                  <a:close/>
                  <a:moveTo>
                    <a:pt x="94" y="158"/>
                  </a:moveTo>
                  <a:lnTo>
                    <a:pt x="97" y="159"/>
                  </a:lnTo>
                  <a:lnTo>
                    <a:pt x="99" y="161"/>
                  </a:lnTo>
                  <a:lnTo>
                    <a:pt x="97" y="163"/>
                  </a:lnTo>
                  <a:lnTo>
                    <a:pt x="93" y="162"/>
                  </a:lnTo>
                  <a:lnTo>
                    <a:pt x="91" y="161"/>
                  </a:lnTo>
                  <a:lnTo>
                    <a:pt x="90" y="159"/>
                  </a:lnTo>
                  <a:lnTo>
                    <a:pt x="88" y="158"/>
                  </a:lnTo>
                  <a:lnTo>
                    <a:pt x="90" y="156"/>
                  </a:lnTo>
                  <a:lnTo>
                    <a:pt x="93" y="156"/>
                  </a:lnTo>
                  <a:lnTo>
                    <a:pt x="94" y="158"/>
                  </a:lnTo>
                  <a:lnTo>
                    <a:pt x="94" y="158"/>
                  </a:lnTo>
                  <a:close/>
                  <a:moveTo>
                    <a:pt x="52" y="41"/>
                  </a:moveTo>
                  <a:lnTo>
                    <a:pt x="49" y="40"/>
                  </a:lnTo>
                  <a:lnTo>
                    <a:pt x="47" y="40"/>
                  </a:lnTo>
                  <a:lnTo>
                    <a:pt x="43" y="39"/>
                  </a:lnTo>
                  <a:lnTo>
                    <a:pt x="42" y="36"/>
                  </a:lnTo>
                  <a:lnTo>
                    <a:pt x="40" y="39"/>
                  </a:lnTo>
                  <a:lnTo>
                    <a:pt x="38" y="39"/>
                  </a:lnTo>
                  <a:lnTo>
                    <a:pt x="37" y="42"/>
                  </a:lnTo>
                  <a:lnTo>
                    <a:pt x="39" y="44"/>
                  </a:lnTo>
                  <a:lnTo>
                    <a:pt x="41" y="46"/>
                  </a:lnTo>
                  <a:lnTo>
                    <a:pt x="45" y="46"/>
                  </a:lnTo>
                  <a:lnTo>
                    <a:pt x="47" y="46"/>
                  </a:lnTo>
                  <a:lnTo>
                    <a:pt x="50" y="46"/>
                  </a:lnTo>
                  <a:lnTo>
                    <a:pt x="52" y="46"/>
                  </a:lnTo>
                  <a:lnTo>
                    <a:pt x="55" y="47"/>
                  </a:lnTo>
                  <a:lnTo>
                    <a:pt x="56" y="43"/>
                  </a:lnTo>
                  <a:lnTo>
                    <a:pt x="55" y="41"/>
                  </a:lnTo>
                  <a:lnTo>
                    <a:pt x="52" y="41"/>
                  </a:lnTo>
                  <a:lnTo>
                    <a:pt x="52" y="41"/>
                  </a:lnTo>
                  <a:close/>
                  <a:moveTo>
                    <a:pt x="132" y="0"/>
                  </a:moveTo>
                  <a:lnTo>
                    <a:pt x="132" y="2"/>
                  </a:lnTo>
                  <a:lnTo>
                    <a:pt x="128" y="4"/>
                  </a:lnTo>
                  <a:lnTo>
                    <a:pt x="126" y="4"/>
                  </a:lnTo>
                  <a:lnTo>
                    <a:pt x="128" y="0"/>
                  </a:lnTo>
                  <a:lnTo>
                    <a:pt x="132" y="1"/>
                  </a:lnTo>
                  <a:lnTo>
                    <a:pt x="132" y="0"/>
                  </a:lnTo>
                  <a:lnTo>
                    <a:pt x="132" y="0"/>
                  </a:lnTo>
                  <a:close/>
                  <a:moveTo>
                    <a:pt x="124" y="22"/>
                  </a:moveTo>
                  <a:lnTo>
                    <a:pt x="126" y="22"/>
                  </a:lnTo>
                  <a:lnTo>
                    <a:pt x="132" y="23"/>
                  </a:lnTo>
                  <a:lnTo>
                    <a:pt x="129" y="23"/>
                  </a:lnTo>
                  <a:lnTo>
                    <a:pt x="126" y="23"/>
                  </a:lnTo>
                  <a:lnTo>
                    <a:pt x="124" y="22"/>
                  </a:lnTo>
                  <a:lnTo>
                    <a:pt x="124" y="22"/>
                  </a:lnTo>
                  <a:lnTo>
                    <a:pt x="124" y="22"/>
                  </a:lnTo>
                  <a:close/>
                  <a:moveTo>
                    <a:pt x="185" y="49"/>
                  </a:moveTo>
                  <a:lnTo>
                    <a:pt x="187" y="52"/>
                  </a:lnTo>
                  <a:lnTo>
                    <a:pt x="185" y="52"/>
                  </a:lnTo>
                  <a:lnTo>
                    <a:pt x="185" y="50"/>
                  </a:lnTo>
                  <a:lnTo>
                    <a:pt x="185" y="49"/>
                  </a:lnTo>
                  <a:lnTo>
                    <a:pt x="185" y="49"/>
                  </a:lnTo>
                  <a:close/>
                  <a:moveTo>
                    <a:pt x="192" y="58"/>
                  </a:moveTo>
                  <a:lnTo>
                    <a:pt x="190" y="58"/>
                  </a:lnTo>
                  <a:lnTo>
                    <a:pt x="192" y="56"/>
                  </a:lnTo>
                  <a:lnTo>
                    <a:pt x="192" y="58"/>
                  </a:lnTo>
                  <a:lnTo>
                    <a:pt x="192" y="58"/>
                  </a:lnTo>
                  <a:close/>
                  <a:moveTo>
                    <a:pt x="200" y="62"/>
                  </a:moveTo>
                  <a:lnTo>
                    <a:pt x="202" y="61"/>
                  </a:lnTo>
                  <a:lnTo>
                    <a:pt x="204" y="60"/>
                  </a:lnTo>
                  <a:lnTo>
                    <a:pt x="203" y="62"/>
                  </a:lnTo>
                  <a:lnTo>
                    <a:pt x="200" y="64"/>
                  </a:lnTo>
                  <a:lnTo>
                    <a:pt x="200" y="62"/>
                  </a:lnTo>
                  <a:lnTo>
                    <a:pt x="200" y="62"/>
                  </a:lnTo>
                  <a:close/>
                  <a:moveTo>
                    <a:pt x="208" y="93"/>
                  </a:moveTo>
                  <a:lnTo>
                    <a:pt x="209" y="95"/>
                  </a:lnTo>
                  <a:lnTo>
                    <a:pt x="207" y="94"/>
                  </a:lnTo>
                  <a:lnTo>
                    <a:pt x="208" y="93"/>
                  </a:lnTo>
                  <a:lnTo>
                    <a:pt x="208" y="93"/>
                  </a:lnTo>
                  <a:close/>
                  <a:moveTo>
                    <a:pt x="167" y="116"/>
                  </a:moveTo>
                  <a:lnTo>
                    <a:pt x="166" y="119"/>
                  </a:lnTo>
                  <a:lnTo>
                    <a:pt x="163" y="120"/>
                  </a:lnTo>
                  <a:lnTo>
                    <a:pt x="163" y="117"/>
                  </a:lnTo>
                  <a:lnTo>
                    <a:pt x="166" y="116"/>
                  </a:lnTo>
                  <a:lnTo>
                    <a:pt x="167" y="116"/>
                  </a:lnTo>
                  <a:lnTo>
                    <a:pt x="167" y="116"/>
                  </a:lnTo>
                  <a:close/>
                  <a:moveTo>
                    <a:pt x="179" y="139"/>
                  </a:moveTo>
                  <a:lnTo>
                    <a:pt x="180" y="142"/>
                  </a:lnTo>
                  <a:lnTo>
                    <a:pt x="182" y="145"/>
                  </a:lnTo>
                  <a:lnTo>
                    <a:pt x="178" y="143"/>
                  </a:lnTo>
                  <a:lnTo>
                    <a:pt x="177" y="139"/>
                  </a:lnTo>
                  <a:lnTo>
                    <a:pt x="179" y="139"/>
                  </a:lnTo>
                  <a:lnTo>
                    <a:pt x="17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 name="Freeform 212">
              <a:extLst>
                <a:ext uri="{FF2B5EF4-FFF2-40B4-BE49-F238E27FC236}">
                  <a16:creationId xmlns:a16="http://schemas.microsoft.com/office/drawing/2014/main" id="{A2BF80C5-77D7-4B29-ABE7-2EB04025FA39}"/>
                </a:ext>
              </a:extLst>
            </p:cNvPr>
            <p:cNvSpPr>
              <a:spLocks noEditPoints="1"/>
            </p:cNvSpPr>
            <p:nvPr/>
          </p:nvSpPr>
          <p:spPr bwMode="auto">
            <a:xfrm>
              <a:off x="3686175" y="2614613"/>
              <a:ext cx="381000" cy="269875"/>
            </a:xfrm>
            <a:custGeom>
              <a:avLst/>
              <a:gdLst>
                <a:gd name="T0" fmla="*/ 58 w 240"/>
                <a:gd name="T1" fmla="*/ 62 h 170"/>
                <a:gd name="T2" fmla="*/ 120 w 240"/>
                <a:gd name="T3" fmla="*/ 146 h 170"/>
                <a:gd name="T4" fmla="*/ 120 w 240"/>
                <a:gd name="T5" fmla="*/ 146 h 170"/>
                <a:gd name="T6" fmla="*/ 117 w 240"/>
                <a:gd name="T7" fmla="*/ 164 h 170"/>
                <a:gd name="T8" fmla="*/ 101 w 240"/>
                <a:gd name="T9" fmla="*/ 170 h 170"/>
                <a:gd name="T10" fmla="*/ 101 w 240"/>
                <a:gd name="T11" fmla="*/ 170 h 170"/>
                <a:gd name="T12" fmla="*/ 43 w 240"/>
                <a:gd name="T13" fmla="*/ 34 h 170"/>
                <a:gd name="T14" fmla="*/ 51 w 240"/>
                <a:gd name="T15" fmla="*/ 27 h 170"/>
                <a:gd name="T16" fmla="*/ 59 w 240"/>
                <a:gd name="T17" fmla="*/ 25 h 170"/>
                <a:gd name="T18" fmla="*/ 50 w 240"/>
                <a:gd name="T19" fmla="*/ 23 h 170"/>
                <a:gd name="T20" fmla="*/ 47 w 240"/>
                <a:gd name="T21" fmla="*/ 16 h 170"/>
                <a:gd name="T22" fmla="*/ 44 w 240"/>
                <a:gd name="T23" fmla="*/ 13 h 170"/>
                <a:gd name="T24" fmla="*/ 36 w 240"/>
                <a:gd name="T25" fmla="*/ 9 h 170"/>
                <a:gd name="T26" fmla="*/ 28 w 240"/>
                <a:gd name="T27" fmla="*/ 5 h 170"/>
                <a:gd name="T28" fmla="*/ 23 w 240"/>
                <a:gd name="T29" fmla="*/ 0 h 170"/>
                <a:gd name="T30" fmla="*/ 16 w 240"/>
                <a:gd name="T31" fmla="*/ 4 h 170"/>
                <a:gd name="T32" fmla="*/ 17 w 240"/>
                <a:gd name="T33" fmla="*/ 9 h 170"/>
                <a:gd name="T34" fmla="*/ 15 w 240"/>
                <a:gd name="T35" fmla="*/ 12 h 170"/>
                <a:gd name="T36" fmla="*/ 8 w 240"/>
                <a:gd name="T37" fmla="*/ 17 h 170"/>
                <a:gd name="T38" fmla="*/ 0 w 240"/>
                <a:gd name="T39" fmla="*/ 19 h 170"/>
                <a:gd name="T40" fmla="*/ 6 w 240"/>
                <a:gd name="T41" fmla="*/ 25 h 170"/>
                <a:gd name="T42" fmla="*/ 11 w 240"/>
                <a:gd name="T43" fmla="*/ 26 h 170"/>
                <a:gd name="T44" fmla="*/ 17 w 240"/>
                <a:gd name="T45" fmla="*/ 27 h 170"/>
                <a:gd name="T46" fmla="*/ 25 w 240"/>
                <a:gd name="T47" fmla="*/ 30 h 170"/>
                <a:gd name="T48" fmla="*/ 33 w 240"/>
                <a:gd name="T49" fmla="*/ 31 h 170"/>
                <a:gd name="T50" fmla="*/ 41 w 240"/>
                <a:gd name="T51" fmla="*/ 34 h 170"/>
                <a:gd name="T52" fmla="*/ 234 w 240"/>
                <a:gd name="T53" fmla="*/ 1 h 170"/>
                <a:gd name="T54" fmla="*/ 231 w 240"/>
                <a:gd name="T55" fmla="*/ 0 h 170"/>
                <a:gd name="T56" fmla="*/ 219 w 240"/>
                <a:gd name="T57" fmla="*/ 2 h 170"/>
                <a:gd name="T58" fmla="*/ 240 w 240"/>
                <a:gd name="T59" fmla="*/ 37 h 170"/>
                <a:gd name="T60" fmla="*/ 240 w 240"/>
                <a:gd name="T61" fmla="*/ 37 h 170"/>
                <a:gd name="T62" fmla="*/ 179 w 240"/>
                <a:gd name="T63" fmla="*/ 44 h 170"/>
                <a:gd name="T64" fmla="*/ 177 w 240"/>
                <a:gd name="T65" fmla="*/ 51 h 170"/>
                <a:gd name="T66" fmla="*/ 173 w 240"/>
                <a:gd name="T67" fmla="*/ 44 h 170"/>
                <a:gd name="T68" fmla="*/ 177 w 240"/>
                <a:gd name="T69" fmla="*/ 38 h 170"/>
                <a:gd name="T70" fmla="*/ 179 w 240"/>
                <a:gd name="T71" fmla="*/ 40 h 170"/>
                <a:gd name="T72" fmla="*/ 222 w 240"/>
                <a:gd name="T73" fmla="*/ 83 h 170"/>
                <a:gd name="T74" fmla="*/ 226 w 240"/>
                <a:gd name="T75" fmla="*/ 85 h 170"/>
                <a:gd name="T76" fmla="*/ 222 w 240"/>
                <a:gd name="T77" fmla="*/ 94 h 170"/>
                <a:gd name="T78" fmla="*/ 213 w 240"/>
                <a:gd name="T79" fmla="*/ 90 h 170"/>
                <a:gd name="T80" fmla="*/ 219 w 240"/>
                <a:gd name="T81" fmla="*/ 96 h 170"/>
                <a:gd name="T82" fmla="*/ 215 w 240"/>
                <a:gd name="T83" fmla="*/ 98 h 170"/>
                <a:gd name="T84" fmla="*/ 211 w 240"/>
                <a:gd name="T85" fmla="*/ 94 h 170"/>
                <a:gd name="T86" fmla="*/ 206 w 240"/>
                <a:gd name="T87" fmla="*/ 88 h 170"/>
                <a:gd name="T88" fmla="*/ 213 w 240"/>
                <a:gd name="T89" fmla="*/ 9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0" h="170">
                  <a:moveTo>
                    <a:pt x="58" y="62"/>
                  </a:moveTo>
                  <a:lnTo>
                    <a:pt x="54" y="63"/>
                  </a:lnTo>
                  <a:lnTo>
                    <a:pt x="58" y="62"/>
                  </a:lnTo>
                  <a:lnTo>
                    <a:pt x="58" y="62"/>
                  </a:lnTo>
                  <a:lnTo>
                    <a:pt x="58" y="62"/>
                  </a:lnTo>
                  <a:close/>
                  <a:moveTo>
                    <a:pt x="120" y="146"/>
                  </a:moveTo>
                  <a:lnTo>
                    <a:pt x="118" y="146"/>
                  </a:lnTo>
                  <a:lnTo>
                    <a:pt x="120" y="146"/>
                  </a:lnTo>
                  <a:lnTo>
                    <a:pt x="120" y="146"/>
                  </a:lnTo>
                  <a:close/>
                  <a:moveTo>
                    <a:pt x="117" y="164"/>
                  </a:moveTo>
                  <a:lnTo>
                    <a:pt x="113" y="164"/>
                  </a:lnTo>
                  <a:lnTo>
                    <a:pt x="117" y="164"/>
                  </a:lnTo>
                  <a:lnTo>
                    <a:pt x="117" y="164"/>
                  </a:lnTo>
                  <a:lnTo>
                    <a:pt x="117" y="164"/>
                  </a:lnTo>
                  <a:close/>
                  <a:moveTo>
                    <a:pt x="101" y="170"/>
                  </a:moveTo>
                  <a:lnTo>
                    <a:pt x="97" y="170"/>
                  </a:lnTo>
                  <a:lnTo>
                    <a:pt x="101" y="170"/>
                  </a:lnTo>
                  <a:lnTo>
                    <a:pt x="101" y="170"/>
                  </a:lnTo>
                  <a:lnTo>
                    <a:pt x="101" y="170"/>
                  </a:lnTo>
                  <a:close/>
                  <a:moveTo>
                    <a:pt x="41" y="34"/>
                  </a:moveTo>
                  <a:lnTo>
                    <a:pt x="43" y="34"/>
                  </a:lnTo>
                  <a:lnTo>
                    <a:pt x="46" y="31"/>
                  </a:lnTo>
                  <a:lnTo>
                    <a:pt x="49" y="30"/>
                  </a:lnTo>
                  <a:lnTo>
                    <a:pt x="51" y="27"/>
                  </a:lnTo>
                  <a:lnTo>
                    <a:pt x="53" y="27"/>
                  </a:lnTo>
                  <a:lnTo>
                    <a:pt x="57" y="27"/>
                  </a:lnTo>
                  <a:lnTo>
                    <a:pt x="59" y="25"/>
                  </a:lnTo>
                  <a:lnTo>
                    <a:pt x="55" y="23"/>
                  </a:lnTo>
                  <a:lnTo>
                    <a:pt x="53" y="25"/>
                  </a:lnTo>
                  <a:lnTo>
                    <a:pt x="50" y="23"/>
                  </a:lnTo>
                  <a:lnTo>
                    <a:pt x="49" y="21"/>
                  </a:lnTo>
                  <a:lnTo>
                    <a:pt x="49" y="19"/>
                  </a:lnTo>
                  <a:lnTo>
                    <a:pt x="47" y="16"/>
                  </a:lnTo>
                  <a:lnTo>
                    <a:pt x="46" y="19"/>
                  </a:lnTo>
                  <a:lnTo>
                    <a:pt x="45" y="16"/>
                  </a:lnTo>
                  <a:lnTo>
                    <a:pt x="44" y="13"/>
                  </a:lnTo>
                  <a:lnTo>
                    <a:pt x="42" y="11"/>
                  </a:lnTo>
                  <a:lnTo>
                    <a:pt x="38" y="10"/>
                  </a:lnTo>
                  <a:lnTo>
                    <a:pt x="36" y="9"/>
                  </a:lnTo>
                  <a:lnTo>
                    <a:pt x="33" y="6"/>
                  </a:lnTo>
                  <a:lnTo>
                    <a:pt x="30" y="4"/>
                  </a:lnTo>
                  <a:lnTo>
                    <a:pt x="28" y="5"/>
                  </a:lnTo>
                  <a:lnTo>
                    <a:pt x="28" y="3"/>
                  </a:lnTo>
                  <a:lnTo>
                    <a:pt x="26" y="2"/>
                  </a:lnTo>
                  <a:lnTo>
                    <a:pt x="23" y="0"/>
                  </a:lnTo>
                  <a:lnTo>
                    <a:pt x="20" y="0"/>
                  </a:lnTo>
                  <a:lnTo>
                    <a:pt x="17" y="2"/>
                  </a:lnTo>
                  <a:lnTo>
                    <a:pt x="16" y="4"/>
                  </a:lnTo>
                  <a:lnTo>
                    <a:pt x="17" y="8"/>
                  </a:lnTo>
                  <a:lnTo>
                    <a:pt x="20" y="10"/>
                  </a:lnTo>
                  <a:lnTo>
                    <a:pt x="17" y="9"/>
                  </a:lnTo>
                  <a:lnTo>
                    <a:pt x="15" y="6"/>
                  </a:lnTo>
                  <a:lnTo>
                    <a:pt x="15" y="10"/>
                  </a:lnTo>
                  <a:lnTo>
                    <a:pt x="15" y="12"/>
                  </a:lnTo>
                  <a:lnTo>
                    <a:pt x="12" y="13"/>
                  </a:lnTo>
                  <a:lnTo>
                    <a:pt x="10" y="17"/>
                  </a:lnTo>
                  <a:lnTo>
                    <a:pt x="8" y="17"/>
                  </a:lnTo>
                  <a:lnTo>
                    <a:pt x="6" y="18"/>
                  </a:lnTo>
                  <a:lnTo>
                    <a:pt x="2" y="17"/>
                  </a:lnTo>
                  <a:lnTo>
                    <a:pt x="0" y="19"/>
                  </a:lnTo>
                  <a:lnTo>
                    <a:pt x="0" y="21"/>
                  </a:lnTo>
                  <a:lnTo>
                    <a:pt x="3" y="25"/>
                  </a:lnTo>
                  <a:lnTo>
                    <a:pt x="6" y="25"/>
                  </a:lnTo>
                  <a:lnTo>
                    <a:pt x="8" y="22"/>
                  </a:lnTo>
                  <a:lnTo>
                    <a:pt x="9" y="25"/>
                  </a:lnTo>
                  <a:lnTo>
                    <a:pt x="11" y="26"/>
                  </a:lnTo>
                  <a:lnTo>
                    <a:pt x="15" y="27"/>
                  </a:lnTo>
                  <a:lnTo>
                    <a:pt x="16" y="25"/>
                  </a:lnTo>
                  <a:lnTo>
                    <a:pt x="17" y="27"/>
                  </a:lnTo>
                  <a:lnTo>
                    <a:pt x="19" y="29"/>
                  </a:lnTo>
                  <a:lnTo>
                    <a:pt x="23" y="29"/>
                  </a:lnTo>
                  <a:lnTo>
                    <a:pt x="25" y="30"/>
                  </a:lnTo>
                  <a:lnTo>
                    <a:pt x="28" y="33"/>
                  </a:lnTo>
                  <a:lnTo>
                    <a:pt x="30" y="33"/>
                  </a:lnTo>
                  <a:lnTo>
                    <a:pt x="33" y="31"/>
                  </a:lnTo>
                  <a:lnTo>
                    <a:pt x="36" y="33"/>
                  </a:lnTo>
                  <a:lnTo>
                    <a:pt x="38" y="34"/>
                  </a:lnTo>
                  <a:lnTo>
                    <a:pt x="41" y="34"/>
                  </a:lnTo>
                  <a:lnTo>
                    <a:pt x="41" y="34"/>
                  </a:lnTo>
                  <a:close/>
                  <a:moveTo>
                    <a:pt x="231" y="0"/>
                  </a:moveTo>
                  <a:lnTo>
                    <a:pt x="234" y="1"/>
                  </a:lnTo>
                  <a:lnTo>
                    <a:pt x="231" y="1"/>
                  </a:lnTo>
                  <a:lnTo>
                    <a:pt x="231" y="0"/>
                  </a:lnTo>
                  <a:lnTo>
                    <a:pt x="231" y="0"/>
                  </a:lnTo>
                  <a:close/>
                  <a:moveTo>
                    <a:pt x="219" y="2"/>
                  </a:moveTo>
                  <a:lnTo>
                    <a:pt x="215" y="3"/>
                  </a:lnTo>
                  <a:lnTo>
                    <a:pt x="219" y="2"/>
                  </a:lnTo>
                  <a:lnTo>
                    <a:pt x="219" y="2"/>
                  </a:lnTo>
                  <a:lnTo>
                    <a:pt x="219" y="2"/>
                  </a:lnTo>
                  <a:close/>
                  <a:moveTo>
                    <a:pt x="240" y="37"/>
                  </a:moveTo>
                  <a:lnTo>
                    <a:pt x="237" y="37"/>
                  </a:lnTo>
                  <a:lnTo>
                    <a:pt x="239" y="36"/>
                  </a:lnTo>
                  <a:lnTo>
                    <a:pt x="240" y="37"/>
                  </a:lnTo>
                  <a:lnTo>
                    <a:pt x="240" y="37"/>
                  </a:lnTo>
                  <a:close/>
                  <a:moveTo>
                    <a:pt x="179" y="40"/>
                  </a:moveTo>
                  <a:lnTo>
                    <a:pt x="179" y="44"/>
                  </a:lnTo>
                  <a:lnTo>
                    <a:pt x="180" y="46"/>
                  </a:lnTo>
                  <a:lnTo>
                    <a:pt x="179" y="50"/>
                  </a:lnTo>
                  <a:lnTo>
                    <a:pt x="177" y="51"/>
                  </a:lnTo>
                  <a:lnTo>
                    <a:pt x="173" y="50"/>
                  </a:lnTo>
                  <a:lnTo>
                    <a:pt x="172" y="47"/>
                  </a:lnTo>
                  <a:lnTo>
                    <a:pt x="173" y="44"/>
                  </a:lnTo>
                  <a:lnTo>
                    <a:pt x="173" y="42"/>
                  </a:lnTo>
                  <a:lnTo>
                    <a:pt x="174" y="38"/>
                  </a:lnTo>
                  <a:lnTo>
                    <a:pt x="177" y="38"/>
                  </a:lnTo>
                  <a:lnTo>
                    <a:pt x="179" y="40"/>
                  </a:lnTo>
                  <a:lnTo>
                    <a:pt x="179" y="40"/>
                  </a:lnTo>
                  <a:lnTo>
                    <a:pt x="179" y="40"/>
                  </a:lnTo>
                  <a:close/>
                  <a:moveTo>
                    <a:pt x="226" y="85"/>
                  </a:moveTo>
                  <a:lnTo>
                    <a:pt x="224" y="86"/>
                  </a:lnTo>
                  <a:lnTo>
                    <a:pt x="222" y="83"/>
                  </a:lnTo>
                  <a:lnTo>
                    <a:pt x="225" y="85"/>
                  </a:lnTo>
                  <a:lnTo>
                    <a:pt x="226" y="85"/>
                  </a:lnTo>
                  <a:lnTo>
                    <a:pt x="226" y="85"/>
                  </a:lnTo>
                  <a:close/>
                  <a:moveTo>
                    <a:pt x="222" y="95"/>
                  </a:moveTo>
                  <a:lnTo>
                    <a:pt x="219" y="95"/>
                  </a:lnTo>
                  <a:lnTo>
                    <a:pt x="222" y="94"/>
                  </a:lnTo>
                  <a:lnTo>
                    <a:pt x="222" y="95"/>
                  </a:lnTo>
                  <a:lnTo>
                    <a:pt x="222" y="95"/>
                  </a:lnTo>
                  <a:close/>
                  <a:moveTo>
                    <a:pt x="213" y="90"/>
                  </a:moveTo>
                  <a:lnTo>
                    <a:pt x="216" y="93"/>
                  </a:lnTo>
                  <a:lnTo>
                    <a:pt x="215" y="95"/>
                  </a:lnTo>
                  <a:lnTo>
                    <a:pt x="219" y="96"/>
                  </a:lnTo>
                  <a:lnTo>
                    <a:pt x="221" y="97"/>
                  </a:lnTo>
                  <a:lnTo>
                    <a:pt x="219" y="98"/>
                  </a:lnTo>
                  <a:lnTo>
                    <a:pt x="215" y="98"/>
                  </a:lnTo>
                  <a:lnTo>
                    <a:pt x="215" y="96"/>
                  </a:lnTo>
                  <a:lnTo>
                    <a:pt x="213" y="97"/>
                  </a:lnTo>
                  <a:lnTo>
                    <a:pt x="211" y="94"/>
                  </a:lnTo>
                  <a:lnTo>
                    <a:pt x="209" y="91"/>
                  </a:lnTo>
                  <a:lnTo>
                    <a:pt x="207" y="90"/>
                  </a:lnTo>
                  <a:lnTo>
                    <a:pt x="206" y="88"/>
                  </a:lnTo>
                  <a:lnTo>
                    <a:pt x="208" y="88"/>
                  </a:lnTo>
                  <a:lnTo>
                    <a:pt x="212" y="89"/>
                  </a:lnTo>
                  <a:lnTo>
                    <a:pt x="213" y="90"/>
                  </a:lnTo>
                  <a:lnTo>
                    <a:pt x="2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 name="Freeform 213">
              <a:extLst>
                <a:ext uri="{FF2B5EF4-FFF2-40B4-BE49-F238E27FC236}">
                  <a16:creationId xmlns:a16="http://schemas.microsoft.com/office/drawing/2014/main" id="{A2579010-E89C-4064-964A-3989EF74F9F8}"/>
                </a:ext>
              </a:extLst>
            </p:cNvPr>
            <p:cNvSpPr>
              <a:spLocks noEditPoints="1"/>
            </p:cNvSpPr>
            <p:nvPr/>
          </p:nvSpPr>
          <p:spPr bwMode="auto">
            <a:xfrm>
              <a:off x="3308350" y="2622550"/>
              <a:ext cx="468312" cy="306388"/>
            </a:xfrm>
            <a:custGeom>
              <a:avLst/>
              <a:gdLst>
                <a:gd name="T0" fmla="*/ 65 w 295"/>
                <a:gd name="T1" fmla="*/ 175 h 193"/>
                <a:gd name="T2" fmla="*/ 59 w 295"/>
                <a:gd name="T3" fmla="*/ 178 h 193"/>
                <a:gd name="T4" fmla="*/ 59 w 295"/>
                <a:gd name="T5" fmla="*/ 177 h 193"/>
                <a:gd name="T6" fmla="*/ 65 w 295"/>
                <a:gd name="T7" fmla="*/ 174 h 193"/>
                <a:gd name="T8" fmla="*/ 68 w 295"/>
                <a:gd name="T9" fmla="*/ 174 h 193"/>
                <a:gd name="T10" fmla="*/ 60 w 295"/>
                <a:gd name="T11" fmla="*/ 178 h 193"/>
                <a:gd name="T12" fmla="*/ 60 w 295"/>
                <a:gd name="T13" fmla="*/ 178 h 193"/>
                <a:gd name="T14" fmla="*/ 63 w 295"/>
                <a:gd name="T15" fmla="*/ 177 h 193"/>
                <a:gd name="T16" fmla="*/ 59 w 295"/>
                <a:gd name="T17" fmla="*/ 182 h 193"/>
                <a:gd name="T18" fmla="*/ 63 w 295"/>
                <a:gd name="T19" fmla="*/ 178 h 193"/>
                <a:gd name="T20" fmla="*/ 63 w 295"/>
                <a:gd name="T21" fmla="*/ 177 h 193"/>
                <a:gd name="T22" fmla="*/ 6 w 295"/>
                <a:gd name="T23" fmla="*/ 192 h 193"/>
                <a:gd name="T24" fmla="*/ 0 w 295"/>
                <a:gd name="T25" fmla="*/ 192 h 193"/>
                <a:gd name="T26" fmla="*/ 3 w 295"/>
                <a:gd name="T27" fmla="*/ 191 h 193"/>
                <a:gd name="T28" fmla="*/ 227 w 295"/>
                <a:gd name="T29" fmla="*/ 16 h 193"/>
                <a:gd name="T30" fmla="*/ 228 w 295"/>
                <a:gd name="T31" fmla="*/ 21 h 193"/>
                <a:gd name="T32" fmla="*/ 223 w 295"/>
                <a:gd name="T33" fmla="*/ 22 h 193"/>
                <a:gd name="T34" fmla="*/ 225 w 295"/>
                <a:gd name="T35" fmla="*/ 15 h 193"/>
                <a:gd name="T36" fmla="*/ 227 w 295"/>
                <a:gd name="T37" fmla="*/ 16 h 193"/>
                <a:gd name="T38" fmla="*/ 208 w 295"/>
                <a:gd name="T39" fmla="*/ 24 h 193"/>
                <a:gd name="T40" fmla="*/ 203 w 295"/>
                <a:gd name="T41" fmla="*/ 25 h 193"/>
                <a:gd name="T42" fmla="*/ 203 w 295"/>
                <a:gd name="T43" fmla="*/ 22 h 193"/>
                <a:gd name="T44" fmla="*/ 208 w 295"/>
                <a:gd name="T45" fmla="*/ 22 h 193"/>
                <a:gd name="T46" fmla="*/ 168 w 295"/>
                <a:gd name="T47" fmla="*/ 26 h 193"/>
                <a:gd name="T48" fmla="*/ 169 w 295"/>
                <a:gd name="T49" fmla="*/ 30 h 193"/>
                <a:gd name="T50" fmla="*/ 164 w 295"/>
                <a:gd name="T51" fmla="*/ 29 h 193"/>
                <a:gd name="T52" fmla="*/ 168 w 295"/>
                <a:gd name="T53" fmla="*/ 26 h 193"/>
                <a:gd name="T54" fmla="*/ 293 w 295"/>
                <a:gd name="T55" fmla="*/ 3 h 193"/>
                <a:gd name="T56" fmla="*/ 293 w 295"/>
                <a:gd name="T57" fmla="*/ 7 h 193"/>
                <a:gd name="T58" fmla="*/ 290 w 295"/>
                <a:gd name="T59" fmla="*/ 6 h 193"/>
                <a:gd name="T60" fmla="*/ 289 w 295"/>
                <a:gd name="T61" fmla="*/ 5 h 193"/>
                <a:gd name="T62" fmla="*/ 287 w 295"/>
                <a:gd name="T63" fmla="*/ 3 h 193"/>
                <a:gd name="T64" fmla="*/ 292 w 295"/>
                <a:gd name="T65" fmla="*/ 3 h 193"/>
                <a:gd name="T66" fmla="*/ 293 w 295"/>
                <a:gd name="T67" fmla="*/ 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193">
                  <a:moveTo>
                    <a:pt x="68" y="174"/>
                  </a:moveTo>
                  <a:lnTo>
                    <a:pt x="65" y="175"/>
                  </a:lnTo>
                  <a:lnTo>
                    <a:pt x="62" y="177"/>
                  </a:lnTo>
                  <a:lnTo>
                    <a:pt x="59" y="178"/>
                  </a:lnTo>
                  <a:lnTo>
                    <a:pt x="57" y="178"/>
                  </a:lnTo>
                  <a:lnTo>
                    <a:pt x="59" y="177"/>
                  </a:lnTo>
                  <a:lnTo>
                    <a:pt x="62" y="175"/>
                  </a:lnTo>
                  <a:lnTo>
                    <a:pt x="65" y="174"/>
                  </a:lnTo>
                  <a:lnTo>
                    <a:pt x="68" y="174"/>
                  </a:lnTo>
                  <a:lnTo>
                    <a:pt x="68" y="174"/>
                  </a:lnTo>
                  <a:lnTo>
                    <a:pt x="68" y="174"/>
                  </a:lnTo>
                  <a:close/>
                  <a:moveTo>
                    <a:pt x="60" y="178"/>
                  </a:moveTo>
                  <a:lnTo>
                    <a:pt x="58" y="180"/>
                  </a:lnTo>
                  <a:lnTo>
                    <a:pt x="60" y="178"/>
                  </a:lnTo>
                  <a:lnTo>
                    <a:pt x="60" y="178"/>
                  </a:lnTo>
                  <a:close/>
                  <a:moveTo>
                    <a:pt x="63" y="177"/>
                  </a:moveTo>
                  <a:lnTo>
                    <a:pt x="62" y="180"/>
                  </a:lnTo>
                  <a:lnTo>
                    <a:pt x="59" y="182"/>
                  </a:lnTo>
                  <a:lnTo>
                    <a:pt x="60" y="179"/>
                  </a:lnTo>
                  <a:lnTo>
                    <a:pt x="63" y="178"/>
                  </a:lnTo>
                  <a:lnTo>
                    <a:pt x="63" y="177"/>
                  </a:lnTo>
                  <a:lnTo>
                    <a:pt x="63" y="177"/>
                  </a:lnTo>
                  <a:close/>
                  <a:moveTo>
                    <a:pt x="3" y="191"/>
                  </a:moveTo>
                  <a:lnTo>
                    <a:pt x="6" y="192"/>
                  </a:lnTo>
                  <a:lnTo>
                    <a:pt x="3" y="193"/>
                  </a:lnTo>
                  <a:lnTo>
                    <a:pt x="0" y="192"/>
                  </a:lnTo>
                  <a:lnTo>
                    <a:pt x="3" y="191"/>
                  </a:lnTo>
                  <a:lnTo>
                    <a:pt x="3" y="191"/>
                  </a:lnTo>
                  <a:lnTo>
                    <a:pt x="3" y="191"/>
                  </a:lnTo>
                  <a:close/>
                  <a:moveTo>
                    <a:pt x="227" y="16"/>
                  </a:moveTo>
                  <a:lnTo>
                    <a:pt x="229" y="18"/>
                  </a:lnTo>
                  <a:lnTo>
                    <a:pt x="228" y="21"/>
                  </a:lnTo>
                  <a:lnTo>
                    <a:pt x="225" y="23"/>
                  </a:lnTo>
                  <a:lnTo>
                    <a:pt x="223" y="22"/>
                  </a:lnTo>
                  <a:lnTo>
                    <a:pt x="223" y="16"/>
                  </a:lnTo>
                  <a:lnTo>
                    <a:pt x="225" y="15"/>
                  </a:lnTo>
                  <a:lnTo>
                    <a:pt x="227" y="16"/>
                  </a:lnTo>
                  <a:lnTo>
                    <a:pt x="227" y="16"/>
                  </a:lnTo>
                  <a:close/>
                  <a:moveTo>
                    <a:pt x="208" y="22"/>
                  </a:moveTo>
                  <a:lnTo>
                    <a:pt x="208" y="24"/>
                  </a:lnTo>
                  <a:lnTo>
                    <a:pt x="205" y="26"/>
                  </a:lnTo>
                  <a:lnTo>
                    <a:pt x="203" y="25"/>
                  </a:lnTo>
                  <a:lnTo>
                    <a:pt x="199" y="24"/>
                  </a:lnTo>
                  <a:lnTo>
                    <a:pt x="203" y="22"/>
                  </a:lnTo>
                  <a:lnTo>
                    <a:pt x="205" y="21"/>
                  </a:lnTo>
                  <a:lnTo>
                    <a:pt x="208" y="22"/>
                  </a:lnTo>
                  <a:lnTo>
                    <a:pt x="208" y="22"/>
                  </a:lnTo>
                  <a:close/>
                  <a:moveTo>
                    <a:pt x="168" y="26"/>
                  </a:moveTo>
                  <a:lnTo>
                    <a:pt x="170" y="28"/>
                  </a:lnTo>
                  <a:lnTo>
                    <a:pt x="169" y="30"/>
                  </a:lnTo>
                  <a:lnTo>
                    <a:pt x="167" y="30"/>
                  </a:lnTo>
                  <a:lnTo>
                    <a:pt x="164" y="29"/>
                  </a:lnTo>
                  <a:lnTo>
                    <a:pt x="163" y="26"/>
                  </a:lnTo>
                  <a:lnTo>
                    <a:pt x="168" y="26"/>
                  </a:lnTo>
                  <a:lnTo>
                    <a:pt x="168" y="26"/>
                  </a:lnTo>
                  <a:close/>
                  <a:moveTo>
                    <a:pt x="293" y="3"/>
                  </a:moveTo>
                  <a:lnTo>
                    <a:pt x="295" y="5"/>
                  </a:lnTo>
                  <a:lnTo>
                    <a:pt x="293" y="7"/>
                  </a:lnTo>
                  <a:lnTo>
                    <a:pt x="290" y="8"/>
                  </a:lnTo>
                  <a:lnTo>
                    <a:pt x="290" y="6"/>
                  </a:lnTo>
                  <a:lnTo>
                    <a:pt x="290" y="3"/>
                  </a:lnTo>
                  <a:lnTo>
                    <a:pt x="289" y="5"/>
                  </a:lnTo>
                  <a:lnTo>
                    <a:pt x="285" y="5"/>
                  </a:lnTo>
                  <a:lnTo>
                    <a:pt x="287" y="3"/>
                  </a:lnTo>
                  <a:lnTo>
                    <a:pt x="290" y="0"/>
                  </a:lnTo>
                  <a:lnTo>
                    <a:pt x="292" y="3"/>
                  </a:lnTo>
                  <a:lnTo>
                    <a:pt x="293" y="3"/>
                  </a:lnTo>
                  <a:lnTo>
                    <a:pt x="29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 name="Freeform 214">
              <a:extLst>
                <a:ext uri="{FF2B5EF4-FFF2-40B4-BE49-F238E27FC236}">
                  <a16:creationId xmlns:a16="http://schemas.microsoft.com/office/drawing/2014/main" id="{458904B7-FB9B-487B-A761-A7031ADCE582}"/>
                </a:ext>
              </a:extLst>
            </p:cNvPr>
            <p:cNvSpPr>
              <a:spLocks noEditPoints="1"/>
            </p:cNvSpPr>
            <p:nvPr/>
          </p:nvSpPr>
          <p:spPr bwMode="auto">
            <a:xfrm>
              <a:off x="5246688" y="2574925"/>
              <a:ext cx="36512" cy="15875"/>
            </a:xfrm>
            <a:custGeom>
              <a:avLst/>
              <a:gdLst>
                <a:gd name="T0" fmla="*/ 6 w 23"/>
                <a:gd name="T1" fmla="*/ 0 h 10"/>
                <a:gd name="T2" fmla="*/ 4 w 23"/>
                <a:gd name="T3" fmla="*/ 2 h 10"/>
                <a:gd name="T4" fmla="*/ 0 w 23"/>
                <a:gd name="T5" fmla="*/ 3 h 10"/>
                <a:gd name="T6" fmla="*/ 0 w 23"/>
                <a:gd name="T7" fmla="*/ 1 h 10"/>
                <a:gd name="T8" fmla="*/ 2 w 23"/>
                <a:gd name="T9" fmla="*/ 0 h 10"/>
                <a:gd name="T10" fmla="*/ 5 w 23"/>
                <a:gd name="T11" fmla="*/ 0 h 10"/>
                <a:gd name="T12" fmla="*/ 6 w 23"/>
                <a:gd name="T13" fmla="*/ 0 h 10"/>
                <a:gd name="T14" fmla="*/ 6 w 23"/>
                <a:gd name="T15" fmla="*/ 0 h 10"/>
                <a:gd name="T16" fmla="*/ 23 w 23"/>
                <a:gd name="T17" fmla="*/ 9 h 10"/>
                <a:gd name="T18" fmla="*/ 19 w 23"/>
                <a:gd name="T19" fmla="*/ 10 h 10"/>
                <a:gd name="T20" fmla="*/ 22 w 23"/>
                <a:gd name="T21" fmla="*/ 9 h 10"/>
                <a:gd name="T22" fmla="*/ 23 w 23"/>
                <a:gd name="T23" fmla="*/ 9 h 10"/>
                <a:gd name="T24" fmla="*/ 23 w 23"/>
                <a:gd name="T2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0">
                  <a:moveTo>
                    <a:pt x="6" y="0"/>
                  </a:moveTo>
                  <a:lnTo>
                    <a:pt x="4" y="2"/>
                  </a:lnTo>
                  <a:lnTo>
                    <a:pt x="0" y="3"/>
                  </a:lnTo>
                  <a:lnTo>
                    <a:pt x="0" y="1"/>
                  </a:lnTo>
                  <a:lnTo>
                    <a:pt x="2" y="0"/>
                  </a:lnTo>
                  <a:lnTo>
                    <a:pt x="5" y="0"/>
                  </a:lnTo>
                  <a:lnTo>
                    <a:pt x="6" y="0"/>
                  </a:lnTo>
                  <a:lnTo>
                    <a:pt x="6" y="0"/>
                  </a:lnTo>
                  <a:close/>
                  <a:moveTo>
                    <a:pt x="23" y="9"/>
                  </a:moveTo>
                  <a:lnTo>
                    <a:pt x="19" y="10"/>
                  </a:lnTo>
                  <a:lnTo>
                    <a:pt x="22" y="9"/>
                  </a:lnTo>
                  <a:lnTo>
                    <a:pt x="23" y="9"/>
                  </a:lnTo>
                  <a:lnTo>
                    <a:pt x="2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 name="Freeform 215">
              <a:extLst>
                <a:ext uri="{FF2B5EF4-FFF2-40B4-BE49-F238E27FC236}">
                  <a16:creationId xmlns:a16="http://schemas.microsoft.com/office/drawing/2014/main" id="{1DCD93EB-88A5-4C54-B6AD-55B91DFCD12B}"/>
                </a:ext>
              </a:extLst>
            </p:cNvPr>
            <p:cNvSpPr>
              <a:spLocks/>
            </p:cNvSpPr>
            <p:nvPr/>
          </p:nvSpPr>
          <p:spPr bwMode="auto">
            <a:xfrm>
              <a:off x="3892550" y="2454275"/>
              <a:ext cx="623887" cy="447675"/>
            </a:xfrm>
            <a:custGeom>
              <a:avLst/>
              <a:gdLst>
                <a:gd name="T0" fmla="*/ 17 w 393"/>
                <a:gd name="T1" fmla="*/ 72 h 282"/>
                <a:gd name="T2" fmla="*/ 43 w 393"/>
                <a:gd name="T3" fmla="*/ 88 h 282"/>
                <a:gd name="T4" fmla="*/ 79 w 393"/>
                <a:gd name="T5" fmla="*/ 98 h 282"/>
                <a:gd name="T6" fmla="*/ 108 w 393"/>
                <a:gd name="T7" fmla="*/ 95 h 282"/>
                <a:gd name="T8" fmla="*/ 139 w 393"/>
                <a:gd name="T9" fmla="*/ 100 h 282"/>
                <a:gd name="T10" fmla="*/ 159 w 393"/>
                <a:gd name="T11" fmla="*/ 89 h 282"/>
                <a:gd name="T12" fmla="*/ 185 w 393"/>
                <a:gd name="T13" fmla="*/ 110 h 282"/>
                <a:gd name="T14" fmla="*/ 207 w 393"/>
                <a:gd name="T15" fmla="*/ 120 h 282"/>
                <a:gd name="T16" fmla="*/ 234 w 393"/>
                <a:gd name="T17" fmla="*/ 144 h 282"/>
                <a:gd name="T18" fmla="*/ 258 w 393"/>
                <a:gd name="T19" fmla="*/ 169 h 282"/>
                <a:gd name="T20" fmla="*/ 265 w 393"/>
                <a:gd name="T21" fmla="*/ 184 h 282"/>
                <a:gd name="T22" fmla="*/ 227 w 393"/>
                <a:gd name="T23" fmla="*/ 180 h 282"/>
                <a:gd name="T24" fmla="*/ 195 w 393"/>
                <a:gd name="T25" fmla="*/ 209 h 282"/>
                <a:gd name="T26" fmla="*/ 168 w 393"/>
                <a:gd name="T27" fmla="*/ 212 h 282"/>
                <a:gd name="T28" fmla="*/ 203 w 393"/>
                <a:gd name="T29" fmla="*/ 226 h 282"/>
                <a:gd name="T30" fmla="*/ 229 w 393"/>
                <a:gd name="T31" fmla="*/ 224 h 282"/>
                <a:gd name="T32" fmla="*/ 249 w 393"/>
                <a:gd name="T33" fmla="*/ 252 h 282"/>
                <a:gd name="T34" fmla="*/ 301 w 393"/>
                <a:gd name="T35" fmla="*/ 275 h 282"/>
                <a:gd name="T36" fmla="*/ 312 w 393"/>
                <a:gd name="T37" fmla="*/ 261 h 282"/>
                <a:gd name="T38" fmla="*/ 306 w 393"/>
                <a:gd name="T39" fmla="*/ 246 h 282"/>
                <a:gd name="T40" fmla="*/ 340 w 393"/>
                <a:gd name="T41" fmla="*/ 267 h 282"/>
                <a:gd name="T42" fmla="*/ 349 w 393"/>
                <a:gd name="T43" fmla="*/ 249 h 282"/>
                <a:gd name="T44" fmla="*/ 331 w 393"/>
                <a:gd name="T45" fmla="*/ 220 h 282"/>
                <a:gd name="T46" fmla="*/ 303 w 393"/>
                <a:gd name="T47" fmla="*/ 201 h 282"/>
                <a:gd name="T48" fmla="*/ 305 w 393"/>
                <a:gd name="T49" fmla="*/ 184 h 282"/>
                <a:gd name="T50" fmla="*/ 329 w 393"/>
                <a:gd name="T51" fmla="*/ 189 h 282"/>
                <a:gd name="T52" fmla="*/ 339 w 393"/>
                <a:gd name="T53" fmla="*/ 194 h 282"/>
                <a:gd name="T54" fmla="*/ 350 w 393"/>
                <a:gd name="T55" fmla="*/ 208 h 282"/>
                <a:gd name="T56" fmla="*/ 369 w 393"/>
                <a:gd name="T57" fmla="*/ 200 h 282"/>
                <a:gd name="T58" fmla="*/ 379 w 393"/>
                <a:gd name="T59" fmla="*/ 186 h 282"/>
                <a:gd name="T60" fmla="*/ 386 w 393"/>
                <a:gd name="T61" fmla="*/ 172 h 282"/>
                <a:gd name="T62" fmla="*/ 363 w 393"/>
                <a:gd name="T63" fmla="*/ 171 h 282"/>
                <a:gd name="T64" fmla="*/ 350 w 393"/>
                <a:gd name="T65" fmla="*/ 164 h 282"/>
                <a:gd name="T66" fmla="*/ 342 w 393"/>
                <a:gd name="T67" fmla="*/ 152 h 282"/>
                <a:gd name="T68" fmla="*/ 320 w 393"/>
                <a:gd name="T69" fmla="*/ 148 h 282"/>
                <a:gd name="T70" fmla="*/ 312 w 393"/>
                <a:gd name="T71" fmla="*/ 136 h 282"/>
                <a:gd name="T72" fmla="*/ 297 w 393"/>
                <a:gd name="T73" fmla="*/ 129 h 282"/>
                <a:gd name="T74" fmla="*/ 300 w 393"/>
                <a:gd name="T75" fmla="*/ 119 h 282"/>
                <a:gd name="T76" fmla="*/ 291 w 393"/>
                <a:gd name="T77" fmla="*/ 114 h 282"/>
                <a:gd name="T78" fmla="*/ 289 w 393"/>
                <a:gd name="T79" fmla="*/ 109 h 282"/>
                <a:gd name="T80" fmla="*/ 312 w 393"/>
                <a:gd name="T81" fmla="*/ 100 h 282"/>
                <a:gd name="T82" fmla="*/ 284 w 393"/>
                <a:gd name="T83" fmla="*/ 100 h 282"/>
                <a:gd name="T84" fmla="*/ 282 w 393"/>
                <a:gd name="T85" fmla="*/ 92 h 282"/>
                <a:gd name="T86" fmla="*/ 274 w 393"/>
                <a:gd name="T87" fmla="*/ 77 h 282"/>
                <a:gd name="T88" fmla="*/ 253 w 393"/>
                <a:gd name="T89" fmla="*/ 84 h 282"/>
                <a:gd name="T90" fmla="*/ 238 w 393"/>
                <a:gd name="T91" fmla="*/ 78 h 282"/>
                <a:gd name="T92" fmla="*/ 228 w 393"/>
                <a:gd name="T93" fmla="*/ 73 h 282"/>
                <a:gd name="T94" fmla="*/ 220 w 393"/>
                <a:gd name="T95" fmla="*/ 59 h 282"/>
                <a:gd name="T96" fmla="*/ 205 w 393"/>
                <a:gd name="T97" fmla="*/ 57 h 282"/>
                <a:gd name="T98" fmla="*/ 201 w 393"/>
                <a:gd name="T99" fmla="*/ 45 h 282"/>
                <a:gd name="T100" fmla="*/ 184 w 393"/>
                <a:gd name="T101" fmla="*/ 32 h 282"/>
                <a:gd name="T102" fmla="*/ 166 w 393"/>
                <a:gd name="T103" fmla="*/ 41 h 282"/>
                <a:gd name="T104" fmla="*/ 156 w 393"/>
                <a:gd name="T105" fmla="*/ 44 h 282"/>
                <a:gd name="T106" fmla="*/ 137 w 393"/>
                <a:gd name="T107" fmla="*/ 43 h 282"/>
                <a:gd name="T108" fmla="*/ 127 w 393"/>
                <a:gd name="T109" fmla="*/ 34 h 282"/>
                <a:gd name="T110" fmla="*/ 95 w 393"/>
                <a:gd name="T111" fmla="*/ 4 h 282"/>
                <a:gd name="T112" fmla="*/ 83 w 393"/>
                <a:gd name="T113" fmla="*/ 20 h 282"/>
                <a:gd name="T114" fmla="*/ 67 w 393"/>
                <a:gd name="T115" fmla="*/ 24 h 282"/>
                <a:gd name="T116" fmla="*/ 69 w 393"/>
                <a:gd name="T117" fmla="*/ 42 h 282"/>
                <a:gd name="T118" fmla="*/ 69 w 393"/>
                <a:gd name="T119" fmla="*/ 72 h 282"/>
                <a:gd name="T120" fmla="*/ 64 w 393"/>
                <a:gd name="T121" fmla="*/ 61 h 282"/>
                <a:gd name="T122" fmla="*/ 70 w 393"/>
                <a:gd name="T123" fmla="*/ 2 h 282"/>
                <a:gd name="T124" fmla="*/ 9 w 393"/>
                <a:gd name="T125" fmla="*/ 2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3" h="282">
                  <a:moveTo>
                    <a:pt x="0" y="61"/>
                  </a:moveTo>
                  <a:lnTo>
                    <a:pt x="1" y="64"/>
                  </a:lnTo>
                  <a:lnTo>
                    <a:pt x="5" y="66"/>
                  </a:lnTo>
                  <a:lnTo>
                    <a:pt x="7" y="66"/>
                  </a:lnTo>
                  <a:lnTo>
                    <a:pt x="10" y="66"/>
                  </a:lnTo>
                  <a:lnTo>
                    <a:pt x="18" y="67"/>
                  </a:lnTo>
                  <a:lnTo>
                    <a:pt x="21" y="67"/>
                  </a:lnTo>
                  <a:lnTo>
                    <a:pt x="24" y="67"/>
                  </a:lnTo>
                  <a:lnTo>
                    <a:pt x="26" y="68"/>
                  </a:lnTo>
                  <a:lnTo>
                    <a:pt x="30" y="67"/>
                  </a:lnTo>
                  <a:lnTo>
                    <a:pt x="31" y="69"/>
                  </a:lnTo>
                  <a:lnTo>
                    <a:pt x="33" y="70"/>
                  </a:lnTo>
                  <a:lnTo>
                    <a:pt x="36" y="72"/>
                  </a:lnTo>
                  <a:lnTo>
                    <a:pt x="39" y="72"/>
                  </a:lnTo>
                  <a:lnTo>
                    <a:pt x="36" y="75"/>
                  </a:lnTo>
                  <a:lnTo>
                    <a:pt x="33" y="75"/>
                  </a:lnTo>
                  <a:lnTo>
                    <a:pt x="31" y="73"/>
                  </a:lnTo>
                  <a:lnTo>
                    <a:pt x="27" y="75"/>
                  </a:lnTo>
                  <a:lnTo>
                    <a:pt x="25" y="75"/>
                  </a:lnTo>
                  <a:lnTo>
                    <a:pt x="22" y="72"/>
                  </a:lnTo>
                  <a:lnTo>
                    <a:pt x="19" y="72"/>
                  </a:lnTo>
                  <a:lnTo>
                    <a:pt x="17" y="72"/>
                  </a:lnTo>
                  <a:lnTo>
                    <a:pt x="14" y="72"/>
                  </a:lnTo>
                  <a:lnTo>
                    <a:pt x="11" y="72"/>
                  </a:lnTo>
                  <a:lnTo>
                    <a:pt x="8" y="71"/>
                  </a:lnTo>
                  <a:lnTo>
                    <a:pt x="10" y="73"/>
                  </a:lnTo>
                  <a:lnTo>
                    <a:pt x="8" y="75"/>
                  </a:lnTo>
                  <a:lnTo>
                    <a:pt x="9" y="78"/>
                  </a:lnTo>
                  <a:lnTo>
                    <a:pt x="11" y="80"/>
                  </a:lnTo>
                  <a:lnTo>
                    <a:pt x="14" y="83"/>
                  </a:lnTo>
                  <a:lnTo>
                    <a:pt x="16" y="85"/>
                  </a:lnTo>
                  <a:lnTo>
                    <a:pt x="18" y="87"/>
                  </a:lnTo>
                  <a:lnTo>
                    <a:pt x="22" y="87"/>
                  </a:lnTo>
                  <a:lnTo>
                    <a:pt x="24" y="87"/>
                  </a:lnTo>
                  <a:lnTo>
                    <a:pt x="27" y="89"/>
                  </a:lnTo>
                  <a:lnTo>
                    <a:pt x="24" y="89"/>
                  </a:lnTo>
                  <a:lnTo>
                    <a:pt x="27" y="90"/>
                  </a:lnTo>
                  <a:lnTo>
                    <a:pt x="30" y="92"/>
                  </a:lnTo>
                  <a:lnTo>
                    <a:pt x="35" y="89"/>
                  </a:lnTo>
                  <a:lnTo>
                    <a:pt x="38" y="90"/>
                  </a:lnTo>
                  <a:lnTo>
                    <a:pt x="41" y="90"/>
                  </a:lnTo>
                  <a:lnTo>
                    <a:pt x="39" y="88"/>
                  </a:lnTo>
                  <a:lnTo>
                    <a:pt x="41" y="86"/>
                  </a:lnTo>
                  <a:lnTo>
                    <a:pt x="43" y="88"/>
                  </a:lnTo>
                  <a:lnTo>
                    <a:pt x="47" y="88"/>
                  </a:lnTo>
                  <a:lnTo>
                    <a:pt x="49" y="86"/>
                  </a:lnTo>
                  <a:lnTo>
                    <a:pt x="48" y="89"/>
                  </a:lnTo>
                  <a:lnTo>
                    <a:pt x="48" y="92"/>
                  </a:lnTo>
                  <a:lnTo>
                    <a:pt x="50" y="94"/>
                  </a:lnTo>
                  <a:lnTo>
                    <a:pt x="53" y="96"/>
                  </a:lnTo>
                  <a:lnTo>
                    <a:pt x="57" y="97"/>
                  </a:lnTo>
                  <a:lnTo>
                    <a:pt x="59" y="97"/>
                  </a:lnTo>
                  <a:lnTo>
                    <a:pt x="62" y="97"/>
                  </a:lnTo>
                  <a:lnTo>
                    <a:pt x="62" y="97"/>
                  </a:lnTo>
                  <a:lnTo>
                    <a:pt x="65" y="97"/>
                  </a:lnTo>
                  <a:lnTo>
                    <a:pt x="62" y="96"/>
                  </a:lnTo>
                  <a:lnTo>
                    <a:pt x="59" y="96"/>
                  </a:lnTo>
                  <a:lnTo>
                    <a:pt x="57" y="96"/>
                  </a:lnTo>
                  <a:lnTo>
                    <a:pt x="59" y="95"/>
                  </a:lnTo>
                  <a:lnTo>
                    <a:pt x="62" y="95"/>
                  </a:lnTo>
                  <a:lnTo>
                    <a:pt x="65" y="95"/>
                  </a:lnTo>
                  <a:lnTo>
                    <a:pt x="68" y="96"/>
                  </a:lnTo>
                  <a:lnTo>
                    <a:pt x="70" y="95"/>
                  </a:lnTo>
                  <a:lnTo>
                    <a:pt x="74" y="97"/>
                  </a:lnTo>
                  <a:lnTo>
                    <a:pt x="76" y="97"/>
                  </a:lnTo>
                  <a:lnTo>
                    <a:pt x="79" y="98"/>
                  </a:lnTo>
                  <a:lnTo>
                    <a:pt x="82" y="98"/>
                  </a:lnTo>
                  <a:lnTo>
                    <a:pt x="85" y="98"/>
                  </a:lnTo>
                  <a:lnTo>
                    <a:pt x="87" y="100"/>
                  </a:lnTo>
                  <a:lnTo>
                    <a:pt x="90" y="98"/>
                  </a:lnTo>
                  <a:lnTo>
                    <a:pt x="92" y="97"/>
                  </a:lnTo>
                  <a:lnTo>
                    <a:pt x="95" y="97"/>
                  </a:lnTo>
                  <a:lnTo>
                    <a:pt x="99" y="100"/>
                  </a:lnTo>
                  <a:lnTo>
                    <a:pt x="101" y="100"/>
                  </a:lnTo>
                  <a:lnTo>
                    <a:pt x="103" y="102"/>
                  </a:lnTo>
                  <a:lnTo>
                    <a:pt x="107" y="102"/>
                  </a:lnTo>
                  <a:lnTo>
                    <a:pt x="109" y="101"/>
                  </a:lnTo>
                  <a:lnTo>
                    <a:pt x="112" y="101"/>
                  </a:lnTo>
                  <a:lnTo>
                    <a:pt x="111" y="98"/>
                  </a:lnTo>
                  <a:lnTo>
                    <a:pt x="110" y="97"/>
                  </a:lnTo>
                  <a:lnTo>
                    <a:pt x="108" y="96"/>
                  </a:lnTo>
                  <a:lnTo>
                    <a:pt x="102" y="94"/>
                  </a:lnTo>
                  <a:lnTo>
                    <a:pt x="99" y="93"/>
                  </a:lnTo>
                  <a:lnTo>
                    <a:pt x="96" y="90"/>
                  </a:lnTo>
                  <a:lnTo>
                    <a:pt x="99" y="92"/>
                  </a:lnTo>
                  <a:lnTo>
                    <a:pt x="102" y="93"/>
                  </a:lnTo>
                  <a:lnTo>
                    <a:pt x="104" y="94"/>
                  </a:lnTo>
                  <a:lnTo>
                    <a:pt x="108" y="95"/>
                  </a:lnTo>
                  <a:lnTo>
                    <a:pt x="110" y="96"/>
                  </a:lnTo>
                  <a:lnTo>
                    <a:pt x="112" y="97"/>
                  </a:lnTo>
                  <a:lnTo>
                    <a:pt x="115" y="98"/>
                  </a:lnTo>
                  <a:lnTo>
                    <a:pt x="118" y="100"/>
                  </a:lnTo>
                  <a:lnTo>
                    <a:pt x="120" y="102"/>
                  </a:lnTo>
                  <a:lnTo>
                    <a:pt x="124" y="104"/>
                  </a:lnTo>
                  <a:lnTo>
                    <a:pt x="126" y="104"/>
                  </a:lnTo>
                  <a:lnTo>
                    <a:pt x="125" y="101"/>
                  </a:lnTo>
                  <a:lnTo>
                    <a:pt x="123" y="100"/>
                  </a:lnTo>
                  <a:lnTo>
                    <a:pt x="120" y="97"/>
                  </a:lnTo>
                  <a:lnTo>
                    <a:pt x="118" y="97"/>
                  </a:lnTo>
                  <a:lnTo>
                    <a:pt x="115" y="96"/>
                  </a:lnTo>
                  <a:lnTo>
                    <a:pt x="118" y="95"/>
                  </a:lnTo>
                  <a:lnTo>
                    <a:pt x="120" y="95"/>
                  </a:lnTo>
                  <a:lnTo>
                    <a:pt x="123" y="96"/>
                  </a:lnTo>
                  <a:lnTo>
                    <a:pt x="126" y="96"/>
                  </a:lnTo>
                  <a:lnTo>
                    <a:pt x="128" y="96"/>
                  </a:lnTo>
                  <a:lnTo>
                    <a:pt x="132" y="97"/>
                  </a:lnTo>
                  <a:lnTo>
                    <a:pt x="132" y="97"/>
                  </a:lnTo>
                  <a:lnTo>
                    <a:pt x="135" y="97"/>
                  </a:lnTo>
                  <a:lnTo>
                    <a:pt x="137" y="100"/>
                  </a:lnTo>
                  <a:lnTo>
                    <a:pt x="139" y="100"/>
                  </a:lnTo>
                  <a:lnTo>
                    <a:pt x="143" y="102"/>
                  </a:lnTo>
                  <a:lnTo>
                    <a:pt x="145" y="101"/>
                  </a:lnTo>
                  <a:lnTo>
                    <a:pt x="151" y="101"/>
                  </a:lnTo>
                  <a:lnTo>
                    <a:pt x="153" y="101"/>
                  </a:lnTo>
                  <a:lnTo>
                    <a:pt x="155" y="98"/>
                  </a:lnTo>
                  <a:lnTo>
                    <a:pt x="155" y="97"/>
                  </a:lnTo>
                  <a:lnTo>
                    <a:pt x="154" y="95"/>
                  </a:lnTo>
                  <a:lnTo>
                    <a:pt x="153" y="92"/>
                  </a:lnTo>
                  <a:lnTo>
                    <a:pt x="151" y="89"/>
                  </a:lnTo>
                  <a:lnTo>
                    <a:pt x="147" y="90"/>
                  </a:lnTo>
                  <a:lnTo>
                    <a:pt x="145" y="88"/>
                  </a:lnTo>
                  <a:lnTo>
                    <a:pt x="145" y="86"/>
                  </a:lnTo>
                  <a:lnTo>
                    <a:pt x="147" y="87"/>
                  </a:lnTo>
                  <a:lnTo>
                    <a:pt x="149" y="85"/>
                  </a:lnTo>
                  <a:lnTo>
                    <a:pt x="149" y="81"/>
                  </a:lnTo>
                  <a:lnTo>
                    <a:pt x="152" y="83"/>
                  </a:lnTo>
                  <a:lnTo>
                    <a:pt x="154" y="84"/>
                  </a:lnTo>
                  <a:lnTo>
                    <a:pt x="152" y="84"/>
                  </a:lnTo>
                  <a:lnTo>
                    <a:pt x="150" y="86"/>
                  </a:lnTo>
                  <a:lnTo>
                    <a:pt x="153" y="86"/>
                  </a:lnTo>
                  <a:lnTo>
                    <a:pt x="155" y="88"/>
                  </a:lnTo>
                  <a:lnTo>
                    <a:pt x="159" y="89"/>
                  </a:lnTo>
                  <a:lnTo>
                    <a:pt x="159" y="92"/>
                  </a:lnTo>
                  <a:lnTo>
                    <a:pt x="162" y="93"/>
                  </a:lnTo>
                  <a:lnTo>
                    <a:pt x="164" y="92"/>
                  </a:lnTo>
                  <a:lnTo>
                    <a:pt x="167" y="92"/>
                  </a:lnTo>
                  <a:lnTo>
                    <a:pt x="169" y="95"/>
                  </a:lnTo>
                  <a:lnTo>
                    <a:pt x="169" y="97"/>
                  </a:lnTo>
                  <a:lnTo>
                    <a:pt x="169" y="101"/>
                  </a:lnTo>
                  <a:lnTo>
                    <a:pt x="169" y="103"/>
                  </a:lnTo>
                  <a:lnTo>
                    <a:pt x="172" y="103"/>
                  </a:lnTo>
                  <a:lnTo>
                    <a:pt x="175" y="101"/>
                  </a:lnTo>
                  <a:lnTo>
                    <a:pt x="178" y="100"/>
                  </a:lnTo>
                  <a:lnTo>
                    <a:pt x="175" y="101"/>
                  </a:lnTo>
                  <a:lnTo>
                    <a:pt x="178" y="101"/>
                  </a:lnTo>
                  <a:lnTo>
                    <a:pt x="180" y="102"/>
                  </a:lnTo>
                  <a:lnTo>
                    <a:pt x="180" y="105"/>
                  </a:lnTo>
                  <a:lnTo>
                    <a:pt x="178" y="105"/>
                  </a:lnTo>
                  <a:lnTo>
                    <a:pt x="178" y="107"/>
                  </a:lnTo>
                  <a:lnTo>
                    <a:pt x="181" y="109"/>
                  </a:lnTo>
                  <a:lnTo>
                    <a:pt x="184" y="107"/>
                  </a:lnTo>
                  <a:lnTo>
                    <a:pt x="187" y="105"/>
                  </a:lnTo>
                  <a:lnTo>
                    <a:pt x="184" y="107"/>
                  </a:lnTo>
                  <a:lnTo>
                    <a:pt x="185" y="110"/>
                  </a:lnTo>
                  <a:lnTo>
                    <a:pt x="188" y="112"/>
                  </a:lnTo>
                  <a:lnTo>
                    <a:pt x="190" y="113"/>
                  </a:lnTo>
                  <a:lnTo>
                    <a:pt x="193" y="113"/>
                  </a:lnTo>
                  <a:lnTo>
                    <a:pt x="196" y="115"/>
                  </a:lnTo>
                  <a:lnTo>
                    <a:pt x="197" y="118"/>
                  </a:lnTo>
                  <a:lnTo>
                    <a:pt x="193" y="121"/>
                  </a:lnTo>
                  <a:lnTo>
                    <a:pt x="189" y="121"/>
                  </a:lnTo>
                  <a:lnTo>
                    <a:pt x="187" y="121"/>
                  </a:lnTo>
                  <a:lnTo>
                    <a:pt x="184" y="121"/>
                  </a:lnTo>
                  <a:lnTo>
                    <a:pt x="184" y="123"/>
                  </a:lnTo>
                  <a:lnTo>
                    <a:pt x="184" y="127"/>
                  </a:lnTo>
                  <a:lnTo>
                    <a:pt x="184" y="129"/>
                  </a:lnTo>
                  <a:lnTo>
                    <a:pt x="186" y="130"/>
                  </a:lnTo>
                  <a:lnTo>
                    <a:pt x="188" y="129"/>
                  </a:lnTo>
                  <a:lnTo>
                    <a:pt x="192" y="128"/>
                  </a:lnTo>
                  <a:lnTo>
                    <a:pt x="194" y="126"/>
                  </a:lnTo>
                  <a:lnTo>
                    <a:pt x="197" y="124"/>
                  </a:lnTo>
                  <a:lnTo>
                    <a:pt x="197" y="122"/>
                  </a:lnTo>
                  <a:lnTo>
                    <a:pt x="201" y="122"/>
                  </a:lnTo>
                  <a:lnTo>
                    <a:pt x="203" y="124"/>
                  </a:lnTo>
                  <a:lnTo>
                    <a:pt x="205" y="122"/>
                  </a:lnTo>
                  <a:lnTo>
                    <a:pt x="207" y="120"/>
                  </a:lnTo>
                  <a:lnTo>
                    <a:pt x="211" y="121"/>
                  </a:lnTo>
                  <a:lnTo>
                    <a:pt x="207" y="121"/>
                  </a:lnTo>
                  <a:lnTo>
                    <a:pt x="210" y="124"/>
                  </a:lnTo>
                  <a:lnTo>
                    <a:pt x="207" y="126"/>
                  </a:lnTo>
                  <a:lnTo>
                    <a:pt x="210" y="127"/>
                  </a:lnTo>
                  <a:lnTo>
                    <a:pt x="211" y="130"/>
                  </a:lnTo>
                  <a:lnTo>
                    <a:pt x="213" y="132"/>
                  </a:lnTo>
                  <a:lnTo>
                    <a:pt x="217" y="134"/>
                  </a:lnTo>
                  <a:lnTo>
                    <a:pt x="219" y="134"/>
                  </a:lnTo>
                  <a:lnTo>
                    <a:pt x="219" y="130"/>
                  </a:lnTo>
                  <a:lnTo>
                    <a:pt x="222" y="129"/>
                  </a:lnTo>
                  <a:lnTo>
                    <a:pt x="222" y="132"/>
                  </a:lnTo>
                  <a:lnTo>
                    <a:pt x="221" y="135"/>
                  </a:lnTo>
                  <a:lnTo>
                    <a:pt x="221" y="137"/>
                  </a:lnTo>
                  <a:lnTo>
                    <a:pt x="224" y="138"/>
                  </a:lnTo>
                  <a:lnTo>
                    <a:pt x="224" y="139"/>
                  </a:lnTo>
                  <a:lnTo>
                    <a:pt x="227" y="139"/>
                  </a:lnTo>
                  <a:lnTo>
                    <a:pt x="229" y="137"/>
                  </a:lnTo>
                  <a:lnTo>
                    <a:pt x="228" y="139"/>
                  </a:lnTo>
                  <a:lnTo>
                    <a:pt x="230" y="140"/>
                  </a:lnTo>
                  <a:lnTo>
                    <a:pt x="234" y="141"/>
                  </a:lnTo>
                  <a:lnTo>
                    <a:pt x="234" y="144"/>
                  </a:lnTo>
                  <a:lnTo>
                    <a:pt x="235" y="146"/>
                  </a:lnTo>
                  <a:lnTo>
                    <a:pt x="236" y="149"/>
                  </a:lnTo>
                  <a:lnTo>
                    <a:pt x="238" y="151"/>
                  </a:lnTo>
                  <a:lnTo>
                    <a:pt x="238" y="153"/>
                  </a:lnTo>
                  <a:lnTo>
                    <a:pt x="240" y="156"/>
                  </a:lnTo>
                  <a:lnTo>
                    <a:pt x="240" y="158"/>
                  </a:lnTo>
                  <a:lnTo>
                    <a:pt x="241" y="161"/>
                  </a:lnTo>
                  <a:lnTo>
                    <a:pt x="243" y="164"/>
                  </a:lnTo>
                  <a:lnTo>
                    <a:pt x="240" y="166"/>
                  </a:lnTo>
                  <a:lnTo>
                    <a:pt x="238" y="167"/>
                  </a:lnTo>
                  <a:lnTo>
                    <a:pt x="236" y="170"/>
                  </a:lnTo>
                  <a:lnTo>
                    <a:pt x="234" y="172"/>
                  </a:lnTo>
                  <a:lnTo>
                    <a:pt x="234" y="174"/>
                  </a:lnTo>
                  <a:lnTo>
                    <a:pt x="236" y="175"/>
                  </a:lnTo>
                  <a:lnTo>
                    <a:pt x="241" y="175"/>
                  </a:lnTo>
                  <a:lnTo>
                    <a:pt x="247" y="177"/>
                  </a:lnTo>
                  <a:lnTo>
                    <a:pt x="249" y="177"/>
                  </a:lnTo>
                  <a:lnTo>
                    <a:pt x="253" y="178"/>
                  </a:lnTo>
                  <a:lnTo>
                    <a:pt x="255" y="177"/>
                  </a:lnTo>
                  <a:lnTo>
                    <a:pt x="256" y="174"/>
                  </a:lnTo>
                  <a:lnTo>
                    <a:pt x="258" y="171"/>
                  </a:lnTo>
                  <a:lnTo>
                    <a:pt x="258" y="169"/>
                  </a:lnTo>
                  <a:lnTo>
                    <a:pt x="261" y="170"/>
                  </a:lnTo>
                  <a:lnTo>
                    <a:pt x="264" y="171"/>
                  </a:lnTo>
                  <a:lnTo>
                    <a:pt x="265" y="173"/>
                  </a:lnTo>
                  <a:lnTo>
                    <a:pt x="269" y="174"/>
                  </a:lnTo>
                  <a:lnTo>
                    <a:pt x="271" y="175"/>
                  </a:lnTo>
                  <a:lnTo>
                    <a:pt x="274" y="175"/>
                  </a:lnTo>
                  <a:lnTo>
                    <a:pt x="277" y="177"/>
                  </a:lnTo>
                  <a:lnTo>
                    <a:pt x="279" y="178"/>
                  </a:lnTo>
                  <a:lnTo>
                    <a:pt x="282" y="180"/>
                  </a:lnTo>
                  <a:lnTo>
                    <a:pt x="284" y="179"/>
                  </a:lnTo>
                  <a:lnTo>
                    <a:pt x="282" y="180"/>
                  </a:lnTo>
                  <a:lnTo>
                    <a:pt x="279" y="182"/>
                  </a:lnTo>
                  <a:lnTo>
                    <a:pt x="282" y="181"/>
                  </a:lnTo>
                  <a:lnTo>
                    <a:pt x="284" y="183"/>
                  </a:lnTo>
                  <a:lnTo>
                    <a:pt x="282" y="184"/>
                  </a:lnTo>
                  <a:lnTo>
                    <a:pt x="279" y="187"/>
                  </a:lnTo>
                  <a:lnTo>
                    <a:pt x="277" y="187"/>
                  </a:lnTo>
                  <a:lnTo>
                    <a:pt x="274" y="186"/>
                  </a:lnTo>
                  <a:lnTo>
                    <a:pt x="274" y="186"/>
                  </a:lnTo>
                  <a:lnTo>
                    <a:pt x="271" y="187"/>
                  </a:lnTo>
                  <a:lnTo>
                    <a:pt x="269" y="187"/>
                  </a:lnTo>
                  <a:lnTo>
                    <a:pt x="265" y="184"/>
                  </a:lnTo>
                  <a:lnTo>
                    <a:pt x="264" y="187"/>
                  </a:lnTo>
                  <a:lnTo>
                    <a:pt x="262" y="189"/>
                  </a:lnTo>
                  <a:lnTo>
                    <a:pt x="260" y="191"/>
                  </a:lnTo>
                  <a:lnTo>
                    <a:pt x="256" y="192"/>
                  </a:lnTo>
                  <a:lnTo>
                    <a:pt x="256" y="191"/>
                  </a:lnTo>
                  <a:lnTo>
                    <a:pt x="260" y="190"/>
                  </a:lnTo>
                  <a:lnTo>
                    <a:pt x="256" y="190"/>
                  </a:lnTo>
                  <a:lnTo>
                    <a:pt x="258" y="187"/>
                  </a:lnTo>
                  <a:lnTo>
                    <a:pt x="258" y="184"/>
                  </a:lnTo>
                  <a:lnTo>
                    <a:pt x="257" y="182"/>
                  </a:lnTo>
                  <a:lnTo>
                    <a:pt x="256" y="179"/>
                  </a:lnTo>
                  <a:lnTo>
                    <a:pt x="253" y="179"/>
                  </a:lnTo>
                  <a:lnTo>
                    <a:pt x="251" y="178"/>
                  </a:lnTo>
                  <a:lnTo>
                    <a:pt x="247" y="177"/>
                  </a:lnTo>
                  <a:lnTo>
                    <a:pt x="245" y="177"/>
                  </a:lnTo>
                  <a:lnTo>
                    <a:pt x="241" y="177"/>
                  </a:lnTo>
                  <a:lnTo>
                    <a:pt x="239" y="177"/>
                  </a:lnTo>
                  <a:lnTo>
                    <a:pt x="237" y="177"/>
                  </a:lnTo>
                  <a:lnTo>
                    <a:pt x="234" y="175"/>
                  </a:lnTo>
                  <a:lnTo>
                    <a:pt x="231" y="175"/>
                  </a:lnTo>
                  <a:lnTo>
                    <a:pt x="228" y="177"/>
                  </a:lnTo>
                  <a:lnTo>
                    <a:pt x="227" y="180"/>
                  </a:lnTo>
                  <a:lnTo>
                    <a:pt x="223" y="181"/>
                  </a:lnTo>
                  <a:lnTo>
                    <a:pt x="218" y="184"/>
                  </a:lnTo>
                  <a:lnTo>
                    <a:pt x="215" y="187"/>
                  </a:lnTo>
                  <a:lnTo>
                    <a:pt x="213" y="189"/>
                  </a:lnTo>
                  <a:lnTo>
                    <a:pt x="215" y="191"/>
                  </a:lnTo>
                  <a:lnTo>
                    <a:pt x="218" y="194"/>
                  </a:lnTo>
                  <a:lnTo>
                    <a:pt x="221" y="196"/>
                  </a:lnTo>
                  <a:lnTo>
                    <a:pt x="223" y="198"/>
                  </a:lnTo>
                  <a:lnTo>
                    <a:pt x="224" y="201"/>
                  </a:lnTo>
                  <a:lnTo>
                    <a:pt x="224" y="204"/>
                  </a:lnTo>
                  <a:lnTo>
                    <a:pt x="222" y="203"/>
                  </a:lnTo>
                  <a:lnTo>
                    <a:pt x="219" y="203"/>
                  </a:lnTo>
                  <a:lnTo>
                    <a:pt x="217" y="204"/>
                  </a:lnTo>
                  <a:lnTo>
                    <a:pt x="213" y="206"/>
                  </a:lnTo>
                  <a:lnTo>
                    <a:pt x="211" y="207"/>
                  </a:lnTo>
                  <a:lnTo>
                    <a:pt x="209" y="206"/>
                  </a:lnTo>
                  <a:lnTo>
                    <a:pt x="205" y="206"/>
                  </a:lnTo>
                  <a:lnTo>
                    <a:pt x="204" y="206"/>
                  </a:lnTo>
                  <a:lnTo>
                    <a:pt x="203" y="208"/>
                  </a:lnTo>
                  <a:lnTo>
                    <a:pt x="201" y="208"/>
                  </a:lnTo>
                  <a:lnTo>
                    <a:pt x="197" y="208"/>
                  </a:lnTo>
                  <a:lnTo>
                    <a:pt x="195" y="209"/>
                  </a:lnTo>
                  <a:lnTo>
                    <a:pt x="197" y="211"/>
                  </a:lnTo>
                  <a:lnTo>
                    <a:pt x="201" y="213"/>
                  </a:lnTo>
                  <a:lnTo>
                    <a:pt x="203" y="213"/>
                  </a:lnTo>
                  <a:lnTo>
                    <a:pt x="202" y="215"/>
                  </a:lnTo>
                  <a:lnTo>
                    <a:pt x="200" y="217"/>
                  </a:lnTo>
                  <a:lnTo>
                    <a:pt x="200" y="218"/>
                  </a:lnTo>
                  <a:lnTo>
                    <a:pt x="197" y="215"/>
                  </a:lnTo>
                  <a:lnTo>
                    <a:pt x="200" y="214"/>
                  </a:lnTo>
                  <a:lnTo>
                    <a:pt x="198" y="212"/>
                  </a:lnTo>
                  <a:lnTo>
                    <a:pt x="196" y="211"/>
                  </a:lnTo>
                  <a:lnTo>
                    <a:pt x="193" y="208"/>
                  </a:lnTo>
                  <a:lnTo>
                    <a:pt x="190" y="208"/>
                  </a:lnTo>
                  <a:lnTo>
                    <a:pt x="187" y="207"/>
                  </a:lnTo>
                  <a:lnTo>
                    <a:pt x="185" y="206"/>
                  </a:lnTo>
                  <a:lnTo>
                    <a:pt x="183" y="205"/>
                  </a:lnTo>
                  <a:lnTo>
                    <a:pt x="179" y="205"/>
                  </a:lnTo>
                  <a:lnTo>
                    <a:pt x="177" y="205"/>
                  </a:lnTo>
                  <a:lnTo>
                    <a:pt x="176" y="204"/>
                  </a:lnTo>
                  <a:lnTo>
                    <a:pt x="173" y="205"/>
                  </a:lnTo>
                  <a:lnTo>
                    <a:pt x="171" y="208"/>
                  </a:lnTo>
                  <a:lnTo>
                    <a:pt x="173" y="211"/>
                  </a:lnTo>
                  <a:lnTo>
                    <a:pt x="168" y="212"/>
                  </a:lnTo>
                  <a:lnTo>
                    <a:pt x="166" y="213"/>
                  </a:lnTo>
                  <a:lnTo>
                    <a:pt x="162" y="215"/>
                  </a:lnTo>
                  <a:lnTo>
                    <a:pt x="163" y="217"/>
                  </a:lnTo>
                  <a:lnTo>
                    <a:pt x="161" y="221"/>
                  </a:lnTo>
                  <a:lnTo>
                    <a:pt x="162" y="223"/>
                  </a:lnTo>
                  <a:lnTo>
                    <a:pt x="164" y="225"/>
                  </a:lnTo>
                  <a:lnTo>
                    <a:pt x="167" y="229"/>
                  </a:lnTo>
                  <a:lnTo>
                    <a:pt x="169" y="228"/>
                  </a:lnTo>
                  <a:lnTo>
                    <a:pt x="172" y="230"/>
                  </a:lnTo>
                  <a:lnTo>
                    <a:pt x="175" y="231"/>
                  </a:lnTo>
                  <a:lnTo>
                    <a:pt x="177" y="231"/>
                  </a:lnTo>
                  <a:lnTo>
                    <a:pt x="180" y="231"/>
                  </a:lnTo>
                  <a:lnTo>
                    <a:pt x="183" y="230"/>
                  </a:lnTo>
                  <a:lnTo>
                    <a:pt x="186" y="230"/>
                  </a:lnTo>
                  <a:lnTo>
                    <a:pt x="188" y="230"/>
                  </a:lnTo>
                  <a:lnTo>
                    <a:pt x="190" y="229"/>
                  </a:lnTo>
                  <a:lnTo>
                    <a:pt x="194" y="228"/>
                  </a:lnTo>
                  <a:lnTo>
                    <a:pt x="196" y="226"/>
                  </a:lnTo>
                  <a:lnTo>
                    <a:pt x="195" y="224"/>
                  </a:lnTo>
                  <a:lnTo>
                    <a:pt x="197" y="224"/>
                  </a:lnTo>
                  <a:lnTo>
                    <a:pt x="201" y="225"/>
                  </a:lnTo>
                  <a:lnTo>
                    <a:pt x="203" y="226"/>
                  </a:lnTo>
                  <a:lnTo>
                    <a:pt x="205" y="226"/>
                  </a:lnTo>
                  <a:lnTo>
                    <a:pt x="209" y="228"/>
                  </a:lnTo>
                  <a:lnTo>
                    <a:pt x="211" y="226"/>
                  </a:lnTo>
                  <a:lnTo>
                    <a:pt x="213" y="224"/>
                  </a:lnTo>
                  <a:lnTo>
                    <a:pt x="210" y="222"/>
                  </a:lnTo>
                  <a:lnTo>
                    <a:pt x="207" y="220"/>
                  </a:lnTo>
                  <a:lnTo>
                    <a:pt x="210" y="217"/>
                  </a:lnTo>
                  <a:lnTo>
                    <a:pt x="210" y="220"/>
                  </a:lnTo>
                  <a:lnTo>
                    <a:pt x="212" y="223"/>
                  </a:lnTo>
                  <a:lnTo>
                    <a:pt x="214" y="222"/>
                  </a:lnTo>
                  <a:lnTo>
                    <a:pt x="218" y="222"/>
                  </a:lnTo>
                  <a:lnTo>
                    <a:pt x="218" y="224"/>
                  </a:lnTo>
                  <a:lnTo>
                    <a:pt x="220" y="225"/>
                  </a:lnTo>
                  <a:lnTo>
                    <a:pt x="218" y="226"/>
                  </a:lnTo>
                  <a:lnTo>
                    <a:pt x="218" y="229"/>
                  </a:lnTo>
                  <a:lnTo>
                    <a:pt x="220" y="226"/>
                  </a:lnTo>
                  <a:lnTo>
                    <a:pt x="220" y="223"/>
                  </a:lnTo>
                  <a:lnTo>
                    <a:pt x="223" y="224"/>
                  </a:lnTo>
                  <a:lnTo>
                    <a:pt x="226" y="223"/>
                  </a:lnTo>
                  <a:lnTo>
                    <a:pt x="228" y="225"/>
                  </a:lnTo>
                  <a:lnTo>
                    <a:pt x="229" y="222"/>
                  </a:lnTo>
                  <a:lnTo>
                    <a:pt x="229" y="224"/>
                  </a:lnTo>
                  <a:lnTo>
                    <a:pt x="227" y="226"/>
                  </a:lnTo>
                  <a:lnTo>
                    <a:pt x="229" y="229"/>
                  </a:lnTo>
                  <a:lnTo>
                    <a:pt x="231" y="231"/>
                  </a:lnTo>
                  <a:lnTo>
                    <a:pt x="235" y="233"/>
                  </a:lnTo>
                  <a:lnTo>
                    <a:pt x="235" y="235"/>
                  </a:lnTo>
                  <a:lnTo>
                    <a:pt x="238" y="237"/>
                  </a:lnTo>
                  <a:lnTo>
                    <a:pt x="238" y="239"/>
                  </a:lnTo>
                  <a:lnTo>
                    <a:pt x="240" y="240"/>
                  </a:lnTo>
                  <a:lnTo>
                    <a:pt x="244" y="239"/>
                  </a:lnTo>
                  <a:lnTo>
                    <a:pt x="241" y="241"/>
                  </a:lnTo>
                  <a:lnTo>
                    <a:pt x="244" y="242"/>
                  </a:lnTo>
                  <a:lnTo>
                    <a:pt x="247" y="242"/>
                  </a:lnTo>
                  <a:lnTo>
                    <a:pt x="249" y="242"/>
                  </a:lnTo>
                  <a:lnTo>
                    <a:pt x="253" y="243"/>
                  </a:lnTo>
                  <a:lnTo>
                    <a:pt x="255" y="244"/>
                  </a:lnTo>
                  <a:lnTo>
                    <a:pt x="257" y="244"/>
                  </a:lnTo>
                  <a:lnTo>
                    <a:pt x="255" y="248"/>
                  </a:lnTo>
                  <a:lnTo>
                    <a:pt x="252" y="249"/>
                  </a:lnTo>
                  <a:lnTo>
                    <a:pt x="249" y="249"/>
                  </a:lnTo>
                  <a:lnTo>
                    <a:pt x="247" y="248"/>
                  </a:lnTo>
                  <a:lnTo>
                    <a:pt x="249" y="250"/>
                  </a:lnTo>
                  <a:lnTo>
                    <a:pt x="249" y="252"/>
                  </a:lnTo>
                  <a:lnTo>
                    <a:pt x="253" y="255"/>
                  </a:lnTo>
                  <a:lnTo>
                    <a:pt x="255" y="256"/>
                  </a:lnTo>
                  <a:lnTo>
                    <a:pt x="257" y="257"/>
                  </a:lnTo>
                  <a:lnTo>
                    <a:pt x="257" y="257"/>
                  </a:lnTo>
                  <a:lnTo>
                    <a:pt x="261" y="256"/>
                  </a:lnTo>
                  <a:lnTo>
                    <a:pt x="261" y="258"/>
                  </a:lnTo>
                  <a:lnTo>
                    <a:pt x="264" y="260"/>
                  </a:lnTo>
                  <a:lnTo>
                    <a:pt x="266" y="260"/>
                  </a:lnTo>
                  <a:lnTo>
                    <a:pt x="270" y="263"/>
                  </a:lnTo>
                  <a:lnTo>
                    <a:pt x="272" y="264"/>
                  </a:lnTo>
                  <a:lnTo>
                    <a:pt x="274" y="263"/>
                  </a:lnTo>
                  <a:lnTo>
                    <a:pt x="277" y="264"/>
                  </a:lnTo>
                  <a:lnTo>
                    <a:pt x="279" y="263"/>
                  </a:lnTo>
                  <a:lnTo>
                    <a:pt x="282" y="263"/>
                  </a:lnTo>
                  <a:lnTo>
                    <a:pt x="280" y="266"/>
                  </a:lnTo>
                  <a:lnTo>
                    <a:pt x="283" y="268"/>
                  </a:lnTo>
                  <a:lnTo>
                    <a:pt x="286" y="271"/>
                  </a:lnTo>
                  <a:lnTo>
                    <a:pt x="288" y="271"/>
                  </a:lnTo>
                  <a:lnTo>
                    <a:pt x="291" y="273"/>
                  </a:lnTo>
                  <a:lnTo>
                    <a:pt x="294" y="274"/>
                  </a:lnTo>
                  <a:lnTo>
                    <a:pt x="296" y="274"/>
                  </a:lnTo>
                  <a:lnTo>
                    <a:pt x="301" y="275"/>
                  </a:lnTo>
                  <a:lnTo>
                    <a:pt x="305" y="276"/>
                  </a:lnTo>
                  <a:lnTo>
                    <a:pt x="307" y="275"/>
                  </a:lnTo>
                  <a:lnTo>
                    <a:pt x="309" y="276"/>
                  </a:lnTo>
                  <a:lnTo>
                    <a:pt x="313" y="277"/>
                  </a:lnTo>
                  <a:lnTo>
                    <a:pt x="315" y="278"/>
                  </a:lnTo>
                  <a:lnTo>
                    <a:pt x="318" y="278"/>
                  </a:lnTo>
                  <a:lnTo>
                    <a:pt x="321" y="281"/>
                  </a:lnTo>
                  <a:lnTo>
                    <a:pt x="323" y="282"/>
                  </a:lnTo>
                  <a:lnTo>
                    <a:pt x="324" y="282"/>
                  </a:lnTo>
                  <a:lnTo>
                    <a:pt x="328" y="282"/>
                  </a:lnTo>
                  <a:lnTo>
                    <a:pt x="328" y="280"/>
                  </a:lnTo>
                  <a:lnTo>
                    <a:pt x="326" y="276"/>
                  </a:lnTo>
                  <a:lnTo>
                    <a:pt x="329" y="275"/>
                  </a:lnTo>
                  <a:lnTo>
                    <a:pt x="326" y="274"/>
                  </a:lnTo>
                  <a:lnTo>
                    <a:pt x="323" y="273"/>
                  </a:lnTo>
                  <a:lnTo>
                    <a:pt x="323" y="271"/>
                  </a:lnTo>
                  <a:lnTo>
                    <a:pt x="322" y="271"/>
                  </a:lnTo>
                  <a:lnTo>
                    <a:pt x="322" y="268"/>
                  </a:lnTo>
                  <a:lnTo>
                    <a:pt x="318" y="266"/>
                  </a:lnTo>
                  <a:lnTo>
                    <a:pt x="316" y="265"/>
                  </a:lnTo>
                  <a:lnTo>
                    <a:pt x="314" y="263"/>
                  </a:lnTo>
                  <a:lnTo>
                    <a:pt x="312" y="261"/>
                  </a:lnTo>
                  <a:lnTo>
                    <a:pt x="309" y="258"/>
                  </a:lnTo>
                  <a:lnTo>
                    <a:pt x="306" y="259"/>
                  </a:lnTo>
                  <a:lnTo>
                    <a:pt x="307" y="257"/>
                  </a:lnTo>
                  <a:lnTo>
                    <a:pt x="305" y="259"/>
                  </a:lnTo>
                  <a:lnTo>
                    <a:pt x="307" y="256"/>
                  </a:lnTo>
                  <a:lnTo>
                    <a:pt x="305" y="256"/>
                  </a:lnTo>
                  <a:lnTo>
                    <a:pt x="301" y="255"/>
                  </a:lnTo>
                  <a:lnTo>
                    <a:pt x="299" y="254"/>
                  </a:lnTo>
                  <a:lnTo>
                    <a:pt x="297" y="251"/>
                  </a:lnTo>
                  <a:lnTo>
                    <a:pt x="296" y="248"/>
                  </a:lnTo>
                  <a:lnTo>
                    <a:pt x="292" y="247"/>
                  </a:lnTo>
                  <a:lnTo>
                    <a:pt x="290" y="244"/>
                  </a:lnTo>
                  <a:lnTo>
                    <a:pt x="288" y="242"/>
                  </a:lnTo>
                  <a:lnTo>
                    <a:pt x="291" y="242"/>
                  </a:lnTo>
                  <a:lnTo>
                    <a:pt x="294" y="242"/>
                  </a:lnTo>
                  <a:lnTo>
                    <a:pt x="296" y="243"/>
                  </a:lnTo>
                  <a:lnTo>
                    <a:pt x="299" y="244"/>
                  </a:lnTo>
                  <a:lnTo>
                    <a:pt x="301" y="247"/>
                  </a:lnTo>
                  <a:lnTo>
                    <a:pt x="304" y="249"/>
                  </a:lnTo>
                  <a:lnTo>
                    <a:pt x="305" y="247"/>
                  </a:lnTo>
                  <a:lnTo>
                    <a:pt x="304" y="243"/>
                  </a:lnTo>
                  <a:lnTo>
                    <a:pt x="306" y="246"/>
                  </a:lnTo>
                  <a:lnTo>
                    <a:pt x="308" y="249"/>
                  </a:lnTo>
                  <a:lnTo>
                    <a:pt x="312" y="250"/>
                  </a:lnTo>
                  <a:lnTo>
                    <a:pt x="314" y="252"/>
                  </a:lnTo>
                  <a:lnTo>
                    <a:pt x="315" y="249"/>
                  </a:lnTo>
                  <a:lnTo>
                    <a:pt x="315" y="252"/>
                  </a:lnTo>
                  <a:lnTo>
                    <a:pt x="316" y="255"/>
                  </a:lnTo>
                  <a:lnTo>
                    <a:pt x="320" y="257"/>
                  </a:lnTo>
                  <a:lnTo>
                    <a:pt x="321" y="255"/>
                  </a:lnTo>
                  <a:lnTo>
                    <a:pt x="318" y="251"/>
                  </a:lnTo>
                  <a:lnTo>
                    <a:pt x="321" y="254"/>
                  </a:lnTo>
                  <a:lnTo>
                    <a:pt x="322" y="257"/>
                  </a:lnTo>
                  <a:lnTo>
                    <a:pt x="325" y="258"/>
                  </a:lnTo>
                  <a:lnTo>
                    <a:pt x="326" y="259"/>
                  </a:lnTo>
                  <a:lnTo>
                    <a:pt x="326" y="257"/>
                  </a:lnTo>
                  <a:lnTo>
                    <a:pt x="329" y="258"/>
                  </a:lnTo>
                  <a:lnTo>
                    <a:pt x="331" y="260"/>
                  </a:lnTo>
                  <a:lnTo>
                    <a:pt x="332" y="258"/>
                  </a:lnTo>
                  <a:lnTo>
                    <a:pt x="333" y="260"/>
                  </a:lnTo>
                  <a:lnTo>
                    <a:pt x="337" y="261"/>
                  </a:lnTo>
                  <a:lnTo>
                    <a:pt x="339" y="261"/>
                  </a:lnTo>
                  <a:lnTo>
                    <a:pt x="338" y="264"/>
                  </a:lnTo>
                  <a:lnTo>
                    <a:pt x="340" y="267"/>
                  </a:lnTo>
                  <a:lnTo>
                    <a:pt x="342" y="266"/>
                  </a:lnTo>
                  <a:lnTo>
                    <a:pt x="342" y="264"/>
                  </a:lnTo>
                  <a:lnTo>
                    <a:pt x="340" y="261"/>
                  </a:lnTo>
                  <a:lnTo>
                    <a:pt x="339" y="258"/>
                  </a:lnTo>
                  <a:lnTo>
                    <a:pt x="341" y="259"/>
                  </a:lnTo>
                  <a:lnTo>
                    <a:pt x="345" y="260"/>
                  </a:lnTo>
                  <a:lnTo>
                    <a:pt x="347" y="260"/>
                  </a:lnTo>
                  <a:lnTo>
                    <a:pt x="346" y="257"/>
                  </a:lnTo>
                  <a:lnTo>
                    <a:pt x="345" y="255"/>
                  </a:lnTo>
                  <a:lnTo>
                    <a:pt x="341" y="252"/>
                  </a:lnTo>
                  <a:lnTo>
                    <a:pt x="345" y="252"/>
                  </a:lnTo>
                  <a:lnTo>
                    <a:pt x="343" y="250"/>
                  </a:lnTo>
                  <a:lnTo>
                    <a:pt x="341" y="248"/>
                  </a:lnTo>
                  <a:lnTo>
                    <a:pt x="342" y="244"/>
                  </a:lnTo>
                  <a:lnTo>
                    <a:pt x="340" y="242"/>
                  </a:lnTo>
                  <a:lnTo>
                    <a:pt x="342" y="243"/>
                  </a:lnTo>
                  <a:lnTo>
                    <a:pt x="345" y="247"/>
                  </a:lnTo>
                  <a:lnTo>
                    <a:pt x="346" y="249"/>
                  </a:lnTo>
                  <a:lnTo>
                    <a:pt x="347" y="252"/>
                  </a:lnTo>
                  <a:lnTo>
                    <a:pt x="349" y="252"/>
                  </a:lnTo>
                  <a:lnTo>
                    <a:pt x="349" y="251"/>
                  </a:lnTo>
                  <a:lnTo>
                    <a:pt x="349" y="249"/>
                  </a:lnTo>
                  <a:lnTo>
                    <a:pt x="349" y="246"/>
                  </a:lnTo>
                  <a:lnTo>
                    <a:pt x="349" y="243"/>
                  </a:lnTo>
                  <a:lnTo>
                    <a:pt x="347" y="242"/>
                  </a:lnTo>
                  <a:lnTo>
                    <a:pt x="343" y="241"/>
                  </a:lnTo>
                  <a:lnTo>
                    <a:pt x="345" y="239"/>
                  </a:lnTo>
                  <a:lnTo>
                    <a:pt x="347" y="237"/>
                  </a:lnTo>
                  <a:lnTo>
                    <a:pt x="345" y="237"/>
                  </a:lnTo>
                  <a:lnTo>
                    <a:pt x="341" y="235"/>
                  </a:lnTo>
                  <a:lnTo>
                    <a:pt x="340" y="233"/>
                  </a:lnTo>
                  <a:lnTo>
                    <a:pt x="338" y="233"/>
                  </a:lnTo>
                  <a:lnTo>
                    <a:pt x="338" y="231"/>
                  </a:lnTo>
                  <a:lnTo>
                    <a:pt x="335" y="231"/>
                  </a:lnTo>
                  <a:lnTo>
                    <a:pt x="338" y="230"/>
                  </a:lnTo>
                  <a:lnTo>
                    <a:pt x="340" y="228"/>
                  </a:lnTo>
                  <a:lnTo>
                    <a:pt x="340" y="225"/>
                  </a:lnTo>
                  <a:lnTo>
                    <a:pt x="337" y="226"/>
                  </a:lnTo>
                  <a:lnTo>
                    <a:pt x="334" y="225"/>
                  </a:lnTo>
                  <a:lnTo>
                    <a:pt x="334" y="223"/>
                  </a:lnTo>
                  <a:lnTo>
                    <a:pt x="334" y="220"/>
                  </a:lnTo>
                  <a:lnTo>
                    <a:pt x="332" y="218"/>
                  </a:lnTo>
                  <a:lnTo>
                    <a:pt x="330" y="217"/>
                  </a:lnTo>
                  <a:lnTo>
                    <a:pt x="331" y="220"/>
                  </a:lnTo>
                  <a:lnTo>
                    <a:pt x="331" y="222"/>
                  </a:lnTo>
                  <a:lnTo>
                    <a:pt x="330" y="220"/>
                  </a:lnTo>
                  <a:lnTo>
                    <a:pt x="326" y="221"/>
                  </a:lnTo>
                  <a:lnTo>
                    <a:pt x="326" y="222"/>
                  </a:lnTo>
                  <a:lnTo>
                    <a:pt x="326" y="218"/>
                  </a:lnTo>
                  <a:lnTo>
                    <a:pt x="324" y="216"/>
                  </a:lnTo>
                  <a:lnTo>
                    <a:pt x="322" y="215"/>
                  </a:lnTo>
                  <a:lnTo>
                    <a:pt x="320" y="217"/>
                  </a:lnTo>
                  <a:lnTo>
                    <a:pt x="318" y="215"/>
                  </a:lnTo>
                  <a:lnTo>
                    <a:pt x="316" y="213"/>
                  </a:lnTo>
                  <a:lnTo>
                    <a:pt x="318" y="211"/>
                  </a:lnTo>
                  <a:lnTo>
                    <a:pt x="316" y="213"/>
                  </a:lnTo>
                  <a:lnTo>
                    <a:pt x="316" y="211"/>
                  </a:lnTo>
                  <a:lnTo>
                    <a:pt x="313" y="209"/>
                  </a:lnTo>
                  <a:lnTo>
                    <a:pt x="312" y="206"/>
                  </a:lnTo>
                  <a:lnTo>
                    <a:pt x="314" y="205"/>
                  </a:lnTo>
                  <a:lnTo>
                    <a:pt x="314" y="204"/>
                  </a:lnTo>
                  <a:lnTo>
                    <a:pt x="312" y="204"/>
                  </a:lnTo>
                  <a:lnTo>
                    <a:pt x="311" y="201"/>
                  </a:lnTo>
                  <a:lnTo>
                    <a:pt x="308" y="200"/>
                  </a:lnTo>
                  <a:lnTo>
                    <a:pt x="305" y="200"/>
                  </a:lnTo>
                  <a:lnTo>
                    <a:pt x="303" y="201"/>
                  </a:lnTo>
                  <a:lnTo>
                    <a:pt x="303" y="199"/>
                  </a:lnTo>
                  <a:lnTo>
                    <a:pt x="304" y="197"/>
                  </a:lnTo>
                  <a:lnTo>
                    <a:pt x="300" y="197"/>
                  </a:lnTo>
                  <a:lnTo>
                    <a:pt x="299" y="195"/>
                  </a:lnTo>
                  <a:lnTo>
                    <a:pt x="297" y="191"/>
                  </a:lnTo>
                  <a:lnTo>
                    <a:pt x="299" y="192"/>
                  </a:lnTo>
                  <a:lnTo>
                    <a:pt x="300" y="190"/>
                  </a:lnTo>
                  <a:lnTo>
                    <a:pt x="297" y="190"/>
                  </a:lnTo>
                  <a:lnTo>
                    <a:pt x="295" y="188"/>
                  </a:lnTo>
                  <a:lnTo>
                    <a:pt x="292" y="188"/>
                  </a:lnTo>
                  <a:lnTo>
                    <a:pt x="295" y="187"/>
                  </a:lnTo>
                  <a:lnTo>
                    <a:pt x="297" y="187"/>
                  </a:lnTo>
                  <a:lnTo>
                    <a:pt x="300" y="189"/>
                  </a:lnTo>
                  <a:lnTo>
                    <a:pt x="301" y="191"/>
                  </a:lnTo>
                  <a:lnTo>
                    <a:pt x="304" y="195"/>
                  </a:lnTo>
                  <a:lnTo>
                    <a:pt x="306" y="194"/>
                  </a:lnTo>
                  <a:lnTo>
                    <a:pt x="309" y="194"/>
                  </a:lnTo>
                  <a:lnTo>
                    <a:pt x="312" y="194"/>
                  </a:lnTo>
                  <a:lnTo>
                    <a:pt x="313" y="191"/>
                  </a:lnTo>
                  <a:lnTo>
                    <a:pt x="311" y="189"/>
                  </a:lnTo>
                  <a:lnTo>
                    <a:pt x="307" y="188"/>
                  </a:lnTo>
                  <a:lnTo>
                    <a:pt x="305" y="184"/>
                  </a:lnTo>
                  <a:lnTo>
                    <a:pt x="304" y="182"/>
                  </a:lnTo>
                  <a:lnTo>
                    <a:pt x="306" y="182"/>
                  </a:lnTo>
                  <a:lnTo>
                    <a:pt x="307" y="182"/>
                  </a:lnTo>
                  <a:lnTo>
                    <a:pt x="309" y="186"/>
                  </a:lnTo>
                  <a:lnTo>
                    <a:pt x="313" y="184"/>
                  </a:lnTo>
                  <a:lnTo>
                    <a:pt x="309" y="182"/>
                  </a:lnTo>
                  <a:lnTo>
                    <a:pt x="313" y="183"/>
                  </a:lnTo>
                  <a:lnTo>
                    <a:pt x="312" y="181"/>
                  </a:lnTo>
                  <a:lnTo>
                    <a:pt x="309" y="179"/>
                  </a:lnTo>
                  <a:lnTo>
                    <a:pt x="306" y="179"/>
                  </a:lnTo>
                  <a:lnTo>
                    <a:pt x="309" y="179"/>
                  </a:lnTo>
                  <a:lnTo>
                    <a:pt x="312" y="179"/>
                  </a:lnTo>
                  <a:lnTo>
                    <a:pt x="314" y="180"/>
                  </a:lnTo>
                  <a:lnTo>
                    <a:pt x="314" y="178"/>
                  </a:lnTo>
                  <a:lnTo>
                    <a:pt x="316" y="179"/>
                  </a:lnTo>
                  <a:lnTo>
                    <a:pt x="318" y="181"/>
                  </a:lnTo>
                  <a:lnTo>
                    <a:pt x="321" y="183"/>
                  </a:lnTo>
                  <a:lnTo>
                    <a:pt x="322" y="186"/>
                  </a:lnTo>
                  <a:lnTo>
                    <a:pt x="324" y="186"/>
                  </a:lnTo>
                  <a:lnTo>
                    <a:pt x="326" y="186"/>
                  </a:lnTo>
                  <a:lnTo>
                    <a:pt x="326" y="188"/>
                  </a:lnTo>
                  <a:lnTo>
                    <a:pt x="329" y="189"/>
                  </a:lnTo>
                  <a:lnTo>
                    <a:pt x="332" y="188"/>
                  </a:lnTo>
                  <a:lnTo>
                    <a:pt x="334" y="186"/>
                  </a:lnTo>
                  <a:lnTo>
                    <a:pt x="335" y="183"/>
                  </a:lnTo>
                  <a:lnTo>
                    <a:pt x="335" y="183"/>
                  </a:lnTo>
                  <a:lnTo>
                    <a:pt x="335" y="186"/>
                  </a:lnTo>
                  <a:lnTo>
                    <a:pt x="333" y="188"/>
                  </a:lnTo>
                  <a:lnTo>
                    <a:pt x="330" y="190"/>
                  </a:lnTo>
                  <a:lnTo>
                    <a:pt x="330" y="192"/>
                  </a:lnTo>
                  <a:lnTo>
                    <a:pt x="331" y="192"/>
                  </a:lnTo>
                  <a:lnTo>
                    <a:pt x="333" y="192"/>
                  </a:lnTo>
                  <a:lnTo>
                    <a:pt x="335" y="192"/>
                  </a:lnTo>
                  <a:lnTo>
                    <a:pt x="339" y="191"/>
                  </a:lnTo>
                  <a:lnTo>
                    <a:pt x="341" y="191"/>
                  </a:lnTo>
                  <a:lnTo>
                    <a:pt x="345" y="189"/>
                  </a:lnTo>
                  <a:lnTo>
                    <a:pt x="346" y="187"/>
                  </a:lnTo>
                  <a:lnTo>
                    <a:pt x="348" y="184"/>
                  </a:lnTo>
                  <a:lnTo>
                    <a:pt x="350" y="184"/>
                  </a:lnTo>
                  <a:lnTo>
                    <a:pt x="348" y="186"/>
                  </a:lnTo>
                  <a:lnTo>
                    <a:pt x="346" y="189"/>
                  </a:lnTo>
                  <a:lnTo>
                    <a:pt x="345" y="191"/>
                  </a:lnTo>
                  <a:lnTo>
                    <a:pt x="342" y="192"/>
                  </a:lnTo>
                  <a:lnTo>
                    <a:pt x="339" y="194"/>
                  </a:lnTo>
                  <a:lnTo>
                    <a:pt x="337" y="196"/>
                  </a:lnTo>
                  <a:lnTo>
                    <a:pt x="337" y="198"/>
                  </a:lnTo>
                  <a:lnTo>
                    <a:pt x="340" y="199"/>
                  </a:lnTo>
                  <a:lnTo>
                    <a:pt x="342" y="198"/>
                  </a:lnTo>
                  <a:lnTo>
                    <a:pt x="346" y="198"/>
                  </a:lnTo>
                  <a:lnTo>
                    <a:pt x="342" y="198"/>
                  </a:lnTo>
                  <a:lnTo>
                    <a:pt x="340" y="200"/>
                  </a:lnTo>
                  <a:lnTo>
                    <a:pt x="342" y="201"/>
                  </a:lnTo>
                  <a:lnTo>
                    <a:pt x="346" y="199"/>
                  </a:lnTo>
                  <a:lnTo>
                    <a:pt x="343" y="203"/>
                  </a:lnTo>
                  <a:lnTo>
                    <a:pt x="341" y="203"/>
                  </a:lnTo>
                  <a:lnTo>
                    <a:pt x="341" y="205"/>
                  </a:lnTo>
                  <a:lnTo>
                    <a:pt x="345" y="205"/>
                  </a:lnTo>
                  <a:lnTo>
                    <a:pt x="347" y="205"/>
                  </a:lnTo>
                  <a:lnTo>
                    <a:pt x="349" y="204"/>
                  </a:lnTo>
                  <a:lnTo>
                    <a:pt x="347" y="206"/>
                  </a:lnTo>
                  <a:lnTo>
                    <a:pt x="345" y="206"/>
                  </a:lnTo>
                  <a:lnTo>
                    <a:pt x="347" y="207"/>
                  </a:lnTo>
                  <a:lnTo>
                    <a:pt x="345" y="207"/>
                  </a:lnTo>
                  <a:lnTo>
                    <a:pt x="347" y="208"/>
                  </a:lnTo>
                  <a:lnTo>
                    <a:pt x="348" y="212"/>
                  </a:lnTo>
                  <a:lnTo>
                    <a:pt x="350" y="208"/>
                  </a:lnTo>
                  <a:lnTo>
                    <a:pt x="351" y="206"/>
                  </a:lnTo>
                  <a:lnTo>
                    <a:pt x="351" y="208"/>
                  </a:lnTo>
                  <a:lnTo>
                    <a:pt x="354" y="209"/>
                  </a:lnTo>
                  <a:lnTo>
                    <a:pt x="354" y="213"/>
                  </a:lnTo>
                  <a:lnTo>
                    <a:pt x="357" y="212"/>
                  </a:lnTo>
                  <a:lnTo>
                    <a:pt x="359" y="213"/>
                  </a:lnTo>
                  <a:lnTo>
                    <a:pt x="362" y="216"/>
                  </a:lnTo>
                  <a:lnTo>
                    <a:pt x="364" y="214"/>
                  </a:lnTo>
                  <a:lnTo>
                    <a:pt x="364" y="211"/>
                  </a:lnTo>
                  <a:lnTo>
                    <a:pt x="365" y="208"/>
                  </a:lnTo>
                  <a:lnTo>
                    <a:pt x="364" y="206"/>
                  </a:lnTo>
                  <a:lnTo>
                    <a:pt x="366" y="205"/>
                  </a:lnTo>
                  <a:lnTo>
                    <a:pt x="364" y="204"/>
                  </a:lnTo>
                  <a:lnTo>
                    <a:pt x="366" y="200"/>
                  </a:lnTo>
                  <a:lnTo>
                    <a:pt x="363" y="200"/>
                  </a:lnTo>
                  <a:lnTo>
                    <a:pt x="360" y="199"/>
                  </a:lnTo>
                  <a:lnTo>
                    <a:pt x="363" y="199"/>
                  </a:lnTo>
                  <a:lnTo>
                    <a:pt x="364" y="196"/>
                  </a:lnTo>
                  <a:lnTo>
                    <a:pt x="363" y="194"/>
                  </a:lnTo>
                  <a:lnTo>
                    <a:pt x="365" y="196"/>
                  </a:lnTo>
                  <a:lnTo>
                    <a:pt x="367" y="199"/>
                  </a:lnTo>
                  <a:lnTo>
                    <a:pt x="369" y="200"/>
                  </a:lnTo>
                  <a:lnTo>
                    <a:pt x="371" y="201"/>
                  </a:lnTo>
                  <a:lnTo>
                    <a:pt x="371" y="198"/>
                  </a:lnTo>
                  <a:lnTo>
                    <a:pt x="374" y="200"/>
                  </a:lnTo>
                  <a:lnTo>
                    <a:pt x="372" y="197"/>
                  </a:lnTo>
                  <a:lnTo>
                    <a:pt x="375" y="198"/>
                  </a:lnTo>
                  <a:lnTo>
                    <a:pt x="373" y="196"/>
                  </a:lnTo>
                  <a:lnTo>
                    <a:pt x="375" y="196"/>
                  </a:lnTo>
                  <a:lnTo>
                    <a:pt x="379" y="196"/>
                  </a:lnTo>
                  <a:lnTo>
                    <a:pt x="377" y="194"/>
                  </a:lnTo>
                  <a:lnTo>
                    <a:pt x="375" y="191"/>
                  </a:lnTo>
                  <a:lnTo>
                    <a:pt x="372" y="191"/>
                  </a:lnTo>
                  <a:lnTo>
                    <a:pt x="371" y="189"/>
                  </a:lnTo>
                  <a:lnTo>
                    <a:pt x="374" y="191"/>
                  </a:lnTo>
                  <a:lnTo>
                    <a:pt x="376" y="191"/>
                  </a:lnTo>
                  <a:lnTo>
                    <a:pt x="379" y="192"/>
                  </a:lnTo>
                  <a:lnTo>
                    <a:pt x="382" y="191"/>
                  </a:lnTo>
                  <a:lnTo>
                    <a:pt x="382" y="189"/>
                  </a:lnTo>
                  <a:lnTo>
                    <a:pt x="379" y="188"/>
                  </a:lnTo>
                  <a:lnTo>
                    <a:pt x="376" y="187"/>
                  </a:lnTo>
                  <a:lnTo>
                    <a:pt x="373" y="187"/>
                  </a:lnTo>
                  <a:lnTo>
                    <a:pt x="376" y="187"/>
                  </a:lnTo>
                  <a:lnTo>
                    <a:pt x="379" y="186"/>
                  </a:lnTo>
                  <a:lnTo>
                    <a:pt x="377" y="182"/>
                  </a:lnTo>
                  <a:lnTo>
                    <a:pt x="374" y="182"/>
                  </a:lnTo>
                  <a:lnTo>
                    <a:pt x="377" y="182"/>
                  </a:lnTo>
                  <a:lnTo>
                    <a:pt x="379" y="182"/>
                  </a:lnTo>
                  <a:lnTo>
                    <a:pt x="382" y="184"/>
                  </a:lnTo>
                  <a:lnTo>
                    <a:pt x="384" y="186"/>
                  </a:lnTo>
                  <a:lnTo>
                    <a:pt x="388" y="184"/>
                  </a:lnTo>
                  <a:lnTo>
                    <a:pt x="390" y="183"/>
                  </a:lnTo>
                  <a:lnTo>
                    <a:pt x="388" y="182"/>
                  </a:lnTo>
                  <a:lnTo>
                    <a:pt x="384" y="182"/>
                  </a:lnTo>
                  <a:lnTo>
                    <a:pt x="388" y="181"/>
                  </a:lnTo>
                  <a:lnTo>
                    <a:pt x="388" y="179"/>
                  </a:lnTo>
                  <a:lnTo>
                    <a:pt x="384" y="178"/>
                  </a:lnTo>
                  <a:lnTo>
                    <a:pt x="382" y="178"/>
                  </a:lnTo>
                  <a:lnTo>
                    <a:pt x="384" y="177"/>
                  </a:lnTo>
                  <a:lnTo>
                    <a:pt x="388" y="177"/>
                  </a:lnTo>
                  <a:lnTo>
                    <a:pt x="390" y="179"/>
                  </a:lnTo>
                  <a:lnTo>
                    <a:pt x="392" y="179"/>
                  </a:lnTo>
                  <a:lnTo>
                    <a:pt x="393" y="178"/>
                  </a:lnTo>
                  <a:lnTo>
                    <a:pt x="392" y="175"/>
                  </a:lnTo>
                  <a:lnTo>
                    <a:pt x="389" y="173"/>
                  </a:lnTo>
                  <a:lnTo>
                    <a:pt x="386" y="172"/>
                  </a:lnTo>
                  <a:lnTo>
                    <a:pt x="383" y="172"/>
                  </a:lnTo>
                  <a:lnTo>
                    <a:pt x="386" y="171"/>
                  </a:lnTo>
                  <a:lnTo>
                    <a:pt x="383" y="171"/>
                  </a:lnTo>
                  <a:lnTo>
                    <a:pt x="383" y="167"/>
                  </a:lnTo>
                  <a:lnTo>
                    <a:pt x="381" y="169"/>
                  </a:lnTo>
                  <a:lnTo>
                    <a:pt x="377" y="171"/>
                  </a:lnTo>
                  <a:lnTo>
                    <a:pt x="379" y="173"/>
                  </a:lnTo>
                  <a:lnTo>
                    <a:pt x="376" y="171"/>
                  </a:lnTo>
                  <a:lnTo>
                    <a:pt x="374" y="170"/>
                  </a:lnTo>
                  <a:lnTo>
                    <a:pt x="373" y="173"/>
                  </a:lnTo>
                  <a:lnTo>
                    <a:pt x="372" y="175"/>
                  </a:lnTo>
                  <a:lnTo>
                    <a:pt x="372" y="177"/>
                  </a:lnTo>
                  <a:lnTo>
                    <a:pt x="372" y="174"/>
                  </a:lnTo>
                  <a:lnTo>
                    <a:pt x="372" y="171"/>
                  </a:lnTo>
                  <a:lnTo>
                    <a:pt x="369" y="170"/>
                  </a:lnTo>
                  <a:lnTo>
                    <a:pt x="366" y="171"/>
                  </a:lnTo>
                  <a:lnTo>
                    <a:pt x="365" y="174"/>
                  </a:lnTo>
                  <a:lnTo>
                    <a:pt x="364" y="171"/>
                  </a:lnTo>
                  <a:lnTo>
                    <a:pt x="362" y="173"/>
                  </a:lnTo>
                  <a:lnTo>
                    <a:pt x="358" y="173"/>
                  </a:lnTo>
                  <a:lnTo>
                    <a:pt x="362" y="173"/>
                  </a:lnTo>
                  <a:lnTo>
                    <a:pt x="363" y="171"/>
                  </a:lnTo>
                  <a:lnTo>
                    <a:pt x="366" y="170"/>
                  </a:lnTo>
                  <a:lnTo>
                    <a:pt x="366" y="167"/>
                  </a:lnTo>
                  <a:lnTo>
                    <a:pt x="369" y="165"/>
                  </a:lnTo>
                  <a:lnTo>
                    <a:pt x="371" y="162"/>
                  </a:lnTo>
                  <a:lnTo>
                    <a:pt x="367" y="162"/>
                  </a:lnTo>
                  <a:lnTo>
                    <a:pt x="365" y="164"/>
                  </a:lnTo>
                  <a:lnTo>
                    <a:pt x="364" y="166"/>
                  </a:lnTo>
                  <a:lnTo>
                    <a:pt x="362" y="167"/>
                  </a:lnTo>
                  <a:lnTo>
                    <a:pt x="364" y="165"/>
                  </a:lnTo>
                  <a:lnTo>
                    <a:pt x="360" y="164"/>
                  </a:lnTo>
                  <a:lnTo>
                    <a:pt x="358" y="164"/>
                  </a:lnTo>
                  <a:lnTo>
                    <a:pt x="356" y="165"/>
                  </a:lnTo>
                  <a:lnTo>
                    <a:pt x="352" y="165"/>
                  </a:lnTo>
                  <a:lnTo>
                    <a:pt x="350" y="165"/>
                  </a:lnTo>
                  <a:lnTo>
                    <a:pt x="348" y="169"/>
                  </a:lnTo>
                  <a:lnTo>
                    <a:pt x="347" y="169"/>
                  </a:lnTo>
                  <a:lnTo>
                    <a:pt x="348" y="166"/>
                  </a:lnTo>
                  <a:lnTo>
                    <a:pt x="350" y="165"/>
                  </a:lnTo>
                  <a:lnTo>
                    <a:pt x="352" y="164"/>
                  </a:lnTo>
                  <a:lnTo>
                    <a:pt x="356" y="164"/>
                  </a:lnTo>
                  <a:lnTo>
                    <a:pt x="352" y="163"/>
                  </a:lnTo>
                  <a:lnTo>
                    <a:pt x="350" y="164"/>
                  </a:lnTo>
                  <a:lnTo>
                    <a:pt x="347" y="164"/>
                  </a:lnTo>
                  <a:lnTo>
                    <a:pt x="350" y="163"/>
                  </a:lnTo>
                  <a:lnTo>
                    <a:pt x="352" y="163"/>
                  </a:lnTo>
                  <a:lnTo>
                    <a:pt x="350" y="162"/>
                  </a:lnTo>
                  <a:lnTo>
                    <a:pt x="347" y="161"/>
                  </a:lnTo>
                  <a:lnTo>
                    <a:pt x="350" y="161"/>
                  </a:lnTo>
                  <a:lnTo>
                    <a:pt x="356" y="162"/>
                  </a:lnTo>
                  <a:lnTo>
                    <a:pt x="357" y="160"/>
                  </a:lnTo>
                  <a:lnTo>
                    <a:pt x="354" y="158"/>
                  </a:lnTo>
                  <a:lnTo>
                    <a:pt x="351" y="158"/>
                  </a:lnTo>
                  <a:lnTo>
                    <a:pt x="354" y="157"/>
                  </a:lnTo>
                  <a:lnTo>
                    <a:pt x="355" y="155"/>
                  </a:lnTo>
                  <a:lnTo>
                    <a:pt x="356" y="155"/>
                  </a:lnTo>
                  <a:lnTo>
                    <a:pt x="352" y="155"/>
                  </a:lnTo>
                  <a:lnTo>
                    <a:pt x="352" y="152"/>
                  </a:lnTo>
                  <a:lnTo>
                    <a:pt x="349" y="153"/>
                  </a:lnTo>
                  <a:lnTo>
                    <a:pt x="349" y="151"/>
                  </a:lnTo>
                  <a:lnTo>
                    <a:pt x="347" y="151"/>
                  </a:lnTo>
                  <a:lnTo>
                    <a:pt x="346" y="153"/>
                  </a:lnTo>
                  <a:lnTo>
                    <a:pt x="343" y="152"/>
                  </a:lnTo>
                  <a:lnTo>
                    <a:pt x="340" y="154"/>
                  </a:lnTo>
                  <a:lnTo>
                    <a:pt x="342" y="152"/>
                  </a:lnTo>
                  <a:lnTo>
                    <a:pt x="342" y="148"/>
                  </a:lnTo>
                  <a:lnTo>
                    <a:pt x="346" y="147"/>
                  </a:lnTo>
                  <a:lnTo>
                    <a:pt x="342" y="145"/>
                  </a:lnTo>
                  <a:lnTo>
                    <a:pt x="340" y="147"/>
                  </a:lnTo>
                  <a:lnTo>
                    <a:pt x="338" y="147"/>
                  </a:lnTo>
                  <a:lnTo>
                    <a:pt x="335" y="151"/>
                  </a:lnTo>
                  <a:lnTo>
                    <a:pt x="338" y="153"/>
                  </a:lnTo>
                  <a:lnTo>
                    <a:pt x="335" y="152"/>
                  </a:lnTo>
                  <a:lnTo>
                    <a:pt x="335" y="148"/>
                  </a:lnTo>
                  <a:lnTo>
                    <a:pt x="337" y="146"/>
                  </a:lnTo>
                  <a:lnTo>
                    <a:pt x="334" y="146"/>
                  </a:lnTo>
                  <a:lnTo>
                    <a:pt x="330" y="152"/>
                  </a:lnTo>
                  <a:lnTo>
                    <a:pt x="329" y="154"/>
                  </a:lnTo>
                  <a:lnTo>
                    <a:pt x="329" y="152"/>
                  </a:lnTo>
                  <a:lnTo>
                    <a:pt x="330" y="148"/>
                  </a:lnTo>
                  <a:lnTo>
                    <a:pt x="329" y="147"/>
                  </a:lnTo>
                  <a:lnTo>
                    <a:pt x="331" y="144"/>
                  </a:lnTo>
                  <a:lnTo>
                    <a:pt x="328" y="145"/>
                  </a:lnTo>
                  <a:lnTo>
                    <a:pt x="325" y="147"/>
                  </a:lnTo>
                  <a:lnTo>
                    <a:pt x="324" y="149"/>
                  </a:lnTo>
                  <a:lnTo>
                    <a:pt x="322" y="149"/>
                  </a:lnTo>
                  <a:lnTo>
                    <a:pt x="320" y="148"/>
                  </a:lnTo>
                  <a:lnTo>
                    <a:pt x="322" y="149"/>
                  </a:lnTo>
                  <a:lnTo>
                    <a:pt x="324" y="146"/>
                  </a:lnTo>
                  <a:lnTo>
                    <a:pt x="325" y="144"/>
                  </a:lnTo>
                  <a:lnTo>
                    <a:pt x="322" y="144"/>
                  </a:lnTo>
                  <a:lnTo>
                    <a:pt x="320" y="146"/>
                  </a:lnTo>
                  <a:lnTo>
                    <a:pt x="320" y="143"/>
                  </a:lnTo>
                  <a:lnTo>
                    <a:pt x="317" y="144"/>
                  </a:lnTo>
                  <a:lnTo>
                    <a:pt x="317" y="141"/>
                  </a:lnTo>
                  <a:lnTo>
                    <a:pt x="315" y="139"/>
                  </a:lnTo>
                  <a:lnTo>
                    <a:pt x="313" y="139"/>
                  </a:lnTo>
                  <a:lnTo>
                    <a:pt x="311" y="143"/>
                  </a:lnTo>
                  <a:lnTo>
                    <a:pt x="308" y="143"/>
                  </a:lnTo>
                  <a:lnTo>
                    <a:pt x="311" y="141"/>
                  </a:lnTo>
                  <a:lnTo>
                    <a:pt x="312" y="139"/>
                  </a:lnTo>
                  <a:lnTo>
                    <a:pt x="314" y="138"/>
                  </a:lnTo>
                  <a:lnTo>
                    <a:pt x="312" y="137"/>
                  </a:lnTo>
                  <a:lnTo>
                    <a:pt x="309" y="138"/>
                  </a:lnTo>
                  <a:lnTo>
                    <a:pt x="306" y="140"/>
                  </a:lnTo>
                  <a:lnTo>
                    <a:pt x="304" y="139"/>
                  </a:lnTo>
                  <a:lnTo>
                    <a:pt x="306" y="138"/>
                  </a:lnTo>
                  <a:lnTo>
                    <a:pt x="309" y="137"/>
                  </a:lnTo>
                  <a:lnTo>
                    <a:pt x="312" y="136"/>
                  </a:lnTo>
                  <a:lnTo>
                    <a:pt x="314" y="137"/>
                  </a:lnTo>
                  <a:lnTo>
                    <a:pt x="317" y="136"/>
                  </a:lnTo>
                  <a:lnTo>
                    <a:pt x="314" y="135"/>
                  </a:lnTo>
                  <a:lnTo>
                    <a:pt x="312" y="136"/>
                  </a:lnTo>
                  <a:lnTo>
                    <a:pt x="309" y="135"/>
                  </a:lnTo>
                  <a:lnTo>
                    <a:pt x="307" y="137"/>
                  </a:lnTo>
                  <a:lnTo>
                    <a:pt x="306" y="134"/>
                  </a:lnTo>
                  <a:lnTo>
                    <a:pt x="304" y="132"/>
                  </a:lnTo>
                  <a:lnTo>
                    <a:pt x="303" y="136"/>
                  </a:lnTo>
                  <a:lnTo>
                    <a:pt x="303" y="132"/>
                  </a:lnTo>
                  <a:lnTo>
                    <a:pt x="300" y="134"/>
                  </a:lnTo>
                  <a:lnTo>
                    <a:pt x="297" y="131"/>
                  </a:lnTo>
                  <a:lnTo>
                    <a:pt x="295" y="132"/>
                  </a:lnTo>
                  <a:lnTo>
                    <a:pt x="292" y="132"/>
                  </a:lnTo>
                  <a:lnTo>
                    <a:pt x="295" y="131"/>
                  </a:lnTo>
                  <a:lnTo>
                    <a:pt x="292" y="131"/>
                  </a:lnTo>
                  <a:lnTo>
                    <a:pt x="289" y="131"/>
                  </a:lnTo>
                  <a:lnTo>
                    <a:pt x="292" y="130"/>
                  </a:lnTo>
                  <a:lnTo>
                    <a:pt x="295" y="130"/>
                  </a:lnTo>
                  <a:lnTo>
                    <a:pt x="297" y="130"/>
                  </a:lnTo>
                  <a:lnTo>
                    <a:pt x="300" y="130"/>
                  </a:lnTo>
                  <a:lnTo>
                    <a:pt x="297" y="129"/>
                  </a:lnTo>
                  <a:lnTo>
                    <a:pt x="292" y="128"/>
                  </a:lnTo>
                  <a:lnTo>
                    <a:pt x="289" y="128"/>
                  </a:lnTo>
                  <a:lnTo>
                    <a:pt x="287" y="127"/>
                  </a:lnTo>
                  <a:lnTo>
                    <a:pt x="283" y="127"/>
                  </a:lnTo>
                  <a:lnTo>
                    <a:pt x="287" y="126"/>
                  </a:lnTo>
                  <a:lnTo>
                    <a:pt x="289" y="127"/>
                  </a:lnTo>
                  <a:lnTo>
                    <a:pt x="295" y="127"/>
                  </a:lnTo>
                  <a:lnTo>
                    <a:pt x="297" y="126"/>
                  </a:lnTo>
                  <a:lnTo>
                    <a:pt x="300" y="127"/>
                  </a:lnTo>
                  <a:lnTo>
                    <a:pt x="303" y="127"/>
                  </a:lnTo>
                  <a:lnTo>
                    <a:pt x="304" y="127"/>
                  </a:lnTo>
                  <a:lnTo>
                    <a:pt x="300" y="126"/>
                  </a:lnTo>
                  <a:lnTo>
                    <a:pt x="298" y="124"/>
                  </a:lnTo>
                  <a:lnTo>
                    <a:pt x="295" y="124"/>
                  </a:lnTo>
                  <a:lnTo>
                    <a:pt x="298" y="124"/>
                  </a:lnTo>
                  <a:lnTo>
                    <a:pt x="300" y="126"/>
                  </a:lnTo>
                  <a:lnTo>
                    <a:pt x="298" y="122"/>
                  </a:lnTo>
                  <a:lnTo>
                    <a:pt x="295" y="122"/>
                  </a:lnTo>
                  <a:lnTo>
                    <a:pt x="298" y="122"/>
                  </a:lnTo>
                  <a:lnTo>
                    <a:pt x="300" y="122"/>
                  </a:lnTo>
                  <a:lnTo>
                    <a:pt x="304" y="121"/>
                  </a:lnTo>
                  <a:lnTo>
                    <a:pt x="300" y="119"/>
                  </a:lnTo>
                  <a:lnTo>
                    <a:pt x="298" y="118"/>
                  </a:lnTo>
                  <a:lnTo>
                    <a:pt x="296" y="118"/>
                  </a:lnTo>
                  <a:lnTo>
                    <a:pt x="292" y="119"/>
                  </a:lnTo>
                  <a:lnTo>
                    <a:pt x="290" y="120"/>
                  </a:lnTo>
                  <a:lnTo>
                    <a:pt x="288" y="122"/>
                  </a:lnTo>
                  <a:lnTo>
                    <a:pt x="289" y="120"/>
                  </a:lnTo>
                  <a:lnTo>
                    <a:pt x="291" y="119"/>
                  </a:lnTo>
                  <a:lnTo>
                    <a:pt x="295" y="118"/>
                  </a:lnTo>
                  <a:lnTo>
                    <a:pt x="291" y="117"/>
                  </a:lnTo>
                  <a:lnTo>
                    <a:pt x="289" y="117"/>
                  </a:lnTo>
                  <a:lnTo>
                    <a:pt x="288" y="117"/>
                  </a:lnTo>
                  <a:lnTo>
                    <a:pt x="291" y="117"/>
                  </a:lnTo>
                  <a:lnTo>
                    <a:pt x="294" y="117"/>
                  </a:lnTo>
                  <a:lnTo>
                    <a:pt x="297" y="117"/>
                  </a:lnTo>
                  <a:lnTo>
                    <a:pt x="299" y="118"/>
                  </a:lnTo>
                  <a:lnTo>
                    <a:pt x="297" y="115"/>
                  </a:lnTo>
                  <a:lnTo>
                    <a:pt x="294" y="115"/>
                  </a:lnTo>
                  <a:lnTo>
                    <a:pt x="291" y="114"/>
                  </a:lnTo>
                  <a:lnTo>
                    <a:pt x="288" y="114"/>
                  </a:lnTo>
                  <a:lnTo>
                    <a:pt x="286" y="114"/>
                  </a:lnTo>
                  <a:lnTo>
                    <a:pt x="288" y="113"/>
                  </a:lnTo>
                  <a:lnTo>
                    <a:pt x="291" y="114"/>
                  </a:lnTo>
                  <a:lnTo>
                    <a:pt x="294" y="114"/>
                  </a:lnTo>
                  <a:lnTo>
                    <a:pt x="297" y="114"/>
                  </a:lnTo>
                  <a:lnTo>
                    <a:pt x="299" y="114"/>
                  </a:lnTo>
                  <a:lnTo>
                    <a:pt x="303" y="117"/>
                  </a:lnTo>
                  <a:lnTo>
                    <a:pt x="305" y="118"/>
                  </a:lnTo>
                  <a:lnTo>
                    <a:pt x="308" y="118"/>
                  </a:lnTo>
                  <a:lnTo>
                    <a:pt x="311" y="118"/>
                  </a:lnTo>
                  <a:lnTo>
                    <a:pt x="314" y="118"/>
                  </a:lnTo>
                  <a:lnTo>
                    <a:pt x="316" y="118"/>
                  </a:lnTo>
                  <a:lnTo>
                    <a:pt x="318" y="119"/>
                  </a:lnTo>
                  <a:lnTo>
                    <a:pt x="320" y="115"/>
                  </a:lnTo>
                  <a:lnTo>
                    <a:pt x="317" y="113"/>
                  </a:lnTo>
                  <a:lnTo>
                    <a:pt x="314" y="112"/>
                  </a:lnTo>
                  <a:lnTo>
                    <a:pt x="312" y="111"/>
                  </a:lnTo>
                  <a:lnTo>
                    <a:pt x="308" y="111"/>
                  </a:lnTo>
                  <a:lnTo>
                    <a:pt x="306" y="110"/>
                  </a:lnTo>
                  <a:lnTo>
                    <a:pt x="303" y="111"/>
                  </a:lnTo>
                  <a:lnTo>
                    <a:pt x="300" y="110"/>
                  </a:lnTo>
                  <a:lnTo>
                    <a:pt x="297" y="109"/>
                  </a:lnTo>
                  <a:lnTo>
                    <a:pt x="295" y="109"/>
                  </a:lnTo>
                  <a:lnTo>
                    <a:pt x="292" y="107"/>
                  </a:lnTo>
                  <a:lnTo>
                    <a:pt x="289" y="109"/>
                  </a:lnTo>
                  <a:lnTo>
                    <a:pt x="287" y="109"/>
                  </a:lnTo>
                  <a:lnTo>
                    <a:pt x="283" y="110"/>
                  </a:lnTo>
                  <a:lnTo>
                    <a:pt x="280" y="109"/>
                  </a:lnTo>
                  <a:lnTo>
                    <a:pt x="278" y="109"/>
                  </a:lnTo>
                  <a:lnTo>
                    <a:pt x="275" y="110"/>
                  </a:lnTo>
                  <a:lnTo>
                    <a:pt x="274" y="110"/>
                  </a:lnTo>
                  <a:lnTo>
                    <a:pt x="274" y="109"/>
                  </a:lnTo>
                  <a:lnTo>
                    <a:pt x="277" y="109"/>
                  </a:lnTo>
                  <a:lnTo>
                    <a:pt x="280" y="109"/>
                  </a:lnTo>
                  <a:lnTo>
                    <a:pt x="282" y="109"/>
                  </a:lnTo>
                  <a:lnTo>
                    <a:pt x="284" y="109"/>
                  </a:lnTo>
                  <a:lnTo>
                    <a:pt x="290" y="106"/>
                  </a:lnTo>
                  <a:lnTo>
                    <a:pt x="294" y="106"/>
                  </a:lnTo>
                  <a:lnTo>
                    <a:pt x="296" y="106"/>
                  </a:lnTo>
                  <a:lnTo>
                    <a:pt x="298" y="104"/>
                  </a:lnTo>
                  <a:lnTo>
                    <a:pt x="301" y="103"/>
                  </a:lnTo>
                  <a:lnTo>
                    <a:pt x="304" y="103"/>
                  </a:lnTo>
                  <a:lnTo>
                    <a:pt x="307" y="104"/>
                  </a:lnTo>
                  <a:lnTo>
                    <a:pt x="309" y="104"/>
                  </a:lnTo>
                  <a:lnTo>
                    <a:pt x="313" y="104"/>
                  </a:lnTo>
                  <a:lnTo>
                    <a:pt x="313" y="102"/>
                  </a:lnTo>
                  <a:lnTo>
                    <a:pt x="312" y="100"/>
                  </a:lnTo>
                  <a:lnTo>
                    <a:pt x="311" y="97"/>
                  </a:lnTo>
                  <a:lnTo>
                    <a:pt x="308" y="95"/>
                  </a:lnTo>
                  <a:lnTo>
                    <a:pt x="306" y="93"/>
                  </a:lnTo>
                  <a:lnTo>
                    <a:pt x="303" y="90"/>
                  </a:lnTo>
                  <a:lnTo>
                    <a:pt x="300" y="89"/>
                  </a:lnTo>
                  <a:lnTo>
                    <a:pt x="297" y="92"/>
                  </a:lnTo>
                  <a:lnTo>
                    <a:pt x="299" y="95"/>
                  </a:lnTo>
                  <a:lnTo>
                    <a:pt x="296" y="96"/>
                  </a:lnTo>
                  <a:lnTo>
                    <a:pt x="294" y="97"/>
                  </a:lnTo>
                  <a:lnTo>
                    <a:pt x="290" y="98"/>
                  </a:lnTo>
                  <a:lnTo>
                    <a:pt x="288" y="100"/>
                  </a:lnTo>
                  <a:lnTo>
                    <a:pt x="284" y="101"/>
                  </a:lnTo>
                  <a:lnTo>
                    <a:pt x="282" y="103"/>
                  </a:lnTo>
                  <a:lnTo>
                    <a:pt x="280" y="102"/>
                  </a:lnTo>
                  <a:lnTo>
                    <a:pt x="277" y="103"/>
                  </a:lnTo>
                  <a:lnTo>
                    <a:pt x="274" y="105"/>
                  </a:lnTo>
                  <a:lnTo>
                    <a:pt x="274" y="107"/>
                  </a:lnTo>
                  <a:lnTo>
                    <a:pt x="274" y="106"/>
                  </a:lnTo>
                  <a:lnTo>
                    <a:pt x="275" y="103"/>
                  </a:lnTo>
                  <a:lnTo>
                    <a:pt x="279" y="102"/>
                  </a:lnTo>
                  <a:lnTo>
                    <a:pt x="281" y="102"/>
                  </a:lnTo>
                  <a:lnTo>
                    <a:pt x="284" y="100"/>
                  </a:lnTo>
                  <a:lnTo>
                    <a:pt x="287" y="98"/>
                  </a:lnTo>
                  <a:lnTo>
                    <a:pt x="288" y="97"/>
                  </a:lnTo>
                  <a:lnTo>
                    <a:pt x="291" y="96"/>
                  </a:lnTo>
                  <a:lnTo>
                    <a:pt x="292" y="94"/>
                  </a:lnTo>
                  <a:lnTo>
                    <a:pt x="290" y="93"/>
                  </a:lnTo>
                  <a:lnTo>
                    <a:pt x="287" y="93"/>
                  </a:lnTo>
                  <a:lnTo>
                    <a:pt x="284" y="93"/>
                  </a:lnTo>
                  <a:lnTo>
                    <a:pt x="281" y="94"/>
                  </a:lnTo>
                  <a:lnTo>
                    <a:pt x="279" y="94"/>
                  </a:lnTo>
                  <a:lnTo>
                    <a:pt x="277" y="97"/>
                  </a:lnTo>
                  <a:lnTo>
                    <a:pt x="278" y="97"/>
                  </a:lnTo>
                  <a:lnTo>
                    <a:pt x="274" y="98"/>
                  </a:lnTo>
                  <a:lnTo>
                    <a:pt x="274" y="98"/>
                  </a:lnTo>
                  <a:lnTo>
                    <a:pt x="269" y="102"/>
                  </a:lnTo>
                  <a:lnTo>
                    <a:pt x="271" y="98"/>
                  </a:lnTo>
                  <a:lnTo>
                    <a:pt x="274" y="98"/>
                  </a:lnTo>
                  <a:lnTo>
                    <a:pt x="277" y="97"/>
                  </a:lnTo>
                  <a:lnTo>
                    <a:pt x="274" y="96"/>
                  </a:lnTo>
                  <a:lnTo>
                    <a:pt x="274" y="96"/>
                  </a:lnTo>
                  <a:lnTo>
                    <a:pt x="277" y="94"/>
                  </a:lnTo>
                  <a:lnTo>
                    <a:pt x="280" y="93"/>
                  </a:lnTo>
                  <a:lnTo>
                    <a:pt x="282" y="92"/>
                  </a:lnTo>
                  <a:lnTo>
                    <a:pt x="288" y="90"/>
                  </a:lnTo>
                  <a:lnTo>
                    <a:pt x="291" y="90"/>
                  </a:lnTo>
                  <a:lnTo>
                    <a:pt x="292" y="87"/>
                  </a:lnTo>
                  <a:lnTo>
                    <a:pt x="295" y="88"/>
                  </a:lnTo>
                  <a:lnTo>
                    <a:pt x="297" y="86"/>
                  </a:lnTo>
                  <a:lnTo>
                    <a:pt x="296" y="83"/>
                  </a:lnTo>
                  <a:lnTo>
                    <a:pt x="290" y="81"/>
                  </a:lnTo>
                  <a:lnTo>
                    <a:pt x="288" y="80"/>
                  </a:lnTo>
                  <a:lnTo>
                    <a:pt x="286" y="79"/>
                  </a:lnTo>
                  <a:lnTo>
                    <a:pt x="282" y="78"/>
                  </a:lnTo>
                  <a:lnTo>
                    <a:pt x="280" y="79"/>
                  </a:lnTo>
                  <a:lnTo>
                    <a:pt x="277" y="80"/>
                  </a:lnTo>
                  <a:lnTo>
                    <a:pt x="274" y="83"/>
                  </a:lnTo>
                  <a:lnTo>
                    <a:pt x="271" y="83"/>
                  </a:lnTo>
                  <a:lnTo>
                    <a:pt x="269" y="83"/>
                  </a:lnTo>
                  <a:lnTo>
                    <a:pt x="270" y="86"/>
                  </a:lnTo>
                  <a:lnTo>
                    <a:pt x="267" y="83"/>
                  </a:lnTo>
                  <a:lnTo>
                    <a:pt x="270" y="83"/>
                  </a:lnTo>
                  <a:lnTo>
                    <a:pt x="273" y="80"/>
                  </a:lnTo>
                  <a:lnTo>
                    <a:pt x="274" y="80"/>
                  </a:lnTo>
                  <a:lnTo>
                    <a:pt x="277" y="78"/>
                  </a:lnTo>
                  <a:lnTo>
                    <a:pt x="274" y="77"/>
                  </a:lnTo>
                  <a:lnTo>
                    <a:pt x="271" y="78"/>
                  </a:lnTo>
                  <a:lnTo>
                    <a:pt x="269" y="78"/>
                  </a:lnTo>
                  <a:lnTo>
                    <a:pt x="265" y="79"/>
                  </a:lnTo>
                  <a:lnTo>
                    <a:pt x="263" y="81"/>
                  </a:lnTo>
                  <a:lnTo>
                    <a:pt x="261" y="83"/>
                  </a:lnTo>
                  <a:lnTo>
                    <a:pt x="260" y="85"/>
                  </a:lnTo>
                  <a:lnTo>
                    <a:pt x="258" y="87"/>
                  </a:lnTo>
                  <a:lnTo>
                    <a:pt x="257" y="90"/>
                  </a:lnTo>
                  <a:lnTo>
                    <a:pt x="256" y="93"/>
                  </a:lnTo>
                  <a:lnTo>
                    <a:pt x="255" y="95"/>
                  </a:lnTo>
                  <a:lnTo>
                    <a:pt x="256" y="93"/>
                  </a:lnTo>
                  <a:lnTo>
                    <a:pt x="256" y="89"/>
                  </a:lnTo>
                  <a:lnTo>
                    <a:pt x="257" y="87"/>
                  </a:lnTo>
                  <a:lnTo>
                    <a:pt x="258" y="85"/>
                  </a:lnTo>
                  <a:lnTo>
                    <a:pt x="255" y="84"/>
                  </a:lnTo>
                  <a:lnTo>
                    <a:pt x="253" y="86"/>
                  </a:lnTo>
                  <a:lnTo>
                    <a:pt x="252" y="88"/>
                  </a:lnTo>
                  <a:lnTo>
                    <a:pt x="249" y="90"/>
                  </a:lnTo>
                  <a:lnTo>
                    <a:pt x="251" y="87"/>
                  </a:lnTo>
                  <a:lnTo>
                    <a:pt x="247" y="87"/>
                  </a:lnTo>
                  <a:lnTo>
                    <a:pt x="251" y="87"/>
                  </a:lnTo>
                  <a:lnTo>
                    <a:pt x="253" y="84"/>
                  </a:lnTo>
                  <a:lnTo>
                    <a:pt x="255" y="83"/>
                  </a:lnTo>
                  <a:lnTo>
                    <a:pt x="258" y="84"/>
                  </a:lnTo>
                  <a:lnTo>
                    <a:pt x="261" y="81"/>
                  </a:lnTo>
                  <a:lnTo>
                    <a:pt x="263" y="79"/>
                  </a:lnTo>
                  <a:lnTo>
                    <a:pt x="265" y="77"/>
                  </a:lnTo>
                  <a:lnTo>
                    <a:pt x="266" y="73"/>
                  </a:lnTo>
                  <a:lnTo>
                    <a:pt x="265" y="71"/>
                  </a:lnTo>
                  <a:lnTo>
                    <a:pt x="263" y="70"/>
                  </a:lnTo>
                  <a:lnTo>
                    <a:pt x="261" y="71"/>
                  </a:lnTo>
                  <a:lnTo>
                    <a:pt x="257" y="72"/>
                  </a:lnTo>
                  <a:lnTo>
                    <a:pt x="257" y="76"/>
                  </a:lnTo>
                  <a:lnTo>
                    <a:pt x="254" y="76"/>
                  </a:lnTo>
                  <a:lnTo>
                    <a:pt x="252" y="77"/>
                  </a:lnTo>
                  <a:lnTo>
                    <a:pt x="248" y="78"/>
                  </a:lnTo>
                  <a:lnTo>
                    <a:pt x="246" y="78"/>
                  </a:lnTo>
                  <a:lnTo>
                    <a:pt x="243" y="80"/>
                  </a:lnTo>
                  <a:lnTo>
                    <a:pt x="240" y="83"/>
                  </a:lnTo>
                  <a:lnTo>
                    <a:pt x="238" y="83"/>
                  </a:lnTo>
                  <a:lnTo>
                    <a:pt x="240" y="81"/>
                  </a:lnTo>
                  <a:lnTo>
                    <a:pt x="243" y="78"/>
                  </a:lnTo>
                  <a:lnTo>
                    <a:pt x="240" y="77"/>
                  </a:lnTo>
                  <a:lnTo>
                    <a:pt x="238" y="78"/>
                  </a:lnTo>
                  <a:lnTo>
                    <a:pt x="240" y="77"/>
                  </a:lnTo>
                  <a:lnTo>
                    <a:pt x="244" y="73"/>
                  </a:lnTo>
                  <a:lnTo>
                    <a:pt x="246" y="71"/>
                  </a:lnTo>
                  <a:lnTo>
                    <a:pt x="248" y="70"/>
                  </a:lnTo>
                  <a:lnTo>
                    <a:pt x="251" y="71"/>
                  </a:lnTo>
                  <a:lnTo>
                    <a:pt x="254" y="71"/>
                  </a:lnTo>
                  <a:lnTo>
                    <a:pt x="256" y="69"/>
                  </a:lnTo>
                  <a:lnTo>
                    <a:pt x="258" y="67"/>
                  </a:lnTo>
                  <a:lnTo>
                    <a:pt x="257" y="64"/>
                  </a:lnTo>
                  <a:lnTo>
                    <a:pt x="254" y="61"/>
                  </a:lnTo>
                  <a:lnTo>
                    <a:pt x="252" y="60"/>
                  </a:lnTo>
                  <a:lnTo>
                    <a:pt x="248" y="59"/>
                  </a:lnTo>
                  <a:lnTo>
                    <a:pt x="246" y="59"/>
                  </a:lnTo>
                  <a:lnTo>
                    <a:pt x="244" y="58"/>
                  </a:lnTo>
                  <a:lnTo>
                    <a:pt x="240" y="57"/>
                  </a:lnTo>
                  <a:lnTo>
                    <a:pt x="238" y="59"/>
                  </a:lnTo>
                  <a:lnTo>
                    <a:pt x="236" y="60"/>
                  </a:lnTo>
                  <a:lnTo>
                    <a:pt x="234" y="63"/>
                  </a:lnTo>
                  <a:lnTo>
                    <a:pt x="234" y="66"/>
                  </a:lnTo>
                  <a:lnTo>
                    <a:pt x="231" y="68"/>
                  </a:lnTo>
                  <a:lnTo>
                    <a:pt x="230" y="70"/>
                  </a:lnTo>
                  <a:lnTo>
                    <a:pt x="228" y="73"/>
                  </a:lnTo>
                  <a:lnTo>
                    <a:pt x="229" y="70"/>
                  </a:lnTo>
                  <a:lnTo>
                    <a:pt x="229" y="68"/>
                  </a:lnTo>
                  <a:lnTo>
                    <a:pt x="232" y="67"/>
                  </a:lnTo>
                  <a:lnTo>
                    <a:pt x="229" y="64"/>
                  </a:lnTo>
                  <a:lnTo>
                    <a:pt x="227" y="66"/>
                  </a:lnTo>
                  <a:lnTo>
                    <a:pt x="224" y="68"/>
                  </a:lnTo>
                  <a:lnTo>
                    <a:pt x="223" y="71"/>
                  </a:lnTo>
                  <a:lnTo>
                    <a:pt x="221" y="71"/>
                  </a:lnTo>
                  <a:lnTo>
                    <a:pt x="223" y="69"/>
                  </a:lnTo>
                  <a:lnTo>
                    <a:pt x="224" y="66"/>
                  </a:lnTo>
                  <a:lnTo>
                    <a:pt x="227" y="63"/>
                  </a:lnTo>
                  <a:lnTo>
                    <a:pt x="224" y="61"/>
                  </a:lnTo>
                  <a:lnTo>
                    <a:pt x="224" y="58"/>
                  </a:lnTo>
                  <a:lnTo>
                    <a:pt x="221" y="60"/>
                  </a:lnTo>
                  <a:lnTo>
                    <a:pt x="220" y="62"/>
                  </a:lnTo>
                  <a:lnTo>
                    <a:pt x="219" y="64"/>
                  </a:lnTo>
                  <a:lnTo>
                    <a:pt x="217" y="68"/>
                  </a:lnTo>
                  <a:lnTo>
                    <a:pt x="218" y="64"/>
                  </a:lnTo>
                  <a:lnTo>
                    <a:pt x="219" y="62"/>
                  </a:lnTo>
                  <a:lnTo>
                    <a:pt x="217" y="62"/>
                  </a:lnTo>
                  <a:lnTo>
                    <a:pt x="219" y="61"/>
                  </a:lnTo>
                  <a:lnTo>
                    <a:pt x="220" y="59"/>
                  </a:lnTo>
                  <a:lnTo>
                    <a:pt x="222" y="57"/>
                  </a:lnTo>
                  <a:lnTo>
                    <a:pt x="223" y="53"/>
                  </a:lnTo>
                  <a:lnTo>
                    <a:pt x="220" y="53"/>
                  </a:lnTo>
                  <a:lnTo>
                    <a:pt x="218" y="57"/>
                  </a:lnTo>
                  <a:lnTo>
                    <a:pt x="218" y="59"/>
                  </a:lnTo>
                  <a:lnTo>
                    <a:pt x="218" y="57"/>
                  </a:lnTo>
                  <a:lnTo>
                    <a:pt x="214" y="55"/>
                  </a:lnTo>
                  <a:lnTo>
                    <a:pt x="212" y="57"/>
                  </a:lnTo>
                  <a:lnTo>
                    <a:pt x="210" y="60"/>
                  </a:lnTo>
                  <a:lnTo>
                    <a:pt x="211" y="62"/>
                  </a:lnTo>
                  <a:lnTo>
                    <a:pt x="209" y="66"/>
                  </a:lnTo>
                  <a:lnTo>
                    <a:pt x="206" y="68"/>
                  </a:lnTo>
                  <a:lnTo>
                    <a:pt x="209" y="64"/>
                  </a:lnTo>
                  <a:lnTo>
                    <a:pt x="209" y="62"/>
                  </a:lnTo>
                  <a:lnTo>
                    <a:pt x="206" y="60"/>
                  </a:lnTo>
                  <a:lnTo>
                    <a:pt x="205" y="60"/>
                  </a:lnTo>
                  <a:lnTo>
                    <a:pt x="209" y="59"/>
                  </a:lnTo>
                  <a:lnTo>
                    <a:pt x="211" y="57"/>
                  </a:lnTo>
                  <a:lnTo>
                    <a:pt x="209" y="57"/>
                  </a:lnTo>
                  <a:lnTo>
                    <a:pt x="205" y="58"/>
                  </a:lnTo>
                  <a:lnTo>
                    <a:pt x="203" y="59"/>
                  </a:lnTo>
                  <a:lnTo>
                    <a:pt x="205" y="57"/>
                  </a:lnTo>
                  <a:lnTo>
                    <a:pt x="203" y="55"/>
                  </a:lnTo>
                  <a:lnTo>
                    <a:pt x="205" y="55"/>
                  </a:lnTo>
                  <a:lnTo>
                    <a:pt x="209" y="54"/>
                  </a:lnTo>
                  <a:lnTo>
                    <a:pt x="211" y="53"/>
                  </a:lnTo>
                  <a:lnTo>
                    <a:pt x="213" y="52"/>
                  </a:lnTo>
                  <a:lnTo>
                    <a:pt x="217" y="52"/>
                  </a:lnTo>
                  <a:lnTo>
                    <a:pt x="218" y="49"/>
                  </a:lnTo>
                  <a:lnTo>
                    <a:pt x="217" y="46"/>
                  </a:lnTo>
                  <a:lnTo>
                    <a:pt x="213" y="45"/>
                  </a:lnTo>
                  <a:lnTo>
                    <a:pt x="211" y="45"/>
                  </a:lnTo>
                  <a:lnTo>
                    <a:pt x="209" y="45"/>
                  </a:lnTo>
                  <a:lnTo>
                    <a:pt x="205" y="44"/>
                  </a:lnTo>
                  <a:lnTo>
                    <a:pt x="203" y="47"/>
                  </a:lnTo>
                  <a:lnTo>
                    <a:pt x="201" y="47"/>
                  </a:lnTo>
                  <a:lnTo>
                    <a:pt x="197" y="49"/>
                  </a:lnTo>
                  <a:lnTo>
                    <a:pt x="197" y="52"/>
                  </a:lnTo>
                  <a:lnTo>
                    <a:pt x="195" y="54"/>
                  </a:lnTo>
                  <a:lnTo>
                    <a:pt x="192" y="55"/>
                  </a:lnTo>
                  <a:lnTo>
                    <a:pt x="195" y="53"/>
                  </a:lnTo>
                  <a:lnTo>
                    <a:pt x="196" y="51"/>
                  </a:lnTo>
                  <a:lnTo>
                    <a:pt x="197" y="47"/>
                  </a:lnTo>
                  <a:lnTo>
                    <a:pt x="201" y="45"/>
                  </a:lnTo>
                  <a:lnTo>
                    <a:pt x="197" y="44"/>
                  </a:lnTo>
                  <a:lnTo>
                    <a:pt x="195" y="45"/>
                  </a:lnTo>
                  <a:lnTo>
                    <a:pt x="192" y="46"/>
                  </a:lnTo>
                  <a:lnTo>
                    <a:pt x="189" y="49"/>
                  </a:lnTo>
                  <a:lnTo>
                    <a:pt x="187" y="51"/>
                  </a:lnTo>
                  <a:lnTo>
                    <a:pt x="189" y="47"/>
                  </a:lnTo>
                  <a:lnTo>
                    <a:pt x="192" y="45"/>
                  </a:lnTo>
                  <a:lnTo>
                    <a:pt x="195" y="44"/>
                  </a:lnTo>
                  <a:lnTo>
                    <a:pt x="197" y="44"/>
                  </a:lnTo>
                  <a:lnTo>
                    <a:pt x="201" y="44"/>
                  </a:lnTo>
                  <a:lnTo>
                    <a:pt x="203" y="44"/>
                  </a:lnTo>
                  <a:lnTo>
                    <a:pt x="205" y="42"/>
                  </a:lnTo>
                  <a:lnTo>
                    <a:pt x="205" y="38"/>
                  </a:lnTo>
                  <a:lnTo>
                    <a:pt x="203" y="36"/>
                  </a:lnTo>
                  <a:lnTo>
                    <a:pt x="201" y="35"/>
                  </a:lnTo>
                  <a:lnTo>
                    <a:pt x="197" y="34"/>
                  </a:lnTo>
                  <a:lnTo>
                    <a:pt x="195" y="33"/>
                  </a:lnTo>
                  <a:lnTo>
                    <a:pt x="192" y="33"/>
                  </a:lnTo>
                  <a:lnTo>
                    <a:pt x="192" y="35"/>
                  </a:lnTo>
                  <a:lnTo>
                    <a:pt x="189" y="33"/>
                  </a:lnTo>
                  <a:lnTo>
                    <a:pt x="187" y="32"/>
                  </a:lnTo>
                  <a:lnTo>
                    <a:pt x="184" y="32"/>
                  </a:lnTo>
                  <a:lnTo>
                    <a:pt x="181" y="29"/>
                  </a:lnTo>
                  <a:lnTo>
                    <a:pt x="178" y="28"/>
                  </a:lnTo>
                  <a:lnTo>
                    <a:pt x="173" y="28"/>
                  </a:lnTo>
                  <a:lnTo>
                    <a:pt x="170" y="28"/>
                  </a:lnTo>
                  <a:lnTo>
                    <a:pt x="168" y="29"/>
                  </a:lnTo>
                  <a:lnTo>
                    <a:pt x="164" y="29"/>
                  </a:lnTo>
                  <a:lnTo>
                    <a:pt x="162" y="30"/>
                  </a:lnTo>
                  <a:lnTo>
                    <a:pt x="159" y="33"/>
                  </a:lnTo>
                  <a:lnTo>
                    <a:pt x="156" y="35"/>
                  </a:lnTo>
                  <a:lnTo>
                    <a:pt x="159" y="38"/>
                  </a:lnTo>
                  <a:lnTo>
                    <a:pt x="162" y="38"/>
                  </a:lnTo>
                  <a:lnTo>
                    <a:pt x="164" y="40"/>
                  </a:lnTo>
                  <a:lnTo>
                    <a:pt x="167" y="41"/>
                  </a:lnTo>
                  <a:lnTo>
                    <a:pt x="170" y="42"/>
                  </a:lnTo>
                  <a:lnTo>
                    <a:pt x="172" y="43"/>
                  </a:lnTo>
                  <a:lnTo>
                    <a:pt x="176" y="43"/>
                  </a:lnTo>
                  <a:lnTo>
                    <a:pt x="178" y="44"/>
                  </a:lnTo>
                  <a:lnTo>
                    <a:pt x="176" y="44"/>
                  </a:lnTo>
                  <a:lnTo>
                    <a:pt x="173" y="43"/>
                  </a:lnTo>
                  <a:lnTo>
                    <a:pt x="171" y="43"/>
                  </a:lnTo>
                  <a:lnTo>
                    <a:pt x="168" y="42"/>
                  </a:lnTo>
                  <a:lnTo>
                    <a:pt x="166" y="41"/>
                  </a:lnTo>
                  <a:lnTo>
                    <a:pt x="162" y="41"/>
                  </a:lnTo>
                  <a:lnTo>
                    <a:pt x="160" y="40"/>
                  </a:lnTo>
                  <a:lnTo>
                    <a:pt x="159" y="42"/>
                  </a:lnTo>
                  <a:lnTo>
                    <a:pt x="158" y="40"/>
                  </a:lnTo>
                  <a:lnTo>
                    <a:pt x="154" y="40"/>
                  </a:lnTo>
                  <a:lnTo>
                    <a:pt x="152" y="42"/>
                  </a:lnTo>
                  <a:lnTo>
                    <a:pt x="155" y="44"/>
                  </a:lnTo>
                  <a:lnTo>
                    <a:pt x="159" y="44"/>
                  </a:lnTo>
                  <a:lnTo>
                    <a:pt x="160" y="47"/>
                  </a:lnTo>
                  <a:lnTo>
                    <a:pt x="162" y="49"/>
                  </a:lnTo>
                  <a:lnTo>
                    <a:pt x="166" y="51"/>
                  </a:lnTo>
                  <a:lnTo>
                    <a:pt x="168" y="52"/>
                  </a:lnTo>
                  <a:lnTo>
                    <a:pt x="166" y="52"/>
                  </a:lnTo>
                  <a:lnTo>
                    <a:pt x="163" y="50"/>
                  </a:lnTo>
                  <a:lnTo>
                    <a:pt x="160" y="50"/>
                  </a:lnTo>
                  <a:lnTo>
                    <a:pt x="162" y="52"/>
                  </a:lnTo>
                  <a:lnTo>
                    <a:pt x="166" y="53"/>
                  </a:lnTo>
                  <a:lnTo>
                    <a:pt x="162" y="52"/>
                  </a:lnTo>
                  <a:lnTo>
                    <a:pt x="162" y="52"/>
                  </a:lnTo>
                  <a:lnTo>
                    <a:pt x="160" y="50"/>
                  </a:lnTo>
                  <a:lnTo>
                    <a:pt x="159" y="47"/>
                  </a:lnTo>
                  <a:lnTo>
                    <a:pt x="156" y="44"/>
                  </a:lnTo>
                  <a:lnTo>
                    <a:pt x="153" y="44"/>
                  </a:lnTo>
                  <a:lnTo>
                    <a:pt x="152" y="46"/>
                  </a:lnTo>
                  <a:lnTo>
                    <a:pt x="155" y="49"/>
                  </a:lnTo>
                  <a:lnTo>
                    <a:pt x="158" y="51"/>
                  </a:lnTo>
                  <a:lnTo>
                    <a:pt x="154" y="50"/>
                  </a:lnTo>
                  <a:lnTo>
                    <a:pt x="152" y="49"/>
                  </a:lnTo>
                  <a:lnTo>
                    <a:pt x="149" y="49"/>
                  </a:lnTo>
                  <a:lnTo>
                    <a:pt x="150" y="46"/>
                  </a:lnTo>
                  <a:lnTo>
                    <a:pt x="151" y="43"/>
                  </a:lnTo>
                  <a:lnTo>
                    <a:pt x="152" y="41"/>
                  </a:lnTo>
                  <a:lnTo>
                    <a:pt x="149" y="38"/>
                  </a:lnTo>
                  <a:lnTo>
                    <a:pt x="146" y="37"/>
                  </a:lnTo>
                  <a:lnTo>
                    <a:pt x="144" y="40"/>
                  </a:lnTo>
                  <a:lnTo>
                    <a:pt x="141" y="42"/>
                  </a:lnTo>
                  <a:lnTo>
                    <a:pt x="143" y="38"/>
                  </a:lnTo>
                  <a:lnTo>
                    <a:pt x="141" y="36"/>
                  </a:lnTo>
                  <a:lnTo>
                    <a:pt x="138" y="37"/>
                  </a:lnTo>
                  <a:lnTo>
                    <a:pt x="137" y="37"/>
                  </a:lnTo>
                  <a:lnTo>
                    <a:pt x="135" y="40"/>
                  </a:lnTo>
                  <a:lnTo>
                    <a:pt x="137" y="42"/>
                  </a:lnTo>
                  <a:lnTo>
                    <a:pt x="139" y="44"/>
                  </a:lnTo>
                  <a:lnTo>
                    <a:pt x="137" y="43"/>
                  </a:lnTo>
                  <a:lnTo>
                    <a:pt x="137" y="43"/>
                  </a:lnTo>
                  <a:lnTo>
                    <a:pt x="135" y="41"/>
                  </a:lnTo>
                  <a:lnTo>
                    <a:pt x="133" y="43"/>
                  </a:lnTo>
                  <a:lnTo>
                    <a:pt x="133" y="45"/>
                  </a:lnTo>
                  <a:lnTo>
                    <a:pt x="129" y="47"/>
                  </a:lnTo>
                  <a:lnTo>
                    <a:pt x="127" y="47"/>
                  </a:lnTo>
                  <a:lnTo>
                    <a:pt x="124" y="51"/>
                  </a:lnTo>
                  <a:lnTo>
                    <a:pt x="126" y="47"/>
                  </a:lnTo>
                  <a:lnTo>
                    <a:pt x="123" y="46"/>
                  </a:lnTo>
                  <a:lnTo>
                    <a:pt x="126" y="45"/>
                  </a:lnTo>
                  <a:lnTo>
                    <a:pt x="128" y="46"/>
                  </a:lnTo>
                  <a:lnTo>
                    <a:pt x="126" y="44"/>
                  </a:lnTo>
                  <a:lnTo>
                    <a:pt x="126" y="41"/>
                  </a:lnTo>
                  <a:lnTo>
                    <a:pt x="128" y="38"/>
                  </a:lnTo>
                  <a:lnTo>
                    <a:pt x="130" y="36"/>
                  </a:lnTo>
                  <a:lnTo>
                    <a:pt x="127" y="35"/>
                  </a:lnTo>
                  <a:lnTo>
                    <a:pt x="125" y="37"/>
                  </a:lnTo>
                  <a:lnTo>
                    <a:pt x="123" y="40"/>
                  </a:lnTo>
                  <a:lnTo>
                    <a:pt x="119" y="42"/>
                  </a:lnTo>
                  <a:lnTo>
                    <a:pt x="123" y="38"/>
                  </a:lnTo>
                  <a:lnTo>
                    <a:pt x="125" y="36"/>
                  </a:lnTo>
                  <a:lnTo>
                    <a:pt x="127" y="34"/>
                  </a:lnTo>
                  <a:lnTo>
                    <a:pt x="130" y="33"/>
                  </a:lnTo>
                  <a:lnTo>
                    <a:pt x="132" y="30"/>
                  </a:lnTo>
                  <a:lnTo>
                    <a:pt x="133" y="27"/>
                  </a:lnTo>
                  <a:lnTo>
                    <a:pt x="130" y="26"/>
                  </a:lnTo>
                  <a:lnTo>
                    <a:pt x="128" y="24"/>
                  </a:lnTo>
                  <a:lnTo>
                    <a:pt x="129" y="21"/>
                  </a:lnTo>
                  <a:lnTo>
                    <a:pt x="129" y="18"/>
                  </a:lnTo>
                  <a:lnTo>
                    <a:pt x="126" y="17"/>
                  </a:lnTo>
                  <a:lnTo>
                    <a:pt x="124" y="16"/>
                  </a:lnTo>
                  <a:lnTo>
                    <a:pt x="120" y="15"/>
                  </a:lnTo>
                  <a:lnTo>
                    <a:pt x="121" y="12"/>
                  </a:lnTo>
                  <a:lnTo>
                    <a:pt x="120" y="9"/>
                  </a:lnTo>
                  <a:lnTo>
                    <a:pt x="119" y="7"/>
                  </a:lnTo>
                  <a:lnTo>
                    <a:pt x="117" y="4"/>
                  </a:lnTo>
                  <a:lnTo>
                    <a:pt x="115" y="3"/>
                  </a:lnTo>
                  <a:lnTo>
                    <a:pt x="111" y="3"/>
                  </a:lnTo>
                  <a:lnTo>
                    <a:pt x="109" y="2"/>
                  </a:lnTo>
                  <a:lnTo>
                    <a:pt x="106" y="3"/>
                  </a:lnTo>
                  <a:lnTo>
                    <a:pt x="103" y="3"/>
                  </a:lnTo>
                  <a:lnTo>
                    <a:pt x="100" y="2"/>
                  </a:lnTo>
                  <a:lnTo>
                    <a:pt x="98" y="3"/>
                  </a:lnTo>
                  <a:lnTo>
                    <a:pt x="95" y="4"/>
                  </a:lnTo>
                  <a:lnTo>
                    <a:pt x="92" y="4"/>
                  </a:lnTo>
                  <a:lnTo>
                    <a:pt x="90" y="6"/>
                  </a:lnTo>
                  <a:lnTo>
                    <a:pt x="86" y="7"/>
                  </a:lnTo>
                  <a:lnTo>
                    <a:pt x="84" y="8"/>
                  </a:lnTo>
                  <a:lnTo>
                    <a:pt x="86" y="10"/>
                  </a:lnTo>
                  <a:lnTo>
                    <a:pt x="87" y="12"/>
                  </a:lnTo>
                  <a:lnTo>
                    <a:pt x="84" y="10"/>
                  </a:lnTo>
                  <a:lnTo>
                    <a:pt x="82" y="10"/>
                  </a:lnTo>
                  <a:lnTo>
                    <a:pt x="78" y="10"/>
                  </a:lnTo>
                  <a:lnTo>
                    <a:pt x="76" y="10"/>
                  </a:lnTo>
                  <a:lnTo>
                    <a:pt x="74" y="13"/>
                  </a:lnTo>
                  <a:lnTo>
                    <a:pt x="77" y="16"/>
                  </a:lnTo>
                  <a:lnTo>
                    <a:pt x="74" y="15"/>
                  </a:lnTo>
                  <a:lnTo>
                    <a:pt x="72" y="11"/>
                  </a:lnTo>
                  <a:lnTo>
                    <a:pt x="68" y="12"/>
                  </a:lnTo>
                  <a:lnTo>
                    <a:pt x="66" y="16"/>
                  </a:lnTo>
                  <a:lnTo>
                    <a:pt x="69" y="17"/>
                  </a:lnTo>
                  <a:lnTo>
                    <a:pt x="72" y="18"/>
                  </a:lnTo>
                  <a:lnTo>
                    <a:pt x="75" y="19"/>
                  </a:lnTo>
                  <a:lnTo>
                    <a:pt x="77" y="19"/>
                  </a:lnTo>
                  <a:lnTo>
                    <a:pt x="81" y="20"/>
                  </a:lnTo>
                  <a:lnTo>
                    <a:pt x="83" y="20"/>
                  </a:lnTo>
                  <a:lnTo>
                    <a:pt x="86" y="21"/>
                  </a:lnTo>
                  <a:lnTo>
                    <a:pt x="83" y="21"/>
                  </a:lnTo>
                  <a:lnTo>
                    <a:pt x="79" y="21"/>
                  </a:lnTo>
                  <a:lnTo>
                    <a:pt x="77" y="20"/>
                  </a:lnTo>
                  <a:lnTo>
                    <a:pt x="74" y="20"/>
                  </a:lnTo>
                  <a:lnTo>
                    <a:pt x="72" y="19"/>
                  </a:lnTo>
                  <a:lnTo>
                    <a:pt x="69" y="19"/>
                  </a:lnTo>
                  <a:lnTo>
                    <a:pt x="66" y="18"/>
                  </a:lnTo>
                  <a:lnTo>
                    <a:pt x="64" y="18"/>
                  </a:lnTo>
                  <a:lnTo>
                    <a:pt x="61" y="21"/>
                  </a:lnTo>
                  <a:lnTo>
                    <a:pt x="65" y="21"/>
                  </a:lnTo>
                  <a:lnTo>
                    <a:pt x="67" y="21"/>
                  </a:lnTo>
                  <a:lnTo>
                    <a:pt x="69" y="23"/>
                  </a:lnTo>
                  <a:lnTo>
                    <a:pt x="73" y="25"/>
                  </a:lnTo>
                  <a:lnTo>
                    <a:pt x="75" y="25"/>
                  </a:lnTo>
                  <a:lnTo>
                    <a:pt x="78" y="26"/>
                  </a:lnTo>
                  <a:lnTo>
                    <a:pt x="81" y="27"/>
                  </a:lnTo>
                  <a:lnTo>
                    <a:pt x="78" y="27"/>
                  </a:lnTo>
                  <a:lnTo>
                    <a:pt x="75" y="26"/>
                  </a:lnTo>
                  <a:lnTo>
                    <a:pt x="73" y="25"/>
                  </a:lnTo>
                  <a:lnTo>
                    <a:pt x="69" y="25"/>
                  </a:lnTo>
                  <a:lnTo>
                    <a:pt x="67" y="24"/>
                  </a:lnTo>
                  <a:lnTo>
                    <a:pt x="65" y="23"/>
                  </a:lnTo>
                  <a:lnTo>
                    <a:pt x="61" y="23"/>
                  </a:lnTo>
                  <a:lnTo>
                    <a:pt x="60" y="25"/>
                  </a:lnTo>
                  <a:lnTo>
                    <a:pt x="59" y="28"/>
                  </a:lnTo>
                  <a:lnTo>
                    <a:pt x="59" y="30"/>
                  </a:lnTo>
                  <a:lnTo>
                    <a:pt x="61" y="33"/>
                  </a:lnTo>
                  <a:lnTo>
                    <a:pt x="61" y="35"/>
                  </a:lnTo>
                  <a:lnTo>
                    <a:pt x="64" y="37"/>
                  </a:lnTo>
                  <a:lnTo>
                    <a:pt x="67" y="37"/>
                  </a:lnTo>
                  <a:lnTo>
                    <a:pt x="69" y="37"/>
                  </a:lnTo>
                  <a:lnTo>
                    <a:pt x="73" y="38"/>
                  </a:lnTo>
                  <a:lnTo>
                    <a:pt x="75" y="38"/>
                  </a:lnTo>
                  <a:lnTo>
                    <a:pt x="73" y="38"/>
                  </a:lnTo>
                  <a:lnTo>
                    <a:pt x="69" y="40"/>
                  </a:lnTo>
                  <a:lnTo>
                    <a:pt x="73" y="42"/>
                  </a:lnTo>
                  <a:lnTo>
                    <a:pt x="75" y="44"/>
                  </a:lnTo>
                  <a:lnTo>
                    <a:pt x="78" y="46"/>
                  </a:lnTo>
                  <a:lnTo>
                    <a:pt x="79" y="49"/>
                  </a:lnTo>
                  <a:lnTo>
                    <a:pt x="77" y="46"/>
                  </a:lnTo>
                  <a:lnTo>
                    <a:pt x="74" y="44"/>
                  </a:lnTo>
                  <a:lnTo>
                    <a:pt x="72" y="43"/>
                  </a:lnTo>
                  <a:lnTo>
                    <a:pt x="69" y="42"/>
                  </a:lnTo>
                  <a:lnTo>
                    <a:pt x="66" y="41"/>
                  </a:lnTo>
                  <a:lnTo>
                    <a:pt x="64" y="41"/>
                  </a:lnTo>
                  <a:lnTo>
                    <a:pt x="62" y="44"/>
                  </a:lnTo>
                  <a:lnTo>
                    <a:pt x="60" y="46"/>
                  </a:lnTo>
                  <a:lnTo>
                    <a:pt x="58" y="47"/>
                  </a:lnTo>
                  <a:lnTo>
                    <a:pt x="55" y="47"/>
                  </a:lnTo>
                  <a:lnTo>
                    <a:pt x="58" y="49"/>
                  </a:lnTo>
                  <a:lnTo>
                    <a:pt x="60" y="50"/>
                  </a:lnTo>
                  <a:lnTo>
                    <a:pt x="62" y="53"/>
                  </a:lnTo>
                  <a:lnTo>
                    <a:pt x="64" y="55"/>
                  </a:lnTo>
                  <a:lnTo>
                    <a:pt x="67" y="57"/>
                  </a:lnTo>
                  <a:lnTo>
                    <a:pt x="69" y="57"/>
                  </a:lnTo>
                  <a:lnTo>
                    <a:pt x="73" y="57"/>
                  </a:lnTo>
                  <a:lnTo>
                    <a:pt x="74" y="59"/>
                  </a:lnTo>
                  <a:lnTo>
                    <a:pt x="75" y="61"/>
                  </a:lnTo>
                  <a:lnTo>
                    <a:pt x="73" y="62"/>
                  </a:lnTo>
                  <a:lnTo>
                    <a:pt x="72" y="66"/>
                  </a:lnTo>
                  <a:lnTo>
                    <a:pt x="73" y="68"/>
                  </a:lnTo>
                  <a:lnTo>
                    <a:pt x="72" y="70"/>
                  </a:lnTo>
                  <a:lnTo>
                    <a:pt x="72" y="73"/>
                  </a:lnTo>
                  <a:lnTo>
                    <a:pt x="69" y="75"/>
                  </a:lnTo>
                  <a:lnTo>
                    <a:pt x="69" y="72"/>
                  </a:lnTo>
                  <a:lnTo>
                    <a:pt x="67" y="70"/>
                  </a:lnTo>
                  <a:lnTo>
                    <a:pt x="68" y="69"/>
                  </a:lnTo>
                  <a:lnTo>
                    <a:pt x="66" y="69"/>
                  </a:lnTo>
                  <a:lnTo>
                    <a:pt x="62" y="69"/>
                  </a:lnTo>
                  <a:lnTo>
                    <a:pt x="60" y="69"/>
                  </a:lnTo>
                  <a:lnTo>
                    <a:pt x="57" y="70"/>
                  </a:lnTo>
                  <a:lnTo>
                    <a:pt x="55" y="71"/>
                  </a:lnTo>
                  <a:lnTo>
                    <a:pt x="51" y="72"/>
                  </a:lnTo>
                  <a:lnTo>
                    <a:pt x="49" y="73"/>
                  </a:lnTo>
                  <a:lnTo>
                    <a:pt x="45" y="72"/>
                  </a:lnTo>
                  <a:lnTo>
                    <a:pt x="49" y="72"/>
                  </a:lnTo>
                  <a:lnTo>
                    <a:pt x="51" y="71"/>
                  </a:lnTo>
                  <a:lnTo>
                    <a:pt x="55" y="69"/>
                  </a:lnTo>
                  <a:lnTo>
                    <a:pt x="57" y="68"/>
                  </a:lnTo>
                  <a:lnTo>
                    <a:pt x="60" y="68"/>
                  </a:lnTo>
                  <a:lnTo>
                    <a:pt x="62" y="67"/>
                  </a:lnTo>
                  <a:lnTo>
                    <a:pt x="65" y="66"/>
                  </a:lnTo>
                  <a:lnTo>
                    <a:pt x="68" y="66"/>
                  </a:lnTo>
                  <a:lnTo>
                    <a:pt x="70" y="64"/>
                  </a:lnTo>
                  <a:lnTo>
                    <a:pt x="68" y="62"/>
                  </a:lnTo>
                  <a:lnTo>
                    <a:pt x="66" y="62"/>
                  </a:lnTo>
                  <a:lnTo>
                    <a:pt x="64" y="61"/>
                  </a:lnTo>
                  <a:lnTo>
                    <a:pt x="60" y="59"/>
                  </a:lnTo>
                  <a:lnTo>
                    <a:pt x="58" y="57"/>
                  </a:lnTo>
                  <a:lnTo>
                    <a:pt x="56" y="54"/>
                  </a:lnTo>
                  <a:lnTo>
                    <a:pt x="52" y="52"/>
                  </a:lnTo>
                  <a:lnTo>
                    <a:pt x="50" y="49"/>
                  </a:lnTo>
                  <a:lnTo>
                    <a:pt x="49" y="46"/>
                  </a:lnTo>
                  <a:lnTo>
                    <a:pt x="49" y="41"/>
                  </a:lnTo>
                  <a:lnTo>
                    <a:pt x="51" y="38"/>
                  </a:lnTo>
                  <a:lnTo>
                    <a:pt x="51" y="35"/>
                  </a:lnTo>
                  <a:lnTo>
                    <a:pt x="48" y="33"/>
                  </a:lnTo>
                  <a:lnTo>
                    <a:pt x="45" y="30"/>
                  </a:lnTo>
                  <a:lnTo>
                    <a:pt x="45" y="28"/>
                  </a:lnTo>
                  <a:lnTo>
                    <a:pt x="47" y="25"/>
                  </a:lnTo>
                  <a:lnTo>
                    <a:pt x="49" y="23"/>
                  </a:lnTo>
                  <a:lnTo>
                    <a:pt x="51" y="20"/>
                  </a:lnTo>
                  <a:lnTo>
                    <a:pt x="52" y="17"/>
                  </a:lnTo>
                  <a:lnTo>
                    <a:pt x="55" y="15"/>
                  </a:lnTo>
                  <a:lnTo>
                    <a:pt x="57" y="11"/>
                  </a:lnTo>
                  <a:lnTo>
                    <a:pt x="62" y="8"/>
                  </a:lnTo>
                  <a:lnTo>
                    <a:pt x="66" y="7"/>
                  </a:lnTo>
                  <a:lnTo>
                    <a:pt x="68" y="4"/>
                  </a:lnTo>
                  <a:lnTo>
                    <a:pt x="70" y="2"/>
                  </a:lnTo>
                  <a:lnTo>
                    <a:pt x="68" y="1"/>
                  </a:lnTo>
                  <a:lnTo>
                    <a:pt x="66" y="0"/>
                  </a:lnTo>
                  <a:lnTo>
                    <a:pt x="62" y="0"/>
                  </a:lnTo>
                  <a:lnTo>
                    <a:pt x="57" y="0"/>
                  </a:lnTo>
                  <a:lnTo>
                    <a:pt x="53" y="0"/>
                  </a:lnTo>
                  <a:lnTo>
                    <a:pt x="51" y="0"/>
                  </a:lnTo>
                  <a:lnTo>
                    <a:pt x="48" y="0"/>
                  </a:lnTo>
                  <a:lnTo>
                    <a:pt x="45" y="0"/>
                  </a:lnTo>
                  <a:lnTo>
                    <a:pt x="40" y="1"/>
                  </a:lnTo>
                  <a:lnTo>
                    <a:pt x="38" y="1"/>
                  </a:lnTo>
                  <a:lnTo>
                    <a:pt x="34" y="2"/>
                  </a:lnTo>
                  <a:lnTo>
                    <a:pt x="32" y="3"/>
                  </a:lnTo>
                  <a:lnTo>
                    <a:pt x="28" y="4"/>
                  </a:lnTo>
                  <a:lnTo>
                    <a:pt x="26" y="6"/>
                  </a:lnTo>
                  <a:lnTo>
                    <a:pt x="23" y="8"/>
                  </a:lnTo>
                  <a:lnTo>
                    <a:pt x="21" y="10"/>
                  </a:lnTo>
                  <a:lnTo>
                    <a:pt x="17" y="11"/>
                  </a:lnTo>
                  <a:lnTo>
                    <a:pt x="17" y="15"/>
                  </a:lnTo>
                  <a:lnTo>
                    <a:pt x="15" y="17"/>
                  </a:lnTo>
                  <a:lnTo>
                    <a:pt x="11" y="17"/>
                  </a:lnTo>
                  <a:lnTo>
                    <a:pt x="10" y="20"/>
                  </a:lnTo>
                  <a:lnTo>
                    <a:pt x="9" y="23"/>
                  </a:lnTo>
                  <a:lnTo>
                    <a:pt x="9" y="26"/>
                  </a:lnTo>
                  <a:lnTo>
                    <a:pt x="9" y="28"/>
                  </a:lnTo>
                  <a:lnTo>
                    <a:pt x="6" y="29"/>
                  </a:lnTo>
                  <a:lnTo>
                    <a:pt x="6" y="32"/>
                  </a:lnTo>
                  <a:lnTo>
                    <a:pt x="4" y="33"/>
                  </a:lnTo>
                  <a:lnTo>
                    <a:pt x="4" y="35"/>
                  </a:lnTo>
                  <a:lnTo>
                    <a:pt x="1" y="38"/>
                  </a:lnTo>
                  <a:lnTo>
                    <a:pt x="1" y="41"/>
                  </a:lnTo>
                  <a:lnTo>
                    <a:pt x="2" y="44"/>
                  </a:lnTo>
                  <a:lnTo>
                    <a:pt x="6" y="44"/>
                  </a:lnTo>
                  <a:lnTo>
                    <a:pt x="4" y="45"/>
                  </a:lnTo>
                  <a:lnTo>
                    <a:pt x="0" y="46"/>
                  </a:lnTo>
                  <a:lnTo>
                    <a:pt x="0" y="51"/>
                  </a:lnTo>
                  <a:lnTo>
                    <a:pt x="2" y="54"/>
                  </a:lnTo>
                  <a:lnTo>
                    <a:pt x="0" y="57"/>
                  </a:lnTo>
                  <a:lnTo>
                    <a:pt x="0" y="57"/>
                  </a:lnTo>
                  <a:lnTo>
                    <a:pt x="0" y="61"/>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 name="Freeform 216">
              <a:extLst>
                <a:ext uri="{FF2B5EF4-FFF2-40B4-BE49-F238E27FC236}">
                  <a16:creationId xmlns:a16="http://schemas.microsoft.com/office/drawing/2014/main" id="{35A96843-D6B8-4483-9589-84800230C528}"/>
                </a:ext>
              </a:extLst>
            </p:cNvPr>
            <p:cNvSpPr>
              <a:spLocks noEditPoints="1"/>
            </p:cNvSpPr>
            <p:nvPr/>
          </p:nvSpPr>
          <p:spPr bwMode="auto">
            <a:xfrm>
              <a:off x="3690938" y="2228850"/>
              <a:ext cx="128587" cy="311150"/>
            </a:xfrm>
            <a:custGeom>
              <a:avLst/>
              <a:gdLst>
                <a:gd name="T0" fmla="*/ 55 w 81"/>
                <a:gd name="T1" fmla="*/ 196 h 196"/>
                <a:gd name="T2" fmla="*/ 55 w 81"/>
                <a:gd name="T3" fmla="*/ 194 h 196"/>
                <a:gd name="T4" fmla="*/ 35 w 81"/>
                <a:gd name="T5" fmla="*/ 30 h 196"/>
                <a:gd name="T6" fmla="*/ 41 w 81"/>
                <a:gd name="T7" fmla="*/ 29 h 196"/>
                <a:gd name="T8" fmla="*/ 48 w 81"/>
                <a:gd name="T9" fmla="*/ 28 h 196"/>
                <a:gd name="T10" fmla="*/ 54 w 81"/>
                <a:gd name="T11" fmla="*/ 26 h 196"/>
                <a:gd name="T12" fmla="*/ 58 w 81"/>
                <a:gd name="T13" fmla="*/ 25 h 196"/>
                <a:gd name="T14" fmla="*/ 57 w 81"/>
                <a:gd name="T15" fmla="*/ 20 h 196"/>
                <a:gd name="T16" fmla="*/ 57 w 81"/>
                <a:gd name="T17" fmla="*/ 16 h 196"/>
                <a:gd name="T18" fmla="*/ 59 w 81"/>
                <a:gd name="T19" fmla="*/ 13 h 196"/>
                <a:gd name="T20" fmla="*/ 54 w 81"/>
                <a:gd name="T21" fmla="*/ 11 h 196"/>
                <a:gd name="T22" fmla="*/ 48 w 81"/>
                <a:gd name="T23" fmla="*/ 11 h 196"/>
                <a:gd name="T24" fmla="*/ 42 w 81"/>
                <a:gd name="T25" fmla="*/ 9 h 196"/>
                <a:gd name="T26" fmla="*/ 40 w 81"/>
                <a:gd name="T27" fmla="*/ 6 h 196"/>
                <a:gd name="T28" fmla="*/ 34 w 81"/>
                <a:gd name="T29" fmla="*/ 5 h 196"/>
                <a:gd name="T30" fmla="*/ 29 w 81"/>
                <a:gd name="T31" fmla="*/ 3 h 196"/>
                <a:gd name="T32" fmla="*/ 23 w 81"/>
                <a:gd name="T33" fmla="*/ 1 h 196"/>
                <a:gd name="T34" fmla="*/ 17 w 81"/>
                <a:gd name="T35" fmla="*/ 0 h 196"/>
                <a:gd name="T36" fmla="*/ 13 w 81"/>
                <a:gd name="T37" fmla="*/ 4 h 196"/>
                <a:gd name="T38" fmla="*/ 17 w 81"/>
                <a:gd name="T39" fmla="*/ 8 h 196"/>
                <a:gd name="T40" fmla="*/ 13 w 81"/>
                <a:gd name="T41" fmla="*/ 12 h 196"/>
                <a:gd name="T42" fmla="*/ 16 w 81"/>
                <a:gd name="T43" fmla="*/ 16 h 196"/>
                <a:gd name="T44" fmla="*/ 22 w 81"/>
                <a:gd name="T45" fmla="*/ 18 h 196"/>
                <a:gd name="T46" fmla="*/ 27 w 81"/>
                <a:gd name="T47" fmla="*/ 20 h 196"/>
                <a:gd name="T48" fmla="*/ 33 w 81"/>
                <a:gd name="T49" fmla="*/ 22 h 196"/>
                <a:gd name="T50" fmla="*/ 27 w 81"/>
                <a:gd name="T51" fmla="*/ 23 h 196"/>
                <a:gd name="T52" fmla="*/ 22 w 81"/>
                <a:gd name="T53" fmla="*/ 24 h 196"/>
                <a:gd name="T54" fmla="*/ 27 w 81"/>
                <a:gd name="T55" fmla="*/ 26 h 196"/>
                <a:gd name="T56" fmla="*/ 30 w 81"/>
                <a:gd name="T57" fmla="*/ 30 h 196"/>
                <a:gd name="T58" fmla="*/ 33 w 81"/>
                <a:gd name="T59" fmla="*/ 31 h 196"/>
                <a:gd name="T60" fmla="*/ 57 w 81"/>
                <a:gd name="T61" fmla="*/ 93 h 196"/>
                <a:gd name="T62" fmla="*/ 52 w 81"/>
                <a:gd name="T63" fmla="*/ 94 h 196"/>
                <a:gd name="T64" fmla="*/ 49 w 81"/>
                <a:gd name="T65" fmla="*/ 99 h 196"/>
                <a:gd name="T66" fmla="*/ 44 w 81"/>
                <a:gd name="T67" fmla="*/ 99 h 196"/>
                <a:gd name="T68" fmla="*/ 44 w 81"/>
                <a:gd name="T69" fmla="*/ 102 h 196"/>
                <a:gd name="T70" fmla="*/ 39 w 81"/>
                <a:gd name="T71" fmla="*/ 106 h 196"/>
                <a:gd name="T72" fmla="*/ 40 w 81"/>
                <a:gd name="T73" fmla="*/ 110 h 196"/>
                <a:gd name="T74" fmla="*/ 43 w 81"/>
                <a:gd name="T75" fmla="*/ 110 h 196"/>
                <a:gd name="T76" fmla="*/ 47 w 81"/>
                <a:gd name="T77" fmla="*/ 115 h 196"/>
                <a:gd name="T78" fmla="*/ 52 w 81"/>
                <a:gd name="T79" fmla="*/ 117 h 196"/>
                <a:gd name="T80" fmla="*/ 58 w 81"/>
                <a:gd name="T81" fmla="*/ 117 h 196"/>
                <a:gd name="T82" fmla="*/ 64 w 81"/>
                <a:gd name="T83" fmla="*/ 120 h 196"/>
                <a:gd name="T84" fmla="*/ 68 w 81"/>
                <a:gd name="T85" fmla="*/ 120 h 196"/>
                <a:gd name="T86" fmla="*/ 75 w 81"/>
                <a:gd name="T87" fmla="*/ 120 h 196"/>
                <a:gd name="T88" fmla="*/ 80 w 81"/>
                <a:gd name="T89" fmla="*/ 117 h 196"/>
                <a:gd name="T90" fmla="*/ 80 w 81"/>
                <a:gd name="T91" fmla="*/ 111 h 196"/>
                <a:gd name="T92" fmla="*/ 80 w 81"/>
                <a:gd name="T93" fmla="*/ 107 h 196"/>
                <a:gd name="T94" fmla="*/ 76 w 81"/>
                <a:gd name="T95" fmla="*/ 102 h 196"/>
                <a:gd name="T96" fmla="*/ 72 w 81"/>
                <a:gd name="T97" fmla="*/ 97 h 196"/>
                <a:gd name="T98" fmla="*/ 66 w 81"/>
                <a:gd name="T99" fmla="*/ 93 h 196"/>
                <a:gd name="T100" fmla="*/ 60 w 81"/>
                <a:gd name="T101" fmla="*/ 93 h 196"/>
                <a:gd name="T102" fmla="*/ 23 w 81"/>
                <a:gd name="T103" fmla="*/ 135 h 196"/>
                <a:gd name="T104" fmla="*/ 17 w 81"/>
                <a:gd name="T105" fmla="*/ 135 h 196"/>
                <a:gd name="T106" fmla="*/ 10 w 81"/>
                <a:gd name="T107" fmla="*/ 136 h 196"/>
                <a:gd name="T108" fmla="*/ 5 w 81"/>
                <a:gd name="T109" fmla="*/ 137 h 196"/>
                <a:gd name="T110" fmla="*/ 0 w 81"/>
                <a:gd name="T111" fmla="*/ 138 h 196"/>
                <a:gd name="T112" fmla="*/ 5 w 81"/>
                <a:gd name="T113" fmla="*/ 142 h 196"/>
                <a:gd name="T114" fmla="*/ 5 w 81"/>
                <a:gd name="T115" fmla="*/ 142 h 196"/>
                <a:gd name="T116" fmla="*/ 10 w 81"/>
                <a:gd name="T117" fmla="*/ 142 h 196"/>
                <a:gd name="T118" fmla="*/ 16 w 81"/>
                <a:gd name="T119" fmla="*/ 141 h 196"/>
                <a:gd name="T120" fmla="*/ 22 w 81"/>
                <a:gd name="T121" fmla="*/ 137 h 196"/>
                <a:gd name="T122" fmla="*/ 23 w 81"/>
                <a:gd name="T123" fmla="*/ 13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196">
                  <a:moveTo>
                    <a:pt x="55" y="194"/>
                  </a:moveTo>
                  <a:lnTo>
                    <a:pt x="55" y="196"/>
                  </a:lnTo>
                  <a:lnTo>
                    <a:pt x="55" y="194"/>
                  </a:lnTo>
                  <a:lnTo>
                    <a:pt x="55" y="194"/>
                  </a:lnTo>
                  <a:close/>
                  <a:moveTo>
                    <a:pt x="33" y="31"/>
                  </a:moveTo>
                  <a:lnTo>
                    <a:pt x="35" y="30"/>
                  </a:lnTo>
                  <a:lnTo>
                    <a:pt x="39" y="28"/>
                  </a:lnTo>
                  <a:lnTo>
                    <a:pt x="41" y="29"/>
                  </a:lnTo>
                  <a:lnTo>
                    <a:pt x="44" y="29"/>
                  </a:lnTo>
                  <a:lnTo>
                    <a:pt x="48" y="28"/>
                  </a:lnTo>
                  <a:lnTo>
                    <a:pt x="50" y="28"/>
                  </a:lnTo>
                  <a:lnTo>
                    <a:pt x="54" y="26"/>
                  </a:lnTo>
                  <a:lnTo>
                    <a:pt x="56" y="26"/>
                  </a:lnTo>
                  <a:lnTo>
                    <a:pt x="58" y="25"/>
                  </a:lnTo>
                  <a:lnTo>
                    <a:pt x="59" y="23"/>
                  </a:lnTo>
                  <a:lnTo>
                    <a:pt x="57" y="20"/>
                  </a:lnTo>
                  <a:lnTo>
                    <a:pt x="55" y="18"/>
                  </a:lnTo>
                  <a:lnTo>
                    <a:pt x="57" y="16"/>
                  </a:lnTo>
                  <a:lnTo>
                    <a:pt x="60" y="15"/>
                  </a:lnTo>
                  <a:lnTo>
                    <a:pt x="59" y="13"/>
                  </a:lnTo>
                  <a:lnTo>
                    <a:pt x="56" y="12"/>
                  </a:lnTo>
                  <a:lnTo>
                    <a:pt x="54" y="11"/>
                  </a:lnTo>
                  <a:lnTo>
                    <a:pt x="50" y="9"/>
                  </a:lnTo>
                  <a:lnTo>
                    <a:pt x="48" y="11"/>
                  </a:lnTo>
                  <a:lnTo>
                    <a:pt x="44" y="11"/>
                  </a:lnTo>
                  <a:lnTo>
                    <a:pt x="42" y="9"/>
                  </a:lnTo>
                  <a:lnTo>
                    <a:pt x="43" y="7"/>
                  </a:lnTo>
                  <a:lnTo>
                    <a:pt x="40" y="6"/>
                  </a:lnTo>
                  <a:lnTo>
                    <a:pt x="38" y="5"/>
                  </a:lnTo>
                  <a:lnTo>
                    <a:pt x="34" y="5"/>
                  </a:lnTo>
                  <a:lnTo>
                    <a:pt x="32" y="3"/>
                  </a:lnTo>
                  <a:lnTo>
                    <a:pt x="29" y="3"/>
                  </a:lnTo>
                  <a:lnTo>
                    <a:pt x="26" y="1"/>
                  </a:lnTo>
                  <a:lnTo>
                    <a:pt x="23" y="1"/>
                  </a:lnTo>
                  <a:lnTo>
                    <a:pt x="21" y="0"/>
                  </a:lnTo>
                  <a:lnTo>
                    <a:pt x="17" y="0"/>
                  </a:lnTo>
                  <a:lnTo>
                    <a:pt x="15" y="1"/>
                  </a:lnTo>
                  <a:lnTo>
                    <a:pt x="13" y="4"/>
                  </a:lnTo>
                  <a:lnTo>
                    <a:pt x="14" y="6"/>
                  </a:lnTo>
                  <a:lnTo>
                    <a:pt x="17" y="8"/>
                  </a:lnTo>
                  <a:lnTo>
                    <a:pt x="14" y="9"/>
                  </a:lnTo>
                  <a:lnTo>
                    <a:pt x="13" y="12"/>
                  </a:lnTo>
                  <a:lnTo>
                    <a:pt x="15" y="13"/>
                  </a:lnTo>
                  <a:lnTo>
                    <a:pt x="16" y="16"/>
                  </a:lnTo>
                  <a:lnTo>
                    <a:pt x="20" y="16"/>
                  </a:lnTo>
                  <a:lnTo>
                    <a:pt x="22" y="18"/>
                  </a:lnTo>
                  <a:lnTo>
                    <a:pt x="25" y="18"/>
                  </a:lnTo>
                  <a:lnTo>
                    <a:pt x="27" y="20"/>
                  </a:lnTo>
                  <a:lnTo>
                    <a:pt x="31" y="21"/>
                  </a:lnTo>
                  <a:lnTo>
                    <a:pt x="33" y="22"/>
                  </a:lnTo>
                  <a:lnTo>
                    <a:pt x="31" y="23"/>
                  </a:lnTo>
                  <a:lnTo>
                    <a:pt x="27" y="23"/>
                  </a:lnTo>
                  <a:lnTo>
                    <a:pt x="24" y="23"/>
                  </a:lnTo>
                  <a:lnTo>
                    <a:pt x="22" y="24"/>
                  </a:lnTo>
                  <a:lnTo>
                    <a:pt x="24" y="25"/>
                  </a:lnTo>
                  <a:lnTo>
                    <a:pt x="27" y="26"/>
                  </a:lnTo>
                  <a:lnTo>
                    <a:pt x="30" y="28"/>
                  </a:lnTo>
                  <a:lnTo>
                    <a:pt x="30" y="30"/>
                  </a:lnTo>
                  <a:lnTo>
                    <a:pt x="33" y="31"/>
                  </a:lnTo>
                  <a:lnTo>
                    <a:pt x="33" y="31"/>
                  </a:lnTo>
                  <a:close/>
                  <a:moveTo>
                    <a:pt x="60" y="93"/>
                  </a:moveTo>
                  <a:lnTo>
                    <a:pt x="57" y="93"/>
                  </a:lnTo>
                  <a:lnTo>
                    <a:pt x="55" y="94"/>
                  </a:lnTo>
                  <a:lnTo>
                    <a:pt x="52" y="94"/>
                  </a:lnTo>
                  <a:lnTo>
                    <a:pt x="49" y="95"/>
                  </a:lnTo>
                  <a:lnTo>
                    <a:pt x="49" y="99"/>
                  </a:lnTo>
                  <a:lnTo>
                    <a:pt x="47" y="99"/>
                  </a:lnTo>
                  <a:lnTo>
                    <a:pt x="44" y="99"/>
                  </a:lnTo>
                  <a:lnTo>
                    <a:pt x="47" y="100"/>
                  </a:lnTo>
                  <a:lnTo>
                    <a:pt x="44" y="102"/>
                  </a:lnTo>
                  <a:lnTo>
                    <a:pt x="41" y="103"/>
                  </a:lnTo>
                  <a:lnTo>
                    <a:pt x="39" y="106"/>
                  </a:lnTo>
                  <a:lnTo>
                    <a:pt x="37" y="109"/>
                  </a:lnTo>
                  <a:lnTo>
                    <a:pt x="40" y="110"/>
                  </a:lnTo>
                  <a:lnTo>
                    <a:pt x="41" y="112"/>
                  </a:lnTo>
                  <a:lnTo>
                    <a:pt x="43" y="110"/>
                  </a:lnTo>
                  <a:lnTo>
                    <a:pt x="44" y="112"/>
                  </a:lnTo>
                  <a:lnTo>
                    <a:pt x="47" y="115"/>
                  </a:lnTo>
                  <a:lnTo>
                    <a:pt x="49" y="116"/>
                  </a:lnTo>
                  <a:lnTo>
                    <a:pt x="52" y="117"/>
                  </a:lnTo>
                  <a:lnTo>
                    <a:pt x="55" y="116"/>
                  </a:lnTo>
                  <a:lnTo>
                    <a:pt x="58" y="117"/>
                  </a:lnTo>
                  <a:lnTo>
                    <a:pt x="60" y="119"/>
                  </a:lnTo>
                  <a:lnTo>
                    <a:pt x="64" y="120"/>
                  </a:lnTo>
                  <a:lnTo>
                    <a:pt x="66" y="120"/>
                  </a:lnTo>
                  <a:lnTo>
                    <a:pt x="68" y="120"/>
                  </a:lnTo>
                  <a:lnTo>
                    <a:pt x="72" y="120"/>
                  </a:lnTo>
                  <a:lnTo>
                    <a:pt x="75" y="120"/>
                  </a:lnTo>
                  <a:lnTo>
                    <a:pt x="77" y="120"/>
                  </a:lnTo>
                  <a:lnTo>
                    <a:pt x="80" y="117"/>
                  </a:lnTo>
                  <a:lnTo>
                    <a:pt x="81" y="115"/>
                  </a:lnTo>
                  <a:lnTo>
                    <a:pt x="80" y="111"/>
                  </a:lnTo>
                  <a:lnTo>
                    <a:pt x="77" y="109"/>
                  </a:lnTo>
                  <a:lnTo>
                    <a:pt x="80" y="107"/>
                  </a:lnTo>
                  <a:lnTo>
                    <a:pt x="80" y="103"/>
                  </a:lnTo>
                  <a:lnTo>
                    <a:pt x="76" y="102"/>
                  </a:lnTo>
                  <a:lnTo>
                    <a:pt x="74" y="99"/>
                  </a:lnTo>
                  <a:lnTo>
                    <a:pt x="72" y="97"/>
                  </a:lnTo>
                  <a:lnTo>
                    <a:pt x="68" y="94"/>
                  </a:lnTo>
                  <a:lnTo>
                    <a:pt x="66" y="93"/>
                  </a:lnTo>
                  <a:lnTo>
                    <a:pt x="63" y="93"/>
                  </a:lnTo>
                  <a:lnTo>
                    <a:pt x="60" y="93"/>
                  </a:lnTo>
                  <a:lnTo>
                    <a:pt x="60" y="93"/>
                  </a:lnTo>
                  <a:close/>
                  <a:moveTo>
                    <a:pt x="23" y="135"/>
                  </a:moveTo>
                  <a:lnTo>
                    <a:pt x="20" y="134"/>
                  </a:lnTo>
                  <a:lnTo>
                    <a:pt x="17" y="135"/>
                  </a:lnTo>
                  <a:lnTo>
                    <a:pt x="14" y="135"/>
                  </a:lnTo>
                  <a:lnTo>
                    <a:pt x="10" y="136"/>
                  </a:lnTo>
                  <a:lnTo>
                    <a:pt x="8" y="136"/>
                  </a:lnTo>
                  <a:lnTo>
                    <a:pt x="5" y="137"/>
                  </a:lnTo>
                  <a:lnTo>
                    <a:pt x="3" y="138"/>
                  </a:lnTo>
                  <a:lnTo>
                    <a:pt x="0" y="138"/>
                  </a:lnTo>
                  <a:lnTo>
                    <a:pt x="3" y="142"/>
                  </a:lnTo>
                  <a:lnTo>
                    <a:pt x="5" y="142"/>
                  </a:lnTo>
                  <a:lnTo>
                    <a:pt x="3" y="142"/>
                  </a:lnTo>
                  <a:lnTo>
                    <a:pt x="5" y="142"/>
                  </a:lnTo>
                  <a:lnTo>
                    <a:pt x="8" y="142"/>
                  </a:lnTo>
                  <a:lnTo>
                    <a:pt x="10" y="142"/>
                  </a:lnTo>
                  <a:lnTo>
                    <a:pt x="14" y="141"/>
                  </a:lnTo>
                  <a:lnTo>
                    <a:pt x="16" y="141"/>
                  </a:lnTo>
                  <a:lnTo>
                    <a:pt x="18" y="138"/>
                  </a:lnTo>
                  <a:lnTo>
                    <a:pt x="22" y="137"/>
                  </a:lnTo>
                  <a:lnTo>
                    <a:pt x="23" y="135"/>
                  </a:lnTo>
                  <a:lnTo>
                    <a:pt x="23"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 name="Freeform 217">
              <a:extLst>
                <a:ext uri="{FF2B5EF4-FFF2-40B4-BE49-F238E27FC236}">
                  <a16:creationId xmlns:a16="http://schemas.microsoft.com/office/drawing/2014/main" id="{F9EAAFFA-9246-4AC8-BF31-01A1F48A5AED}"/>
                </a:ext>
              </a:extLst>
            </p:cNvPr>
            <p:cNvSpPr>
              <a:spLocks noEditPoints="1"/>
            </p:cNvSpPr>
            <p:nvPr/>
          </p:nvSpPr>
          <p:spPr bwMode="auto">
            <a:xfrm>
              <a:off x="3621088" y="2274888"/>
              <a:ext cx="203200" cy="104775"/>
            </a:xfrm>
            <a:custGeom>
              <a:avLst/>
              <a:gdLst>
                <a:gd name="T0" fmla="*/ 27 w 128"/>
                <a:gd name="T1" fmla="*/ 66 h 66"/>
                <a:gd name="T2" fmla="*/ 25 w 128"/>
                <a:gd name="T3" fmla="*/ 65 h 66"/>
                <a:gd name="T4" fmla="*/ 22 w 128"/>
                <a:gd name="T5" fmla="*/ 66 h 66"/>
                <a:gd name="T6" fmla="*/ 25 w 128"/>
                <a:gd name="T7" fmla="*/ 65 h 66"/>
                <a:gd name="T8" fmla="*/ 27 w 128"/>
                <a:gd name="T9" fmla="*/ 64 h 66"/>
                <a:gd name="T10" fmla="*/ 31 w 128"/>
                <a:gd name="T11" fmla="*/ 64 h 66"/>
                <a:gd name="T12" fmla="*/ 27 w 128"/>
                <a:gd name="T13" fmla="*/ 66 h 66"/>
                <a:gd name="T14" fmla="*/ 27 w 128"/>
                <a:gd name="T15" fmla="*/ 66 h 66"/>
                <a:gd name="T16" fmla="*/ 11 w 128"/>
                <a:gd name="T17" fmla="*/ 0 h 66"/>
                <a:gd name="T18" fmla="*/ 6 w 128"/>
                <a:gd name="T19" fmla="*/ 0 h 66"/>
                <a:gd name="T20" fmla="*/ 2 w 128"/>
                <a:gd name="T21" fmla="*/ 0 h 66"/>
                <a:gd name="T22" fmla="*/ 0 w 128"/>
                <a:gd name="T23" fmla="*/ 0 h 66"/>
                <a:gd name="T24" fmla="*/ 1 w 128"/>
                <a:gd name="T25" fmla="*/ 3 h 66"/>
                <a:gd name="T26" fmla="*/ 4 w 128"/>
                <a:gd name="T27" fmla="*/ 4 h 66"/>
                <a:gd name="T28" fmla="*/ 6 w 128"/>
                <a:gd name="T29" fmla="*/ 5 h 66"/>
                <a:gd name="T30" fmla="*/ 9 w 128"/>
                <a:gd name="T31" fmla="*/ 5 h 66"/>
                <a:gd name="T32" fmla="*/ 11 w 128"/>
                <a:gd name="T33" fmla="*/ 5 h 66"/>
                <a:gd name="T34" fmla="*/ 15 w 128"/>
                <a:gd name="T35" fmla="*/ 4 h 66"/>
                <a:gd name="T36" fmla="*/ 17 w 128"/>
                <a:gd name="T37" fmla="*/ 4 h 66"/>
                <a:gd name="T38" fmla="*/ 21 w 128"/>
                <a:gd name="T39" fmla="*/ 4 h 66"/>
                <a:gd name="T40" fmla="*/ 18 w 128"/>
                <a:gd name="T41" fmla="*/ 1 h 66"/>
                <a:gd name="T42" fmla="*/ 16 w 128"/>
                <a:gd name="T43" fmla="*/ 0 h 66"/>
                <a:gd name="T44" fmla="*/ 13 w 128"/>
                <a:gd name="T45" fmla="*/ 0 h 66"/>
                <a:gd name="T46" fmla="*/ 11 w 128"/>
                <a:gd name="T47" fmla="*/ 0 h 66"/>
                <a:gd name="T48" fmla="*/ 11 w 128"/>
                <a:gd name="T49" fmla="*/ 0 h 66"/>
                <a:gd name="T50" fmla="*/ 128 w 128"/>
                <a:gd name="T51" fmla="*/ 4 h 66"/>
                <a:gd name="T52" fmla="*/ 125 w 128"/>
                <a:gd name="T53" fmla="*/ 6 h 66"/>
                <a:gd name="T54" fmla="*/ 124 w 128"/>
                <a:gd name="T55" fmla="*/ 10 h 66"/>
                <a:gd name="T56" fmla="*/ 122 w 128"/>
                <a:gd name="T57" fmla="*/ 12 h 66"/>
                <a:gd name="T58" fmla="*/ 119 w 128"/>
                <a:gd name="T59" fmla="*/ 12 h 66"/>
                <a:gd name="T60" fmla="*/ 115 w 128"/>
                <a:gd name="T61" fmla="*/ 12 h 66"/>
                <a:gd name="T62" fmla="*/ 111 w 128"/>
                <a:gd name="T63" fmla="*/ 11 h 66"/>
                <a:gd name="T64" fmla="*/ 103 w 128"/>
                <a:gd name="T65" fmla="*/ 11 h 66"/>
                <a:gd name="T66" fmla="*/ 100 w 128"/>
                <a:gd name="T67" fmla="*/ 12 h 66"/>
                <a:gd name="T68" fmla="*/ 98 w 128"/>
                <a:gd name="T69" fmla="*/ 12 h 66"/>
                <a:gd name="T70" fmla="*/ 92 w 128"/>
                <a:gd name="T71" fmla="*/ 12 h 66"/>
                <a:gd name="T72" fmla="*/ 88 w 128"/>
                <a:gd name="T73" fmla="*/ 11 h 66"/>
                <a:gd name="T74" fmla="*/ 86 w 128"/>
                <a:gd name="T75" fmla="*/ 9 h 66"/>
                <a:gd name="T76" fmla="*/ 85 w 128"/>
                <a:gd name="T77" fmla="*/ 6 h 66"/>
                <a:gd name="T78" fmla="*/ 87 w 128"/>
                <a:gd name="T79" fmla="*/ 4 h 66"/>
                <a:gd name="T80" fmla="*/ 91 w 128"/>
                <a:gd name="T81" fmla="*/ 3 h 66"/>
                <a:gd name="T82" fmla="*/ 93 w 128"/>
                <a:gd name="T83" fmla="*/ 3 h 66"/>
                <a:gd name="T84" fmla="*/ 96 w 128"/>
                <a:gd name="T85" fmla="*/ 2 h 66"/>
                <a:gd name="T86" fmla="*/ 99 w 128"/>
                <a:gd name="T87" fmla="*/ 3 h 66"/>
                <a:gd name="T88" fmla="*/ 102 w 128"/>
                <a:gd name="T89" fmla="*/ 3 h 66"/>
                <a:gd name="T90" fmla="*/ 105 w 128"/>
                <a:gd name="T91" fmla="*/ 3 h 66"/>
                <a:gd name="T92" fmla="*/ 108 w 128"/>
                <a:gd name="T93" fmla="*/ 2 h 66"/>
                <a:gd name="T94" fmla="*/ 110 w 128"/>
                <a:gd name="T95" fmla="*/ 3 h 66"/>
                <a:gd name="T96" fmla="*/ 113 w 128"/>
                <a:gd name="T97" fmla="*/ 3 h 66"/>
                <a:gd name="T98" fmla="*/ 116 w 128"/>
                <a:gd name="T99" fmla="*/ 3 h 66"/>
                <a:gd name="T100" fmla="*/ 119 w 128"/>
                <a:gd name="T101" fmla="*/ 4 h 66"/>
                <a:gd name="T102" fmla="*/ 122 w 128"/>
                <a:gd name="T103" fmla="*/ 3 h 66"/>
                <a:gd name="T104" fmla="*/ 125 w 128"/>
                <a:gd name="T105" fmla="*/ 3 h 66"/>
                <a:gd name="T106" fmla="*/ 127 w 128"/>
                <a:gd name="T107" fmla="*/ 4 h 66"/>
                <a:gd name="T108" fmla="*/ 128 w 128"/>
                <a:gd name="T109" fmla="*/ 4 h 66"/>
                <a:gd name="T110" fmla="*/ 128 w 128"/>
                <a:gd name="T111"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66">
                  <a:moveTo>
                    <a:pt x="27" y="66"/>
                  </a:moveTo>
                  <a:lnTo>
                    <a:pt x="25" y="65"/>
                  </a:lnTo>
                  <a:lnTo>
                    <a:pt x="22" y="66"/>
                  </a:lnTo>
                  <a:lnTo>
                    <a:pt x="25" y="65"/>
                  </a:lnTo>
                  <a:lnTo>
                    <a:pt x="27" y="64"/>
                  </a:lnTo>
                  <a:lnTo>
                    <a:pt x="31" y="64"/>
                  </a:lnTo>
                  <a:lnTo>
                    <a:pt x="27" y="66"/>
                  </a:lnTo>
                  <a:lnTo>
                    <a:pt x="27" y="66"/>
                  </a:lnTo>
                  <a:close/>
                  <a:moveTo>
                    <a:pt x="11" y="0"/>
                  </a:moveTo>
                  <a:lnTo>
                    <a:pt x="6" y="0"/>
                  </a:lnTo>
                  <a:lnTo>
                    <a:pt x="2" y="0"/>
                  </a:lnTo>
                  <a:lnTo>
                    <a:pt x="0" y="0"/>
                  </a:lnTo>
                  <a:lnTo>
                    <a:pt x="1" y="3"/>
                  </a:lnTo>
                  <a:lnTo>
                    <a:pt x="4" y="4"/>
                  </a:lnTo>
                  <a:lnTo>
                    <a:pt x="6" y="5"/>
                  </a:lnTo>
                  <a:lnTo>
                    <a:pt x="9" y="5"/>
                  </a:lnTo>
                  <a:lnTo>
                    <a:pt x="11" y="5"/>
                  </a:lnTo>
                  <a:lnTo>
                    <a:pt x="15" y="4"/>
                  </a:lnTo>
                  <a:lnTo>
                    <a:pt x="17" y="4"/>
                  </a:lnTo>
                  <a:lnTo>
                    <a:pt x="21" y="4"/>
                  </a:lnTo>
                  <a:lnTo>
                    <a:pt x="18" y="1"/>
                  </a:lnTo>
                  <a:lnTo>
                    <a:pt x="16" y="0"/>
                  </a:lnTo>
                  <a:lnTo>
                    <a:pt x="13" y="0"/>
                  </a:lnTo>
                  <a:lnTo>
                    <a:pt x="11" y="0"/>
                  </a:lnTo>
                  <a:lnTo>
                    <a:pt x="11" y="0"/>
                  </a:lnTo>
                  <a:close/>
                  <a:moveTo>
                    <a:pt x="128" y="4"/>
                  </a:moveTo>
                  <a:lnTo>
                    <a:pt x="125" y="6"/>
                  </a:lnTo>
                  <a:lnTo>
                    <a:pt x="124" y="10"/>
                  </a:lnTo>
                  <a:lnTo>
                    <a:pt x="122" y="12"/>
                  </a:lnTo>
                  <a:lnTo>
                    <a:pt x="119" y="12"/>
                  </a:lnTo>
                  <a:lnTo>
                    <a:pt x="115" y="12"/>
                  </a:lnTo>
                  <a:lnTo>
                    <a:pt x="111" y="11"/>
                  </a:lnTo>
                  <a:lnTo>
                    <a:pt x="103" y="11"/>
                  </a:lnTo>
                  <a:lnTo>
                    <a:pt x="100" y="12"/>
                  </a:lnTo>
                  <a:lnTo>
                    <a:pt x="98" y="12"/>
                  </a:lnTo>
                  <a:lnTo>
                    <a:pt x="92" y="12"/>
                  </a:lnTo>
                  <a:lnTo>
                    <a:pt x="88" y="11"/>
                  </a:lnTo>
                  <a:lnTo>
                    <a:pt x="86" y="9"/>
                  </a:lnTo>
                  <a:lnTo>
                    <a:pt x="85" y="6"/>
                  </a:lnTo>
                  <a:lnTo>
                    <a:pt x="87" y="4"/>
                  </a:lnTo>
                  <a:lnTo>
                    <a:pt x="91" y="3"/>
                  </a:lnTo>
                  <a:lnTo>
                    <a:pt x="93" y="3"/>
                  </a:lnTo>
                  <a:lnTo>
                    <a:pt x="96" y="2"/>
                  </a:lnTo>
                  <a:lnTo>
                    <a:pt x="99" y="3"/>
                  </a:lnTo>
                  <a:lnTo>
                    <a:pt x="102" y="3"/>
                  </a:lnTo>
                  <a:lnTo>
                    <a:pt x="105" y="3"/>
                  </a:lnTo>
                  <a:lnTo>
                    <a:pt x="108" y="2"/>
                  </a:lnTo>
                  <a:lnTo>
                    <a:pt x="110" y="3"/>
                  </a:lnTo>
                  <a:lnTo>
                    <a:pt x="113" y="3"/>
                  </a:lnTo>
                  <a:lnTo>
                    <a:pt x="116" y="3"/>
                  </a:lnTo>
                  <a:lnTo>
                    <a:pt x="119" y="4"/>
                  </a:lnTo>
                  <a:lnTo>
                    <a:pt x="122" y="3"/>
                  </a:lnTo>
                  <a:lnTo>
                    <a:pt x="125" y="3"/>
                  </a:lnTo>
                  <a:lnTo>
                    <a:pt x="127" y="4"/>
                  </a:lnTo>
                  <a:lnTo>
                    <a:pt x="128" y="4"/>
                  </a:lnTo>
                  <a:lnTo>
                    <a:pt x="12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 name="Freeform 218">
              <a:extLst>
                <a:ext uri="{FF2B5EF4-FFF2-40B4-BE49-F238E27FC236}">
                  <a16:creationId xmlns:a16="http://schemas.microsoft.com/office/drawing/2014/main" id="{695A1E9C-3242-419D-ADB1-86E45A8AAB41}"/>
                </a:ext>
              </a:extLst>
            </p:cNvPr>
            <p:cNvSpPr>
              <a:spLocks/>
            </p:cNvSpPr>
            <p:nvPr/>
          </p:nvSpPr>
          <p:spPr bwMode="auto">
            <a:xfrm>
              <a:off x="4260850" y="1982788"/>
              <a:ext cx="1325562" cy="979488"/>
            </a:xfrm>
            <a:custGeom>
              <a:avLst/>
              <a:gdLst>
                <a:gd name="T0" fmla="*/ 711 w 835"/>
                <a:gd name="T1" fmla="*/ 101 h 617"/>
                <a:gd name="T2" fmla="*/ 827 w 835"/>
                <a:gd name="T3" fmla="*/ 64 h 617"/>
                <a:gd name="T4" fmla="*/ 721 w 835"/>
                <a:gd name="T5" fmla="*/ 67 h 617"/>
                <a:gd name="T6" fmla="*/ 682 w 835"/>
                <a:gd name="T7" fmla="*/ 53 h 617"/>
                <a:gd name="T8" fmla="*/ 597 w 835"/>
                <a:gd name="T9" fmla="*/ 57 h 617"/>
                <a:gd name="T10" fmla="*/ 612 w 835"/>
                <a:gd name="T11" fmla="*/ 49 h 617"/>
                <a:gd name="T12" fmla="*/ 648 w 835"/>
                <a:gd name="T13" fmla="*/ 30 h 617"/>
                <a:gd name="T14" fmla="*/ 537 w 835"/>
                <a:gd name="T15" fmla="*/ 26 h 617"/>
                <a:gd name="T16" fmla="*/ 637 w 835"/>
                <a:gd name="T17" fmla="*/ 15 h 617"/>
                <a:gd name="T18" fmla="*/ 527 w 835"/>
                <a:gd name="T19" fmla="*/ 2 h 617"/>
                <a:gd name="T20" fmla="*/ 483 w 835"/>
                <a:gd name="T21" fmla="*/ 21 h 617"/>
                <a:gd name="T22" fmla="*/ 380 w 835"/>
                <a:gd name="T23" fmla="*/ 17 h 617"/>
                <a:gd name="T24" fmla="*/ 423 w 835"/>
                <a:gd name="T25" fmla="*/ 26 h 617"/>
                <a:gd name="T26" fmla="*/ 392 w 835"/>
                <a:gd name="T27" fmla="*/ 39 h 617"/>
                <a:gd name="T28" fmla="*/ 344 w 835"/>
                <a:gd name="T29" fmla="*/ 45 h 617"/>
                <a:gd name="T30" fmla="*/ 285 w 835"/>
                <a:gd name="T31" fmla="*/ 56 h 617"/>
                <a:gd name="T32" fmla="*/ 199 w 835"/>
                <a:gd name="T33" fmla="*/ 51 h 617"/>
                <a:gd name="T34" fmla="*/ 166 w 835"/>
                <a:gd name="T35" fmla="*/ 83 h 617"/>
                <a:gd name="T36" fmla="*/ 84 w 835"/>
                <a:gd name="T37" fmla="*/ 118 h 617"/>
                <a:gd name="T38" fmla="*/ 49 w 835"/>
                <a:gd name="T39" fmla="*/ 156 h 617"/>
                <a:gd name="T40" fmla="*/ 39 w 835"/>
                <a:gd name="T41" fmla="*/ 193 h 617"/>
                <a:gd name="T42" fmla="*/ 89 w 835"/>
                <a:gd name="T43" fmla="*/ 205 h 617"/>
                <a:gd name="T44" fmla="*/ 65 w 835"/>
                <a:gd name="T45" fmla="*/ 219 h 617"/>
                <a:gd name="T46" fmla="*/ 122 w 835"/>
                <a:gd name="T47" fmla="*/ 230 h 617"/>
                <a:gd name="T48" fmla="*/ 221 w 835"/>
                <a:gd name="T49" fmla="*/ 270 h 617"/>
                <a:gd name="T50" fmla="*/ 252 w 835"/>
                <a:gd name="T51" fmla="*/ 321 h 617"/>
                <a:gd name="T52" fmla="*/ 262 w 835"/>
                <a:gd name="T53" fmla="*/ 354 h 617"/>
                <a:gd name="T54" fmla="*/ 282 w 835"/>
                <a:gd name="T55" fmla="*/ 364 h 617"/>
                <a:gd name="T56" fmla="*/ 277 w 835"/>
                <a:gd name="T57" fmla="*/ 376 h 617"/>
                <a:gd name="T58" fmla="*/ 307 w 835"/>
                <a:gd name="T59" fmla="*/ 407 h 617"/>
                <a:gd name="T60" fmla="*/ 280 w 835"/>
                <a:gd name="T61" fmla="*/ 436 h 617"/>
                <a:gd name="T62" fmla="*/ 286 w 835"/>
                <a:gd name="T63" fmla="*/ 444 h 617"/>
                <a:gd name="T64" fmla="*/ 311 w 835"/>
                <a:gd name="T65" fmla="*/ 449 h 617"/>
                <a:gd name="T66" fmla="*/ 311 w 835"/>
                <a:gd name="T67" fmla="*/ 461 h 617"/>
                <a:gd name="T68" fmla="*/ 277 w 835"/>
                <a:gd name="T69" fmla="*/ 476 h 617"/>
                <a:gd name="T70" fmla="*/ 288 w 835"/>
                <a:gd name="T71" fmla="*/ 477 h 617"/>
                <a:gd name="T72" fmla="*/ 298 w 835"/>
                <a:gd name="T73" fmla="*/ 494 h 617"/>
                <a:gd name="T74" fmla="*/ 315 w 835"/>
                <a:gd name="T75" fmla="*/ 514 h 617"/>
                <a:gd name="T76" fmla="*/ 297 w 835"/>
                <a:gd name="T77" fmla="*/ 537 h 617"/>
                <a:gd name="T78" fmla="*/ 318 w 835"/>
                <a:gd name="T79" fmla="*/ 569 h 617"/>
                <a:gd name="T80" fmla="*/ 340 w 835"/>
                <a:gd name="T81" fmla="*/ 602 h 617"/>
                <a:gd name="T82" fmla="*/ 380 w 835"/>
                <a:gd name="T83" fmla="*/ 607 h 617"/>
                <a:gd name="T84" fmla="*/ 413 w 835"/>
                <a:gd name="T85" fmla="*/ 600 h 617"/>
                <a:gd name="T86" fmla="*/ 413 w 835"/>
                <a:gd name="T87" fmla="*/ 562 h 617"/>
                <a:gd name="T88" fmla="*/ 442 w 835"/>
                <a:gd name="T89" fmla="*/ 530 h 617"/>
                <a:gd name="T90" fmla="*/ 483 w 835"/>
                <a:gd name="T91" fmla="*/ 480 h 617"/>
                <a:gd name="T92" fmla="*/ 551 w 835"/>
                <a:gd name="T93" fmla="*/ 449 h 617"/>
                <a:gd name="T94" fmla="*/ 631 w 835"/>
                <a:gd name="T95" fmla="*/ 427 h 617"/>
                <a:gd name="T96" fmla="*/ 668 w 835"/>
                <a:gd name="T97" fmla="*/ 390 h 617"/>
                <a:gd name="T98" fmla="*/ 611 w 835"/>
                <a:gd name="T99" fmla="*/ 382 h 617"/>
                <a:gd name="T100" fmla="*/ 617 w 835"/>
                <a:gd name="T101" fmla="*/ 355 h 617"/>
                <a:gd name="T102" fmla="*/ 694 w 835"/>
                <a:gd name="T103" fmla="*/ 381 h 617"/>
                <a:gd name="T104" fmla="*/ 668 w 835"/>
                <a:gd name="T105" fmla="*/ 337 h 617"/>
                <a:gd name="T106" fmla="*/ 653 w 835"/>
                <a:gd name="T107" fmla="*/ 316 h 617"/>
                <a:gd name="T108" fmla="*/ 668 w 835"/>
                <a:gd name="T109" fmla="*/ 299 h 617"/>
                <a:gd name="T110" fmla="*/ 700 w 835"/>
                <a:gd name="T111" fmla="*/ 295 h 617"/>
                <a:gd name="T112" fmla="*/ 717 w 835"/>
                <a:gd name="T113" fmla="*/ 267 h 617"/>
                <a:gd name="T114" fmla="*/ 730 w 835"/>
                <a:gd name="T115" fmla="*/ 262 h 617"/>
                <a:gd name="T116" fmla="*/ 704 w 835"/>
                <a:gd name="T117" fmla="*/ 228 h 617"/>
                <a:gd name="T118" fmla="*/ 748 w 835"/>
                <a:gd name="T119" fmla="*/ 214 h 617"/>
                <a:gd name="T120" fmla="*/ 724 w 835"/>
                <a:gd name="T121" fmla="*/ 184 h 617"/>
                <a:gd name="T122" fmla="*/ 732 w 835"/>
                <a:gd name="T123" fmla="*/ 14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5" h="617">
                  <a:moveTo>
                    <a:pt x="721" y="119"/>
                  </a:moveTo>
                  <a:lnTo>
                    <a:pt x="719" y="118"/>
                  </a:lnTo>
                  <a:lnTo>
                    <a:pt x="720" y="116"/>
                  </a:lnTo>
                  <a:lnTo>
                    <a:pt x="723" y="115"/>
                  </a:lnTo>
                  <a:lnTo>
                    <a:pt x="726" y="113"/>
                  </a:lnTo>
                  <a:lnTo>
                    <a:pt x="729" y="111"/>
                  </a:lnTo>
                  <a:lnTo>
                    <a:pt x="731" y="110"/>
                  </a:lnTo>
                  <a:lnTo>
                    <a:pt x="734" y="110"/>
                  </a:lnTo>
                  <a:lnTo>
                    <a:pt x="738" y="111"/>
                  </a:lnTo>
                  <a:lnTo>
                    <a:pt x="740" y="111"/>
                  </a:lnTo>
                  <a:lnTo>
                    <a:pt x="742" y="112"/>
                  </a:lnTo>
                  <a:lnTo>
                    <a:pt x="746" y="112"/>
                  </a:lnTo>
                  <a:lnTo>
                    <a:pt x="749" y="112"/>
                  </a:lnTo>
                  <a:lnTo>
                    <a:pt x="751" y="112"/>
                  </a:lnTo>
                  <a:lnTo>
                    <a:pt x="755" y="112"/>
                  </a:lnTo>
                  <a:lnTo>
                    <a:pt x="757" y="112"/>
                  </a:lnTo>
                  <a:lnTo>
                    <a:pt x="760" y="112"/>
                  </a:lnTo>
                  <a:lnTo>
                    <a:pt x="766" y="112"/>
                  </a:lnTo>
                  <a:lnTo>
                    <a:pt x="768" y="111"/>
                  </a:lnTo>
                  <a:lnTo>
                    <a:pt x="772" y="110"/>
                  </a:lnTo>
                  <a:lnTo>
                    <a:pt x="774" y="109"/>
                  </a:lnTo>
                  <a:lnTo>
                    <a:pt x="773" y="107"/>
                  </a:lnTo>
                  <a:lnTo>
                    <a:pt x="775" y="108"/>
                  </a:lnTo>
                  <a:lnTo>
                    <a:pt x="779" y="106"/>
                  </a:lnTo>
                  <a:lnTo>
                    <a:pt x="780" y="102"/>
                  </a:lnTo>
                  <a:lnTo>
                    <a:pt x="777" y="102"/>
                  </a:lnTo>
                  <a:lnTo>
                    <a:pt x="772" y="101"/>
                  </a:lnTo>
                  <a:lnTo>
                    <a:pt x="768" y="101"/>
                  </a:lnTo>
                  <a:lnTo>
                    <a:pt x="765" y="100"/>
                  </a:lnTo>
                  <a:lnTo>
                    <a:pt x="763" y="100"/>
                  </a:lnTo>
                  <a:lnTo>
                    <a:pt x="759" y="101"/>
                  </a:lnTo>
                  <a:lnTo>
                    <a:pt x="757" y="101"/>
                  </a:lnTo>
                  <a:lnTo>
                    <a:pt x="754" y="102"/>
                  </a:lnTo>
                  <a:lnTo>
                    <a:pt x="751" y="102"/>
                  </a:lnTo>
                  <a:lnTo>
                    <a:pt x="748" y="102"/>
                  </a:lnTo>
                  <a:lnTo>
                    <a:pt x="746" y="101"/>
                  </a:lnTo>
                  <a:lnTo>
                    <a:pt x="742" y="101"/>
                  </a:lnTo>
                  <a:lnTo>
                    <a:pt x="739" y="101"/>
                  </a:lnTo>
                  <a:lnTo>
                    <a:pt x="737" y="101"/>
                  </a:lnTo>
                  <a:lnTo>
                    <a:pt x="733" y="100"/>
                  </a:lnTo>
                  <a:lnTo>
                    <a:pt x="730" y="99"/>
                  </a:lnTo>
                  <a:lnTo>
                    <a:pt x="728" y="99"/>
                  </a:lnTo>
                  <a:lnTo>
                    <a:pt x="725" y="100"/>
                  </a:lnTo>
                  <a:lnTo>
                    <a:pt x="722" y="101"/>
                  </a:lnTo>
                  <a:lnTo>
                    <a:pt x="720" y="102"/>
                  </a:lnTo>
                  <a:lnTo>
                    <a:pt x="716" y="103"/>
                  </a:lnTo>
                  <a:lnTo>
                    <a:pt x="713" y="102"/>
                  </a:lnTo>
                  <a:lnTo>
                    <a:pt x="711" y="101"/>
                  </a:lnTo>
                  <a:lnTo>
                    <a:pt x="713" y="101"/>
                  </a:lnTo>
                  <a:lnTo>
                    <a:pt x="716" y="101"/>
                  </a:lnTo>
                  <a:lnTo>
                    <a:pt x="720" y="101"/>
                  </a:lnTo>
                  <a:lnTo>
                    <a:pt x="722" y="100"/>
                  </a:lnTo>
                  <a:lnTo>
                    <a:pt x="724" y="98"/>
                  </a:lnTo>
                  <a:lnTo>
                    <a:pt x="728" y="98"/>
                  </a:lnTo>
                  <a:lnTo>
                    <a:pt x="733" y="99"/>
                  </a:lnTo>
                  <a:lnTo>
                    <a:pt x="737" y="99"/>
                  </a:lnTo>
                  <a:lnTo>
                    <a:pt x="739" y="99"/>
                  </a:lnTo>
                  <a:lnTo>
                    <a:pt x="742" y="100"/>
                  </a:lnTo>
                  <a:lnTo>
                    <a:pt x="746" y="100"/>
                  </a:lnTo>
                  <a:lnTo>
                    <a:pt x="748" y="99"/>
                  </a:lnTo>
                  <a:lnTo>
                    <a:pt x="751" y="98"/>
                  </a:lnTo>
                  <a:lnTo>
                    <a:pt x="754" y="96"/>
                  </a:lnTo>
                  <a:lnTo>
                    <a:pt x="755" y="94"/>
                  </a:lnTo>
                  <a:lnTo>
                    <a:pt x="757" y="94"/>
                  </a:lnTo>
                  <a:lnTo>
                    <a:pt x="760" y="96"/>
                  </a:lnTo>
                  <a:lnTo>
                    <a:pt x="763" y="96"/>
                  </a:lnTo>
                  <a:lnTo>
                    <a:pt x="766" y="95"/>
                  </a:lnTo>
                  <a:lnTo>
                    <a:pt x="768" y="96"/>
                  </a:lnTo>
                  <a:lnTo>
                    <a:pt x="772" y="96"/>
                  </a:lnTo>
                  <a:lnTo>
                    <a:pt x="774" y="96"/>
                  </a:lnTo>
                  <a:lnTo>
                    <a:pt x="777" y="96"/>
                  </a:lnTo>
                  <a:lnTo>
                    <a:pt x="780" y="96"/>
                  </a:lnTo>
                  <a:lnTo>
                    <a:pt x="783" y="96"/>
                  </a:lnTo>
                  <a:lnTo>
                    <a:pt x="785" y="93"/>
                  </a:lnTo>
                  <a:lnTo>
                    <a:pt x="788" y="92"/>
                  </a:lnTo>
                  <a:lnTo>
                    <a:pt x="797" y="92"/>
                  </a:lnTo>
                  <a:lnTo>
                    <a:pt x="800" y="91"/>
                  </a:lnTo>
                  <a:lnTo>
                    <a:pt x="800" y="89"/>
                  </a:lnTo>
                  <a:lnTo>
                    <a:pt x="797" y="86"/>
                  </a:lnTo>
                  <a:lnTo>
                    <a:pt x="797" y="84"/>
                  </a:lnTo>
                  <a:lnTo>
                    <a:pt x="800" y="83"/>
                  </a:lnTo>
                  <a:lnTo>
                    <a:pt x="808" y="83"/>
                  </a:lnTo>
                  <a:lnTo>
                    <a:pt x="811" y="83"/>
                  </a:lnTo>
                  <a:lnTo>
                    <a:pt x="815" y="81"/>
                  </a:lnTo>
                  <a:lnTo>
                    <a:pt x="817" y="78"/>
                  </a:lnTo>
                  <a:lnTo>
                    <a:pt x="819" y="78"/>
                  </a:lnTo>
                  <a:lnTo>
                    <a:pt x="823" y="77"/>
                  </a:lnTo>
                  <a:lnTo>
                    <a:pt x="825" y="75"/>
                  </a:lnTo>
                  <a:lnTo>
                    <a:pt x="827" y="74"/>
                  </a:lnTo>
                  <a:lnTo>
                    <a:pt x="831" y="73"/>
                  </a:lnTo>
                  <a:lnTo>
                    <a:pt x="833" y="72"/>
                  </a:lnTo>
                  <a:lnTo>
                    <a:pt x="835" y="70"/>
                  </a:lnTo>
                  <a:lnTo>
                    <a:pt x="835" y="67"/>
                  </a:lnTo>
                  <a:lnTo>
                    <a:pt x="833" y="67"/>
                  </a:lnTo>
                  <a:lnTo>
                    <a:pt x="830" y="65"/>
                  </a:lnTo>
                  <a:lnTo>
                    <a:pt x="827" y="64"/>
                  </a:lnTo>
                  <a:lnTo>
                    <a:pt x="825" y="62"/>
                  </a:lnTo>
                  <a:lnTo>
                    <a:pt x="822" y="61"/>
                  </a:lnTo>
                  <a:lnTo>
                    <a:pt x="819" y="61"/>
                  </a:lnTo>
                  <a:lnTo>
                    <a:pt x="816" y="61"/>
                  </a:lnTo>
                  <a:lnTo>
                    <a:pt x="814" y="61"/>
                  </a:lnTo>
                  <a:lnTo>
                    <a:pt x="810" y="60"/>
                  </a:lnTo>
                  <a:lnTo>
                    <a:pt x="808" y="59"/>
                  </a:lnTo>
                  <a:lnTo>
                    <a:pt x="805" y="59"/>
                  </a:lnTo>
                  <a:lnTo>
                    <a:pt x="801" y="58"/>
                  </a:lnTo>
                  <a:lnTo>
                    <a:pt x="799" y="58"/>
                  </a:lnTo>
                  <a:lnTo>
                    <a:pt x="796" y="57"/>
                  </a:lnTo>
                  <a:lnTo>
                    <a:pt x="793" y="58"/>
                  </a:lnTo>
                  <a:lnTo>
                    <a:pt x="790" y="58"/>
                  </a:lnTo>
                  <a:lnTo>
                    <a:pt x="786" y="58"/>
                  </a:lnTo>
                  <a:lnTo>
                    <a:pt x="784" y="58"/>
                  </a:lnTo>
                  <a:lnTo>
                    <a:pt x="782" y="57"/>
                  </a:lnTo>
                  <a:lnTo>
                    <a:pt x="779" y="58"/>
                  </a:lnTo>
                  <a:lnTo>
                    <a:pt x="776" y="58"/>
                  </a:lnTo>
                  <a:lnTo>
                    <a:pt x="773" y="57"/>
                  </a:lnTo>
                  <a:lnTo>
                    <a:pt x="770" y="60"/>
                  </a:lnTo>
                  <a:lnTo>
                    <a:pt x="767" y="59"/>
                  </a:lnTo>
                  <a:lnTo>
                    <a:pt x="765" y="60"/>
                  </a:lnTo>
                  <a:lnTo>
                    <a:pt x="762" y="60"/>
                  </a:lnTo>
                  <a:lnTo>
                    <a:pt x="763" y="62"/>
                  </a:lnTo>
                  <a:lnTo>
                    <a:pt x="764" y="65"/>
                  </a:lnTo>
                  <a:lnTo>
                    <a:pt x="760" y="64"/>
                  </a:lnTo>
                  <a:lnTo>
                    <a:pt x="757" y="65"/>
                  </a:lnTo>
                  <a:lnTo>
                    <a:pt x="757" y="67"/>
                  </a:lnTo>
                  <a:lnTo>
                    <a:pt x="759" y="68"/>
                  </a:lnTo>
                  <a:lnTo>
                    <a:pt x="757" y="69"/>
                  </a:lnTo>
                  <a:lnTo>
                    <a:pt x="754" y="70"/>
                  </a:lnTo>
                  <a:lnTo>
                    <a:pt x="755" y="73"/>
                  </a:lnTo>
                  <a:lnTo>
                    <a:pt x="753" y="73"/>
                  </a:lnTo>
                  <a:lnTo>
                    <a:pt x="750" y="73"/>
                  </a:lnTo>
                  <a:lnTo>
                    <a:pt x="747" y="72"/>
                  </a:lnTo>
                  <a:lnTo>
                    <a:pt x="743" y="72"/>
                  </a:lnTo>
                  <a:lnTo>
                    <a:pt x="741" y="70"/>
                  </a:lnTo>
                  <a:lnTo>
                    <a:pt x="739" y="69"/>
                  </a:lnTo>
                  <a:lnTo>
                    <a:pt x="736" y="69"/>
                  </a:lnTo>
                  <a:lnTo>
                    <a:pt x="732" y="70"/>
                  </a:lnTo>
                  <a:lnTo>
                    <a:pt x="730" y="72"/>
                  </a:lnTo>
                  <a:lnTo>
                    <a:pt x="726" y="73"/>
                  </a:lnTo>
                  <a:lnTo>
                    <a:pt x="724" y="74"/>
                  </a:lnTo>
                  <a:lnTo>
                    <a:pt x="724" y="72"/>
                  </a:lnTo>
                  <a:lnTo>
                    <a:pt x="724" y="68"/>
                  </a:lnTo>
                  <a:lnTo>
                    <a:pt x="728" y="67"/>
                  </a:lnTo>
                  <a:lnTo>
                    <a:pt x="724" y="67"/>
                  </a:lnTo>
                  <a:lnTo>
                    <a:pt x="721" y="67"/>
                  </a:lnTo>
                  <a:lnTo>
                    <a:pt x="719" y="68"/>
                  </a:lnTo>
                  <a:lnTo>
                    <a:pt x="715" y="69"/>
                  </a:lnTo>
                  <a:lnTo>
                    <a:pt x="713" y="72"/>
                  </a:lnTo>
                  <a:lnTo>
                    <a:pt x="709" y="73"/>
                  </a:lnTo>
                  <a:lnTo>
                    <a:pt x="707" y="76"/>
                  </a:lnTo>
                  <a:lnTo>
                    <a:pt x="704" y="77"/>
                  </a:lnTo>
                  <a:lnTo>
                    <a:pt x="702" y="81"/>
                  </a:lnTo>
                  <a:lnTo>
                    <a:pt x="698" y="81"/>
                  </a:lnTo>
                  <a:lnTo>
                    <a:pt x="695" y="83"/>
                  </a:lnTo>
                  <a:lnTo>
                    <a:pt x="692" y="84"/>
                  </a:lnTo>
                  <a:lnTo>
                    <a:pt x="690" y="86"/>
                  </a:lnTo>
                  <a:lnTo>
                    <a:pt x="687" y="89"/>
                  </a:lnTo>
                  <a:lnTo>
                    <a:pt x="685" y="90"/>
                  </a:lnTo>
                  <a:lnTo>
                    <a:pt x="681" y="91"/>
                  </a:lnTo>
                  <a:lnTo>
                    <a:pt x="679" y="91"/>
                  </a:lnTo>
                  <a:lnTo>
                    <a:pt x="679" y="94"/>
                  </a:lnTo>
                  <a:lnTo>
                    <a:pt x="677" y="95"/>
                  </a:lnTo>
                  <a:lnTo>
                    <a:pt x="674" y="98"/>
                  </a:lnTo>
                  <a:lnTo>
                    <a:pt x="672" y="100"/>
                  </a:lnTo>
                  <a:lnTo>
                    <a:pt x="669" y="101"/>
                  </a:lnTo>
                  <a:lnTo>
                    <a:pt x="666" y="102"/>
                  </a:lnTo>
                  <a:lnTo>
                    <a:pt x="668" y="100"/>
                  </a:lnTo>
                  <a:lnTo>
                    <a:pt x="670" y="98"/>
                  </a:lnTo>
                  <a:lnTo>
                    <a:pt x="668" y="98"/>
                  </a:lnTo>
                  <a:lnTo>
                    <a:pt x="671" y="96"/>
                  </a:lnTo>
                  <a:lnTo>
                    <a:pt x="673" y="95"/>
                  </a:lnTo>
                  <a:lnTo>
                    <a:pt x="673" y="92"/>
                  </a:lnTo>
                  <a:lnTo>
                    <a:pt x="675" y="90"/>
                  </a:lnTo>
                  <a:lnTo>
                    <a:pt x="679" y="87"/>
                  </a:lnTo>
                  <a:lnTo>
                    <a:pt x="681" y="85"/>
                  </a:lnTo>
                  <a:lnTo>
                    <a:pt x="683" y="83"/>
                  </a:lnTo>
                  <a:lnTo>
                    <a:pt x="687" y="82"/>
                  </a:lnTo>
                  <a:lnTo>
                    <a:pt x="688" y="79"/>
                  </a:lnTo>
                  <a:lnTo>
                    <a:pt x="691" y="77"/>
                  </a:lnTo>
                  <a:lnTo>
                    <a:pt x="694" y="75"/>
                  </a:lnTo>
                  <a:lnTo>
                    <a:pt x="697" y="73"/>
                  </a:lnTo>
                  <a:lnTo>
                    <a:pt x="698" y="69"/>
                  </a:lnTo>
                  <a:lnTo>
                    <a:pt x="699" y="67"/>
                  </a:lnTo>
                  <a:lnTo>
                    <a:pt x="699" y="64"/>
                  </a:lnTo>
                  <a:lnTo>
                    <a:pt x="699" y="61"/>
                  </a:lnTo>
                  <a:lnTo>
                    <a:pt x="699" y="59"/>
                  </a:lnTo>
                  <a:lnTo>
                    <a:pt x="699" y="56"/>
                  </a:lnTo>
                  <a:lnTo>
                    <a:pt x="697" y="53"/>
                  </a:lnTo>
                  <a:lnTo>
                    <a:pt x="694" y="52"/>
                  </a:lnTo>
                  <a:lnTo>
                    <a:pt x="691" y="52"/>
                  </a:lnTo>
                  <a:lnTo>
                    <a:pt x="688" y="53"/>
                  </a:lnTo>
                  <a:lnTo>
                    <a:pt x="686" y="53"/>
                  </a:lnTo>
                  <a:lnTo>
                    <a:pt x="682" y="53"/>
                  </a:lnTo>
                  <a:lnTo>
                    <a:pt x="680" y="53"/>
                  </a:lnTo>
                  <a:lnTo>
                    <a:pt x="677" y="53"/>
                  </a:lnTo>
                  <a:lnTo>
                    <a:pt x="674" y="55"/>
                  </a:lnTo>
                  <a:lnTo>
                    <a:pt x="671" y="56"/>
                  </a:lnTo>
                  <a:lnTo>
                    <a:pt x="671" y="58"/>
                  </a:lnTo>
                  <a:lnTo>
                    <a:pt x="670" y="61"/>
                  </a:lnTo>
                  <a:lnTo>
                    <a:pt x="670" y="64"/>
                  </a:lnTo>
                  <a:lnTo>
                    <a:pt x="668" y="65"/>
                  </a:lnTo>
                  <a:lnTo>
                    <a:pt x="664" y="65"/>
                  </a:lnTo>
                  <a:lnTo>
                    <a:pt x="661" y="65"/>
                  </a:lnTo>
                  <a:lnTo>
                    <a:pt x="658" y="66"/>
                  </a:lnTo>
                  <a:lnTo>
                    <a:pt x="656" y="67"/>
                  </a:lnTo>
                  <a:lnTo>
                    <a:pt x="649" y="68"/>
                  </a:lnTo>
                  <a:lnTo>
                    <a:pt x="647" y="69"/>
                  </a:lnTo>
                  <a:lnTo>
                    <a:pt x="640" y="70"/>
                  </a:lnTo>
                  <a:lnTo>
                    <a:pt x="638" y="72"/>
                  </a:lnTo>
                  <a:lnTo>
                    <a:pt x="635" y="73"/>
                  </a:lnTo>
                  <a:lnTo>
                    <a:pt x="632" y="74"/>
                  </a:lnTo>
                  <a:lnTo>
                    <a:pt x="630" y="75"/>
                  </a:lnTo>
                  <a:lnTo>
                    <a:pt x="627" y="75"/>
                  </a:lnTo>
                  <a:lnTo>
                    <a:pt x="623" y="75"/>
                  </a:lnTo>
                  <a:lnTo>
                    <a:pt x="627" y="75"/>
                  </a:lnTo>
                  <a:lnTo>
                    <a:pt x="623" y="73"/>
                  </a:lnTo>
                  <a:lnTo>
                    <a:pt x="627" y="70"/>
                  </a:lnTo>
                  <a:lnTo>
                    <a:pt x="632" y="69"/>
                  </a:lnTo>
                  <a:lnTo>
                    <a:pt x="636" y="68"/>
                  </a:lnTo>
                  <a:lnTo>
                    <a:pt x="638" y="67"/>
                  </a:lnTo>
                  <a:lnTo>
                    <a:pt x="645" y="66"/>
                  </a:lnTo>
                  <a:lnTo>
                    <a:pt x="651" y="64"/>
                  </a:lnTo>
                  <a:lnTo>
                    <a:pt x="653" y="62"/>
                  </a:lnTo>
                  <a:lnTo>
                    <a:pt x="655" y="60"/>
                  </a:lnTo>
                  <a:lnTo>
                    <a:pt x="654" y="57"/>
                  </a:lnTo>
                  <a:lnTo>
                    <a:pt x="652" y="55"/>
                  </a:lnTo>
                  <a:lnTo>
                    <a:pt x="648" y="55"/>
                  </a:lnTo>
                  <a:lnTo>
                    <a:pt x="646" y="55"/>
                  </a:lnTo>
                  <a:lnTo>
                    <a:pt x="643" y="55"/>
                  </a:lnTo>
                  <a:lnTo>
                    <a:pt x="635" y="55"/>
                  </a:lnTo>
                  <a:lnTo>
                    <a:pt x="631" y="55"/>
                  </a:lnTo>
                  <a:lnTo>
                    <a:pt x="626" y="55"/>
                  </a:lnTo>
                  <a:lnTo>
                    <a:pt x="623" y="55"/>
                  </a:lnTo>
                  <a:lnTo>
                    <a:pt x="617" y="55"/>
                  </a:lnTo>
                  <a:lnTo>
                    <a:pt x="614" y="55"/>
                  </a:lnTo>
                  <a:lnTo>
                    <a:pt x="612" y="55"/>
                  </a:lnTo>
                  <a:lnTo>
                    <a:pt x="609" y="55"/>
                  </a:lnTo>
                  <a:lnTo>
                    <a:pt x="605" y="55"/>
                  </a:lnTo>
                  <a:lnTo>
                    <a:pt x="603" y="56"/>
                  </a:lnTo>
                  <a:lnTo>
                    <a:pt x="600" y="56"/>
                  </a:lnTo>
                  <a:lnTo>
                    <a:pt x="597" y="57"/>
                  </a:lnTo>
                  <a:lnTo>
                    <a:pt x="594" y="59"/>
                  </a:lnTo>
                  <a:lnTo>
                    <a:pt x="592" y="57"/>
                  </a:lnTo>
                  <a:lnTo>
                    <a:pt x="585" y="58"/>
                  </a:lnTo>
                  <a:lnTo>
                    <a:pt x="583" y="59"/>
                  </a:lnTo>
                  <a:lnTo>
                    <a:pt x="579" y="59"/>
                  </a:lnTo>
                  <a:lnTo>
                    <a:pt x="577" y="59"/>
                  </a:lnTo>
                  <a:lnTo>
                    <a:pt x="570" y="60"/>
                  </a:lnTo>
                  <a:lnTo>
                    <a:pt x="568" y="60"/>
                  </a:lnTo>
                  <a:lnTo>
                    <a:pt x="564" y="61"/>
                  </a:lnTo>
                  <a:lnTo>
                    <a:pt x="562" y="61"/>
                  </a:lnTo>
                  <a:lnTo>
                    <a:pt x="559" y="62"/>
                  </a:lnTo>
                  <a:lnTo>
                    <a:pt x="557" y="64"/>
                  </a:lnTo>
                  <a:lnTo>
                    <a:pt x="553" y="66"/>
                  </a:lnTo>
                  <a:lnTo>
                    <a:pt x="551" y="66"/>
                  </a:lnTo>
                  <a:lnTo>
                    <a:pt x="550" y="64"/>
                  </a:lnTo>
                  <a:lnTo>
                    <a:pt x="549" y="60"/>
                  </a:lnTo>
                  <a:lnTo>
                    <a:pt x="552" y="59"/>
                  </a:lnTo>
                  <a:lnTo>
                    <a:pt x="555" y="59"/>
                  </a:lnTo>
                  <a:lnTo>
                    <a:pt x="558" y="58"/>
                  </a:lnTo>
                  <a:lnTo>
                    <a:pt x="560" y="58"/>
                  </a:lnTo>
                  <a:lnTo>
                    <a:pt x="563" y="57"/>
                  </a:lnTo>
                  <a:lnTo>
                    <a:pt x="566" y="57"/>
                  </a:lnTo>
                  <a:lnTo>
                    <a:pt x="569" y="57"/>
                  </a:lnTo>
                  <a:lnTo>
                    <a:pt x="571" y="56"/>
                  </a:lnTo>
                  <a:lnTo>
                    <a:pt x="574" y="56"/>
                  </a:lnTo>
                  <a:lnTo>
                    <a:pt x="577" y="55"/>
                  </a:lnTo>
                  <a:lnTo>
                    <a:pt x="588" y="52"/>
                  </a:lnTo>
                  <a:lnTo>
                    <a:pt x="591" y="52"/>
                  </a:lnTo>
                  <a:lnTo>
                    <a:pt x="588" y="50"/>
                  </a:lnTo>
                  <a:lnTo>
                    <a:pt x="586" y="49"/>
                  </a:lnTo>
                  <a:lnTo>
                    <a:pt x="583" y="49"/>
                  </a:lnTo>
                  <a:lnTo>
                    <a:pt x="574" y="49"/>
                  </a:lnTo>
                  <a:lnTo>
                    <a:pt x="568" y="49"/>
                  </a:lnTo>
                  <a:lnTo>
                    <a:pt x="571" y="49"/>
                  </a:lnTo>
                  <a:lnTo>
                    <a:pt x="574" y="48"/>
                  </a:lnTo>
                  <a:lnTo>
                    <a:pt x="577" y="48"/>
                  </a:lnTo>
                  <a:lnTo>
                    <a:pt x="580" y="49"/>
                  </a:lnTo>
                  <a:lnTo>
                    <a:pt x="583" y="49"/>
                  </a:lnTo>
                  <a:lnTo>
                    <a:pt x="586" y="49"/>
                  </a:lnTo>
                  <a:lnTo>
                    <a:pt x="588" y="49"/>
                  </a:lnTo>
                  <a:lnTo>
                    <a:pt x="592" y="50"/>
                  </a:lnTo>
                  <a:lnTo>
                    <a:pt x="594" y="50"/>
                  </a:lnTo>
                  <a:lnTo>
                    <a:pt x="597" y="50"/>
                  </a:lnTo>
                  <a:lnTo>
                    <a:pt x="600" y="50"/>
                  </a:lnTo>
                  <a:lnTo>
                    <a:pt x="603" y="50"/>
                  </a:lnTo>
                  <a:lnTo>
                    <a:pt x="606" y="49"/>
                  </a:lnTo>
                  <a:lnTo>
                    <a:pt x="609" y="49"/>
                  </a:lnTo>
                  <a:lnTo>
                    <a:pt x="612" y="49"/>
                  </a:lnTo>
                  <a:lnTo>
                    <a:pt x="615" y="49"/>
                  </a:lnTo>
                  <a:lnTo>
                    <a:pt x="618" y="49"/>
                  </a:lnTo>
                  <a:lnTo>
                    <a:pt x="621" y="49"/>
                  </a:lnTo>
                  <a:lnTo>
                    <a:pt x="625" y="49"/>
                  </a:lnTo>
                  <a:lnTo>
                    <a:pt x="630" y="49"/>
                  </a:lnTo>
                  <a:lnTo>
                    <a:pt x="634" y="49"/>
                  </a:lnTo>
                  <a:lnTo>
                    <a:pt x="639" y="50"/>
                  </a:lnTo>
                  <a:lnTo>
                    <a:pt x="643" y="50"/>
                  </a:lnTo>
                  <a:lnTo>
                    <a:pt x="645" y="50"/>
                  </a:lnTo>
                  <a:lnTo>
                    <a:pt x="657" y="50"/>
                  </a:lnTo>
                  <a:lnTo>
                    <a:pt x="660" y="49"/>
                  </a:lnTo>
                  <a:lnTo>
                    <a:pt x="663" y="49"/>
                  </a:lnTo>
                  <a:lnTo>
                    <a:pt x="665" y="48"/>
                  </a:lnTo>
                  <a:lnTo>
                    <a:pt x="669" y="47"/>
                  </a:lnTo>
                  <a:lnTo>
                    <a:pt x="671" y="47"/>
                  </a:lnTo>
                  <a:lnTo>
                    <a:pt x="674" y="45"/>
                  </a:lnTo>
                  <a:lnTo>
                    <a:pt x="683" y="45"/>
                  </a:lnTo>
                  <a:lnTo>
                    <a:pt x="687" y="45"/>
                  </a:lnTo>
                  <a:lnTo>
                    <a:pt x="689" y="44"/>
                  </a:lnTo>
                  <a:lnTo>
                    <a:pt x="691" y="44"/>
                  </a:lnTo>
                  <a:lnTo>
                    <a:pt x="695" y="43"/>
                  </a:lnTo>
                  <a:lnTo>
                    <a:pt x="696" y="40"/>
                  </a:lnTo>
                  <a:lnTo>
                    <a:pt x="699" y="40"/>
                  </a:lnTo>
                  <a:lnTo>
                    <a:pt x="703" y="39"/>
                  </a:lnTo>
                  <a:lnTo>
                    <a:pt x="705" y="38"/>
                  </a:lnTo>
                  <a:lnTo>
                    <a:pt x="708" y="36"/>
                  </a:lnTo>
                  <a:lnTo>
                    <a:pt x="707" y="34"/>
                  </a:lnTo>
                  <a:lnTo>
                    <a:pt x="704" y="32"/>
                  </a:lnTo>
                  <a:lnTo>
                    <a:pt x="700" y="31"/>
                  </a:lnTo>
                  <a:lnTo>
                    <a:pt x="698" y="31"/>
                  </a:lnTo>
                  <a:lnTo>
                    <a:pt x="695" y="30"/>
                  </a:lnTo>
                  <a:lnTo>
                    <a:pt x="691" y="29"/>
                  </a:lnTo>
                  <a:lnTo>
                    <a:pt x="689" y="30"/>
                  </a:lnTo>
                  <a:lnTo>
                    <a:pt x="687" y="29"/>
                  </a:lnTo>
                  <a:lnTo>
                    <a:pt x="683" y="29"/>
                  </a:lnTo>
                  <a:lnTo>
                    <a:pt x="681" y="26"/>
                  </a:lnTo>
                  <a:lnTo>
                    <a:pt x="678" y="26"/>
                  </a:lnTo>
                  <a:lnTo>
                    <a:pt x="674" y="29"/>
                  </a:lnTo>
                  <a:lnTo>
                    <a:pt x="672" y="30"/>
                  </a:lnTo>
                  <a:lnTo>
                    <a:pt x="672" y="26"/>
                  </a:lnTo>
                  <a:lnTo>
                    <a:pt x="670" y="25"/>
                  </a:lnTo>
                  <a:lnTo>
                    <a:pt x="666" y="25"/>
                  </a:lnTo>
                  <a:lnTo>
                    <a:pt x="664" y="25"/>
                  </a:lnTo>
                  <a:lnTo>
                    <a:pt x="661" y="26"/>
                  </a:lnTo>
                  <a:lnTo>
                    <a:pt x="657" y="27"/>
                  </a:lnTo>
                  <a:lnTo>
                    <a:pt x="655" y="27"/>
                  </a:lnTo>
                  <a:lnTo>
                    <a:pt x="652" y="29"/>
                  </a:lnTo>
                  <a:lnTo>
                    <a:pt x="648" y="30"/>
                  </a:lnTo>
                  <a:lnTo>
                    <a:pt x="652" y="27"/>
                  </a:lnTo>
                  <a:lnTo>
                    <a:pt x="655" y="26"/>
                  </a:lnTo>
                  <a:lnTo>
                    <a:pt x="657" y="24"/>
                  </a:lnTo>
                  <a:lnTo>
                    <a:pt x="661" y="23"/>
                  </a:lnTo>
                  <a:lnTo>
                    <a:pt x="660" y="19"/>
                  </a:lnTo>
                  <a:lnTo>
                    <a:pt x="660" y="17"/>
                  </a:lnTo>
                  <a:lnTo>
                    <a:pt x="656" y="16"/>
                  </a:lnTo>
                  <a:lnTo>
                    <a:pt x="651" y="16"/>
                  </a:lnTo>
                  <a:lnTo>
                    <a:pt x="648" y="17"/>
                  </a:lnTo>
                  <a:lnTo>
                    <a:pt x="645" y="17"/>
                  </a:lnTo>
                  <a:lnTo>
                    <a:pt x="643" y="17"/>
                  </a:lnTo>
                  <a:lnTo>
                    <a:pt x="639" y="18"/>
                  </a:lnTo>
                  <a:lnTo>
                    <a:pt x="636" y="19"/>
                  </a:lnTo>
                  <a:lnTo>
                    <a:pt x="634" y="19"/>
                  </a:lnTo>
                  <a:lnTo>
                    <a:pt x="630" y="19"/>
                  </a:lnTo>
                  <a:lnTo>
                    <a:pt x="627" y="19"/>
                  </a:lnTo>
                  <a:lnTo>
                    <a:pt x="625" y="19"/>
                  </a:lnTo>
                  <a:lnTo>
                    <a:pt x="622" y="18"/>
                  </a:lnTo>
                  <a:lnTo>
                    <a:pt x="619" y="18"/>
                  </a:lnTo>
                  <a:lnTo>
                    <a:pt x="617" y="19"/>
                  </a:lnTo>
                  <a:lnTo>
                    <a:pt x="613" y="19"/>
                  </a:lnTo>
                  <a:lnTo>
                    <a:pt x="611" y="18"/>
                  </a:lnTo>
                  <a:lnTo>
                    <a:pt x="608" y="17"/>
                  </a:lnTo>
                  <a:lnTo>
                    <a:pt x="604" y="17"/>
                  </a:lnTo>
                  <a:lnTo>
                    <a:pt x="602" y="17"/>
                  </a:lnTo>
                  <a:lnTo>
                    <a:pt x="598" y="17"/>
                  </a:lnTo>
                  <a:lnTo>
                    <a:pt x="593" y="17"/>
                  </a:lnTo>
                  <a:lnTo>
                    <a:pt x="589" y="17"/>
                  </a:lnTo>
                  <a:lnTo>
                    <a:pt x="587" y="17"/>
                  </a:lnTo>
                  <a:lnTo>
                    <a:pt x="584" y="18"/>
                  </a:lnTo>
                  <a:lnTo>
                    <a:pt x="581" y="18"/>
                  </a:lnTo>
                  <a:lnTo>
                    <a:pt x="578" y="18"/>
                  </a:lnTo>
                  <a:lnTo>
                    <a:pt x="575" y="19"/>
                  </a:lnTo>
                  <a:lnTo>
                    <a:pt x="572" y="21"/>
                  </a:lnTo>
                  <a:lnTo>
                    <a:pt x="569" y="22"/>
                  </a:lnTo>
                  <a:lnTo>
                    <a:pt x="567" y="24"/>
                  </a:lnTo>
                  <a:lnTo>
                    <a:pt x="563" y="22"/>
                  </a:lnTo>
                  <a:lnTo>
                    <a:pt x="560" y="22"/>
                  </a:lnTo>
                  <a:lnTo>
                    <a:pt x="557" y="22"/>
                  </a:lnTo>
                  <a:lnTo>
                    <a:pt x="554" y="22"/>
                  </a:lnTo>
                  <a:lnTo>
                    <a:pt x="552" y="23"/>
                  </a:lnTo>
                  <a:lnTo>
                    <a:pt x="547" y="23"/>
                  </a:lnTo>
                  <a:lnTo>
                    <a:pt x="545" y="23"/>
                  </a:lnTo>
                  <a:lnTo>
                    <a:pt x="543" y="23"/>
                  </a:lnTo>
                  <a:lnTo>
                    <a:pt x="540" y="24"/>
                  </a:lnTo>
                  <a:lnTo>
                    <a:pt x="540" y="26"/>
                  </a:lnTo>
                  <a:lnTo>
                    <a:pt x="536" y="29"/>
                  </a:lnTo>
                  <a:lnTo>
                    <a:pt x="537" y="26"/>
                  </a:lnTo>
                  <a:lnTo>
                    <a:pt x="535" y="24"/>
                  </a:lnTo>
                  <a:lnTo>
                    <a:pt x="528" y="24"/>
                  </a:lnTo>
                  <a:lnTo>
                    <a:pt x="526" y="24"/>
                  </a:lnTo>
                  <a:lnTo>
                    <a:pt x="523" y="25"/>
                  </a:lnTo>
                  <a:lnTo>
                    <a:pt x="519" y="25"/>
                  </a:lnTo>
                  <a:lnTo>
                    <a:pt x="517" y="27"/>
                  </a:lnTo>
                  <a:lnTo>
                    <a:pt x="515" y="30"/>
                  </a:lnTo>
                  <a:lnTo>
                    <a:pt x="516" y="27"/>
                  </a:lnTo>
                  <a:lnTo>
                    <a:pt x="514" y="24"/>
                  </a:lnTo>
                  <a:lnTo>
                    <a:pt x="517" y="24"/>
                  </a:lnTo>
                  <a:lnTo>
                    <a:pt x="520" y="24"/>
                  </a:lnTo>
                  <a:lnTo>
                    <a:pt x="523" y="24"/>
                  </a:lnTo>
                  <a:lnTo>
                    <a:pt x="526" y="24"/>
                  </a:lnTo>
                  <a:lnTo>
                    <a:pt x="532" y="24"/>
                  </a:lnTo>
                  <a:lnTo>
                    <a:pt x="534" y="23"/>
                  </a:lnTo>
                  <a:lnTo>
                    <a:pt x="537" y="23"/>
                  </a:lnTo>
                  <a:lnTo>
                    <a:pt x="541" y="22"/>
                  </a:lnTo>
                  <a:lnTo>
                    <a:pt x="543" y="22"/>
                  </a:lnTo>
                  <a:lnTo>
                    <a:pt x="550" y="21"/>
                  </a:lnTo>
                  <a:lnTo>
                    <a:pt x="552" y="21"/>
                  </a:lnTo>
                  <a:lnTo>
                    <a:pt x="555" y="21"/>
                  </a:lnTo>
                  <a:lnTo>
                    <a:pt x="552" y="18"/>
                  </a:lnTo>
                  <a:lnTo>
                    <a:pt x="550" y="17"/>
                  </a:lnTo>
                  <a:lnTo>
                    <a:pt x="546" y="17"/>
                  </a:lnTo>
                  <a:lnTo>
                    <a:pt x="543" y="17"/>
                  </a:lnTo>
                  <a:lnTo>
                    <a:pt x="546" y="16"/>
                  </a:lnTo>
                  <a:lnTo>
                    <a:pt x="550" y="17"/>
                  </a:lnTo>
                  <a:lnTo>
                    <a:pt x="552" y="17"/>
                  </a:lnTo>
                  <a:lnTo>
                    <a:pt x="555" y="18"/>
                  </a:lnTo>
                  <a:lnTo>
                    <a:pt x="561" y="19"/>
                  </a:lnTo>
                  <a:lnTo>
                    <a:pt x="567" y="19"/>
                  </a:lnTo>
                  <a:lnTo>
                    <a:pt x="572" y="18"/>
                  </a:lnTo>
                  <a:lnTo>
                    <a:pt x="576" y="17"/>
                  </a:lnTo>
                  <a:lnTo>
                    <a:pt x="578" y="17"/>
                  </a:lnTo>
                  <a:lnTo>
                    <a:pt x="581" y="16"/>
                  </a:lnTo>
                  <a:lnTo>
                    <a:pt x="584" y="16"/>
                  </a:lnTo>
                  <a:lnTo>
                    <a:pt x="591" y="15"/>
                  </a:lnTo>
                  <a:lnTo>
                    <a:pt x="596" y="15"/>
                  </a:lnTo>
                  <a:lnTo>
                    <a:pt x="598" y="15"/>
                  </a:lnTo>
                  <a:lnTo>
                    <a:pt x="602" y="15"/>
                  </a:lnTo>
                  <a:lnTo>
                    <a:pt x="605" y="15"/>
                  </a:lnTo>
                  <a:lnTo>
                    <a:pt x="608" y="16"/>
                  </a:lnTo>
                  <a:lnTo>
                    <a:pt x="617" y="16"/>
                  </a:lnTo>
                  <a:lnTo>
                    <a:pt x="619" y="16"/>
                  </a:lnTo>
                  <a:lnTo>
                    <a:pt x="622" y="17"/>
                  </a:lnTo>
                  <a:lnTo>
                    <a:pt x="626" y="16"/>
                  </a:lnTo>
                  <a:lnTo>
                    <a:pt x="631" y="16"/>
                  </a:lnTo>
                  <a:lnTo>
                    <a:pt x="637" y="15"/>
                  </a:lnTo>
                  <a:lnTo>
                    <a:pt x="639" y="15"/>
                  </a:lnTo>
                  <a:lnTo>
                    <a:pt x="643" y="14"/>
                  </a:lnTo>
                  <a:lnTo>
                    <a:pt x="645" y="14"/>
                  </a:lnTo>
                  <a:lnTo>
                    <a:pt x="648" y="13"/>
                  </a:lnTo>
                  <a:lnTo>
                    <a:pt x="645" y="9"/>
                  </a:lnTo>
                  <a:lnTo>
                    <a:pt x="642" y="8"/>
                  </a:lnTo>
                  <a:lnTo>
                    <a:pt x="639" y="8"/>
                  </a:lnTo>
                  <a:lnTo>
                    <a:pt x="636" y="7"/>
                  </a:lnTo>
                  <a:lnTo>
                    <a:pt x="631" y="6"/>
                  </a:lnTo>
                  <a:lnTo>
                    <a:pt x="628" y="6"/>
                  </a:lnTo>
                  <a:lnTo>
                    <a:pt x="626" y="5"/>
                  </a:lnTo>
                  <a:lnTo>
                    <a:pt x="622" y="5"/>
                  </a:lnTo>
                  <a:lnTo>
                    <a:pt x="619" y="5"/>
                  </a:lnTo>
                  <a:lnTo>
                    <a:pt x="617" y="5"/>
                  </a:lnTo>
                  <a:lnTo>
                    <a:pt x="613" y="5"/>
                  </a:lnTo>
                  <a:lnTo>
                    <a:pt x="610" y="7"/>
                  </a:lnTo>
                  <a:lnTo>
                    <a:pt x="608" y="6"/>
                  </a:lnTo>
                  <a:lnTo>
                    <a:pt x="604" y="5"/>
                  </a:lnTo>
                  <a:lnTo>
                    <a:pt x="608" y="5"/>
                  </a:lnTo>
                  <a:lnTo>
                    <a:pt x="604" y="4"/>
                  </a:lnTo>
                  <a:lnTo>
                    <a:pt x="602" y="5"/>
                  </a:lnTo>
                  <a:lnTo>
                    <a:pt x="598" y="2"/>
                  </a:lnTo>
                  <a:lnTo>
                    <a:pt x="595" y="2"/>
                  </a:lnTo>
                  <a:lnTo>
                    <a:pt x="593" y="1"/>
                  </a:lnTo>
                  <a:lnTo>
                    <a:pt x="589" y="1"/>
                  </a:lnTo>
                  <a:lnTo>
                    <a:pt x="587" y="0"/>
                  </a:lnTo>
                  <a:lnTo>
                    <a:pt x="584" y="0"/>
                  </a:lnTo>
                  <a:lnTo>
                    <a:pt x="580" y="0"/>
                  </a:lnTo>
                  <a:lnTo>
                    <a:pt x="577" y="1"/>
                  </a:lnTo>
                  <a:lnTo>
                    <a:pt x="571" y="1"/>
                  </a:lnTo>
                  <a:lnTo>
                    <a:pt x="569" y="1"/>
                  </a:lnTo>
                  <a:lnTo>
                    <a:pt x="566" y="0"/>
                  </a:lnTo>
                  <a:lnTo>
                    <a:pt x="563" y="0"/>
                  </a:lnTo>
                  <a:lnTo>
                    <a:pt x="560" y="1"/>
                  </a:lnTo>
                  <a:lnTo>
                    <a:pt x="557" y="0"/>
                  </a:lnTo>
                  <a:lnTo>
                    <a:pt x="554" y="0"/>
                  </a:lnTo>
                  <a:lnTo>
                    <a:pt x="551" y="0"/>
                  </a:lnTo>
                  <a:lnTo>
                    <a:pt x="547" y="0"/>
                  </a:lnTo>
                  <a:lnTo>
                    <a:pt x="545" y="0"/>
                  </a:lnTo>
                  <a:lnTo>
                    <a:pt x="542" y="0"/>
                  </a:lnTo>
                  <a:lnTo>
                    <a:pt x="540" y="0"/>
                  </a:lnTo>
                  <a:lnTo>
                    <a:pt x="536" y="0"/>
                  </a:lnTo>
                  <a:lnTo>
                    <a:pt x="536" y="4"/>
                  </a:lnTo>
                  <a:lnTo>
                    <a:pt x="538" y="5"/>
                  </a:lnTo>
                  <a:lnTo>
                    <a:pt x="536" y="5"/>
                  </a:lnTo>
                  <a:lnTo>
                    <a:pt x="533" y="4"/>
                  </a:lnTo>
                  <a:lnTo>
                    <a:pt x="530" y="0"/>
                  </a:lnTo>
                  <a:lnTo>
                    <a:pt x="527" y="2"/>
                  </a:lnTo>
                  <a:lnTo>
                    <a:pt x="525" y="0"/>
                  </a:lnTo>
                  <a:lnTo>
                    <a:pt x="521" y="1"/>
                  </a:lnTo>
                  <a:lnTo>
                    <a:pt x="519" y="2"/>
                  </a:lnTo>
                  <a:lnTo>
                    <a:pt x="516" y="2"/>
                  </a:lnTo>
                  <a:lnTo>
                    <a:pt x="510" y="2"/>
                  </a:lnTo>
                  <a:lnTo>
                    <a:pt x="507" y="2"/>
                  </a:lnTo>
                  <a:lnTo>
                    <a:pt x="503" y="2"/>
                  </a:lnTo>
                  <a:lnTo>
                    <a:pt x="500" y="2"/>
                  </a:lnTo>
                  <a:lnTo>
                    <a:pt x="498" y="2"/>
                  </a:lnTo>
                  <a:lnTo>
                    <a:pt x="500" y="6"/>
                  </a:lnTo>
                  <a:lnTo>
                    <a:pt x="502" y="8"/>
                  </a:lnTo>
                  <a:lnTo>
                    <a:pt x="499" y="8"/>
                  </a:lnTo>
                  <a:lnTo>
                    <a:pt x="497" y="6"/>
                  </a:lnTo>
                  <a:lnTo>
                    <a:pt x="493" y="6"/>
                  </a:lnTo>
                  <a:lnTo>
                    <a:pt x="491" y="6"/>
                  </a:lnTo>
                  <a:lnTo>
                    <a:pt x="487" y="5"/>
                  </a:lnTo>
                  <a:lnTo>
                    <a:pt x="485" y="4"/>
                  </a:lnTo>
                  <a:lnTo>
                    <a:pt x="482" y="5"/>
                  </a:lnTo>
                  <a:lnTo>
                    <a:pt x="481" y="7"/>
                  </a:lnTo>
                  <a:lnTo>
                    <a:pt x="484" y="8"/>
                  </a:lnTo>
                  <a:lnTo>
                    <a:pt x="481" y="8"/>
                  </a:lnTo>
                  <a:lnTo>
                    <a:pt x="477" y="8"/>
                  </a:lnTo>
                  <a:lnTo>
                    <a:pt x="475" y="7"/>
                  </a:lnTo>
                  <a:lnTo>
                    <a:pt x="473" y="7"/>
                  </a:lnTo>
                  <a:lnTo>
                    <a:pt x="469" y="6"/>
                  </a:lnTo>
                  <a:lnTo>
                    <a:pt x="469" y="9"/>
                  </a:lnTo>
                  <a:lnTo>
                    <a:pt x="470" y="12"/>
                  </a:lnTo>
                  <a:lnTo>
                    <a:pt x="473" y="15"/>
                  </a:lnTo>
                  <a:lnTo>
                    <a:pt x="476" y="15"/>
                  </a:lnTo>
                  <a:lnTo>
                    <a:pt x="478" y="14"/>
                  </a:lnTo>
                  <a:lnTo>
                    <a:pt x="482" y="15"/>
                  </a:lnTo>
                  <a:lnTo>
                    <a:pt x="485" y="15"/>
                  </a:lnTo>
                  <a:lnTo>
                    <a:pt x="489" y="16"/>
                  </a:lnTo>
                  <a:lnTo>
                    <a:pt x="492" y="16"/>
                  </a:lnTo>
                  <a:lnTo>
                    <a:pt x="494" y="16"/>
                  </a:lnTo>
                  <a:lnTo>
                    <a:pt x="492" y="17"/>
                  </a:lnTo>
                  <a:lnTo>
                    <a:pt x="489" y="17"/>
                  </a:lnTo>
                  <a:lnTo>
                    <a:pt x="483" y="17"/>
                  </a:lnTo>
                  <a:lnTo>
                    <a:pt x="480" y="17"/>
                  </a:lnTo>
                  <a:lnTo>
                    <a:pt x="477" y="17"/>
                  </a:lnTo>
                  <a:lnTo>
                    <a:pt x="472" y="18"/>
                  </a:lnTo>
                  <a:lnTo>
                    <a:pt x="474" y="21"/>
                  </a:lnTo>
                  <a:lnTo>
                    <a:pt x="477" y="21"/>
                  </a:lnTo>
                  <a:lnTo>
                    <a:pt x="481" y="19"/>
                  </a:lnTo>
                  <a:lnTo>
                    <a:pt x="483" y="19"/>
                  </a:lnTo>
                  <a:lnTo>
                    <a:pt x="489" y="21"/>
                  </a:lnTo>
                  <a:lnTo>
                    <a:pt x="485" y="21"/>
                  </a:lnTo>
                  <a:lnTo>
                    <a:pt x="483" y="21"/>
                  </a:lnTo>
                  <a:lnTo>
                    <a:pt x="480" y="21"/>
                  </a:lnTo>
                  <a:lnTo>
                    <a:pt x="476" y="21"/>
                  </a:lnTo>
                  <a:lnTo>
                    <a:pt x="474" y="21"/>
                  </a:lnTo>
                  <a:lnTo>
                    <a:pt x="468" y="21"/>
                  </a:lnTo>
                  <a:lnTo>
                    <a:pt x="465" y="22"/>
                  </a:lnTo>
                  <a:lnTo>
                    <a:pt x="468" y="23"/>
                  </a:lnTo>
                  <a:lnTo>
                    <a:pt x="469" y="26"/>
                  </a:lnTo>
                  <a:lnTo>
                    <a:pt x="473" y="27"/>
                  </a:lnTo>
                  <a:lnTo>
                    <a:pt x="469" y="29"/>
                  </a:lnTo>
                  <a:lnTo>
                    <a:pt x="467" y="26"/>
                  </a:lnTo>
                  <a:lnTo>
                    <a:pt x="464" y="24"/>
                  </a:lnTo>
                  <a:lnTo>
                    <a:pt x="461" y="23"/>
                  </a:lnTo>
                  <a:lnTo>
                    <a:pt x="458" y="23"/>
                  </a:lnTo>
                  <a:lnTo>
                    <a:pt x="455" y="23"/>
                  </a:lnTo>
                  <a:lnTo>
                    <a:pt x="452" y="23"/>
                  </a:lnTo>
                  <a:lnTo>
                    <a:pt x="449" y="23"/>
                  </a:lnTo>
                  <a:lnTo>
                    <a:pt x="447" y="23"/>
                  </a:lnTo>
                  <a:lnTo>
                    <a:pt x="443" y="22"/>
                  </a:lnTo>
                  <a:lnTo>
                    <a:pt x="441" y="21"/>
                  </a:lnTo>
                  <a:lnTo>
                    <a:pt x="438" y="19"/>
                  </a:lnTo>
                  <a:lnTo>
                    <a:pt x="434" y="18"/>
                  </a:lnTo>
                  <a:lnTo>
                    <a:pt x="432" y="17"/>
                  </a:lnTo>
                  <a:lnTo>
                    <a:pt x="429" y="17"/>
                  </a:lnTo>
                  <a:lnTo>
                    <a:pt x="426" y="14"/>
                  </a:lnTo>
                  <a:lnTo>
                    <a:pt x="424" y="14"/>
                  </a:lnTo>
                  <a:lnTo>
                    <a:pt x="421" y="14"/>
                  </a:lnTo>
                  <a:lnTo>
                    <a:pt x="417" y="13"/>
                  </a:lnTo>
                  <a:lnTo>
                    <a:pt x="415" y="12"/>
                  </a:lnTo>
                  <a:lnTo>
                    <a:pt x="412" y="12"/>
                  </a:lnTo>
                  <a:lnTo>
                    <a:pt x="409" y="13"/>
                  </a:lnTo>
                  <a:lnTo>
                    <a:pt x="412" y="14"/>
                  </a:lnTo>
                  <a:lnTo>
                    <a:pt x="408" y="14"/>
                  </a:lnTo>
                  <a:lnTo>
                    <a:pt x="406" y="14"/>
                  </a:lnTo>
                  <a:lnTo>
                    <a:pt x="404" y="14"/>
                  </a:lnTo>
                  <a:lnTo>
                    <a:pt x="400" y="14"/>
                  </a:lnTo>
                  <a:lnTo>
                    <a:pt x="404" y="15"/>
                  </a:lnTo>
                  <a:lnTo>
                    <a:pt x="406" y="16"/>
                  </a:lnTo>
                  <a:lnTo>
                    <a:pt x="413" y="17"/>
                  </a:lnTo>
                  <a:lnTo>
                    <a:pt x="409" y="17"/>
                  </a:lnTo>
                  <a:lnTo>
                    <a:pt x="406" y="16"/>
                  </a:lnTo>
                  <a:lnTo>
                    <a:pt x="404" y="17"/>
                  </a:lnTo>
                  <a:lnTo>
                    <a:pt x="400" y="17"/>
                  </a:lnTo>
                  <a:lnTo>
                    <a:pt x="398" y="16"/>
                  </a:lnTo>
                  <a:lnTo>
                    <a:pt x="395" y="16"/>
                  </a:lnTo>
                  <a:lnTo>
                    <a:pt x="389" y="16"/>
                  </a:lnTo>
                  <a:lnTo>
                    <a:pt x="386" y="17"/>
                  </a:lnTo>
                  <a:lnTo>
                    <a:pt x="383" y="16"/>
                  </a:lnTo>
                  <a:lnTo>
                    <a:pt x="380" y="17"/>
                  </a:lnTo>
                  <a:lnTo>
                    <a:pt x="378" y="17"/>
                  </a:lnTo>
                  <a:lnTo>
                    <a:pt x="380" y="18"/>
                  </a:lnTo>
                  <a:lnTo>
                    <a:pt x="383" y="19"/>
                  </a:lnTo>
                  <a:lnTo>
                    <a:pt x="386" y="22"/>
                  </a:lnTo>
                  <a:lnTo>
                    <a:pt x="389" y="22"/>
                  </a:lnTo>
                  <a:lnTo>
                    <a:pt x="391" y="23"/>
                  </a:lnTo>
                  <a:lnTo>
                    <a:pt x="395" y="23"/>
                  </a:lnTo>
                  <a:lnTo>
                    <a:pt x="397" y="24"/>
                  </a:lnTo>
                  <a:lnTo>
                    <a:pt x="400" y="24"/>
                  </a:lnTo>
                  <a:lnTo>
                    <a:pt x="406" y="24"/>
                  </a:lnTo>
                  <a:lnTo>
                    <a:pt x="401" y="24"/>
                  </a:lnTo>
                  <a:lnTo>
                    <a:pt x="398" y="24"/>
                  </a:lnTo>
                  <a:lnTo>
                    <a:pt x="395" y="24"/>
                  </a:lnTo>
                  <a:lnTo>
                    <a:pt x="391" y="23"/>
                  </a:lnTo>
                  <a:lnTo>
                    <a:pt x="389" y="23"/>
                  </a:lnTo>
                  <a:lnTo>
                    <a:pt x="383" y="24"/>
                  </a:lnTo>
                  <a:lnTo>
                    <a:pt x="383" y="24"/>
                  </a:lnTo>
                  <a:lnTo>
                    <a:pt x="382" y="22"/>
                  </a:lnTo>
                  <a:lnTo>
                    <a:pt x="379" y="21"/>
                  </a:lnTo>
                  <a:lnTo>
                    <a:pt x="375" y="21"/>
                  </a:lnTo>
                  <a:lnTo>
                    <a:pt x="373" y="18"/>
                  </a:lnTo>
                  <a:lnTo>
                    <a:pt x="370" y="18"/>
                  </a:lnTo>
                  <a:lnTo>
                    <a:pt x="367" y="19"/>
                  </a:lnTo>
                  <a:lnTo>
                    <a:pt x="364" y="19"/>
                  </a:lnTo>
                  <a:lnTo>
                    <a:pt x="362" y="22"/>
                  </a:lnTo>
                  <a:lnTo>
                    <a:pt x="364" y="22"/>
                  </a:lnTo>
                  <a:lnTo>
                    <a:pt x="367" y="22"/>
                  </a:lnTo>
                  <a:lnTo>
                    <a:pt x="371" y="24"/>
                  </a:lnTo>
                  <a:lnTo>
                    <a:pt x="367" y="23"/>
                  </a:lnTo>
                  <a:lnTo>
                    <a:pt x="364" y="23"/>
                  </a:lnTo>
                  <a:lnTo>
                    <a:pt x="361" y="24"/>
                  </a:lnTo>
                  <a:lnTo>
                    <a:pt x="364" y="25"/>
                  </a:lnTo>
                  <a:lnTo>
                    <a:pt x="366" y="26"/>
                  </a:lnTo>
                  <a:lnTo>
                    <a:pt x="370" y="26"/>
                  </a:lnTo>
                  <a:lnTo>
                    <a:pt x="373" y="26"/>
                  </a:lnTo>
                  <a:lnTo>
                    <a:pt x="375" y="25"/>
                  </a:lnTo>
                  <a:lnTo>
                    <a:pt x="379" y="26"/>
                  </a:lnTo>
                  <a:lnTo>
                    <a:pt x="381" y="26"/>
                  </a:lnTo>
                  <a:lnTo>
                    <a:pt x="384" y="24"/>
                  </a:lnTo>
                  <a:lnTo>
                    <a:pt x="387" y="25"/>
                  </a:lnTo>
                  <a:lnTo>
                    <a:pt x="390" y="26"/>
                  </a:lnTo>
                  <a:lnTo>
                    <a:pt x="396" y="26"/>
                  </a:lnTo>
                  <a:lnTo>
                    <a:pt x="399" y="26"/>
                  </a:lnTo>
                  <a:lnTo>
                    <a:pt x="401" y="26"/>
                  </a:lnTo>
                  <a:lnTo>
                    <a:pt x="405" y="26"/>
                  </a:lnTo>
                  <a:lnTo>
                    <a:pt x="410" y="26"/>
                  </a:lnTo>
                  <a:lnTo>
                    <a:pt x="413" y="26"/>
                  </a:lnTo>
                  <a:lnTo>
                    <a:pt x="423" y="26"/>
                  </a:lnTo>
                  <a:lnTo>
                    <a:pt x="425" y="26"/>
                  </a:lnTo>
                  <a:lnTo>
                    <a:pt x="429" y="27"/>
                  </a:lnTo>
                  <a:lnTo>
                    <a:pt x="438" y="29"/>
                  </a:lnTo>
                  <a:lnTo>
                    <a:pt x="441" y="30"/>
                  </a:lnTo>
                  <a:lnTo>
                    <a:pt x="443" y="31"/>
                  </a:lnTo>
                  <a:lnTo>
                    <a:pt x="447" y="31"/>
                  </a:lnTo>
                  <a:lnTo>
                    <a:pt x="450" y="31"/>
                  </a:lnTo>
                  <a:lnTo>
                    <a:pt x="453" y="32"/>
                  </a:lnTo>
                  <a:lnTo>
                    <a:pt x="455" y="34"/>
                  </a:lnTo>
                  <a:lnTo>
                    <a:pt x="453" y="38"/>
                  </a:lnTo>
                  <a:lnTo>
                    <a:pt x="455" y="40"/>
                  </a:lnTo>
                  <a:lnTo>
                    <a:pt x="455" y="43"/>
                  </a:lnTo>
                  <a:lnTo>
                    <a:pt x="451" y="41"/>
                  </a:lnTo>
                  <a:lnTo>
                    <a:pt x="451" y="38"/>
                  </a:lnTo>
                  <a:lnTo>
                    <a:pt x="449" y="35"/>
                  </a:lnTo>
                  <a:lnTo>
                    <a:pt x="446" y="35"/>
                  </a:lnTo>
                  <a:lnTo>
                    <a:pt x="443" y="34"/>
                  </a:lnTo>
                  <a:lnTo>
                    <a:pt x="440" y="33"/>
                  </a:lnTo>
                  <a:lnTo>
                    <a:pt x="438" y="32"/>
                  </a:lnTo>
                  <a:lnTo>
                    <a:pt x="434" y="31"/>
                  </a:lnTo>
                  <a:lnTo>
                    <a:pt x="432" y="31"/>
                  </a:lnTo>
                  <a:lnTo>
                    <a:pt x="429" y="32"/>
                  </a:lnTo>
                  <a:lnTo>
                    <a:pt x="431" y="34"/>
                  </a:lnTo>
                  <a:lnTo>
                    <a:pt x="432" y="38"/>
                  </a:lnTo>
                  <a:lnTo>
                    <a:pt x="429" y="39"/>
                  </a:lnTo>
                  <a:lnTo>
                    <a:pt x="427" y="35"/>
                  </a:lnTo>
                  <a:lnTo>
                    <a:pt x="427" y="33"/>
                  </a:lnTo>
                  <a:lnTo>
                    <a:pt x="425" y="32"/>
                  </a:lnTo>
                  <a:lnTo>
                    <a:pt x="423" y="30"/>
                  </a:lnTo>
                  <a:lnTo>
                    <a:pt x="419" y="29"/>
                  </a:lnTo>
                  <a:lnTo>
                    <a:pt x="417" y="29"/>
                  </a:lnTo>
                  <a:lnTo>
                    <a:pt x="414" y="29"/>
                  </a:lnTo>
                  <a:lnTo>
                    <a:pt x="412" y="29"/>
                  </a:lnTo>
                  <a:lnTo>
                    <a:pt x="402" y="29"/>
                  </a:lnTo>
                  <a:lnTo>
                    <a:pt x="399" y="29"/>
                  </a:lnTo>
                  <a:lnTo>
                    <a:pt x="397" y="30"/>
                  </a:lnTo>
                  <a:lnTo>
                    <a:pt x="391" y="30"/>
                  </a:lnTo>
                  <a:lnTo>
                    <a:pt x="388" y="29"/>
                  </a:lnTo>
                  <a:lnTo>
                    <a:pt x="384" y="29"/>
                  </a:lnTo>
                  <a:lnTo>
                    <a:pt x="382" y="29"/>
                  </a:lnTo>
                  <a:lnTo>
                    <a:pt x="379" y="29"/>
                  </a:lnTo>
                  <a:lnTo>
                    <a:pt x="375" y="31"/>
                  </a:lnTo>
                  <a:lnTo>
                    <a:pt x="379" y="32"/>
                  </a:lnTo>
                  <a:lnTo>
                    <a:pt x="381" y="33"/>
                  </a:lnTo>
                  <a:lnTo>
                    <a:pt x="384" y="34"/>
                  </a:lnTo>
                  <a:lnTo>
                    <a:pt x="387" y="35"/>
                  </a:lnTo>
                  <a:lnTo>
                    <a:pt x="390" y="36"/>
                  </a:lnTo>
                  <a:lnTo>
                    <a:pt x="392" y="39"/>
                  </a:lnTo>
                  <a:lnTo>
                    <a:pt x="396" y="40"/>
                  </a:lnTo>
                  <a:lnTo>
                    <a:pt x="398" y="40"/>
                  </a:lnTo>
                  <a:lnTo>
                    <a:pt x="401" y="41"/>
                  </a:lnTo>
                  <a:lnTo>
                    <a:pt x="400" y="44"/>
                  </a:lnTo>
                  <a:lnTo>
                    <a:pt x="404" y="44"/>
                  </a:lnTo>
                  <a:lnTo>
                    <a:pt x="406" y="45"/>
                  </a:lnTo>
                  <a:lnTo>
                    <a:pt x="409" y="45"/>
                  </a:lnTo>
                  <a:lnTo>
                    <a:pt x="413" y="45"/>
                  </a:lnTo>
                  <a:lnTo>
                    <a:pt x="415" y="45"/>
                  </a:lnTo>
                  <a:lnTo>
                    <a:pt x="418" y="47"/>
                  </a:lnTo>
                  <a:lnTo>
                    <a:pt x="421" y="48"/>
                  </a:lnTo>
                  <a:lnTo>
                    <a:pt x="417" y="48"/>
                  </a:lnTo>
                  <a:lnTo>
                    <a:pt x="415" y="47"/>
                  </a:lnTo>
                  <a:lnTo>
                    <a:pt x="412" y="47"/>
                  </a:lnTo>
                  <a:lnTo>
                    <a:pt x="408" y="47"/>
                  </a:lnTo>
                  <a:lnTo>
                    <a:pt x="406" y="47"/>
                  </a:lnTo>
                  <a:lnTo>
                    <a:pt x="402" y="45"/>
                  </a:lnTo>
                  <a:lnTo>
                    <a:pt x="400" y="45"/>
                  </a:lnTo>
                  <a:lnTo>
                    <a:pt x="397" y="44"/>
                  </a:lnTo>
                  <a:lnTo>
                    <a:pt x="393" y="44"/>
                  </a:lnTo>
                  <a:lnTo>
                    <a:pt x="391" y="45"/>
                  </a:lnTo>
                  <a:lnTo>
                    <a:pt x="388" y="47"/>
                  </a:lnTo>
                  <a:lnTo>
                    <a:pt x="389" y="49"/>
                  </a:lnTo>
                  <a:lnTo>
                    <a:pt x="391" y="52"/>
                  </a:lnTo>
                  <a:lnTo>
                    <a:pt x="389" y="53"/>
                  </a:lnTo>
                  <a:lnTo>
                    <a:pt x="386" y="56"/>
                  </a:lnTo>
                  <a:lnTo>
                    <a:pt x="388" y="56"/>
                  </a:lnTo>
                  <a:lnTo>
                    <a:pt x="391" y="57"/>
                  </a:lnTo>
                  <a:lnTo>
                    <a:pt x="389" y="57"/>
                  </a:lnTo>
                  <a:lnTo>
                    <a:pt x="391" y="59"/>
                  </a:lnTo>
                  <a:lnTo>
                    <a:pt x="393" y="61"/>
                  </a:lnTo>
                  <a:lnTo>
                    <a:pt x="391" y="61"/>
                  </a:lnTo>
                  <a:lnTo>
                    <a:pt x="388" y="62"/>
                  </a:lnTo>
                  <a:lnTo>
                    <a:pt x="386" y="62"/>
                  </a:lnTo>
                  <a:lnTo>
                    <a:pt x="382" y="61"/>
                  </a:lnTo>
                  <a:lnTo>
                    <a:pt x="380" y="60"/>
                  </a:lnTo>
                  <a:lnTo>
                    <a:pt x="376" y="58"/>
                  </a:lnTo>
                  <a:lnTo>
                    <a:pt x="373" y="57"/>
                  </a:lnTo>
                  <a:lnTo>
                    <a:pt x="371" y="57"/>
                  </a:lnTo>
                  <a:lnTo>
                    <a:pt x="370" y="53"/>
                  </a:lnTo>
                  <a:lnTo>
                    <a:pt x="366" y="52"/>
                  </a:lnTo>
                  <a:lnTo>
                    <a:pt x="364" y="51"/>
                  </a:lnTo>
                  <a:lnTo>
                    <a:pt x="361" y="51"/>
                  </a:lnTo>
                  <a:lnTo>
                    <a:pt x="358" y="50"/>
                  </a:lnTo>
                  <a:lnTo>
                    <a:pt x="355" y="50"/>
                  </a:lnTo>
                  <a:lnTo>
                    <a:pt x="353" y="49"/>
                  </a:lnTo>
                  <a:lnTo>
                    <a:pt x="347" y="47"/>
                  </a:lnTo>
                  <a:lnTo>
                    <a:pt x="344" y="45"/>
                  </a:lnTo>
                  <a:lnTo>
                    <a:pt x="341" y="44"/>
                  </a:lnTo>
                  <a:lnTo>
                    <a:pt x="338" y="44"/>
                  </a:lnTo>
                  <a:lnTo>
                    <a:pt x="335" y="44"/>
                  </a:lnTo>
                  <a:lnTo>
                    <a:pt x="332" y="42"/>
                  </a:lnTo>
                  <a:lnTo>
                    <a:pt x="329" y="40"/>
                  </a:lnTo>
                  <a:lnTo>
                    <a:pt x="327" y="39"/>
                  </a:lnTo>
                  <a:lnTo>
                    <a:pt x="321" y="38"/>
                  </a:lnTo>
                  <a:lnTo>
                    <a:pt x="318" y="38"/>
                  </a:lnTo>
                  <a:lnTo>
                    <a:pt x="314" y="38"/>
                  </a:lnTo>
                  <a:lnTo>
                    <a:pt x="312" y="38"/>
                  </a:lnTo>
                  <a:lnTo>
                    <a:pt x="308" y="38"/>
                  </a:lnTo>
                  <a:lnTo>
                    <a:pt x="303" y="38"/>
                  </a:lnTo>
                  <a:lnTo>
                    <a:pt x="302" y="41"/>
                  </a:lnTo>
                  <a:lnTo>
                    <a:pt x="304" y="43"/>
                  </a:lnTo>
                  <a:lnTo>
                    <a:pt x="305" y="45"/>
                  </a:lnTo>
                  <a:lnTo>
                    <a:pt x="306" y="49"/>
                  </a:lnTo>
                  <a:lnTo>
                    <a:pt x="308" y="50"/>
                  </a:lnTo>
                  <a:lnTo>
                    <a:pt x="312" y="51"/>
                  </a:lnTo>
                  <a:lnTo>
                    <a:pt x="314" y="53"/>
                  </a:lnTo>
                  <a:lnTo>
                    <a:pt x="316" y="55"/>
                  </a:lnTo>
                  <a:lnTo>
                    <a:pt x="320" y="56"/>
                  </a:lnTo>
                  <a:lnTo>
                    <a:pt x="322" y="57"/>
                  </a:lnTo>
                  <a:lnTo>
                    <a:pt x="320" y="59"/>
                  </a:lnTo>
                  <a:lnTo>
                    <a:pt x="316" y="59"/>
                  </a:lnTo>
                  <a:lnTo>
                    <a:pt x="314" y="58"/>
                  </a:lnTo>
                  <a:lnTo>
                    <a:pt x="311" y="58"/>
                  </a:lnTo>
                  <a:lnTo>
                    <a:pt x="308" y="58"/>
                  </a:lnTo>
                  <a:lnTo>
                    <a:pt x="305" y="57"/>
                  </a:lnTo>
                  <a:lnTo>
                    <a:pt x="302" y="57"/>
                  </a:lnTo>
                  <a:lnTo>
                    <a:pt x="304" y="59"/>
                  </a:lnTo>
                  <a:lnTo>
                    <a:pt x="306" y="60"/>
                  </a:lnTo>
                  <a:lnTo>
                    <a:pt x="310" y="62"/>
                  </a:lnTo>
                  <a:lnTo>
                    <a:pt x="312" y="62"/>
                  </a:lnTo>
                  <a:lnTo>
                    <a:pt x="315" y="64"/>
                  </a:lnTo>
                  <a:lnTo>
                    <a:pt x="318" y="66"/>
                  </a:lnTo>
                  <a:lnTo>
                    <a:pt x="321" y="67"/>
                  </a:lnTo>
                  <a:lnTo>
                    <a:pt x="319" y="68"/>
                  </a:lnTo>
                  <a:lnTo>
                    <a:pt x="315" y="67"/>
                  </a:lnTo>
                  <a:lnTo>
                    <a:pt x="313" y="66"/>
                  </a:lnTo>
                  <a:lnTo>
                    <a:pt x="311" y="64"/>
                  </a:lnTo>
                  <a:lnTo>
                    <a:pt x="308" y="64"/>
                  </a:lnTo>
                  <a:lnTo>
                    <a:pt x="305" y="62"/>
                  </a:lnTo>
                  <a:lnTo>
                    <a:pt x="303" y="60"/>
                  </a:lnTo>
                  <a:lnTo>
                    <a:pt x="299" y="59"/>
                  </a:lnTo>
                  <a:lnTo>
                    <a:pt x="297" y="58"/>
                  </a:lnTo>
                  <a:lnTo>
                    <a:pt x="290" y="58"/>
                  </a:lnTo>
                  <a:lnTo>
                    <a:pt x="288" y="57"/>
                  </a:lnTo>
                  <a:lnTo>
                    <a:pt x="285" y="56"/>
                  </a:lnTo>
                  <a:lnTo>
                    <a:pt x="281" y="55"/>
                  </a:lnTo>
                  <a:lnTo>
                    <a:pt x="279" y="55"/>
                  </a:lnTo>
                  <a:lnTo>
                    <a:pt x="277" y="53"/>
                  </a:lnTo>
                  <a:lnTo>
                    <a:pt x="276" y="57"/>
                  </a:lnTo>
                  <a:lnTo>
                    <a:pt x="276" y="59"/>
                  </a:lnTo>
                  <a:lnTo>
                    <a:pt x="273" y="61"/>
                  </a:lnTo>
                  <a:lnTo>
                    <a:pt x="271" y="64"/>
                  </a:lnTo>
                  <a:lnTo>
                    <a:pt x="268" y="66"/>
                  </a:lnTo>
                  <a:lnTo>
                    <a:pt x="268" y="68"/>
                  </a:lnTo>
                  <a:lnTo>
                    <a:pt x="268" y="70"/>
                  </a:lnTo>
                  <a:lnTo>
                    <a:pt x="265" y="70"/>
                  </a:lnTo>
                  <a:lnTo>
                    <a:pt x="264" y="68"/>
                  </a:lnTo>
                  <a:lnTo>
                    <a:pt x="263" y="65"/>
                  </a:lnTo>
                  <a:lnTo>
                    <a:pt x="265" y="62"/>
                  </a:lnTo>
                  <a:lnTo>
                    <a:pt x="268" y="59"/>
                  </a:lnTo>
                  <a:lnTo>
                    <a:pt x="268" y="57"/>
                  </a:lnTo>
                  <a:lnTo>
                    <a:pt x="267" y="53"/>
                  </a:lnTo>
                  <a:lnTo>
                    <a:pt x="268" y="51"/>
                  </a:lnTo>
                  <a:lnTo>
                    <a:pt x="264" y="49"/>
                  </a:lnTo>
                  <a:lnTo>
                    <a:pt x="262" y="45"/>
                  </a:lnTo>
                  <a:lnTo>
                    <a:pt x="259" y="44"/>
                  </a:lnTo>
                  <a:lnTo>
                    <a:pt x="256" y="43"/>
                  </a:lnTo>
                  <a:lnTo>
                    <a:pt x="253" y="43"/>
                  </a:lnTo>
                  <a:lnTo>
                    <a:pt x="251" y="43"/>
                  </a:lnTo>
                  <a:lnTo>
                    <a:pt x="247" y="44"/>
                  </a:lnTo>
                  <a:lnTo>
                    <a:pt x="245" y="44"/>
                  </a:lnTo>
                  <a:lnTo>
                    <a:pt x="242" y="44"/>
                  </a:lnTo>
                  <a:lnTo>
                    <a:pt x="239" y="45"/>
                  </a:lnTo>
                  <a:lnTo>
                    <a:pt x="242" y="45"/>
                  </a:lnTo>
                  <a:lnTo>
                    <a:pt x="245" y="47"/>
                  </a:lnTo>
                  <a:lnTo>
                    <a:pt x="246" y="49"/>
                  </a:lnTo>
                  <a:lnTo>
                    <a:pt x="243" y="49"/>
                  </a:lnTo>
                  <a:lnTo>
                    <a:pt x="241" y="47"/>
                  </a:lnTo>
                  <a:lnTo>
                    <a:pt x="238" y="47"/>
                  </a:lnTo>
                  <a:lnTo>
                    <a:pt x="235" y="45"/>
                  </a:lnTo>
                  <a:lnTo>
                    <a:pt x="233" y="47"/>
                  </a:lnTo>
                  <a:lnTo>
                    <a:pt x="230" y="49"/>
                  </a:lnTo>
                  <a:lnTo>
                    <a:pt x="228" y="48"/>
                  </a:lnTo>
                  <a:lnTo>
                    <a:pt x="225" y="48"/>
                  </a:lnTo>
                  <a:lnTo>
                    <a:pt x="222" y="48"/>
                  </a:lnTo>
                  <a:lnTo>
                    <a:pt x="219" y="49"/>
                  </a:lnTo>
                  <a:lnTo>
                    <a:pt x="216" y="49"/>
                  </a:lnTo>
                  <a:lnTo>
                    <a:pt x="213" y="49"/>
                  </a:lnTo>
                  <a:lnTo>
                    <a:pt x="210" y="50"/>
                  </a:lnTo>
                  <a:lnTo>
                    <a:pt x="208" y="50"/>
                  </a:lnTo>
                  <a:lnTo>
                    <a:pt x="204" y="50"/>
                  </a:lnTo>
                  <a:lnTo>
                    <a:pt x="202" y="51"/>
                  </a:lnTo>
                  <a:lnTo>
                    <a:pt x="199" y="51"/>
                  </a:lnTo>
                  <a:lnTo>
                    <a:pt x="196" y="52"/>
                  </a:lnTo>
                  <a:lnTo>
                    <a:pt x="193" y="53"/>
                  </a:lnTo>
                  <a:lnTo>
                    <a:pt x="187" y="55"/>
                  </a:lnTo>
                  <a:lnTo>
                    <a:pt x="191" y="57"/>
                  </a:lnTo>
                  <a:lnTo>
                    <a:pt x="193" y="57"/>
                  </a:lnTo>
                  <a:lnTo>
                    <a:pt x="195" y="58"/>
                  </a:lnTo>
                  <a:lnTo>
                    <a:pt x="199" y="59"/>
                  </a:lnTo>
                  <a:lnTo>
                    <a:pt x="201" y="61"/>
                  </a:lnTo>
                  <a:lnTo>
                    <a:pt x="203" y="65"/>
                  </a:lnTo>
                  <a:lnTo>
                    <a:pt x="207" y="66"/>
                  </a:lnTo>
                  <a:lnTo>
                    <a:pt x="209" y="66"/>
                  </a:lnTo>
                  <a:lnTo>
                    <a:pt x="212" y="68"/>
                  </a:lnTo>
                  <a:lnTo>
                    <a:pt x="216" y="69"/>
                  </a:lnTo>
                  <a:lnTo>
                    <a:pt x="218" y="72"/>
                  </a:lnTo>
                  <a:lnTo>
                    <a:pt x="221" y="74"/>
                  </a:lnTo>
                  <a:lnTo>
                    <a:pt x="224" y="75"/>
                  </a:lnTo>
                  <a:lnTo>
                    <a:pt x="227" y="76"/>
                  </a:lnTo>
                  <a:lnTo>
                    <a:pt x="224" y="75"/>
                  </a:lnTo>
                  <a:lnTo>
                    <a:pt x="218" y="74"/>
                  </a:lnTo>
                  <a:lnTo>
                    <a:pt x="216" y="72"/>
                  </a:lnTo>
                  <a:lnTo>
                    <a:pt x="212" y="70"/>
                  </a:lnTo>
                  <a:lnTo>
                    <a:pt x="210" y="68"/>
                  </a:lnTo>
                  <a:lnTo>
                    <a:pt x="207" y="68"/>
                  </a:lnTo>
                  <a:lnTo>
                    <a:pt x="204" y="67"/>
                  </a:lnTo>
                  <a:lnTo>
                    <a:pt x="201" y="67"/>
                  </a:lnTo>
                  <a:lnTo>
                    <a:pt x="199" y="66"/>
                  </a:lnTo>
                  <a:lnTo>
                    <a:pt x="196" y="64"/>
                  </a:lnTo>
                  <a:lnTo>
                    <a:pt x="195" y="60"/>
                  </a:lnTo>
                  <a:lnTo>
                    <a:pt x="193" y="59"/>
                  </a:lnTo>
                  <a:lnTo>
                    <a:pt x="186" y="58"/>
                  </a:lnTo>
                  <a:lnTo>
                    <a:pt x="184" y="58"/>
                  </a:lnTo>
                  <a:lnTo>
                    <a:pt x="180" y="57"/>
                  </a:lnTo>
                  <a:lnTo>
                    <a:pt x="178" y="57"/>
                  </a:lnTo>
                  <a:lnTo>
                    <a:pt x="176" y="57"/>
                  </a:lnTo>
                  <a:lnTo>
                    <a:pt x="174" y="58"/>
                  </a:lnTo>
                  <a:lnTo>
                    <a:pt x="170" y="58"/>
                  </a:lnTo>
                  <a:lnTo>
                    <a:pt x="168" y="59"/>
                  </a:lnTo>
                  <a:lnTo>
                    <a:pt x="165" y="60"/>
                  </a:lnTo>
                  <a:lnTo>
                    <a:pt x="162" y="61"/>
                  </a:lnTo>
                  <a:lnTo>
                    <a:pt x="159" y="62"/>
                  </a:lnTo>
                  <a:lnTo>
                    <a:pt x="161" y="66"/>
                  </a:lnTo>
                  <a:lnTo>
                    <a:pt x="163" y="68"/>
                  </a:lnTo>
                  <a:lnTo>
                    <a:pt x="167" y="70"/>
                  </a:lnTo>
                  <a:lnTo>
                    <a:pt x="167" y="73"/>
                  </a:lnTo>
                  <a:lnTo>
                    <a:pt x="165" y="74"/>
                  </a:lnTo>
                  <a:lnTo>
                    <a:pt x="162" y="77"/>
                  </a:lnTo>
                  <a:lnTo>
                    <a:pt x="163" y="79"/>
                  </a:lnTo>
                  <a:lnTo>
                    <a:pt x="166" y="83"/>
                  </a:lnTo>
                  <a:lnTo>
                    <a:pt x="163" y="84"/>
                  </a:lnTo>
                  <a:lnTo>
                    <a:pt x="160" y="84"/>
                  </a:lnTo>
                  <a:lnTo>
                    <a:pt x="158" y="85"/>
                  </a:lnTo>
                  <a:lnTo>
                    <a:pt x="154" y="84"/>
                  </a:lnTo>
                  <a:lnTo>
                    <a:pt x="152" y="83"/>
                  </a:lnTo>
                  <a:lnTo>
                    <a:pt x="149" y="82"/>
                  </a:lnTo>
                  <a:lnTo>
                    <a:pt x="147" y="81"/>
                  </a:lnTo>
                  <a:lnTo>
                    <a:pt x="143" y="81"/>
                  </a:lnTo>
                  <a:lnTo>
                    <a:pt x="140" y="81"/>
                  </a:lnTo>
                  <a:lnTo>
                    <a:pt x="137" y="81"/>
                  </a:lnTo>
                  <a:lnTo>
                    <a:pt x="134" y="82"/>
                  </a:lnTo>
                  <a:lnTo>
                    <a:pt x="133" y="84"/>
                  </a:lnTo>
                  <a:lnTo>
                    <a:pt x="134" y="87"/>
                  </a:lnTo>
                  <a:lnTo>
                    <a:pt x="136" y="90"/>
                  </a:lnTo>
                  <a:lnTo>
                    <a:pt x="139" y="92"/>
                  </a:lnTo>
                  <a:lnTo>
                    <a:pt x="141" y="95"/>
                  </a:lnTo>
                  <a:lnTo>
                    <a:pt x="139" y="94"/>
                  </a:lnTo>
                  <a:lnTo>
                    <a:pt x="136" y="92"/>
                  </a:lnTo>
                  <a:lnTo>
                    <a:pt x="134" y="89"/>
                  </a:lnTo>
                  <a:lnTo>
                    <a:pt x="132" y="86"/>
                  </a:lnTo>
                  <a:lnTo>
                    <a:pt x="131" y="84"/>
                  </a:lnTo>
                  <a:lnTo>
                    <a:pt x="128" y="83"/>
                  </a:lnTo>
                  <a:lnTo>
                    <a:pt x="125" y="85"/>
                  </a:lnTo>
                  <a:lnTo>
                    <a:pt x="123" y="86"/>
                  </a:lnTo>
                  <a:lnTo>
                    <a:pt x="119" y="87"/>
                  </a:lnTo>
                  <a:lnTo>
                    <a:pt x="117" y="87"/>
                  </a:lnTo>
                  <a:lnTo>
                    <a:pt x="114" y="87"/>
                  </a:lnTo>
                  <a:lnTo>
                    <a:pt x="113" y="91"/>
                  </a:lnTo>
                  <a:lnTo>
                    <a:pt x="110" y="92"/>
                  </a:lnTo>
                  <a:lnTo>
                    <a:pt x="109" y="94"/>
                  </a:lnTo>
                  <a:lnTo>
                    <a:pt x="107" y="95"/>
                  </a:lnTo>
                  <a:lnTo>
                    <a:pt x="103" y="96"/>
                  </a:lnTo>
                  <a:lnTo>
                    <a:pt x="101" y="98"/>
                  </a:lnTo>
                  <a:lnTo>
                    <a:pt x="103" y="99"/>
                  </a:lnTo>
                  <a:lnTo>
                    <a:pt x="101" y="99"/>
                  </a:lnTo>
                  <a:lnTo>
                    <a:pt x="98" y="98"/>
                  </a:lnTo>
                  <a:lnTo>
                    <a:pt x="94" y="100"/>
                  </a:lnTo>
                  <a:lnTo>
                    <a:pt x="92" y="101"/>
                  </a:lnTo>
                  <a:lnTo>
                    <a:pt x="89" y="101"/>
                  </a:lnTo>
                  <a:lnTo>
                    <a:pt x="86" y="102"/>
                  </a:lnTo>
                  <a:lnTo>
                    <a:pt x="85" y="106"/>
                  </a:lnTo>
                  <a:lnTo>
                    <a:pt x="82" y="107"/>
                  </a:lnTo>
                  <a:lnTo>
                    <a:pt x="80" y="108"/>
                  </a:lnTo>
                  <a:lnTo>
                    <a:pt x="76" y="109"/>
                  </a:lnTo>
                  <a:lnTo>
                    <a:pt x="76" y="111"/>
                  </a:lnTo>
                  <a:lnTo>
                    <a:pt x="79" y="115"/>
                  </a:lnTo>
                  <a:lnTo>
                    <a:pt x="82" y="116"/>
                  </a:lnTo>
                  <a:lnTo>
                    <a:pt x="84" y="118"/>
                  </a:lnTo>
                  <a:lnTo>
                    <a:pt x="88" y="117"/>
                  </a:lnTo>
                  <a:lnTo>
                    <a:pt x="90" y="117"/>
                  </a:lnTo>
                  <a:lnTo>
                    <a:pt x="93" y="117"/>
                  </a:lnTo>
                  <a:lnTo>
                    <a:pt x="96" y="119"/>
                  </a:lnTo>
                  <a:lnTo>
                    <a:pt x="99" y="119"/>
                  </a:lnTo>
                  <a:lnTo>
                    <a:pt x="101" y="118"/>
                  </a:lnTo>
                  <a:lnTo>
                    <a:pt x="105" y="117"/>
                  </a:lnTo>
                  <a:lnTo>
                    <a:pt x="108" y="117"/>
                  </a:lnTo>
                  <a:lnTo>
                    <a:pt x="110" y="117"/>
                  </a:lnTo>
                  <a:lnTo>
                    <a:pt x="113" y="117"/>
                  </a:lnTo>
                  <a:lnTo>
                    <a:pt x="116" y="117"/>
                  </a:lnTo>
                  <a:lnTo>
                    <a:pt x="119" y="116"/>
                  </a:lnTo>
                  <a:lnTo>
                    <a:pt x="122" y="113"/>
                  </a:lnTo>
                  <a:lnTo>
                    <a:pt x="124" y="115"/>
                  </a:lnTo>
                  <a:lnTo>
                    <a:pt x="127" y="115"/>
                  </a:lnTo>
                  <a:lnTo>
                    <a:pt x="122" y="116"/>
                  </a:lnTo>
                  <a:lnTo>
                    <a:pt x="118" y="117"/>
                  </a:lnTo>
                  <a:lnTo>
                    <a:pt x="113" y="118"/>
                  </a:lnTo>
                  <a:lnTo>
                    <a:pt x="109" y="119"/>
                  </a:lnTo>
                  <a:lnTo>
                    <a:pt x="110" y="122"/>
                  </a:lnTo>
                  <a:lnTo>
                    <a:pt x="110" y="125"/>
                  </a:lnTo>
                  <a:lnTo>
                    <a:pt x="111" y="127"/>
                  </a:lnTo>
                  <a:lnTo>
                    <a:pt x="110" y="130"/>
                  </a:lnTo>
                  <a:lnTo>
                    <a:pt x="113" y="133"/>
                  </a:lnTo>
                  <a:lnTo>
                    <a:pt x="109" y="138"/>
                  </a:lnTo>
                  <a:lnTo>
                    <a:pt x="106" y="139"/>
                  </a:lnTo>
                  <a:lnTo>
                    <a:pt x="103" y="141"/>
                  </a:lnTo>
                  <a:lnTo>
                    <a:pt x="100" y="144"/>
                  </a:lnTo>
                  <a:lnTo>
                    <a:pt x="98" y="146"/>
                  </a:lnTo>
                  <a:lnTo>
                    <a:pt x="94" y="146"/>
                  </a:lnTo>
                  <a:lnTo>
                    <a:pt x="91" y="145"/>
                  </a:lnTo>
                  <a:lnTo>
                    <a:pt x="89" y="145"/>
                  </a:lnTo>
                  <a:lnTo>
                    <a:pt x="86" y="146"/>
                  </a:lnTo>
                  <a:lnTo>
                    <a:pt x="83" y="146"/>
                  </a:lnTo>
                  <a:lnTo>
                    <a:pt x="80" y="146"/>
                  </a:lnTo>
                  <a:lnTo>
                    <a:pt x="77" y="146"/>
                  </a:lnTo>
                  <a:lnTo>
                    <a:pt x="75" y="147"/>
                  </a:lnTo>
                  <a:lnTo>
                    <a:pt x="72" y="149"/>
                  </a:lnTo>
                  <a:lnTo>
                    <a:pt x="69" y="147"/>
                  </a:lnTo>
                  <a:lnTo>
                    <a:pt x="66" y="149"/>
                  </a:lnTo>
                  <a:lnTo>
                    <a:pt x="64" y="149"/>
                  </a:lnTo>
                  <a:lnTo>
                    <a:pt x="60" y="150"/>
                  </a:lnTo>
                  <a:lnTo>
                    <a:pt x="58" y="150"/>
                  </a:lnTo>
                  <a:lnTo>
                    <a:pt x="55" y="151"/>
                  </a:lnTo>
                  <a:lnTo>
                    <a:pt x="57" y="153"/>
                  </a:lnTo>
                  <a:lnTo>
                    <a:pt x="55" y="154"/>
                  </a:lnTo>
                  <a:lnTo>
                    <a:pt x="51" y="155"/>
                  </a:lnTo>
                  <a:lnTo>
                    <a:pt x="49" y="156"/>
                  </a:lnTo>
                  <a:lnTo>
                    <a:pt x="46" y="156"/>
                  </a:lnTo>
                  <a:lnTo>
                    <a:pt x="43" y="156"/>
                  </a:lnTo>
                  <a:lnTo>
                    <a:pt x="42" y="156"/>
                  </a:lnTo>
                  <a:lnTo>
                    <a:pt x="42" y="158"/>
                  </a:lnTo>
                  <a:lnTo>
                    <a:pt x="39" y="158"/>
                  </a:lnTo>
                  <a:lnTo>
                    <a:pt x="37" y="159"/>
                  </a:lnTo>
                  <a:lnTo>
                    <a:pt x="33" y="159"/>
                  </a:lnTo>
                  <a:lnTo>
                    <a:pt x="31" y="162"/>
                  </a:lnTo>
                  <a:lnTo>
                    <a:pt x="29" y="162"/>
                  </a:lnTo>
                  <a:lnTo>
                    <a:pt x="25" y="161"/>
                  </a:lnTo>
                  <a:lnTo>
                    <a:pt x="22" y="161"/>
                  </a:lnTo>
                  <a:lnTo>
                    <a:pt x="20" y="162"/>
                  </a:lnTo>
                  <a:lnTo>
                    <a:pt x="16" y="163"/>
                  </a:lnTo>
                  <a:lnTo>
                    <a:pt x="14" y="163"/>
                  </a:lnTo>
                  <a:lnTo>
                    <a:pt x="11" y="164"/>
                  </a:lnTo>
                  <a:lnTo>
                    <a:pt x="8" y="164"/>
                  </a:lnTo>
                  <a:lnTo>
                    <a:pt x="5" y="167"/>
                  </a:lnTo>
                  <a:lnTo>
                    <a:pt x="4" y="170"/>
                  </a:lnTo>
                  <a:lnTo>
                    <a:pt x="6" y="171"/>
                  </a:lnTo>
                  <a:lnTo>
                    <a:pt x="4" y="173"/>
                  </a:lnTo>
                  <a:lnTo>
                    <a:pt x="0" y="175"/>
                  </a:lnTo>
                  <a:lnTo>
                    <a:pt x="4" y="176"/>
                  </a:lnTo>
                  <a:lnTo>
                    <a:pt x="6" y="178"/>
                  </a:lnTo>
                  <a:lnTo>
                    <a:pt x="9" y="178"/>
                  </a:lnTo>
                  <a:lnTo>
                    <a:pt x="12" y="181"/>
                  </a:lnTo>
                  <a:lnTo>
                    <a:pt x="14" y="183"/>
                  </a:lnTo>
                  <a:lnTo>
                    <a:pt x="17" y="184"/>
                  </a:lnTo>
                  <a:lnTo>
                    <a:pt x="20" y="183"/>
                  </a:lnTo>
                  <a:lnTo>
                    <a:pt x="23" y="184"/>
                  </a:lnTo>
                  <a:lnTo>
                    <a:pt x="25" y="184"/>
                  </a:lnTo>
                  <a:lnTo>
                    <a:pt x="22" y="186"/>
                  </a:lnTo>
                  <a:lnTo>
                    <a:pt x="25" y="187"/>
                  </a:lnTo>
                  <a:lnTo>
                    <a:pt x="31" y="187"/>
                  </a:lnTo>
                  <a:lnTo>
                    <a:pt x="34" y="186"/>
                  </a:lnTo>
                  <a:lnTo>
                    <a:pt x="37" y="184"/>
                  </a:lnTo>
                  <a:lnTo>
                    <a:pt x="40" y="185"/>
                  </a:lnTo>
                  <a:lnTo>
                    <a:pt x="42" y="185"/>
                  </a:lnTo>
                  <a:lnTo>
                    <a:pt x="42" y="185"/>
                  </a:lnTo>
                  <a:lnTo>
                    <a:pt x="39" y="185"/>
                  </a:lnTo>
                  <a:lnTo>
                    <a:pt x="37" y="187"/>
                  </a:lnTo>
                  <a:lnTo>
                    <a:pt x="33" y="188"/>
                  </a:lnTo>
                  <a:lnTo>
                    <a:pt x="37" y="189"/>
                  </a:lnTo>
                  <a:lnTo>
                    <a:pt x="39" y="189"/>
                  </a:lnTo>
                  <a:lnTo>
                    <a:pt x="42" y="189"/>
                  </a:lnTo>
                  <a:lnTo>
                    <a:pt x="45" y="189"/>
                  </a:lnTo>
                  <a:lnTo>
                    <a:pt x="48" y="188"/>
                  </a:lnTo>
                  <a:lnTo>
                    <a:pt x="45" y="190"/>
                  </a:lnTo>
                  <a:lnTo>
                    <a:pt x="39" y="193"/>
                  </a:lnTo>
                  <a:lnTo>
                    <a:pt x="42" y="194"/>
                  </a:lnTo>
                  <a:lnTo>
                    <a:pt x="45" y="194"/>
                  </a:lnTo>
                  <a:lnTo>
                    <a:pt x="48" y="195"/>
                  </a:lnTo>
                  <a:lnTo>
                    <a:pt x="50" y="196"/>
                  </a:lnTo>
                  <a:lnTo>
                    <a:pt x="54" y="196"/>
                  </a:lnTo>
                  <a:lnTo>
                    <a:pt x="56" y="195"/>
                  </a:lnTo>
                  <a:lnTo>
                    <a:pt x="59" y="195"/>
                  </a:lnTo>
                  <a:lnTo>
                    <a:pt x="60" y="193"/>
                  </a:lnTo>
                  <a:lnTo>
                    <a:pt x="64" y="193"/>
                  </a:lnTo>
                  <a:lnTo>
                    <a:pt x="64" y="195"/>
                  </a:lnTo>
                  <a:lnTo>
                    <a:pt x="71" y="194"/>
                  </a:lnTo>
                  <a:lnTo>
                    <a:pt x="73" y="194"/>
                  </a:lnTo>
                  <a:lnTo>
                    <a:pt x="76" y="194"/>
                  </a:lnTo>
                  <a:lnTo>
                    <a:pt x="79" y="193"/>
                  </a:lnTo>
                  <a:lnTo>
                    <a:pt x="81" y="190"/>
                  </a:lnTo>
                  <a:lnTo>
                    <a:pt x="84" y="189"/>
                  </a:lnTo>
                  <a:lnTo>
                    <a:pt x="86" y="188"/>
                  </a:lnTo>
                  <a:lnTo>
                    <a:pt x="90" y="190"/>
                  </a:lnTo>
                  <a:lnTo>
                    <a:pt x="92" y="192"/>
                  </a:lnTo>
                  <a:lnTo>
                    <a:pt x="94" y="194"/>
                  </a:lnTo>
                  <a:lnTo>
                    <a:pt x="96" y="197"/>
                  </a:lnTo>
                  <a:lnTo>
                    <a:pt x="92" y="197"/>
                  </a:lnTo>
                  <a:lnTo>
                    <a:pt x="90" y="197"/>
                  </a:lnTo>
                  <a:lnTo>
                    <a:pt x="90" y="200"/>
                  </a:lnTo>
                  <a:lnTo>
                    <a:pt x="92" y="201"/>
                  </a:lnTo>
                  <a:lnTo>
                    <a:pt x="90" y="201"/>
                  </a:lnTo>
                  <a:lnTo>
                    <a:pt x="86" y="200"/>
                  </a:lnTo>
                  <a:lnTo>
                    <a:pt x="83" y="198"/>
                  </a:lnTo>
                  <a:lnTo>
                    <a:pt x="81" y="198"/>
                  </a:lnTo>
                  <a:lnTo>
                    <a:pt x="75" y="198"/>
                  </a:lnTo>
                  <a:lnTo>
                    <a:pt x="72" y="198"/>
                  </a:lnTo>
                  <a:lnTo>
                    <a:pt x="68" y="198"/>
                  </a:lnTo>
                  <a:lnTo>
                    <a:pt x="66" y="198"/>
                  </a:lnTo>
                  <a:lnTo>
                    <a:pt x="64" y="198"/>
                  </a:lnTo>
                  <a:lnTo>
                    <a:pt x="60" y="200"/>
                  </a:lnTo>
                  <a:lnTo>
                    <a:pt x="58" y="201"/>
                  </a:lnTo>
                  <a:lnTo>
                    <a:pt x="55" y="201"/>
                  </a:lnTo>
                  <a:lnTo>
                    <a:pt x="58" y="203"/>
                  </a:lnTo>
                  <a:lnTo>
                    <a:pt x="60" y="203"/>
                  </a:lnTo>
                  <a:lnTo>
                    <a:pt x="64" y="203"/>
                  </a:lnTo>
                  <a:lnTo>
                    <a:pt x="66" y="203"/>
                  </a:lnTo>
                  <a:lnTo>
                    <a:pt x="68" y="203"/>
                  </a:lnTo>
                  <a:lnTo>
                    <a:pt x="72" y="203"/>
                  </a:lnTo>
                  <a:lnTo>
                    <a:pt x="74" y="203"/>
                  </a:lnTo>
                  <a:lnTo>
                    <a:pt x="77" y="204"/>
                  </a:lnTo>
                  <a:lnTo>
                    <a:pt x="83" y="205"/>
                  </a:lnTo>
                  <a:lnTo>
                    <a:pt x="85" y="205"/>
                  </a:lnTo>
                  <a:lnTo>
                    <a:pt x="89" y="205"/>
                  </a:lnTo>
                  <a:lnTo>
                    <a:pt x="94" y="204"/>
                  </a:lnTo>
                  <a:lnTo>
                    <a:pt x="91" y="205"/>
                  </a:lnTo>
                  <a:lnTo>
                    <a:pt x="89" y="205"/>
                  </a:lnTo>
                  <a:lnTo>
                    <a:pt x="85" y="205"/>
                  </a:lnTo>
                  <a:lnTo>
                    <a:pt x="83" y="205"/>
                  </a:lnTo>
                  <a:lnTo>
                    <a:pt x="80" y="205"/>
                  </a:lnTo>
                  <a:lnTo>
                    <a:pt x="77" y="204"/>
                  </a:lnTo>
                  <a:lnTo>
                    <a:pt x="74" y="204"/>
                  </a:lnTo>
                  <a:lnTo>
                    <a:pt x="72" y="203"/>
                  </a:lnTo>
                  <a:lnTo>
                    <a:pt x="69" y="204"/>
                  </a:lnTo>
                  <a:lnTo>
                    <a:pt x="66" y="204"/>
                  </a:lnTo>
                  <a:lnTo>
                    <a:pt x="64" y="204"/>
                  </a:lnTo>
                  <a:lnTo>
                    <a:pt x="60" y="204"/>
                  </a:lnTo>
                  <a:lnTo>
                    <a:pt x="58" y="204"/>
                  </a:lnTo>
                  <a:lnTo>
                    <a:pt x="55" y="203"/>
                  </a:lnTo>
                  <a:lnTo>
                    <a:pt x="51" y="203"/>
                  </a:lnTo>
                  <a:lnTo>
                    <a:pt x="49" y="203"/>
                  </a:lnTo>
                  <a:lnTo>
                    <a:pt x="47" y="203"/>
                  </a:lnTo>
                  <a:lnTo>
                    <a:pt x="43" y="203"/>
                  </a:lnTo>
                  <a:lnTo>
                    <a:pt x="42" y="202"/>
                  </a:lnTo>
                  <a:lnTo>
                    <a:pt x="39" y="202"/>
                  </a:lnTo>
                  <a:lnTo>
                    <a:pt x="37" y="203"/>
                  </a:lnTo>
                  <a:lnTo>
                    <a:pt x="31" y="204"/>
                  </a:lnTo>
                  <a:lnTo>
                    <a:pt x="29" y="205"/>
                  </a:lnTo>
                  <a:lnTo>
                    <a:pt x="25" y="205"/>
                  </a:lnTo>
                  <a:lnTo>
                    <a:pt x="23" y="209"/>
                  </a:lnTo>
                  <a:lnTo>
                    <a:pt x="25" y="211"/>
                  </a:lnTo>
                  <a:lnTo>
                    <a:pt x="29" y="211"/>
                  </a:lnTo>
                  <a:lnTo>
                    <a:pt x="31" y="211"/>
                  </a:lnTo>
                  <a:lnTo>
                    <a:pt x="29" y="212"/>
                  </a:lnTo>
                  <a:lnTo>
                    <a:pt x="31" y="214"/>
                  </a:lnTo>
                  <a:lnTo>
                    <a:pt x="34" y="215"/>
                  </a:lnTo>
                  <a:lnTo>
                    <a:pt x="38" y="215"/>
                  </a:lnTo>
                  <a:lnTo>
                    <a:pt x="40" y="213"/>
                  </a:lnTo>
                  <a:lnTo>
                    <a:pt x="42" y="212"/>
                  </a:lnTo>
                  <a:lnTo>
                    <a:pt x="42" y="212"/>
                  </a:lnTo>
                  <a:lnTo>
                    <a:pt x="45" y="210"/>
                  </a:lnTo>
                  <a:lnTo>
                    <a:pt x="48" y="210"/>
                  </a:lnTo>
                  <a:lnTo>
                    <a:pt x="45" y="211"/>
                  </a:lnTo>
                  <a:lnTo>
                    <a:pt x="42" y="213"/>
                  </a:lnTo>
                  <a:lnTo>
                    <a:pt x="42" y="216"/>
                  </a:lnTo>
                  <a:lnTo>
                    <a:pt x="45" y="216"/>
                  </a:lnTo>
                  <a:lnTo>
                    <a:pt x="48" y="218"/>
                  </a:lnTo>
                  <a:lnTo>
                    <a:pt x="50" y="218"/>
                  </a:lnTo>
                  <a:lnTo>
                    <a:pt x="54" y="219"/>
                  </a:lnTo>
                  <a:lnTo>
                    <a:pt x="59" y="219"/>
                  </a:lnTo>
                  <a:lnTo>
                    <a:pt x="63" y="219"/>
                  </a:lnTo>
                  <a:lnTo>
                    <a:pt x="65" y="219"/>
                  </a:lnTo>
                  <a:lnTo>
                    <a:pt x="67" y="218"/>
                  </a:lnTo>
                  <a:lnTo>
                    <a:pt x="69" y="221"/>
                  </a:lnTo>
                  <a:lnTo>
                    <a:pt x="66" y="221"/>
                  </a:lnTo>
                  <a:lnTo>
                    <a:pt x="64" y="221"/>
                  </a:lnTo>
                  <a:lnTo>
                    <a:pt x="60" y="221"/>
                  </a:lnTo>
                  <a:lnTo>
                    <a:pt x="58" y="222"/>
                  </a:lnTo>
                  <a:lnTo>
                    <a:pt x="56" y="223"/>
                  </a:lnTo>
                  <a:lnTo>
                    <a:pt x="52" y="224"/>
                  </a:lnTo>
                  <a:lnTo>
                    <a:pt x="49" y="226"/>
                  </a:lnTo>
                  <a:lnTo>
                    <a:pt x="49" y="228"/>
                  </a:lnTo>
                  <a:lnTo>
                    <a:pt x="51" y="229"/>
                  </a:lnTo>
                  <a:lnTo>
                    <a:pt x="55" y="230"/>
                  </a:lnTo>
                  <a:lnTo>
                    <a:pt x="58" y="231"/>
                  </a:lnTo>
                  <a:lnTo>
                    <a:pt x="60" y="233"/>
                  </a:lnTo>
                  <a:lnTo>
                    <a:pt x="64" y="233"/>
                  </a:lnTo>
                  <a:lnTo>
                    <a:pt x="64" y="236"/>
                  </a:lnTo>
                  <a:lnTo>
                    <a:pt x="67" y="236"/>
                  </a:lnTo>
                  <a:lnTo>
                    <a:pt x="72" y="237"/>
                  </a:lnTo>
                  <a:lnTo>
                    <a:pt x="75" y="237"/>
                  </a:lnTo>
                  <a:lnTo>
                    <a:pt x="77" y="237"/>
                  </a:lnTo>
                  <a:lnTo>
                    <a:pt x="81" y="238"/>
                  </a:lnTo>
                  <a:lnTo>
                    <a:pt x="83" y="238"/>
                  </a:lnTo>
                  <a:lnTo>
                    <a:pt x="86" y="239"/>
                  </a:lnTo>
                  <a:lnTo>
                    <a:pt x="89" y="238"/>
                  </a:lnTo>
                  <a:lnTo>
                    <a:pt x="86" y="237"/>
                  </a:lnTo>
                  <a:lnTo>
                    <a:pt x="83" y="235"/>
                  </a:lnTo>
                  <a:lnTo>
                    <a:pt x="81" y="232"/>
                  </a:lnTo>
                  <a:lnTo>
                    <a:pt x="83" y="230"/>
                  </a:lnTo>
                  <a:lnTo>
                    <a:pt x="86" y="231"/>
                  </a:lnTo>
                  <a:lnTo>
                    <a:pt x="89" y="235"/>
                  </a:lnTo>
                  <a:lnTo>
                    <a:pt x="92" y="235"/>
                  </a:lnTo>
                  <a:lnTo>
                    <a:pt x="92" y="232"/>
                  </a:lnTo>
                  <a:lnTo>
                    <a:pt x="94" y="230"/>
                  </a:lnTo>
                  <a:lnTo>
                    <a:pt x="98" y="230"/>
                  </a:lnTo>
                  <a:lnTo>
                    <a:pt x="100" y="230"/>
                  </a:lnTo>
                  <a:lnTo>
                    <a:pt x="103" y="231"/>
                  </a:lnTo>
                  <a:lnTo>
                    <a:pt x="100" y="232"/>
                  </a:lnTo>
                  <a:lnTo>
                    <a:pt x="100" y="236"/>
                  </a:lnTo>
                  <a:lnTo>
                    <a:pt x="103" y="237"/>
                  </a:lnTo>
                  <a:lnTo>
                    <a:pt x="106" y="237"/>
                  </a:lnTo>
                  <a:lnTo>
                    <a:pt x="106" y="233"/>
                  </a:lnTo>
                  <a:lnTo>
                    <a:pt x="111" y="235"/>
                  </a:lnTo>
                  <a:lnTo>
                    <a:pt x="113" y="232"/>
                  </a:lnTo>
                  <a:lnTo>
                    <a:pt x="115" y="233"/>
                  </a:lnTo>
                  <a:lnTo>
                    <a:pt x="116" y="230"/>
                  </a:lnTo>
                  <a:lnTo>
                    <a:pt x="119" y="230"/>
                  </a:lnTo>
                  <a:lnTo>
                    <a:pt x="120" y="228"/>
                  </a:lnTo>
                  <a:lnTo>
                    <a:pt x="122" y="230"/>
                  </a:lnTo>
                  <a:lnTo>
                    <a:pt x="123" y="233"/>
                  </a:lnTo>
                  <a:lnTo>
                    <a:pt x="125" y="233"/>
                  </a:lnTo>
                  <a:lnTo>
                    <a:pt x="128" y="231"/>
                  </a:lnTo>
                  <a:lnTo>
                    <a:pt x="131" y="229"/>
                  </a:lnTo>
                  <a:lnTo>
                    <a:pt x="134" y="227"/>
                  </a:lnTo>
                  <a:lnTo>
                    <a:pt x="140" y="229"/>
                  </a:lnTo>
                  <a:lnTo>
                    <a:pt x="142" y="230"/>
                  </a:lnTo>
                  <a:lnTo>
                    <a:pt x="145" y="230"/>
                  </a:lnTo>
                  <a:lnTo>
                    <a:pt x="148" y="230"/>
                  </a:lnTo>
                  <a:lnTo>
                    <a:pt x="151" y="231"/>
                  </a:lnTo>
                  <a:lnTo>
                    <a:pt x="153" y="231"/>
                  </a:lnTo>
                  <a:lnTo>
                    <a:pt x="156" y="232"/>
                  </a:lnTo>
                  <a:lnTo>
                    <a:pt x="159" y="233"/>
                  </a:lnTo>
                  <a:lnTo>
                    <a:pt x="161" y="232"/>
                  </a:lnTo>
                  <a:lnTo>
                    <a:pt x="165" y="233"/>
                  </a:lnTo>
                  <a:lnTo>
                    <a:pt x="167" y="235"/>
                  </a:lnTo>
                  <a:lnTo>
                    <a:pt x="168" y="237"/>
                  </a:lnTo>
                  <a:lnTo>
                    <a:pt x="176" y="237"/>
                  </a:lnTo>
                  <a:lnTo>
                    <a:pt x="179" y="238"/>
                  </a:lnTo>
                  <a:lnTo>
                    <a:pt x="179" y="239"/>
                  </a:lnTo>
                  <a:lnTo>
                    <a:pt x="182" y="239"/>
                  </a:lnTo>
                  <a:lnTo>
                    <a:pt x="185" y="240"/>
                  </a:lnTo>
                  <a:lnTo>
                    <a:pt x="182" y="243"/>
                  </a:lnTo>
                  <a:lnTo>
                    <a:pt x="185" y="243"/>
                  </a:lnTo>
                  <a:lnTo>
                    <a:pt x="187" y="241"/>
                  </a:lnTo>
                  <a:lnTo>
                    <a:pt x="191" y="241"/>
                  </a:lnTo>
                  <a:lnTo>
                    <a:pt x="190" y="244"/>
                  </a:lnTo>
                  <a:lnTo>
                    <a:pt x="192" y="245"/>
                  </a:lnTo>
                  <a:lnTo>
                    <a:pt x="195" y="246"/>
                  </a:lnTo>
                  <a:lnTo>
                    <a:pt x="197" y="245"/>
                  </a:lnTo>
                  <a:lnTo>
                    <a:pt x="201" y="245"/>
                  </a:lnTo>
                  <a:lnTo>
                    <a:pt x="202" y="248"/>
                  </a:lnTo>
                  <a:lnTo>
                    <a:pt x="203" y="250"/>
                  </a:lnTo>
                  <a:lnTo>
                    <a:pt x="203" y="253"/>
                  </a:lnTo>
                  <a:lnTo>
                    <a:pt x="200" y="254"/>
                  </a:lnTo>
                  <a:lnTo>
                    <a:pt x="197" y="255"/>
                  </a:lnTo>
                  <a:lnTo>
                    <a:pt x="200" y="255"/>
                  </a:lnTo>
                  <a:lnTo>
                    <a:pt x="203" y="254"/>
                  </a:lnTo>
                  <a:lnTo>
                    <a:pt x="201" y="257"/>
                  </a:lnTo>
                  <a:lnTo>
                    <a:pt x="203" y="260"/>
                  </a:lnTo>
                  <a:lnTo>
                    <a:pt x="205" y="260"/>
                  </a:lnTo>
                  <a:lnTo>
                    <a:pt x="205" y="263"/>
                  </a:lnTo>
                  <a:lnTo>
                    <a:pt x="208" y="264"/>
                  </a:lnTo>
                  <a:lnTo>
                    <a:pt x="211" y="265"/>
                  </a:lnTo>
                  <a:lnTo>
                    <a:pt x="212" y="266"/>
                  </a:lnTo>
                  <a:lnTo>
                    <a:pt x="216" y="267"/>
                  </a:lnTo>
                  <a:lnTo>
                    <a:pt x="218" y="267"/>
                  </a:lnTo>
                  <a:lnTo>
                    <a:pt x="221" y="270"/>
                  </a:lnTo>
                  <a:lnTo>
                    <a:pt x="218" y="271"/>
                  </a:lnTo>
                  <a:lnTo>
                    <a:pt x="220" y="274"/>
                  </a:lnTo>
                  <a:lnTo>
                    <a:pt x="222" y="274"/>
                  </a:lnTo>
                  <a:lnTo>
                    <a:pt x="226" y="275"/>
                  </a:lnTo>
                  <a:lnTo>
                    <a:pt x="228" y="278"/>
                  </a:lnTo>
                  <a:lnTo>
                    <a:pt x="231" y="278"/>
                  </a:lnTo>
                  <a:lnTo>
                    <a:pt x="228" y="280"/>
                  </a:lnTo>
                  <a:lnTo>
                    <a:pt x="226" y="280"/>
                  </a:lnTo>
                  <a:lnTo>
                    <a:pt x="222" y="280"/>
                  </a:lnTo>
                  <a:lnTo>
                    <a:pt x="226" y="281"/>
                  </a:lnTo>
                  <a:lnTo>
                    <a:pt x="231" y="281"/>
                  </a:lnTo>
                  <a:lnTo>
                    <a:pt x="229" y="283"/>
                  </a:lnTo>
                  <a:lnTo>
                    <a:pt x="226" y="283"/>
                  </a:lnTo>
                  <a:lnTo>
                    <a:pt x="228" y="284"/>
                  </a:lnTo>
                  <a:lnTo>
                    <a:pt x="226" y="286"/>
                  </a:lnTo>
                  <a:lnTo>
                    <a:pt x="222" y="287"/>
                  </a:lnTo>
                  <a:lnTo>
                    <a:pt x="220" y="288"/>
                  </a:lnTo>
                  <a:lnTo>
                    <a:pt x="218" y="288"/>
                  </a:lnTo>
                  <a:lnTo>
                    <a:pt x="220" y="289"/>
                  </a:lnTo>
                  <a:lnTo>
                    <a:pt x="224" y="289"/>
                  </a:lnTo>
                  <a:lnTo>
                    <a:pt x="226" y="288"/>
                  </a:lnTo>
                  <a:lnTo>
                    <a:pt x="229" y="287"/>
                  </a:lnTo>
                  <a:lnTo>
                    <a:pt x="231" y="284"/>
                  </a:lnTo>
                  <a:lnTo>
                    <a:pt x="230" y="288"/>
                  </a:lnTo>
                  <a:lnTo>
                    <a:pt x="229" y="290"/>
                  </a:lnTo>
                  <a:lnTo>
                    <a:pt x="233" y="291"/>
                  </a:lnTo>
                  <a:lnTo>
                    <a:pt x="235" y="293"/>
                  </a:lnTo>
                  <a:lnTo>
                    <a:pt x="237" y="296"/>
                  </a:lnTo>
                  <a:lnTo>
                    <a:pt x="235" y="298"/>
                  </a:lnTo>
                  <a:lnTo>
                    <a:pt x="238" y="300"/>
                  </a:lnTo>
                  <a:lnTo>
                    <a:pt x="236" y="299"/>
                  </a:lnTo>
                  <a:lnTo>
                    <a:pt x="233" y="301"/>
                  </a:lnTo>
                  <a:lnTo>
                    <a:pt x="236" y="303"/>
                  </a:lnTo>
                  <a:lnTo>
                    <a:pt x="238" y="304"/>
                  </a:lnTo>
                  <a:lnTo>
                    <a:pt x="241" y="306"/>
                  </a:lnTo>
                  <a:lnTo>
                    <a:pt x="243" y="307"/>
                  </a:lnTo>
                  <a:lnTo>
                    <a:pt x="246" y="308"/>
                  </a:lnTo>
                  <a:lnTo>
                    <a:pt x="246" y="309"/>
                  </a:lnTo>
                  <a:lnTo>
                    <a:pt x="243" y="309"/>
                  </a:lnTo>
                  <a:lnTo>
                    <a:pt x="242" y="312"/>
                  </a:lnTo>
                  <a:lnTo>
                    <a:pt x="244" y="313"/>
                  </a:lnTo>
                  <a:lnTo>
                    <a:pt x="242" y="314"/>
                  </a:lnTo>
                  <a:lnTo>
                    <a:pt x="238" y="315"/>
                  </a:lnTo>
                  <a:lnTo>
                    <a:pt x="242" y="317"/>
                  </a:lnTo>
                  <a:lnTo>
                    <a:pt x="244" y="318"/>
                  </a:lnTo>
                  <a:lnTo>
                    <a:pt x="247" y="317"/>
                  </a:lnTo>
                  <a:lnTo>
                    <a:pt x="250" y="318"/>
                  </a:lnTo>
                  <a:lnTo>
                    <a:pt x="252" y="321"/>
                  </a:lnTo>
                  <a:lnTo>
                    <a:pt x="252" y="324"/>
                  </a:lnTo>
                  <a:lnTo>
                    <a:pt x="250" y="324"/>
                  </a:lnTo>
                  <a:lnTo>
                    <a:pt x="252" y="325"/>
                  </a:lnTo>
                  <a:lnTo>
                    <a:pt x="251" y="327"/>
                  </a:lnTo>
                  <a:lnTo>
                    <a:pt x="247" y="330"/>
                  </a:lnTo>
                  <a:lnTo>
                    <a:pt x="251" y="332"/>
                  </a:lnTo>
                  <a:lnTo>
                    <a:pt x="253" y="332"/>
                  </a:lnTo>
                  <a:lnTo>
                    <a:pt x="255" y="332"/>
                  </a:lnTo>
                  <a:lnTo>
                    <a:pt x="253" y="332"/>
                  </a:lnTo>
                  <a:lnTo>
                    <a:pt x="251" y="332"/>
                  </a:lnTo>
                  <a:lnTo>
                    <a:pt x="247" y="332"/>
                  </a:lnTo>
                  <a:lnTo>
                    <a:pt x="243" y="332"/>
                  </a:lnTo>
                  <a:lnTo>
                    <a:pt x="239" y="332"/>
                  </a:lnTo>
                  <a:lnTo>
                    <a:pt x="243" y="334"/>
                  </a:lnTo>
                  <a:lnTo>
                    <a:pt x="245" y="335"/>
                  </a:lnTo>
                  <a:lnTo>
                    <a:pt x="247" y="334"/>
                  </a:lnTo>
                  <a:lnTo>
                    <a:pt x="251" y="335"/>
                  </a:lnTo>
                  <a:lnTo>
                    <a:pt x="248" y="338"/>
                  </a:lnTo>
                  <a:lnTo>
                    <a:pt x="246" y="340"/>
                  </a:lnTo>
                  <a:lnTo>
                    <a:pt x="246" y="340"/>
                  </a:lnTo>
                  <a:lnTo>
                    <a:pt x="244" y="343"/>
                  </a:lnTo>
                  <a:lnTo>
                    <a:pt x="242" y="346"/>
                  </a:lnTo>
                  <a:lnTo>
                    <a:pt x="244" y="347"/>
                  </a:lnTo>
                  <a:lnTo>
                    <a:pt x="247" y="347"/>
                  </a:lnTo>
                  <a:lnTo>
                    <a:pt x="250" y="346"/>
                  </a:lnTo>
                  <a:lnTo>
                    <a:pt x="253" y="344"/>
                  </a:lnTo>
                  <a:lnTo>
                    <a:pt x="254" y="341"/>
                  </a:lnTo>
                  <a:lnTo>
                    <a:pt x="253" y="344"/>
                  </a:lnTo>
                  <a:lnTo>
                    <a:pt x="251" y="346"/>
                  </a:lnTo>
                  <a:lnTo>
                    <a:pt x="248" y="348"/>
                  </a:lnTo>
                  <a:lnTo>
                    <a:pt x="245" y="348"/>
                  </a:lnTo>
                  <a:lnTo>
                    <a:pt x="243" y="348"/>
                  </a:lnTo>
                  <a:lnTo>
                    <a:pt x="244" y="350"/>
                  </a:lnTo>
                  <a:lnTo>
                    <a:pt x="241" y="350"/>
                  </a:lnTo>
                  <a:lnTo>
                    <a:pt x="238" y="351"/>
                  </a:lnTo>
                  <a:lnTo>
                    <a:pt x="235" y="354"/>
                  </a:lnTo>
                  <a:lnTo>
                    <a:pt x="238" y="355"/>
                  </a:lnTo>
                  <a:lnTo>
                    <a:pt x="239" y="357"/>
                  </a:lnTo>
                  <a:lnTo>
                    <a:pt x="243" y="360"/>
                  </a:lnTo>
                  <a:lnTo>
                    <a:pt x="245" y="358"/>
                  </a:lnTo>
                  <a:lnTo>
                    <a:pt x="247" y="359"/>
                  </a:lnTo>
                  <a:lnTo>
                    <a:pt x="251" y="361"/>
                  </a:lnTo>
                  <a:lnTo>
                    <a:pt x="253" y="361"/>
                  </a:lnTo>
                  <a:lnTo>
                    <a:pt x="256" y="360"/>
                  </a:lnTo>
                  <a:lnTo>
                    <a:pt x="259" y="360"/>
                  </a:lnTo>
                  <a:lnTo>
                    <a:pt x="261" y="359"/>
                  </a:lnTo>
                  <a:lnTo>
                    <a:pt x="263" y="357"/>
                  </a:lnTo>
                  <a:lnTo>
                    <a:pt x="262" y="354"/>
                  </a:lnTo>
                  <a:lnTo>
                    <a:pt x="264" y="354"/>
                  </a:lnTo>
                  <a:lnTo>
                    <a:pt x="264" y="351"/>
                  </a:lnTo>
                  <a:lnTo>
                    <a:pt x="267" y="351"/>
                  </a:lnTo>
                  <a:lnTo>
                    <a:pt x="269" y="349"/>
                  </a:lnTo>
                  <a:lnTo>
                    <a:pt x="268" y="346"/>
                  </a:lnTo>
                  <a:lnTo>
                    <a:pt x="267" y="343"/>
                  </a:lnTo>
                  <a:lnTo>
                    <a:pt x="264" y="341"/>
                  </a:lnTo>
                  <a:lnTo>
                    <a:pt x="263" y="339"/>
                  </a:lnTo>
                  <a:lnTo>
                    <a:pt x="263" y="335"/>
                  </a:lnTo>
                  <a:lnTo>
                    <a:pt x="267" y="335"/>
                  </a:lnTo>
                  <a:lnTo>
                    <a:pt x="263" y="337"/>
                  </a:lnTo>
                  <a:lnTo>
                    <a:pt x="264" y="340"/>
                  </a:lnTo>
                  <a:lnTo>
                    <a:pt x="267" y="342"/>
                  </a:lnTo>
                  <a:lnTo>
                    <a:pt x="269" y="344"/>
                  </a:lnTo>
                  <a:lnTo>
                    <a:pt x="270" y="347"/>
                  </a:lnTo>
                  <a:lnTo>
                    <a:pt x="272" y="349"/>
                  </a:lnTo>
                  <a:lnTo>
                    <a:pt x="276" y="349"/>
                  </a:lnTo>
                  <a:lnTo>
                    <a:pt x="276" y="346"/>
                  </a:lnTo>
                  <a:lnTo>
                    <a:pt x="279" y="344"/>
                  </a:lnTo>
                  <a:lnTo>
                    <a:pt x="276" y="347"/>
                  </a:lnTo>
                  <a:lnTo>
                    <a:pt x="275" y="350"/>
                  </a:lnTo>
                  <a:lnTo>
                    <a:pt x="271" y="352"/>
                  </a:lnTo>
                  <a:lnTo>
                    <a:pt x="275" y="352"/>
                  </a:lnTo>
                  <a:lnTo>
                    <a:pt x="280" y="352"/>
                  </a:lnTo>
                  <a:lnTo>
                    <a:pt x="282" y="354"/>
                  </a:lnTo>
                  <a:lnTo>
                    <a:pt x="286" y="355"/>
                  </a:lnTo>
                  <a:lnTo>
                    <a:pt x="288" y="354"/>
                  </a:lnTo>
                  <a:lnTo>
                    <a:pt x="290" y="354"/>
                  </a:lnTo>
                  <a:lnTo>
                    <a:pt x="294" y="352"/>
                  </a:lnTo>
                  <a:lnTo>
                    <a:pt x="291" y="355"/>
                  </a:lnTo>
                  <a:lnTo>
                    <a:pt x="286" y="356"/>
                  </a:lnTo>
                  <a:lnTo>
                    <a:pt x="284" y="356"/>
                  </a:lnTo>
                  <a:lnTo>
                    <a:pt x="280" y="357"/>
                  </a:lnTo>
                  <a:lnTo>
                    <a:pt x="278" y="358"/>
                  </a:lnTo>
                  <a:lnTo>
                    <a:pt x="276" y="359"/>
                  </a:lnTo>
                  <a:lnTo>
                    <a:pt x="278" y="360"/>
                  </a:lnTo>
                  <a:lnTo>
                    <a:pt x="281" y="360"/>
                  </a:lnTo>
                  <a:lnTo>
                    <a:pt x="284" y="360"/>
                  </a:lnTo>
                  <a:lnTo>
                    <a:pt x="286" y="359"/>
                  </a:lnTo>
                  <a:lnTo>
                    <a:pt x="289" y="358"/>
                  </a:lnTo>
                  <a:lnTo>
                    <a:pt x="291" y="357"/>
                  </a:lnTo>
                  <a:lnTo>
                    <a:pt x="295" y="357"/>
                  </a:lnTo>
                  <a:lnTo>
                    <a:pt x="297" y="358"/>
                  </a:lnTo>
                  <a:lnTo>
                    <a:pt x="295" y="358"/>
                  </a:lnTo>
                  <a:lnTo>
                    <a:pt x="289" y="359"/>
                  </a:lnTo>
                  <a:lnTo>
                    <a:pt x="286" y="360"/>
                  </a:lnTo>
                  <a:lnTo>
                    <a:pt x="285" y="363"/>
                  </a:lnTo>
                  <a:lnTo>
                    <a:pt x="282" y="364"/>
                  </a:lnTo>
                  <a:lnTo>
                    <a:pt x="285" y="365"/>
                  </a:lnTo>
                  <a:lnTo>
                    <a:pt x="288" y="364"/>
                  </a:lnTo>
                  <a:lnTo>
                    <a:pt x="290" y="361"/>
                  </a:lnTo>
                  <a:lnTo>
                    <a:pt x="294" y="361"/>
                  </a:lnTo>
                  <a:lnTo>
                    <a:pt x="295" y="364"/>
                  </a:lnTo>
                  <a:lnTo>
                    <a:pt x="291" y="364"/>
                  </a:lnTo>
                  <a:lnTo>
                    <a:pt x="289" y="365"/>
                  </a:lnTo>
                  <a:lnTo>
                    <a:pt x="286" y="366"/>
                  </a:lnTo>
                  <a:lnTo>
                    <a:pt x="289" y="367"/>
                  </a:lnTo>
                  <a:lnTo>
                    <a:pt x="291" y="366"/>
                  </a:lnTo>
                  <a:lnTo>
                    <a:pt x="295" y="367"/>
                  </a:lnTo>
                  <a:lnTo>
                    <a:pt x="297" y="366"/>
                  </a:lnTo>
                  <a:lnTo>
                    <a:pt x="298" y="369"/>
                  </a:lnTo>
                  <a:lnTo>
                    <a:pt x="302" y="369"/>
                  </a:lnTo>
                  <a:lnTo>
                    <a:pt x="298" y="370"/>
                  </a:lnTo>
                  <a:lnTo>
                    <a:pt x="296" y="369"/>
                  </a:lnTo>
                  <a:lnTo>
                    <a:pt x="293" y="369"/>
                  </a:lnTo>
                  <a:lnTo>
                    <a:pt x="290" y="368"/>
                  </a:lnTo>
                  <a:lnTo>
                    <a:pt x="293" y="370"/>
                  </a:lnTo>
                  <a:lnTo>
                    <a:pt x="296" y="372"/>
                  </a:lnTo>
                  <a:lnTo>
                    <a:pt x="298" y="373"/>
                  </a:lnTo>
                  <a:lnTo>
                    <a:pt x="302" y="374"/>
                  </a:lnTo>
                  <a:lnTo>
                    <a:pt x="304" y="373"/>
                  </a:lnTo>
                  <a:lnTo>
                    <a:pt x="306" y="376"/>
                  </a:lnTo>
                  <a:lnTo>
                    <a:pt x="303" y="376"/>
                  </a:lnTo>
                  <a:lnTo>
                    <a:pt x="301" y="375"/>
                  </a:lnTo>
                  <a:lnTo>
                    <a:pt x="297" y="376"/>
                  </a:lnTo>
                  <a:lnTo>
                    <a:pt x="299" y="377"/>
                  </a:lnTo>
                  <a:lnTo>
                    <a:pt x="306" y="378"/>
                  </a:lnTo>
                  <a:lnTo>
                    <a:pt x="303" y="380"/>
                  </a:lnTo>
                  <a:lnTo>
                    <a:pt x="305" y="381"/>
                  </a:lnTo>
                  <a:lnTo>
                    <a:pt x="303" y="382"/>
                  </a:lnTo>
                  <a:lnTo>
                    <a:pt x="299" y="381"/>
                  </a:lnTo>
                  <a:lnTo>
                    <a:pt x="303" y="383"/>
                  </a:lnTo>
                  <a:lnTo>
                    <a:pt x="305" y="384"/>
                  </a:lnTo>
                  <a:lnTo>
                    <a:pt x="308" y="382"/>
                  </a:lnTo>
                  <a:lnTo>
                    <a:pt x="307" y="384"/>
                  </a:lnTo>
                  <a:lnTo>
                    <a:pt x="304" y="386"/>
                  </a:lnTo>
                  <a:lnTo>
                    <a:pt x="302" y="385"/>
                  </a:lnTo>
                  <a:lnTo>
                    <a:pt x="298" y="385"/>
                  </a:lnTo>
                  <a:lnTo>
                    <a:pt x="296" y="384"/>
                  </a:lnTo>
                  <a:lnTo>
                    <a:pt x="294" y="383"/>
                  </a:lnTo>
                  <a:lnTo>
                    <a:pt x="290" y="382"/>
                  </a:lnTo>
                  <a:lnTo>
                    <a:pt x="288" y="381"/>
                  </a:lnTo>
                  <a:lnTo>
                    <a:pt x="285" y="380"/>
                  </a:lnTo>
                  <a:lnTo>
                    <a:pt x="282" y="377"/>
                  </a:lnTo>
                  <a:lnTo>
                    <a:pt x="279" y="376"/>
                  </a:lnTo>
                  <a:lnTo>
                    <a:pt x="277" y="376"/>
                  </a:lnTo>
                  <a:lnTo>
                    <a:pt x="273" y="375"/>
                  </a:lnTo>
                  <a:lnTo>
                    <a:pt x="271" y="376"/>
                  </a:lnTo>
                  <a:lnTo>
                    <a:pt x="268" y="376"/>
                  </a:lnTo>
                  <a:lnTo>
                    <a:pt x="265" y="375"/>
                  </a:lnTo>
                  <a:lnTo>
                    <a:pt x="262" y="375"/>
                  </a:lnTo>
                  <a:lnTo>
                    <a:pt x="260" y="374"/>
                  </a:lnTo>
                  <a:lnTo>
                    <a:pt x="256" y="375"/>
                  </a:lnTo>
                  <a:lnTo>
                    <a:pt x="254" y="376"/>
                  </a:lnTo>
                  <a:lnTo>
                    <a:pt x="254" y="380"/>
                  </a:lnTo>
                  <a:lnTo>
                    <a:pt x="258" y="381"/>
                  </a:lnTo>
                  <a:lnTo>
                    <a:pt x="260" y="384"/>
                  </a:lnTo>
                  <a:lnTo>
                    <a:pt x="263" y="385"/>
                  </a:lnTo>
                  <a:lnTo>
                    <a:pt x="265" y="385"/>
                  </a:lnTo>
                  <a:lnTo>
                    <a:pt x="269" y="386"/>
                  </a:lnTo>
                  <a:lnTo>
                    <a:pt x="271" y="386"/>
                  </a:lnTo>
                  <a:lnTo>
                    <a:pt x="273" y="387"/>
                  </a:lnTo>
                  <a:lnTo>
                    <a:pt x="277" y="387"/>
                  </a:lnTo>
                  <a:lnTo>
                    <a:pt x="280" y="389"/>
                  </a:lnTo>
                  <a:lnTo>
                    <a:pt x="282" y="392"/>
                  </a:lnTo>
                  <a:lnTo>
                    <a:pt x="285" y="393"/>
                  </a:lnTo>
                  <a:lnTo>
                    <a:pt x="288" y="393"/>
                  </a:lnTo>
                  <a:lnTo>
                    <a:pt x="290" y="394"/>
                  </a:lnTo>
                  <a:lnTo>
                    <a:pt x="294" y="394"/>
                  </a:lnTo>
                  <a:lnTo>
                    <a:pt x="295" y="394"/>
                  </a:lnTo>
                  <a:lnTo>
                    <a:pt x="295" y="395"/>
                  </a:lnTo>
                  <a:lnTo>
                    <a:pt x="297" y="394"/>
                  </a:lnTo>
                  <a:lnTo>
                    <a:pt x="299" y="393"/>
                  </a:lnTo>
                  <a:lnTo>
                    <a:pt x="303" y="394"/>
                  </a:lnTo>
                  <a:lnTo>
                    <a:pt x="301" y="394"/>
                  </a:lnTo>
                  <a:lnTo>
                    <a:pt x="303" y="395"/>
                  </a:lnTo>
                  <a:lnTo>
                    <a:pt x="306" y="394"/>
                  </a:lnTo>
                  <a:lnTo>
                    <a:pt x="307" y="394"/>
                  </a:lnTo>
                  <a:lnTo>
                    <a:pt x="310" y="393"/>
                  </a:lnTo>
                  <a:lnTo>
                    <a:pt x="312" y="393"/>
                  </a:lnTo>
                  <a:lnTo>
                    <a:pt x="313" y="394"/>
                  </a:lnTo>
                  <a:lnTo>
                    <a:pt x="312" y="395"/>
                  </a:lnTo>
                  <a:lnTo>
                    <a:pt x="308" y="397"/>
                  </a:lnTo>
                  <a:lnTo>
                    <a:pt x="312" y="398"/>
                  </a:lnTo>
                  <a:lnTo>
                    <a:pt x="313" y="401"/>
                  </a:lnTo>
                  <a:lnTo>
                    <a:pt x="311" y="400"/>
                  </a:lnTo>
                  <a:lnTo>
                    <a:pt x="307" y="400"/>
                  </a:lnTo>
                  <a:lnTo>
                    <a:pt x="305" y="402"/>
                  </a:lnTo>
                  <a:lnTo>
                    <a:pt x="307" y="402"/>
                  </a:lnTo>
                  <a:lnTo>
                    <a:pt x="311" y="404"/>
                  </a:lnTo>
                  <a:lnTo>
                    <a:pt x="307" y="403"/>
                  </a:lnTo>
                  <a:lnTo>
                    <a:pt x="305" y="404"/>
                  </a:lnTo>
                  <a:lnTo>
                    <a:pt x="304" y="408"/>
                  </a:lnTo>
                  <a:lnTo>
                    <a:pt x="307" y="407"/>
                  </a:lnTo>
                  <a:lnTo>
                    <a:pt x="310" y="406"/>
                  </a:lnTo>
                  <a:lnTo>
                    <a:pt x="312" y="407"/>
                  </a:lnTo>
                  <a:lnTo>
                    <a:pt x="310" y="407"/>
                  </a:lnTo>
                  <a:lnTo>
                    <a:pt x="307" y="408"/>
                  </a:lnTo>
                  <a:lnTo>
                    <a:pt x="304" y="409"/>
                  </a:lnTo>
                  <a:lnTo>
                    <a:pt x="303" y="411"/>
                  </a:lnTo>
                  <a:lnTo>
                    <a:pt x="302" y="415"/>
                  </a:lnTo>
                  <a:lnTo>
                    <a:pt x="304" y="415"/>
                  </a:lnTo>
                  <a:lnTo>
                    <a:pt x="307" y="414"/>
                  </a:lnTo>
                  <a:lnTo>
                    <a:pt x="310" y="411"/>
                  </a:lnTo>
                  <a:lnTo>
                    <a:pt x="310" y="415"/>
                  </a:lnTo>
                  <a:lnTo>
                    <a:pt x="312" y="416"/>
                  </a:lnTo>
                  <a:lnTo>
                    <a:pt x="310" y="416"/>
                  </a:lnTo>
                  <a:lnTo>
                    <a:pt x="307" y="417"/>
                  </a:lnTo>
                  <a:lnTo>
                    <a:pt x="310" y="418"/>
                  </a:lnTo>
                  <a:lnTo>
                    <a:pt x="312" y="418"/>
                  </a:lnTo>
                  <a:lnTo>
                    <a:pt x="310" y="418"/>
                  </a:lnTo>
                  <a:lnTo>
                    <a:pt x="312" y="421"/>
                  </a:lnTo>
                  <a:lnTo>
                    <a:pt x="308" y="419"/>
                  </a:lnTo>
                  <a:lnTo>
                    <a:pt x="307" y="417"/>
                  </a:lnTo>
                  <a:lnTo>
                    <a:pt x="304" y="416"/>
                  </a:lnTo>
                  <a:lnTo>
                    <a:pt x="302" y="416"/>
                  </a:lnTo>
                  <a:lnTo>
                    <a:pt x="301" y="419"/>
                  </a:lnTo>
                  <a:lnTo>
                    <a:pt x="302" y="421"/>
                  </a:lnTo>
                  <a:lnTo>
                    <a:pt x="303" y="420"/>
                  </a:lnTo>
                  <a:lnTo>
                    <a:pt x="299" y="423"/>
                  </a:lnTo>
                  <a:lnTo>
                    <a:pt x="299" y="425"/>
                  </a:lnTo>
                  <a:lnTo>
                    <a:pt x="303" y="424"/>
                  </a:lnTo>
                  <a:lnTo>
                    <a:pt x="305" y="424"/>
                  </a:lnTo>
                  <a:lnTo>
                    <a:pt x="304" y="427"/>
                  </a:lnTo>
                  <a:lnTo>
                    <a:pt x="302" y="427"/>
                  </a:lnTo>
                  <a:lnTo>
                    <a:pt x="299" y="429"/>
                  </a:lnTo>
                  <a:lnTo>
                    <a:pt x="297" y="429"/>
                  </a:lnTo>
                  <a:lnTo>
                    <a:pt x="295" y="431"/>
                  </a:lnTo>
                  <a:lnTo>
                    <a:pt x="291" y="431"/>
                  </a:lnTo>
                  <a:lnTo>
                    <a:pt x="289" y="429"/>
                  </a:lnTo>
                  <a:lnTo>
                    <a:pt x="284" y="429"/>
                  </a:lnTo>
                  <a:lnTo>
                    <a:pt x="280" y="431"/>
                  </a:lnTo>
                  <a:lnTo>
                    <a:pt x="284" y="431"/>
                  </a:lnTo>
                  <a:lnTo>
                    <a:pt x="280" y="432"/>
                  </a:lnTo>
                  <a:lnTo>
                    <a:pt x="278" y="434"/>
                  </a:lnTo>
                  <a:lnTo>
                    <a:pt x="275" y="435"/>
                  </a:lnTo>
                  <a:lnTo>
                    <a:pt x="272" y="435"/>
                  </a:lnTo>
                  <a:lnTo>
                    <a:pt x="275" y="436"/>
                  </a:lnTo>
                  <a:lnTo>
                    <a:pt x="278" y="435"/>
                  </a:lnTo>
                  <a:lnTo>
                    <a:pt x="280" y="435"/>
                  </a:lnTo>
                  <a:lnTo>
                    <a:pt x="278" y="436"/>
                  </a:lnTo>
                  <a:lnTo>
                    <a:pt x="280" y="436"/>
                  </a:lnTo>
                  <a:lnTo>
                    <a:pt x="284" y="438"/>
                  </a:lnTo>
                  <a:lnTo>
                    <a:pt x="286" y="437"/>
                  </a:lnTo>
                  <a:lnTo>
                    <a:pt x="288" y="437"/>
                  </a:lnTo>
                  <a:lnTo>
                    <a:pt x="291" y="437"/>
                  </a:lnTo>
                  <a:lnTo>
                    <a:pt x="294" y="436"/>
                  </a:lnTo>
                  <a:lnTo>
                    <a:pt x="297" y="434"/>
                  </a:lnTo>
                  <a:lnTo>
                    <a:pt x="294" y="433"/>
                  </a:lnTo>
                  <a:lnTo>
                    <a:pt x="297" y="433"/>
                  </a:lnTo>
                  <a:lnTo>
                    <a:pt x="299" y="433"/>
                  </a:lnTo>
                  <a:lnTo>
                    <a:pt x="303" y="432"/>
                  </a:lnTo>
                  <a:lnTo>
                    <a:pt x="305" y="432"/>
                  </a:lnTo>
                  <a:lnTo>
                    <a:pt x="303" y="432"/>
                  </a:lnTo>
                  <a:lnTo>
                    <a:pt x="299" y="433"/>
                  </a:lnTo>
                  <a:lnTo>
                    <a:pt x="299" y="436"/>
                  </a:lnTo>
                  <a:lnTo>
                    <a:pt x="297" y="436"/>
                  </a:lnTo>
                  <a:lnTo>
                    <a:pt x="299" y="437"/>
                  </a:lnTo>
                  <a:lnTo>
                    <a:pt x="303" y="438"/>
                  </a:lnTo>
                  <a:lnTo>
                    <a:pt x="299" y="438"/>
                  </a:lnTo>
                  <a:lnTo>
                    <a:pt x="297" y="438"/>
                  </a:lnTo>
                  <a:lnTo>
                    <a:pt x="299" y="440"/>
                  </a:lnTo>
                  <a:lnTo>
                    <a:pt x="303" y="441"/>
                  </a:lnTo>
                  <a:lnTo>
                    <a:pt x="305" y="442"/>
                  </a:lnTo>
                  <a:lnTo>
                    <a:pt x="308" y="443"/>
                  </a:lnTo>
                  <a:lnTo>
                    <a:pt x="313" y="444"/>
                  </a:lnTo>
                  <a:lnTo>
                    <a:pt x="311" y="444"/>
                  </a:lnTo>
                  <a:lnTo>
                    <a:pt x="308" y="445"/>
                  </a:lnTo>
                  <a:lnTo>
                    <a:pt x="305" y="444"/>
                  </a:lnTo>
                  <a:lnTo>
                    <a:pt x="303" y="443"/>
                  </a:lnTo>
                  <a:lnTo>
                    <a:pt x="299" y="441"/>
                  </a:lnTo>
                  <a:lnTo>
                    <a:pt x="294" y="441"/>
                  </a:lnTo>
                  <a:lnTo>
                    <a:pt x="291" y="442"/>
                  </a:lnTo>
                  <a:lnTo>
                    <a:pt x="289" y="441"/>
                  </a:lnTo>
                  <a:lnTo>
                    <a:pt x="286" y="441"/>
                  </a:lnTo>
                  <a:lnTo>
                    <a:pt x="284" y="440"/>
                  </a:lnTo>
                  <a:lnTo>
                    <a:pt x="280" y="438"/>
                  </a:lnTo>
                  <a:lnTo>
                    <a:pt x="278" y="438"/>
                  </a:lnTo>
                  <a:lnTo>
                    <a:pt x="280" y="440"/>
                  </a:lnTo>
                  <a:lnTo>
                    <a:pt x="284" y="441"/>
                  </a:lnTo>
                  <a:lnTo>
                    <a:pt x="280" y="441"/>
                  </a:lnTo>
                  <a:lnTo>
                    <a:pt x="278" y="440"/>
                  </a:lnTo>
                  <a:lnTo>
                    <a:pt x="275" y="438"/>
                  </a:lnTo>
                  <a:lnTo>
                    <a:pt x="272" y="438"/>
                  </a:lnTo>
                  <a:lnTo>
                    <a:pt x="269" y="438"/>
                  </a:lnTo>
                  <a:lnTo>
                    <a:pt x="272" y="440"/>
                  </a:lnTo>
                  <a:lnTo>
                    <a:pt x="275" y="441"/>
                  </a:lnTo>
                  <a:lnTo>
                    <a:pt x="278" y="443"/>
                  </a:lnTo>
                  <a:lnTo>
                    <a:pt x="280" y="443"/>
                  </a:lnTo>
                  <a:lnTo>
                    <a:pt x="286" y="444"/>
                  </a:lnTo>
                  <a:lnTo>
                    <a:pt x="284" y="444"/>
                  </a:lnTo>
                  <a:lnTo>
                    <a:pt x="280" y="444"/>
                  </a:lnTo>
                  <a:lnTo>
                    <a:pt x="278" y="443"/>
                  </a:lnTo>
                  <a:lnTo>
                    <a:pt x="275" y="442"/>
                  </a:lnTo>
                  <a:lnTo>
                    <a:pt x="272" y="442"/>
                  </a:lnTo>
                  <a:lnTo>
                    <a:pt x="275" y="443"/>
                  </a:lnTo>
                  <a:lnTo>
                    <a:pt x="272" y="443"/>
                  </a:lnTo>
                  <a:lnTo>
                    <a:pt x="271" y="446"/>
                  </a:lnTo>
                  <a:lnTo>
                    <a:pt x="269" y="445"/>
                  </a:lnTo>
                  <a:lnTo>
                    <a:pt x="271" y="446"/>
                  </a:lnTo>
                  <a:lnTo>
                    <a:pt x="269" y="448"/>
                  </a:lnTo>
                  <a:lnTo>
                    <a:pt x="265" y="448"/>
                  </a:lnTo>
                  <a:lnTo>
                    <a:pt x="268" y="450"/>
                  </a:lnTo>
                  <a:lnTo>
                    <a:pt x="264" y="452"/>
                  </a:lnTo>
                  <a:lnTo>
                    <a:pt x="268" y="453"/>
                  </a:lnTo>
                  <a:lnTo>
                    <a:pt x="270" y="452"/>
                  </a:lnTo>
                  <a:lnTo>
                    <a:pt x="273" y="450"/>
                  </a:lnTo>
                  <a:lnTo>
                    <a:pt x="276" y="449"/>
                  </a:lnTo>
                  <a:lnTo>
                    <a:pt x="278" y="448"/>
                  </a:lnTo>
                  <a:lnTo>
                    <a:pt x="281" y="448"/>
                  </a:lnTo>
                  <a:lnTo>
                    <a:pt x="284" y="445"/>
                  </a:lnTo>
                  <a:lnTo>
                    <a:pt x="286" y="445"/>
                  </a:lnTo>
                  <a:lnTo>
                    <a:pt x="289" y="445"/>
                  </a:lnTo>
                  <a:lnTo>
                    <a:pt x="291" y="444"/>
                  </a:lnTo>
                  <a:lnTo>
                    <a:pt x="289" y="445"/>
                  </a:lnTo>
                  <a:lnTo>
                    <a:pt x="286" y="445"/>
                  </a:lnTo>
                  <a:lnTo>
                    <a:pt x="289" y="449"/>
                  </a:lnTo>
                  <a:lnTo>
                    <a:pt x="291" y="448"/>
                  </a:lnTo>
                  <a:lnTo>
                    <a:pt x="294" y="449"/>
                  </a:lnTo>
                  <a:lnTo>
                    <a:pt x="297" y="449"/>
                  </a:lnTo>
                  <a:lnTo>
                    <a:pt x="296" y="445"/>
                  </a:lnTo>
                  <a:lnTo>
                    <a:pt x="298" y="444"/>
                  </a:lnTo>
                  <a:lnTo>
                    <a:pt x="302" y="443"/>
                  </a:lnTo>
                  <a:lnTo>
                    <a:pt x="298" y="445"/>
                  </a:lnTo>
                  <a:lnTo>
                    <a:pt x="299" y="448"/>
                  </a:lnTo>
                  <a:lnTo>
                    <a:pt x="302" y="448"/>
                  </a:lnTo>
                  <a:lnTo>
                    <a:pt x="304" y="448"/>
                  </a:lnTo>
                  <a:lnTo>
                    <a:pt x="305" y="445"/>
                  </a:lnTo>
                  <a:lnTo>
                    <a:pt x="308" y="445"/>
                  </a:lnTo>
                  <a:lnTo>
                    <a:pt x="311" y="446"/>
                  </a:lnTo>
                  <a:lnTo>
                    <a:pt x="308" y="446"/>
                  </a:lnTo>
                  <a:lnTo>
                    <a:pt x="305" y="448"/>
                  </a:lnTo>
                  <a:lnTo>
                    <a:pt x="303" y="449"/>
                  </a:lnTo>
                  <a:lnTo>
                    <a:pt x="299" y="449"/>
                  </a:lnTo>
                  <a:lnTo>
                    <a:pt x="303" y="451"/>
                  </a:lnTo>
                  <a:lnTo>
                    <a:pt x="305" y="451"/>
                  </a:lnTo>
                  <a:lnTo>
                    <a:pt x="308" y="450"/>
                  </a:lnTo>
                  <a:lnTo>
                    <a:pt x="311" y="449"/>
                  </a:lnTo>
                  <a:lnTo>
                    <a:pt x="313" y="449"/>
                  </a:lnTo>
                  <a:lnTo>
                    <a:pt x="316" y="450"/>
                  </a:lnTo>
                  <a:lnTo>
                    <a:pt x="316" y="450"/>
                  </a:lnTo>
                  <a:lnTo>
                    <a:pt x="313" y="449"/>
                  </a:lnTo>
                  <a:lnTo>
                    <a:pt x="311" y="450"/>
                  </a:lnTo>
                  <a:lnTo>
                    <a:pt x="308" y="451"/>
                  </a:lnTo>
                  <a:lnTo>
                    <a:pt x="305" y="452"/>
                  </a:lnTo>
                  <a:lnTo>
                    <a:pt x="308" y="454"/>
                  </a:lnTo>
                  <a:lnTo>
                    <a:pt x="311" y="454"/>
                  </a:lnTo>
                  <a:lnTo>
                    <a:pt x="313" y="454"/>
                  </a:lnTo>
                  <a:lnTo>
                    <a:pt x="311" y="454"/>
                  </a:lnTo>
                  <a:lnTo>
                    <a:pt x="308" y="454"/>
                  </a:lnTo>
                  <a:lnTo>
                    <a:pt x="305" y="454"/>
                  </a:lnTo>
                  <a:lnTo>
                    <a:pt x="303" y="452"/>
                  </a:lnTo>
                  <a:lnTo>
                    <a:pt x="299" y="451"/>
                  </a:lnTo>
                  <a:lnTo>
                    <a:pt x="297" y="450"/>
                  </a:lnTo>
                  <a:lnTo>
                    <a:pt x="294" y="451"/>
                  </a:lnTo>
                  <a:lnTo>
                    <a:pt x="291" y="451"/>
                  </a:lnTo>
                  <a:lnTo>
                    <a:pt x="288" y="450"/>
                  </a:lnTo>
                  <a:lnTo>
                    <a:pt x="286" y="449"/>
                  </a:lnTo>
                  <a:lnTo>
                    <a:pt x="284" y="449"/>
                  </a:lnTo>
                  <a:lnTo>
                    <a:pt x="280" y="449"/>
                  </a:lnTo>
                  <a:lnTo>
                    <a:pt x="278" y="449"/>
                  </a:lnTo>
                  <a:lnTo>
                    <a:pt x="280" y="449"/>
                  </a:lnTo>
                  <a:lnTo>
                    <a:pt x="275" y="450"/>
                  </a:lnTo>
                  <a:lnTo>
                    <a:pt x="272" y="452"/>
                  </a:lnTo>
                  <a:lnTo>
                    <a:pt x="269" y="454"/>
                  </a:lnTo>
                  <a:lnTo>
                    <a:pt x="267" y="454"/>
                  </a:lnTo>
                  <a:lnTo>
                    <a:pt x="264" y="457"/>
                  </a:lnTo>
                  <a:lnTo>
                    <a:pt x="263" y="459"/>
                  </a:lnTo>
                  <a:lnTo>
                    <a:pt x="265" y="461"/>
                  </a:lnTo>
                  <a:lnTo>
                    <a:pt x="271" y="459"/>
                  </a:lnTo>
                  <a:lnTo>
                    <a:pt x="275" y="459"/>
                  </a:lnTo>
                  <a:lnTo>
                    <a:pt x="277" y="459"/>
                  </a:lnTo>
                  <a:lnTo>
                    <a:pt x="280" y="458"/>
                  </a:lnTo>
                  <a:lnTo>
                    <a:pt x="282" y="458"/>
                  </a:lnTo>
                  <a:lnTo>
                    <a:pt x="285" y="457"/>
                  </a:lnTo>
                  <a:lnTo>
                    <a:pt x="288" y="458"/>
                  </a:lnTo>
                  <a:lnTo>
                    <a:pt x="294" y="458"/>
                  </a:lnTo>
                  <a:lnTo>
                    <a:pt x="296" y="457"/>
                  </a:lnTo>
                  <a:lnTo>
                    <a:pt x="299" y="457"/>
                  </a:lnTo>
                  <a:lnTo>
                    <a:pt x="296" y="458"/>
                  </a:lnTo>
                  <a:lnTo>
                    <a:pt x="297" y="460"/>
                  </a:lnTo>
                  <a:lnTo>
                    <a:pt x="299" y="462"/>
                  </a:lnTo>
                  <a:lnTo>
                    <a:pt x="303" y="462"/>
                  </a:lnTo>
                  <a:lnTo>
                    <a:pt x="305" y="461"/>
                  </a:lnTo>
                  <a:lnTo>
                    <a:pt x="308" y="461"/>
                  </a:lnTo>
                  <a:lnTo>
                    <a:pt x="311" y="461"/>
                  </a:lnTo>
                  <a:lnTo>
                    <a:pt x="308" y="462"/>
                  </a:lnTo>
                  <a:lnTo>
                    <a:pt x="305" y="462"/>
                  </a:lnTo>
                  <a:lnTo>
                    <a:pt x="303" y="462"/>
                  </a:lnTo>
                  <a:lnTo>
                    <a:pt x="299" y="463"/>
                  </a:lnTo>
                  <a:lnTo>
                    <a:pt x="297" y="461"/>
                  </a:lnTo>
                  <a:lnTo>
                    <a:pt x="295" y="459"/>
                  </a:lnTo>
                  <a:lnTo>
                    <a:pt x="293" y="458"/>
                  </a:lnTo>
                  <a:lnTo>
                    <a:pt x="289" y="458"/>
                  </a:lnTo>
                  <a:lnTo>
                    <a:pt x="287" y="458"/>
                  </a:lnTo>
                  <a:lnTo>
                    <a:pt x="285" y="458"/>
                  </a:lnTo>
                  <a:lnTo>
                    <a:pt x="281" y="459"/>
                  </a:lnTo>
                  <a:lnTo>
                    <a:pt x="279" y="459"/>
                  </a:lnTo>
                  <a:lnTo>
                    <a:pt x="276" y="460"/>
                  </a:lnTo>
                  <a:lnTo>
                    <a:pt x="271" y="460"/>
                  </a:lnTo>
                  <a:lnTo>
                    <a:pt x="268" y="460"/>
                  </a:lnTo>
                  <a:lnTo>
                    <a:pt x="265" y="462"/>
                  </a:lnTo>
                  <a:lnTo>
                    <a:pt x="263" y="462"/>
                  </a:lnTo>
                  <a:lnTo>
                    <a:pt x="265" y="463"/>
                  </a:lnTo>
                  <a:lnTo>
                    <a:pt x="268" y="463"/>
                  </a:lnTo>
                  <a:lnTo>
                    <a:pt x="265" y="464"/>
                  </a:lnTo>
                  <a:lnTo>
                    <a:pt x="268" y="466"/>
                  </a:lnTo>
                  <a:lnTo>
                    <a:pt x="271" y="466"/>
                  </a:lnTo>
                  <a:lnTo>
                    <a:pt x="268" y="467"/>
                  </a:lnTo>
                  <a:lnTo>
                    <a:pt x="265" y="467"/>
                  </a:lnTo>
                  <a:lnTo>
                    <a:pt x="268" y="468"/>
                  </a:lnTo>
                  <a:lnTo>
                    <a:pt x="271" y="468"/>
                  </a:lnTo>
                  <a:lnTo>
                    <a:pt x="273" y="468"/>
                  </a:lnTo>
                  <a:lnTo>
                    <a:pt x="277" y="468"/>
                  </a:lnTo>
                  <a:lnTo>
                    <a:pt x="279" y="468"/>
                  </a:lnTo>
                  <a:lnTo>
                    <a:pt x="281" y="467"/>
                  </a:lnTo>
                  <a:lnTo>
                    <a:pt x="285" y="468"/>
                  </a:lnTo>
                  <a:lnTo>
                    <a:pt x="281" y="469"/>
                  </a:lnTo>
                  <a:lnTo>
                    <a:pt x="279" y="469"/>
                  </a:lnTo>
                  <a:lnTo>
                    <a:pt x="277" y="470"/>
                  </a:lnTo>
                  <a:lnTo>
                    <a:pt x="273" y="470"/>
                  </a:lnTo>
                  <a:lnTo>
                    <a:pt x="277" y="470"/>
                  </a:lnTo>
                  <a:lnTo>
                    <a:pt x="279" y="470"/>
                  </a:lnTo>
                  <a:lnTo>
                    <a:pt x="277" y="471"/>
                  </a:lnTo>
                  <a:lnTo>
                    <a:pt x="273" y="471"/>
                  </a:lnTo>
                  <a:lnTo>
                    <a:pt x="277" y="472"/>
                  </a:lnTo>
                  <a:lnTo>
                    <a:pt x="279" y="472"/>
                  </a:lnTo>
                  <a:lnTo>
                    <a:pt x="277" y="474"/>
                  </a:lnTo>
                  <a:lnTo>
                    <a:pt x="273" y="474"/>
                  </a:lnTo>
                  <a:lnTo>
                    <a:pt x="271" y="474"/>
                  </a:lnTo>
                  <a:lnTo>
                    <a:pt x="269" y="475"/>
                  </a:lnTo>
                  <a:lnTo>
                    <a:pt x="271" y="476"/>
                  </a:lnTo>
                  <a:lnTo>
                    <a:pt x="273" y="476"/>
                  </a:lnTo>
                  <a:lnTo>
                    <a:pt x="277" y="476"/>
                  </a:lnTo>
                  <a:lnTo>
                    <a:pt x="279" y="476"/>
                  </a:lnTo>
                  <a:lnTo>
                    <a:pt x="281" y="476"/>
                  </a:lnTo>
                  <a:lnTo>
                    <a:pt x="279" y="477"/>
                  </a:lnTo>
                  <a:lnTo>
                    <a:pt x="277" y="476"/>
                  </a:lnTo>
                  <a:lnTo>
                    <a:pt x="273" y="477"/>
                  </a:lnTo>
                  <a:lnTo>
                    <a:pt x="271" y="477"/>
                  </a:lnTo>
                  <a:lnTo>
                    <a:pt x="269" y="477"/>
                  </a:lnTo>
                  <a:lnTo>
                    <a:pt x="265" y="479"/>
                  </a:lnTo>
                  <a:lnTo>
                    <a:pt x="265" y="483"/>
                  </a:lnTo>
                  <a:lnTo>
                    <a:pt x="269" y="483"/>
                  </a:lnTo>
                  <a:lnTo>
                    <a:pt x="271" y="483"/>
                  </a:lnTo>
                  <a:lnTo>
                    <a:pt x="269" y="484"/>
                  </a:lnTo>
                  <a:lnTo>
                    <a:pt x="265" y="486"/>
                  </a:lnTo>
                  <a:lnTo>
                    <a:pt x="267" y="486"/>
                  </a:lnTo>
                  <a:lnTo>
                    <a:pt x="269" y="486"/>
                  </a:lnTo>
                  <a:lnTo>
                    <a:pt x="272" y="486"/>
                  </a:lnTo>
                  <a:lnTo>
                    <a:pt x="275" y="485"/>
                  </a:lnTo>
                  <a:lnTo>
                    <a:pt x="277" y="483"/>
                  </a:lnTo>
                  <a:lnTo>
                    <a:pt x="280" y="480"/>
                  </a:lnTo>
                  <a:lnTo>
                    <a:pt x="282" y="479"/>
                  </a:lnTo>
                  <a:lnTo>
                    <a:pt x="286" y="477"/>
                  </a:lnTo>
                  <a:lnTo>
                    <a:pt x="288" y="475"/>
                  </a:lnTo>
                  <a:lnTo>
                    <a:pt x="290" y="474"/>
                  </a:lnTo>
                  <a:lnTo>
                    <a:pt x="294" y="471"/>
                  </a:lnTo>
                  <a:lnTo>
                    <a:pt x="296" y="470"/>
                  </a:lnTo>
                  <a:lnTo>
                    <a:pt x="299" y="468"/>
                  </a:lnTo>
                  <a:lnTo>
                    <a:pt x="302" y="467"/>
                  </a:lnTo>
                  <a:lnTo>
                    <a:pt x="304" y="466"/>
                  </a:lnTo>
                  <a:lnTo>
                    <a:pt x="307" y="466"/>
                  </a:lnTo>
                  <a:lnTo>
                    <a:pt x="310" y="464"/>
                  </a:lnTo>
                  <a:lnTo>
                    <a:pt x="307" y="466"/>
                  </a:lnTo>
                  <a:lnTo>
                    <a:pt x="310" y="466"/>
                  </a:lnTo>
                  <a:lnTo>
                    <a:pt x="313" y="467"/>
                  </a:lnTo>
                  <a:lnTo>
                    <a:pt x="315" y="467"/>
                  </a:lnTo>
                  <a:lnTo>
                    <a:pt x="313" y="467"/>
                  </a:lnTo>
                  <a:lnTo>
                    <a:pt x="307" y="466"/>
                  </a:lnTo>
                  <a:lnTo>
                    <a:pt x="305" y="467"/>
                  </a:lnTo>
                  <a:lnTo>
                    <a:pt x="304" y="469"/>
                  </a:lnTo>
                  <a:lnTo>
                    <a:pt x="307" y="469"/>
                  </a:lnTo>
                  <a:lnTo>
                    <a:pt x="310" y="469"/>
                  </a:lnTo>
                  <a:lnTo>
                    <a:pt x="307" y="469"/>
                  </a:lnTo>
                  <a:lnTo>
                    <a:pt x="304" y="470"/>
                  </a:lnTo>
                  <a:lnTo>
                    <a:pt x="302" y="469"/>
                  </a:lnTo>
                  <a:lnTo>
                    <a:pt x="299" y="469"/>
                  </a:lnTo>
                  <a:lnTo>
                    <a:pt x="296" y="471"/>
                  </a:lnTo>
                  <a:lnTo>
                    <a:pt x="294" y="472"/>
                  </a:lnTo>
                  <a:lnTo>
                    <a:pt x="290" y="474"/>
                  </a:lnTo>
                  <a:lnTo>
                    <a:pt x="288" y="477"/>
                  </a:lnTo>
                  <a:lnTo>
                    <a:pt x="286" y="478"/>
                  </a:lnTo>
                  <a:lnTo>
                    <a:pt x="282" y="479"/>
                  </a:lnTo>
                  <a:lnTo>
                    <a:pt x="280" y="481"/>
                  </a:lnTo>
                  <a:lnTo>
                    <a:pt x="277" y="484"/>
                  </a:lnTo>
                  <a:lnTo>
                    <a:pt x="275" y="485"/>
                  </a:lnTo>
                  <a:lnTo>
                    <a:pt x="272" y="486"/>
                  </a:lnTo>
                  <a:lnTo>
                    <a:pt x="269" y="487"/>
                  </a:lnTo>
                  <a:lnTo>
                    <a:pt x="272" y="488"/>
                  </a:lnTo>
                  <a:lnTo>
                    <a:pt x="269" y="489"/>
                  </a:lnTo>
                  <a:lnTo>
                    <a:pt x="272" y="491"/>
                  </a:lnTo>
                  <a:lnTo>
                    <a:pt x="275" y="488"/>
                  </a:lnTo>
                  <a:lnTo>
                    <a:pt x="272" y="491"/>
                  </a:lnTo>
                  <a:lnTo>
                    <a:pt x="275" y="492"/>
                  </a:lnTo>
                  <a:lnTo>
                    <a:pt x="280" y="489"/>
                  </a:lnTo>
                  <a:lnTo>
                    <a:pt x="282" y="491"/>
                  </a:lnTo>
                  <a:lnTo>
                    <a:pt x="286" y="489"/>
                  </a:lnTo>
                  <a:lnTo>
                    <a:pt x="288" y="488"/>
                  </a:lnTo>
                  <a:lnTo>
                    <a:pt x="290" y="487"/>
                  </a:lnTo>
                  <a:lnTo>
                    <a:pt x="293" y="491"/>
                  </a:lnTo>
                  <a:lnTo>
                    <a:pt x="290" y="488"/>
                  </a:lnTo>
                  <a:lnTo>
                    <a:pt x="287" y="489"/>
                  </a:lnTo>
                  <a:lnTo>
                    <a:pt x="285" y="493"/>
                  </a:lnTo>
                  <a:lnTo>
                    <a:pt x="281" y="492"/>
                  </a:lnTo>
                  <a:lnTo>
                    <a:pt x="279" y="491"/>
                  </a:lnTo>
                  <a:lnTo>
                    <a:pt x="277" y="492"/>
                  </a:lnTo>
                  <a:lnTo>
                    <a:pt x="273" y="493"/>
                  </a:lnTo>
                  <a:lnTo>
                    <a:pt x="277" y="493"/>
                  </a:lnTo>
                  <a:lnTo>
                    <a:pt x="273" y="495"/>
                  </a:lnTo>
                  <a:lnTo>
                    <a:pt x="277" y="496"/>
                  </a:lnTo>
                  <a:lnTo>
                    <a:pt x="279" y="493"/>
                  </a:lnTo>
                  <a:lnTo>
                    <a:pt x="279" y="496"/>
                  </a:lnTo>
                  <a:lnTo>
                    <a:pt x="278" y="498"/>
                  </a:lnTo>
                  <a:lnTo>
                    <a:pt x="281" y="498"/>
                  </a:lnTo>
                  <a:lnTo>
                    <a:pt x="280" y="501"/>
                  </a:lnTo>
                  <a:lnTo>
                    <a:pt x="282" y="502"/>
                  </a:lnTo>
                  <a:lnTo>
                    <a:pt x="286" y="501"/>
                  </a:lnTo>
                  <a:lnTo>
                    <a:pt x="288" y="500"/>
                  </a:lnTo>
                  <a:lnTo>
                    <a:pt x="289" y="497"/>
                  </a:lnTo>
                  <a:lnTo>
                    <a:pt x="291" y="496"/>
                  </a:lnTo>
                  <a:lnTo>
                    <a:pt x="295" y="495"/>
                  </a:lnTo>
                  <a:lnTo>
                    <a:pt x="297" y="494"/>
                  </a:lnTo>
                  <a:lnTo>
                    <a:pt x="299" y="494"/>
                  </a:lnTo>
                  <a:lnTo>
                    <a:pt x="303" y="494"/>
                  </a:lnTo>
                  <a:lnTo>
                    <a:pt x="305" y="494"/>
                  </a:lnTo>
                  <a:lnTo>
                    <a:pt x="306" y="494"/>
                  </a:lnTo>
                  <a:lnTo>
                    <a:pt x="306" y="496"/>
                  </a:lnTo>
                  <a:lnTo>
                    <a:pt x="304" y="494"/>
                  </a:lnTo>
                  <a:lnTo>
                    <a:pt x="298" y="494"/>
                  </a:lnTo>
                  <a:lnTo>
                    <a:pt x="295" y="495"/>
                  </a:lnTo>
                  <a:lnTo>
                    <a:pt x="293" y="496"/>
                  </a:lnTo>
                  <a:lnTo>
                    <a:pt x="290" y="498"/>
                  </a:lnTo>
                  <a:lnTo>
                    <a:pt x="288" y="501"/>
                  </a:lnTo>
                  <a:lnTo>
                    <a:pt x="286" y="502"/>
                  </a:lnTo>
                  <a:lnTo>
                    <a:pt x="282" y="503"/>
                  </a:lnTo>
                  <a:lnTo>
                    <a:pt x="284" y="505"/>
                  </a:lnTo>
                  <a:lnTo>
                    <a:pt x="286" y="504"/>
                  </a:lnTo>
                  <a:lnTo>
                    <a:pt x="286" y="506"/>
                  </a:lnTo>
                  <a:lnTo>
                    <a:pt x="288" y="505"/>
                  </a:lnTo>
                  <a:lnTo>
                    <a:pt x="286" y="508"/>
                  </a:lnTo>
                  <a:lnTo>
                    <a:pt x="286" y="510"/>
                  </a:lnTo>
                  <a:lnTo>
                    <a:pt x="287" y="513"/>
                  </a:lnTo>
                  <a:lnTo>
                    <a:pt x="286" y="515"/>
                  </a:lnTo>
                  <a:lnTo>
                    <a:pt x="288" y="515"/>
                  </a:lnTo>
                  <a:lnTo>
                    <a:pt x="291" y="513"/>
                  </a:lnTo>
                  <a:lnTo>
                    <a:pt x="293" y="511"/>
                  </a:lnTo>
                  <a:lnTo>
                    <a:pt x="295" y="513"/>
                  </a:lnTo>
                  <a:lnTo>
                    <a:pt x="298" y="512"/>
                  </a:lnTo>
                  <a:lnTo>
                    <a:pt x="295" y="514"/>
                  </a:lnTo>
                  <a:lnTo>
                    <a:pt x="293" y="514"/>
                  </a:lnTo>
                  <a:lnTo>
                    <a:pt x="289" y="515"/>
                  </a:lnTo>
                  <a:lnTo>
                    <a:pt x="287" y="518"/>
                  </a:lnTo>
                  <a:lnTo>
                    <a:pt x="288" y="520"/>
                  </a:lnTo>
                  <a:lnTo>
                    <a:pt x="287" y="523"/>
                  </a:lnTo>
                  <a:lnTo>
                    <a:pt x="288" y="526"/>
                  </a:lnTo>
                  <a:lnTo>
                    <a:pt x="289" y="529"/>
                  </a:lnTo>
                  <a:lnTo>
                    <a:pt x="291" y="528"/>
                  </a:lnTo>
                  <a:lnTo>
                    <a:pt x="293" y="525"/>
                  </a:lnTo>
                  <a:lnTo>
                    <a:pt x="296" y="522"/>
                  </a:lnTo>
                  <a:lnTo>
                    <a:pt x="296" y="520"/>
                  </a:lnTo>
                  <a:lnTo>
                    <a:pt x="298" y="518"/>
                  </a:lnTo>
                  <a:lnTo>
                    <a:pt x="301" y="517"/>
                  </a:lnTo>
                  <a:lnTo>
                    <a:pt x="301" y="520"/>
                  </a:lnTo>
                  <a:lnTo>
                    <a:pt x="304" y="518"/>
                  </a:lnTo>
                  <a:lnTo>
                    <a:pt x="306" y="515"/>
                  </a:lnTo>
                  <a:lnTo>
                    <a:pt x="306" y="513"/>
                  </a:lnTo>
                  <a:lnTo>
                    <a:pt x="304" y="510"/>
                  </a:lnTo>
                  <a:lnTo>
                    <a:pt x="304" y="508"/>
                  </a:lnTo>
                  <a:lnTo>
                    <a:pt x="306" y="508"/>
                  </a:lnTo>
                  <a:lnTo>
                    <a:pt x="305" y="510"/>
                  </a:lnTo>
                  <a:lnTo>
                    <a:pt x="306" y="512"/>
                  </a:lnTo>
                  <a:lnTo>
                    <a:pt x="308" y="515"/>
                  </a:lnTo>
                  <a:lnTo>
                    <a:pt x="311" y="517"/>
                  </a:lnTo>
                  <a:lnTo>
                    <a:pt x="313" y="515"/>
                  </a:lnTo>
                  <a:lnTo>
                    <a:pt x="316" y="514"/>
                  </a:lnTo>
                  <a:lnTo>
                    <a:pt x="316" y="514"/>
                  </a:lnTo>
                  <a:lnTo>
                    <a:pt x="315" y="514"/>
                  </a:lnTo>
                  <a:lnTo>
                    <a:pt x="313" y="518"/>
                  </a:lnTo>
                  <a:lnTo>
                    <a:pt x="316" y="518"/>
                  </a:lnTo>
                  <a:lnTo>
                    <a:pt x="316" y="519"/>
                  </a:lnTo>
                  <a:lnTo>
                    <a:pt x="314" y="519"/>
                  </a:lnTo>
                  <a:lnTo>
                    <a:pt x="316" y="522"/>
                  </a:lnTo>
                  <a:lnTo>
                    <a:pt x="319" y="523"/>
                  </a:lnTo>
                  <a:lnTo>
                    <a:pt x="321" y="526"/>
                  </a:lnTo>
                  <a:lnTo>
                    <a:pt x="319" y="525"/>
                  </a:lnTo>
                  <a:lnTo>
                    <a:pt x="316" y="523"/>
                  </a:lnTo>
                  <a:lnTo>
                    <a:pt x="313" y="522"/>
                  </a:lnTo>
                  <a:lnTo>
                    <a:pt x="312" y="519"/>
                  </a:lnTo>
                  <a:lnTo>
                    <a:pt x="310" y="518"/>
                  </a:lnTo>
                  <a:lnTo>
                    <a:pt x="307" y="518"/>
                  </a:lnTo>
                  <a:lnTo>
                    <a:pt x="310" y="519"/>
                  </a:lnTo>
                  <a:lnTo>
                    <a:pt x="307" y="519"/>
                  </a:lnTo>
                  <a:lnTo>
                    <a:pt x="304" y="519"/>
                  </a:lnTo>
                  <a:lnTo>
                    <a:pt x="307" y="520"/>
                  </a:lnTo>
                  <a:lnTo>
                    <a:pt x="310" y="521"/>
                  </a:lnTo>
                  <a:lnTo>
                    <a:pt x="311" y="523"/>
                  </a:lnTo>
                  <a:lnTo>
                    <a:pt x="313" y="523"/>
                  </a:lnTo>
                  <a:lnTo>
                    <a:pt x="311" y="525"/>
                  </a:lnTo>
                  <a:lnTo>
                    <a:pt x="307" y="523"/>
                  </a:lnTo>
                  <a:lnTo>
                    <a:pt x="305" y="523"/>
                  </a:lnTo>
                  <a:lnTo>
                    <a:pt x="303" y="527"/>
                  </a:lnTo>
                  <a:lnTo>
                    <a:pt x="299" y="529"/>
                  </a:lnTo>
                  <a:lnTo>
                    <a:pt x="297" y="529"/>
                  </a:lnTo>
                  <a:lnTo>
                    <a:pt x="295" y="528"/>
                  </a:lnTo>
                  <a:lnTo>
                    <a:pt x="297" y="530"/>
                  </a:lnTo>
                  <a:lnTo>
                    <a:pt x="295" y="530"/>
                  </a:lnTo>
                  <a:lnTo>
                    <a:pt x="297" y="531"/>
                  </a:lnTo>
                  <a:lnTo>
                    <a:pt x="299" y="531"/>
                  </a:lnTo>
                  <a:lnTo>
                    <a:pt x="303" y="530"/>
                  </a:lnTo>
                  <a:lnTo>
                    <a:pt x="308" y="528"/>
                  </a:lnTo>
                  <a:lnTo>
                    <a:pt x="311" y="526"/>
                  </a:lnTo>
                  <a:lnTo>
                    <a:pt x="308" y="528"/>
                  </a:lnTo>
                  <a:lnTo>
                    <a:pt x="312" y="529"/>
                  </a:lnTo>
                  <a:lnTo>
                    <a:pt x="314" y="528"/>
                  </a:lnTo>
                  <a:lnTo>
                    <a:pt x="315" y="531"/>
                  </a:lnTo>
                  <a:lnTo>
                    <a:pt x="312" y="529"/>
                  </a:lnTo>
                  <a:lnTo>
                    <a:pt x="310" y="530"/>
                  </a:lnTo>
                  <a:lnTo>
                    <a:pt x="307" y="529"/>
                  </a:lnTo>
                  <a:lnTo>
                    <a:pt x="304" y="531"/>
                  </a:lnTo>
                  <a:lnTo>
                    <a:pt x="302" y="531"/>
                  </a:lnTo>
                  <a:lnTo>
                    <a:pt x="299" y="531"/>
                  </a:lnTo>
                  <a:lnTo>
                    <a:pt x="296" y="532"/>
                  </a:lnTo>
                  <a:lnTo>
                    <a:pt x="295" y="532"/>
                  </a:lnTo>
                  <a:lnTo>
                    <a:pt x="297" y="534"/>
                  </a:lnTo>
                  <a:lnTo>
                    <a:pt x="297" y="537"/>
                  </a:lnTo>
                  <a:lnTo>
                    <a:pt x="299" y="536"/>
                  </a:lnTo>
                  <a:lnTo>
                    <a:pt x="303" y="535"/>
                  </a:lnTo>
                  <a:lnTo>
                    <a:pt x="299" y="537"/>
                  </a:lnTo>
                  <a:lnTo>
                    <a:pt x="297" y="538"/>
                  </a:lnTo>
                  <a:lnTo>
                    <a:pt x="295" y="540"/>
                  </a:lnTo>
                  <a:lnTo>
                    <a:pt x="298" y="541"/>
                  </a:lnTo>
                  <a:lnTo>
                    <a:pt x="301" y="540"/>
                  </a:lnTo>
                  <a:lnTo>
                    <a:pt x="304" y="541"/>
                  </a:lnTo>
                  <a:lnTo>
                    <a:pt x="306" y="540"/>
                  </a:lnTo>
                  <a:lnTo>
                    <a:pt x="308" y="540"/>
                  </a:lnTo>
                  <a:lnTo>
                    <a:pt x="306" y="541"/>
                  </a:lnTo>
                  <a:lnTo>
                    <a:pt x="304" y="541"/>
                  </a:lnTo>
                  <a:lnTo>
                    <a:pt x="301" y="541"/>
                  </a:lnTo>
                  <a:lnTo>
                    <a:pt x="304" y="544"/>
                  </a:lnTo>
                  <a:lnTo>
                    <a:pt x="301" y="545"/>
                  </a:lnTo>
                  <a:lnTo>
                    <a:pt x="304" y="547"/>
                  </a:lnTo>
                  <a:lnTo>
                    <a:pt x="306" y="546"/>
                  </a:lnTo>
                  <a:lnTo>
                    <a:pt x="308" y="546"/>
                  </a:lnTo>
                  <a:lnTo>
                    <a:pt x="312" y="546"/>
                  </a:lnTo>
                  <a:lnTo>
                    <a:pt x="308" y="547"/>
                  </a:lnTo>
                  <a:lnTo>
                    <a:pt x="306" y="547"/>
                  </a:lnTo>
                  <a:lnTo>
                    <a:pt x="304" y="547"/>
                  </a:lnTo>
                  <a:lnTo>
                    <a:pt x="301" y="547"/>
                  </a:lnTo>
                  <a:lnTo>
                    <a:pt x="302" y="551"/>
                  </a:lnTo>
                  <a:lnTo>
                    <a:pt x="304" y="549"/>
                  </a:lnTo>
                  <a:lnTo>
                    <a:pt x="307" y="551"/>
                  </a:lnTo>
                  <a:lnTo>
                    <a:pt x="310" y="551"/>
                  </a:lnTo>
                  <a:lnTo>
                    <a:pt x="312" y="549"/>
                  </a:lnTo>
                  <a:lnTo>
                    <a:pt x="315" y="549"/>
                  </a:lnTo>
                  <a:lnTo>
                    <a:pt x="312" y="551"/>
                  </a:lnTo>
                  <a:lnTo>
                    <a:pt x="310" y="552"/>
                  </a:lnTo>
                  <a:lnTo>
                    <a:pt x="308" y="555"/>
                  </a:lnTo>
                  <a:lnTo>
                    <a:pt x="312" y="555"/>
                  </a:lnTo>
                  <a:lnTo>
                    <a:pt x="311" y="558"/>
                  </a:lnTo>
                  <a:lnTo>
                    <a:pt x="313" y="556"/>
                  </a:lnTo>
                  <a:lnTo>
                    <a:pt x="316" y="555"/>
                  </a:lnTo>
                  <a:lnTo>
                    <a:pt x="319" y="554"/>
                  </a:lnTo>
                  <a:lnTo>
                    <a:pt x="316" y="555"/>
                  </a:lnTo>
                  <a:lnTo>
                    <a:pt x="314" y="556"/>
                  </a:lnTo>
                  <a:lnTo>
                    <a:pt x="313" y="560"/>
                  </a:lnTo>
                  <a:lnTo>
                    <a:pt x="316" y="558"/>
                  </a:lnTo>
                  <a:lnTo>
                    <a:pt x="316" y="558"/>
                  </a:lnTo>
                  <a:lnTo>
                    <a:pt x="315" y="560"/>
                  </a:lnTo>
                  <a:lnTo>
                    <a:pt x="313" y="562"/>
                  </a:lnTo>
                  <a:lnTo>
                    <a:pt x="312" y="565"/>
                  </a:lnTo>
                  <a:lnTo>
                    <a:pt x="313" y="568"/>
                  </a:lnTo>
                  <a:lnTo>
                    <a:pt x="316" y="570"/>
                  </a:lnTo>
                  <a:lnTo>
                    <a:pt x="318" y="569"/>
                  </a:lnTo>
                  <a:lnTo>
                    <a:pt x="319" y="571"/>
                  </a:lnTo>
                  <a:lnTo>
                    <a:pt x="321" y="571"/>
                  </a:lnTo>
                  <a:lnTo>
                    <a:pt x="323" y="571"/>
                  </a:lnTo>
                  <a:lnTo>
                    <a:pt x="321" y="573"/>
                  </a:lnTo>
                  <a:lnTo>
                    <a:pt x="323" y="574"/>
                  </a:lnTo>
                  <a:lnTo>
                    <a:pt x="321" y="573"/>
                  </a:lnTo>
                  <a:lnTo>
                    <a:pt x="322" y="577"/>
                  </a:lnTo>
                  <a:lnTo>
                    <a:pt x="325" y="577"/>
                  </a:lnTo>
                  <a:lnTo>
                    <a:pt x="328" y="575"/>
                  </a:lnTo>
                  <a:lnTo>
                    <a:pt x="329" y="573"/>
                  </a:lnTo>
                  <a:lnTo>
                    <a:pt x="330" y="575"/>
                  </a:lnTo>
                  <a:lnTo>
                    <a:pt x="327" y="577"/>
                  </a:lnTo>
                  <a:lnTo>
                    <a:pt x="324" y="578"/>
                  </a:lnTo>
                  <a:lnTo>
                    <a:pt x="324" y="580"/>
                  </a:lnTo>
                  <a:lnTo>
                    <a:pt x="327" y="580"/>
                  </a:lnTo>
                  <a:lnTo>
                    <a:pt x="330" y="578"/>
                  </a:lnTo>
                  <a:lnTo>
                    <a:pt x="332" y="577"/>
                  </a:lnTo>
                  <a:lnTo>
                    <a:pt x="330" y="579"/>
                  </a:lnTo>
                  <a:lnTo>
                    <a:pt x="329" y="582"/>
                  </a:lnTo>
                  <a:lnTo>
                    <a:pt x="331" y="581"/>
                  </a:lnTo>
                  <a:lnTo>
                    <a:pt x="331" y="585"/>
                  </a:lnTo>
                  <a:lnTo>
                    <a:pt x="333" y="585"/>
                  </a:lnTo>
                  <a:lnTo>
                    <a:pt x="331" y="585"/>
                  </a:lnTo>
                  <a:lnTo>
                    <a:pt x="329" y="585"/>
                  </a:lnTo>
                  <a:lnTo>
                    <a:pt x="325" y="586"/>
                  </a:lnTo>
                  <a:lnTo>
                    <a:pt x="329" y="587"/>
                  </a:lnTo>
                  <a:lnTo>
                    <a:pt x="331" y="587"/>
                  </a:lnTo>
                  <a:lnTo>
                    <a:pt x="333" y="587"/>
                  </a:lnTo>
                  <a:lnTo>
                    <a:pt x="337" y="586"/>
                  </a:lnTo>
                  <a:lnTo>
                    <a:pt x="339" y="586"/>
                  </a:lnTo>
                  <a:lnTo>
                    <a:pt x="337" y="587"/>
                  </a:lnTo>
                  <a:lnTo>
                    <a:pt x="333" y="588"/>
                  </a:lnTo>
                  <a:lnTo>
                    <a:pt x="331" y="589"/>
                  </a:lnTo>
                  <a:lnTo>
                    <a:pt x="333" y="589"/>
                  </a:lnTo>
                  <a:lnTo>
                    <a:pt x="337" y="589"/>
                  </a:lnTo>
                  <a:lnTo>
                    <a:pt x="337" y="591"/>
                  </a:lnTo>
                  <a:lnTo>
                    <a:pt x="338" y="595"/>
                  </a:lnTo>
                  <a:lnTo>
                    <a:pt x="340" y="592"/>
                  </a:lnTo>
                  <a:lnTo>
                    <a:pt x="342" y="591"/>
                  </a:lnTo>
                  <a:lnTo>
                    <a:pt x="340" y="594"/>
                  </a:lnTo>
                  <a:lnTo>
                    <a:pt x="342" y="595"/>
                  </a:lnTo>
                  <a:lnTo>
                    <a:pt x="346" y="594"/>
                  </a:lnTo>
                  <a:lnTo>
                    <a:pt x="342" y="596"/>
                  </a:lnTo>
                  <a:lnTo>
                    <a:pt x="340" y="597"/>
                  </a:lnTo>
                  <a:lnTo>
                    <a:pt x="342" y="597"/>
                  </a:lnTo>
                  <a:lnTo>
                    <a:pt x="346" y="598"/>
                  </a:lnTo>
                  <a:lnTo>
                    <a:pt x="342" y="599"/>
                  </a:lnTo>
                  <a:lnTo>
                    <a:pt x="340" y="602"/>
                  </a:lnTo>
                  <a:lnTo>
                    <a:pt x="342" y="600"/>
                  </a:lnTo>
                  <a:lnTo>
                    <a:pt x="346" y="600"/>
                  </a:lnTo>
                  <a:lnTo>
                    <a:pt x="348" y="602"/>
                  </a:lnTo>
                  <a:lnTo>
                    <a:pt x="352" y="599"/>
                  </a:lnTo>
                  <a:lnTo>
                    <a:pt x="346" y="599"/>
                  </a:lnTo>
                  <a:lnTo>
                    <a:pt x="352" y="598"/>
                  </a:lnTo>
                  <a:lnTo>
                    <a:pt x="354" y="599"/>
                  </a:lnTo>
                  <a:lnTo>
                    <a:pt x="357" y="598"/>
                  </a:lnTo>
                  <a:lnTo>
                    <a:pt x="356" y="600"/>
                  </a:lnTo>
                  <a:lnTo>
                    <a:pt x="359" y="602"/>
                  </a:lnTo>
                  <a:lnTo>
                    <a:pt x="361" y="598"/>
                  </a:lnTo>
                  <a:lnTo>
                    <a:pt x="364" y="597"/>
                  </a:lnTo>
                  <a:lnTo>
                    <a:pt x="366" y="596"/>
                  </a:lnTo>
                  <a:lnTo>
                    <a:pt x="369" y="596"/>
                  </a:lnTo>
                  <a:lnTo>
                    <a:pt x="372" y="595"/>
                  </a:lnTo>
                  <a:lnTo>
                    <a:pt x="372" y="592"/>
                  </a:lnTo>
                  <a:lnTo>
                    <a:pt x="374" y="590"/>
                  </a:lnTo>
                  <a:lnTo>
                    <a:pt x="373" y="592"/>
                  </a:lnTo>
                  <a:lnTo>
                    <a:pt x="375" y="596"/>
                  </a:lnTo>
                  <a:lnTo>
                    <a:pt x="373" y="596"/>
                  </a:lnTo>
                  <a:lnTo>
                    <a:pt x="370" y="598"/>
                  </a:lnTo>
                  <a:lnTo>
                    <a:pt x="373" y="598"/>
                  </a:lnTo>
                  <a:lnTo>
                    <a:pt x="375" y="597"/>
                  </a:lnTo>
                  <a:lnTo>
                    <a:pt x="378" y="595"/>
                  </a:lnTo>
                  <a:lnTo>
                    <a:pt x="378" y="592"/>
                  </a:lnTo>
                  <a:lnTo>
                    <a:pt x="379" y="595"/>
                  </a:lnTo>
                  <a:lnTo>
                    <a:pt x="382" y="592"/>
                  </a:lnTo>
                  <a:lnTo>
                    <a:pt x="379" y="596"/>
                  </a:lnTo>
                  <a:lnTo>
                    <a:pt x="376" y="598"/>
                  </a:lnTo>
                  <a:lnTo>
                    <a:pt x="374" y="598"/>
                  </a:lnTo>
                  <a:lnTo>
                    <a:pt x="371" y="599"/>
                  </a:lnTo>
                  <a:lnTo>
                    <a:pt x="369" y="602"/>
                  </a:lnTo>
                  <a:lnTo>
                    <a:pt x="371" y="600"/>
                  </a:lnTo>
                  <a:lnTo>
                    <a:pt x="370" y="603"/>
                  </a:lnTo>
                  <a:lnTo>
                    <a:pt x="373" y="603"/>
                  </a:lnTo>
                  <a:lnTo>
                    <a:pt x="375" y="602"/>
                  </a:lnTo>
                  <a:lnTo>
                    <a:pt x="378" y="599"/>
                  </a:lnTo>
                  <a:lnTo>
                    <a:pt x="381" y="599"/>
                  </a:lnTo>
                  <a:lnTo>
                    <a:pt x="378" y="600"/>
                  </a:lnTo>
                  <a:lnTo>
                    <a:pt x="375" y="603"/>
                  </a:lnTo>
                  <a:lnTo>
                    <a:pt x="373" y="604"/>
                  </a:lnTo>
                  <a:lnTo>
                    <a:pt x="375" y="604"/>
                  </a:lnTo>
                  <a:lnTo>
                    <a:pt x="373" y="606"/>
                  </a:lnTo>
                  <a:lnTo>
                    <a:pt x="375" y="605"/>
                  </a:lnTo>
                  <a:lnTo>
                    <a:pt x="376" y="607"/>
                  </a:lnTo>
                  <a:lnTo>
                    <a:pt x="378" y="605"/>
                  </a:lnTo>
                  <a:lnTo>
                    <a:pt x="381" y="605"/>
                  </a:lnTo>
                  <a:lnTo>
                    <a:pt x="380" y="607"/>
                  </a:lnTo>
                  <a:lnTo>
                    <a:pt x="382" y="606"/>
                  </a:lnTo>
                  <a:lnTo>
                    <a:pt x="381" y="608"/>
                  </a:lnTo>
                  <a:lnTo>
                    <a:pt x="383" y="608"/>
                  </a:lnTo>
                  <a:lnTo>
                    <a:pt x="387" y="606"/>
                  </a:lnTo>
                  <a:lnTo>
                    <a:pt x="389" y="603"/>
                  </a:lnTo>
                  <a:lnTo>
                    <a:pt x="388" y="606"/>
                  </a:lnTo>
                  <a:lnTo>
                    <a:pt x="384" y="612"/>
                  </a:lnTo>
                  <a:lnTo>
                    <a:pt x="383" y="614"/>
                  </a:lnTo>
                  <a:lnTo>
                    <a:pt x="386" y="614"/>
                  </a:lnTo>
                  <a:lnTo>
                    <a:pt x="388" y="611"/>
                  </a:lnTo>
                  <a:lnTo>
                    <a:pt x="390" y="608"/>
                  </a:lnTo>
                  <a:lnTo>
                    <a:pt x="388" y="612"/>
                  </a:lnTo>
                  <a:lnTo>
                    <a:pt x="387" y="614"/>
                  </a:lnTo>
                  <a:lnTo>
                    <a:pt x="383" y="616"/>
                  </a:lnTo>
                  <a:lnTo>
                    <a:pt x="387" y="615"/>
                  </a:lnTo>
                  <a:lnTo>
                    <a:pt x="388" y="617"/>
                  </a:lnTo>
                  <a:lnTo>
                    <a:pt x="390" y="617"/>
                  </a:lnTo>
                  <a:lnTo>
                    <a:pt x="391" y="615"/>
                  </a:lnTo>
                  <a:lnTo>
                    <a:pt x="395" y="615"/>
                  </a:lnTo>
                  <a:lnTo>
                    <a:pt x="396" y="612"/>
                  </a:lnTo>
                  <a:lnTo>
                    <a:pt x="398" y="612"/>
                  </a:lnTo>
                  <a:lnTo>
                    <a:pt x="398" y="614"/>
                  </a:lnTo>
                  <a:lnTo>
                    <a:pt x="401" y="615"/>
                  </a:lnTo>
                  <a:lnTo>
                    <a:pt x="404" y="615"/>
                  </a:lnTo>
                  <a:lnTo>
                    <a:pt x="406" y="615"/>
                  </a:lnTo>
                  <a:lnTo>
                    <a:pt x="409" y="615"/>
                  </a:lnTo>
                  <a:lnTo>
                    <a:pt x="409" y="613"/>
                  </a:lnTo>
                  <a:lnTo>
                    <a:pt x="408" y="609"/>
                  </a:lnTo>
                  <a:lnTo>
                    <a:pt x="405" y="611"/>
                  </a:lnTo>
                  <a:lnTo>
                    <a:pt x="406" y="608"/>
                  </a:lnTo>
                  <a:lnTo>
                    <a:pt x="402" y="607"/>
                  </a:lnTo>
                  <a:lnTo>
                    <a:pt x="400" y="606"/>
                  </a:lnTo>
                  <a:lnTo>
                    <a:pt x="397" y="606"/>
                  </a:lnTo>
                  <a:lnTo>
                    <a:pt x="400" y="606"/>
                  </a:lnTo>
                  <a:lnTo>
                    <a:pt x="402" y="604"/>
                  </a:lnTo>
                  <a:lnTo>
                    <a:pt x="404" y="607"/>
                  </a:lnTo>
                  <a:lnTo>
                    <a:pt x="407" y="607"/>
                  </a:lnTo>
                  <a:lnTo>
                    <a:pt x="409" y="607"/>
                  </a:lnTo>
                  <a:lnTo>
                    <a:pt x="413" y="606"/>
                  </a:lnTo>
                  <a:lnTo>
                    <a:pt x="415" y="604"/>
                  </a:lnTo>
                  <a:lnTo>
                    <a:pt x="413" y="605"/>
                  </a:lnTo>
                  <a:lnTo>
                    <a:pt x="409" y="604"/>
                  </a:lnTo>
                  <a:lnTo>
                    <a:pt x="413" y="605"/>
                  </a:lnTo>
                  <a:lnTo>
                    <a:pt x="413" y="602"/>
                  </a:lnTo>
                  <a:lnTo>
                    <a:pt x="409" y="602"/>
                  </a:lnTo>
                  <a:lnTo>
                    <a:pt x="407" y="600"/>
                  </a:lnTo>
                  <a:lnTo>
                    <a:pt x="410" y="602"/>
                  </a:lnTo>
                  <a:lnTo>
                    <a:pt x="413" y="600"/>
                  </a:lnTo>
                  <a:lnTo>
                    <a:pt x="410" y="600"/>
                  </a:lnTo>
                  <a:lnTo>
                    <a:pt x="407" y="599"/>
                  </a:lnTo>
                  <a:lnTo>
                    <a:pt x="410" y="599"/>
                  </a:lnTo>
                  <a:lnTo>
                    <a:pt x="413" y="599"/>
                  </a:lnTo>
                  <a:lnTo>
                    <a:pt x="416" y="598"/>
                  </a:lnTo>
                  <a:lnTo>
                    <a:pt x="416" y="596"/>
                  </a:lnTo>
                  <a:lnTo>
                    <a:pt x="413" y="596"/>
                  </a:lnTo>
                  <a:lnTo>
                    <a:pt x="410" y="595"/>
                  </a:lnTo>
                  <a:lnTo>
                    <a:pt x="408" y="595"/>
                  </a:lnTo>
                  <a:lnTo>
                    <a:pt x="406" y="595"/>
                  </a:lnTo>
                  <a:lnTo>
                    <a:pt x="408" y="595"/>
                  </a:lnTo>
                  <a:lnTo>
                    <a:pt x="414" y="595"/>
                  </a:lnTo>
                  <a:lnTo>
                    <a:pt x="416" y="595"/>
                  </a:lnTo>
                  <a:lnTo>
                    <a:pt x="412" y="592"/>
                  </a:lnTo>
                  <a:lnTo>
                    <a:pt x="414" y="592"/>
                  </a:lnTo>
                  <a:lnTo>
                    <a:pt x="416" y="591"/>
                  </a:lnTo>
                  <a:lnTo>
                    <a:pt x="412" y="590"/>
                  </a:lnTo>
                  <a:lnTo>
                    <a:pt x="414" y="590"/>
                  </a:lnTo>
                  <a:lnTo>
                    <a:pt x="416" y="590"/>
                  </a:lnTo>
                  <a:lnTo>
                    <a:pt x="419" y="588"/>
                  </a:lnTo>
                  <a:lnTo>
                    <a:pt x="417" y="586"/>
                  </a:lnTo>
                  <a:lnTo>
                    <a:pt x="414" y="586"/>
                  </a:lnTo>
                  <a:lnTo>
                    <a:pt x="412" y="585"/>
                  </a:lnTo>
                  <a:lnTo>
                    <a:pt x="414" y="586"/>
                  </a:lnTo>
                  <a:lnTo>
                    <a:pt x="417" y="586"/>
                  </a:lnTo>
                  <a:lnTo>
                    <a:pt x="419" y="585"/>
                  </a:lnTo>
                  <a:lnTo>
                    <a:pt x="421" y="582"/>
                  </a:lnTo>
                  <a:lnTo>
                    <a:pt x="418" y="582"/>
                  </a:lnTo>
                  <a:lnTo>
                    <a:pt x="416" y="581"/>
                  </a:lnTo>
                  <a:lnTo>
                    <a:pt x="418" y="582"/>
                  </a:lnTo>
                  <a:lnTo>
                    <a:pt x="421" y="581"/>
                  </a:lnTo>
                  <a:lnTo>
                    <a:pt x="421" y="579"/>
                  </a:lnTo>
                  <a:lnTo>
                    <a:pt x="422" y="575"/>
                  </a:lnTo>
                  <a:lnTo>
                    <a:pt x="419" y="577"/>
                  </a:lnTo>
                  <a:lnTo>
                    <a:pt x="419" y="575"/>
                  </a:lnTo>
                  <a:lnTo>
                    <a:pt x="422" y="572"/>
                  </a:lnTo>
                  <a:lnTo>
                    <a:pt x="421" y="570"/>
                  </a:lnTo>
                  <a:lnTo>
                    <a:pt x="418" y="569"/>
                  </a:lnTo>
                  <a:lnTo>
                    <a:pt x="415" y="568"/>
                  </a:lnTo>
                  <a:lnTo>
                    <a:pt x="413" y="565"/>
                  </a:lnTo>
                  <a:lnTo>
                    <a:pt x="415" y="565"/>
                  </a:lnTo>
                  <a:lnTo>
                    <a:pt x="418" y="568"/>
                  </a:lnTo>
                  <a:lnTo>
                    <a:pt x="421" y="566"/>
                  </a:lnTo>
                  <a:lnTo>
                    <a:pt x="418" y="565"/>
                  </a:lnTo>
                  <a:lnTo>
                    <a:pt x="421" y="566"/>
                  </a:lnTo>
                  <a:lnTo>
                    <a:pt x="418" y="563"/>
                  </a:lnTo>
                  <a:lnTo>
                    <a:pt x="416" y="563"/>
                  </a:lnTo>
                  <a:lnTo>
                    <a:pt x="413" y="562"/>
                  </a:lnTo>
                  <a:lnTo>
                    <a:pt x="410" y="560"/>
                  </a:lnTo>
                  <a:lnTo>
                    <a:pt x="413" y="561"/>
                  </a:lnTo>
                  <a:lnTo>
                    <a:pt x="416" y="560"/>
                  </a:lnTo>
                  <a:lnTo>
                    <a:pt x="418" y="561"/>
                  </a:lnTo>
                  <a:lnTo>
                    <a:pt x="418" y="557"/>
                  </a:lnTo>
                  <a:lnTo>
                    <a:pt x="421" y="557"/>
                  </a:lnTo>
                  <a:lnTo>
                    <a:pt x="424" y="558"/>
                  </a:lnTo>
                  <a:lnTo>
                    <a:pt x="426" y="558"/>
                  </a:lnTo>
                  <a:lnTo>
                    <a:pt x="429" y="558"/>
                  </a:lnTo>
                  <a:lnTo>
                    <a:pt x="431" y="555"/>
                  </a:lnTo>
                  <a:lnTo>
                    <a:pt x="429" y="554"/>
                  </a:lnTo>
                  <a:lnTo>
                    <a:pt x="425" y="554"/>
                  </a:lnTo>
                  <a:lnTo>
                    <a:pt x="423" y="551"/>
                  </a:lnTo>
                  <a:lnTo>
                    <a:pt x="426" y="554"/>
                  </a:lnTo>
                  <a:lnTo>
                    <a:pt x="429" y="554"/>
                  </a:lnTo>
                  <a:lnTo>
                    <a:pt x="432" y="554"/>
                  </a:lnTo>
                  <a:lnTo>
                    <a:pt x="429" y="552"/>
                  </a:lnTo>
                  <a:lnTo>
                    <a:pt x="426" y="551"/>
                  </a:lnTo>
                  <a:lnTo>
                    <a:pt x="429" y="551"/>
                  </a:lnTo>
                  <a:lnTo>
                    <a:pt x="432" y="553"/>
                  </a:lnTo>
                  <a:lnTo>
                    <a:pt x="433" y="551"/>
                  </a:lnTo>
                  <a:lnTo>
                    <a:pt x="430" y="548"/>
                  </a:lnTo>
                  <a:lnTo>
                    <a:pt x="427" y="546"/>
                  </a:lnTo>
                  <a:lnTo>
                    <a:pt x="429" y="544"/>
                  </a:lnTo>
                  <a:lnTo>
                    <a:pt x="432" y="546"/>
                  </a:lnTo>
                  <a:lnTo>
                    <a:pt x="434" y="547"/>
                  </a:lnTo>
                  <a:lnTo>
                    <a:pt x="438" y="548"/>
                  </a:lnTo>
                  <a:lnTo>
                    <a:pt x="434" y="546"/>
                  </a:lnTo>
                  <a:lnTo>
                    <a:pt x="432" y="545"/>
                  </a:lnTo>
                  <a:lnTo>
                    <a:pt x="434" y="546"/>
                  </a:lnTo>
                  <a:lnTo>
                    <a:pt x="433" y="543"/>
                  </a:lnTo>
                  <a:lnTo>
                    <a:pt x="436" y="545"/>
                  </a:lnTo>
                  <a:lnTo>
                    <a:pt x="439" y="546"/>
                  </a:lnTo>
                  <a:lnTo>
                    <a:pt x="436" y="544"/>
                  </a:lnTo>
                  <a:lnTo>
                    <a:pt x="439" y="545"/>
                  </a:lnTo>
                  <a:lnTo>
                    <a:pt x="441" y="544"/>
                  </a:lnTo>
                  <a:lnTo>
                    <a:pt x="441" y="541"/>
                  </a:lnTo>
                  <a:lnTo>
                    <a:pt x="439" y="540"/>
                  </a:lnTo>
                  <a:lnTo>
                    <a:pt x="436" y="540"/>
                  </a:lnTo>
                  <a:lnTo>
                    <a:pt x="433" y="538"/>
                  </a:lnTo>
                  <a:lnTo>
                    <a:pt x="435" y="538"/>
                  </a:lnTo>
                  <a:lnTo>
                    <a:pt x="439" y="539"/>
                  </a:lnTo>
                  <a:lnTo>
                    <a:pt x="441" y="540"/>
                  </a:lnTo>
                  <a:lnTo>
                    <a:pt x="444" y="539"/>
                  </a:lnTo>
                  <a:lnTo>
                    <a:pt x="446" y="537"/>
                  </a:lnTo>
                  <a:lnTo>
                    <a:pt x="442" y="535"/>
                  </a:lnTo>
                  <a:lnTo>
                    <a:pt x="446" y="532"/>
                  </a:lnTo>
                  <a:lnTo>
                    <a:pt x="442" y="530"/>
                  </a:lnTo>
                  <a:lnTo>
                    <a:pt x="440" y="530"/>
                  </a:lnTo>
                  <a:lnTo>
                    <a:pt x="436" y="530"/>
                  </a:lnTo>
                  <a:lnTo>
                    <a:pt x="434" y="529"/>
                  </a:lnTo>
                  <a:lnTo>
                    <a:pt x="432" y="528"/>
                  </a:lnTo>
                  <a:lnTo>
                    <a:pt x="434" y="526"/>
                  </a:lnTo>
                  <a:lnTo>
                    <a:pt x="436" y="527"/>
                  </a:lnTo>
                  <a:lnTo>
                    <a:pt x="440" y="527"/>
                  </a:lnTo>
                  <a:lnTo>
                    <a:pt x="442" y="526"/>
                  </a:lnTo>
                  <a:lnTo>
                    <a:pt x="446" y="526"/>
                  </a:lnTo>
                  <a:lnTo>
                    <a:pt x="448" y="526"/>
                  </a:lnTo>
                  <a:lnTo>
                    <a:pt x="446" y="523"/>
                  </a:lnTo>
                  <a:lnTo>
                    <a:pt x="444" y="521"/>
                  </a:lnTo>
                  <a:lnTo>
                    <a:pt x="443" y="518"/>
                  </a:lnTo>
                  <a:lnTo>
                    <a:pt x="441" y="515"/>
                  </a:lnTo>
                  <a:lnTo>
                    <a:pt x="438" y="513"/>
                  </a:lnTo>
                  <a:lnTo>
                    <a:pt x="439" y="511"/>
                  </a:lnTo>
                  <a:lnTo>
                    <a:pt x="442" y="510"/>
                  </a:lnTo>
                  <a:lnTo>
                    <a:pt x="444" y="508"/>
                  </a:lnTo>
                  <a:lnTo>
                    <a:pt x="447" y="511"/>
                  </a:lnTo>
                  <a:lnTo>
                    <a:pt x="450" y="510"/>
                  </a:lnTo>
                  <a:lnTo>
                    <a:pt x="452" y="510"/>
                  </a:lnTo>
                  <a:lnTo>
                    <a:pt x="452" y="510"/>
                  </a:lnTo>
                  <a:lnTo>
                    <a:pt x="452" y="506"/>
                  </a:lnTo>
                  <a:lnTo>
                    <a:pt x="456" y="506"/>
                  </a:lnTo>
                  <a:lnTo>
                    <a:pt x="453" y="503"/>
                  </a:lnTo>
                  <a:lnTo>
                    <a:pt x="452" y="502"/>
                  </a:lnTo>
                  <a:lnTo>
                    <a:pt x="450" y="501"/>
                  </a:lnTo>
                  <a:lnTo>
                    <a:pt x="452" y="498"/>
                  </a:lnTo>
                  <a:lnTo>
                    <a:pt x="456" y="500"/>
                  </a:lnTo>
                  <a:lnTo>
                    <a:pt x="457" y="497"/>
                  </a:lnTo>
                  <a:lnTo>
                    <a:pt x="459" y="497"/>
                  </a:lnTo>
                  <a:lnTo>
                    <a:pt x="463" y="500"/>
                  </a:lnTo>
                  <a:lnTo>
                    <a:pt x="464" y="496"/>
                  </a:lnTo>
                  <a:lnTo>
                    <a:pt x="467" y="498"/>
                  </a:lnTo>
                  <a:lnTo>
                    <a:pt x="469" y="496"/>
                  </a:lnTo>
                  <a:lnTo>
                    <a:pt x="473" y="497"/>
                  </a:lnTo>
                  <a:lnTo>
                    <a:pt x="475" y="497"/>
                  </a:lnTo>
                  <a:lnTo>
                    <a:pt x="477" y="495"/>
                  </a:lnTo>
                  <a:lnTo>
                    <a:pt x="477" y="493"/>
                  </a:lnTo>
                  <a:lnTo>
                    <a:pt x="475" y="492"/>
                  </a:lnTo>
                  <a:lnTo>
                    <a:pt x="475" y="488"/>
                  </a:lnTo>
                  <a:lnTo>
                    <a:pt x="477" y="489"/>
                  </a:lnTo>
                  <a:lnTo>
                    <a:pt x="481" y="488"/>
                  </a:lnTo>
                  <a:lnTo>
                    <a:pt x="481" y="486"/>
                  </a:lnTo>
                  <a:lnTo>
                    <a:pt x="481" y="484"/>
                  </a:lnTo>
                  <a:lnTo>
                    <a:pt x="483" y="483"/>
                  </a:lnTo>
                  <a:lnTo>
                    <a:pt x="481" y="480"/>
                  </a:lnTo>
                  <a:lnTo>
                    <a:pt x="483" y="480"/>
                  </a:lnTo>
                  <a:lnTo>
                    <a:pt x="486" y="481"/>
                  </a:lnTo>
                  <a:lnTo>
                    <a:pt x="489" y="481"/>
                  </a:lnTo>
                  <a:lnTo>
                    <a:pt x="491" y="481"/>
                  </a:lnTo>
                  <a:lnTo>
                    <a:pt x="489" y="484"/>
                  </a:lnTo>
                  <a:lnTo>
                    <a:pt x="486" y="486"/>
                  </a:lnTo>
                  <a:lnTo>
                    <a:pt x="483" y="488"/>
                  </a:lnTo>
                  <a:lnTo>
                    <a:pt x="483" y="491"/>
                  </a:lnTo>
                  <a:lnTo>
                    <a:pt x="486" y="491"/>
                  </a:lnTo>
                  <a:lnTo>
                    <a:pt x="489" y="493"/>
                  </a:lnTo>
                  <a:lnTo>
                    <a:pt x="491" y="494"/>
                  </a:lnTo>
                  <a:lnTo>
                    <a:pt x="492" y="491"/>
                  </a:lnTo>
                  <a:lnTo>
                    <a:pt x="493" y="488"/>
                  </a:lnTo>
                  <a:lnTo>
                    <a:pt x="493" y="491"/>
                  </a:lnTo>
                  <a:lnTo>
                    <a:pt x="495" y="491"/>
                  </a:lnTo>
                  <a:lnTo>
                    <a:pt x="499" y="489"/>
                  </a:lnTo>
                  <a:lnTo>
                    <a:pt x="501" y="487"/>
                  </a:lnTo>
                  <a:lnTo>
                    <a:pt x="503" y="489"/>
                  </a:lnTo>
                  <a:lnTo>
                    <a:pt x="507" y="491"/>
                  </a:lnTo>
                  <a:lnTo>
                    <a:pt x="509" y="488"/>
                  </a:lnTo>
                  <a:lnTo>
                    <a:pt x="509" y="486"/>
                  </a:lnTo>
                  <a:lnTo>
                    <a:pt x="512" y="486"/>
                  </a:lnTo>
                  <a:lnTo>
                    <a:pt x="514" y="484"/>
                  </a:lnTo>
                  <a:lnTo>
                    <a:pt x="511" y="480"/>
                  </a:lnTo>
                  <a:lnTo>
                    <a:pt x="514" y="483"/>
                  </a:lnTo>
                  <a:lnTo>
                    <a:pt x="517" y="483"/>
                  </a:lnTo>
                  <a:lnTo>
                    <a:pt x="519" y="484"/>
                  </a:lnTo>
                  <a:lnTo>
                    <a:pt x="518" y="480"/>
                  </a:lnTo>
                  <a:lnTo>
                    <a:pt x="521" y="481"/>
                  </a:lnTo>
                  <a:lnTo>
                    <a:pt x="524" y="480"/>
                  </a:lnTo>
                  <a:lnTo>
                    <a:pt x="526" y="480"/>
                  </a:lnTo>
                  <a:lnTo>
                    <a:pt x="528" y="478"/>
                  </a:lnTo>
                  <a:lnTo>
                    <a:pt x="528" y="475"/>
                  </a:lnTo>
                  <a:lnTo>
                    <a:pt x="529" y="472"/>
                  </a:lnTo>
                  <a:lnTo>
                    <a:pt x="529" y="475"/>
                  </a:lnTo>
                  <a:lnTo>
                    <a:pt x="533" y="474"/>
                  </a:lnTo>
                  <a:lnTo>
                    <a:pt x="534" y="471"/>
                  </a:lnTo>
                  <a:lnTo>
                    <a:pt x="535" y="469"/>
                  </a:lnTo>
                  <a:lnTo>
                    <a:pt x="536" y="467"/>
                  </a:lnTo>
                  <a:lnTo>
                    <a:pt x="538" y="464"/>
                  </a:lnTo>
                  <a:lnTo>
                    <a:pt x="541" y="463"/>
                  </a:lnTo>
                  <a:lnTo>
                    <a:pt x="541" y="461"/>
                  </a:lnTo>
                  <a:lnTo>
                    <a:pt x="544" y="460"/>
                  </a:lnTo>
                  <a:lnTo>
                    <a:pt x="542" y="458"/>
                  </a:lnTo>
                  <a:lnTo>
                    <a:pt x="544" y="457"/>
                  </a:lnTo>
                  <a:lnTo>
                    <a:pt x="544" y="453"/>
                  </a:lnTo>
                  <a:lnTo>
                    <a:pt x="546" y="453"/>
                  </a:lnTo>
                  <a:lnTo>
                    <a:pt x="549" y="450"/>
                  </a:lnTo>
                  <a:lnTo>
                    <a:pt x="551" y="449"/>
                  </a:lnTo>
                  <a:lnTo>
                    <a:pt x="554" y="448"/>
                  </a:lnTo>
                  <a:lnTo>
                    <a:pt x="557" y="445"/>
                  </a:lnTo>
                  <a:lnTo>
                    <a:pt x="559" y="446"/>
                  </a:lnTo>
                  <a:lnTo>
                    <a:pt x="562" y="444"/>
                  </a:lnTo>
                  <a:lnTo>
                    <a:pt x="560" y="442"/>
                  </a:lnTo>
                  <a:lnTo>
                    <a:pt x="561" y="440"/>
                  </a:lnTo>
                  <a:lnTo>
                    <a:pt x="558" y="437"/>
                  </a:lnTo>
                  <a:lnTo>
                    <a:pt x="561" y="437"/>
                  </a:lnTo>
                  <a:lnTo>
                    <a:pt x="559" y="434"/>
                  </a:lnTo>
                  <a:lnTo>
                    <a:pt x="557" y="434"/>
                  </a:lnTo>
                  <a:lnTo>
                    <a:pt x="555" y="431"/>
                  </a:lnTo>
                  <a:lnTo>
                    <a:pt x="558" y="429"/>
                  </a:lnTo>
                  <a:lnTo>
                    <a:pt x="559" y="433"/>
                  </a:lnTo>
                  <a:lnTo>
                    <a:pt x="561" y="434"/>
                  </a:lnTo>
                  <a:lnTo>
                    <a:pt x="563" y="436"/>
                  </a:lnTo>
                  <a:lnTo>
                    <a:pt x="567" y="437"/>
                  </a:lnTo>
                  <a:lnTo>
                    <a:pt x="568" y="441"/>
                  </a:lnTo>
                  <a:lnTo>
                    <a:pt x="570" y="440"/>
                  </a:lnTo>
                  <a:lnTo>
                    <a:pt x="572" y="441"/>
                  </a:lnTo>
                  <a:lnTo>
                    <a:pt x="576" y="442"/>
                  </a:lnTo>
                  <a:lnTo>
                    <a:pt x="578" y="441"/>
                  </a:lnTo>
                  <a:lnTo>
                    <a:pt x="581" y="441"/>
                  </a:lnTo>
                  <a:lnTo>
                    <a:pt x="584" y="441"/>
                  </a:lnTo>
                  <a:lnTo>
                    <a:pt x="581" y="437"/>
                  </a:lnTo>
                  <a:lnTo>
                    <a:pt x="579" y="436"/>
                  </a:lnTo>
                  <a:lnTo>
                    <a:pt x="581" y="437"/>
                  </a:lnTo>
                  <a:lnTo>
                    <a:pt x="584" y="437"/>
                  </a:lnTo>
                  <a:lnTo>
                    <a:pt x="586" y="441"/>
                  </a:lnTo>
                  <a:lnTo>
                    <a:pt x="589" y="440"/>
                  </a:lnTo>
                  <a:lnTo>
                    <a:pt x="587" y="436"/>
                  </a:lnTo>
                  <a:lnTo>
                    <a:pt x="589" y="437"/>
                  </a:lnTo>
                  <a:lnTo>
                    <a:pt x="589" y="434"/>
                  </a:lnTo>
                  <a:lnTo>
                    <a:pt x="592" y="433"/>
                  </a:lnTo>
                  <a:lnTo>
                    <a:pt x="594" y="436"/>
                  </a:lnTo>
                  <a:lnTo>
                    <a:pt x="597" y="436"/>
                  </a:lnTo>
                  <a:lnTo>
                    <a:pt x="600" y="435"/>
                  </a:lnTo>
                  <a:lnTo>
                    <a:pt x="603" y="434"/>
                  </a:lnTo>
                  <a:lnTo>
                    <a:pt x="605" y="435"/>
                  </a:lnTo>
                  <a:lnTo>
                    <a:pt x="608" y="434"/>
                  </a:lnTo>
                  <a:lnTo>
                    <a:pt x="611" y="432"/>
                  </a:lnTo>
                  <a:lnTo>
                    <a:pt x="613" y="431"/>
                  </a:lnTo>
                  <a:lnTo>
                    <a:pt x="617" y="432"/>
                  </a:lnTo>
                  <a:lnTo>
                    <a:pt x="619" y="432"/>
                  </a:lnTo>
                  <a:lnTo>
                    <a:pt x="622" y="431"/>
                  </a:lnTo>
                  <a:lnTo>
                    <a:pt x="625" y="431"/>
                  </a:lnTo>
                  <a:lnTo>
                    <a:pt x="628" y="428"/>
                  </a:lnTo>
                  <a:lnTo>
                    <a:pt x="630" y="429"/>
                  </a:lnTo>
                  <a:lnTo>
                    <a:pt x="631" y="427"/>
                  </a:lnTo>
                  <a:lnTo>
                    <a:pt x="635" y="426"/>
                  </a:lnTo>
                  <a:lnTo>
                    <a:pt x="637" y="427"/>
                  </a:lnTo>
                  <a:lnTo>
                    <a:pt x="639" y="427"/>
                  </a:lnTo>
                  <a:lnTo>
                    <a:pt x="643" y="424"/>
                  </a:lnTo>
                  <a:lnTo>
                    <a:pt x="645" y="424"/>
                  </a:lnTo>
                  <a:lnTo>
                    <a:pt x="647" y="423"/>
                  </a:lnTo>
                  <a:lnTo>
                    <a:pt x="649" y="419"/>
                  </a:lnTo>
                  <a:lnTo>
                    <a:pt x="652" y="419"/>
                  </a:lnTo>
                  <a:lnTo>
                    <a:pt x="651" y="417"/>
                  </a:lnTo>
                  <a:lnTo>
                    <a:pt x="653" y="418"/>
                  </a:lnTo>
                  <a:lnTo>
                    <a:pt x="656" y="416"/>
                  </a:lnTo>
                  <a:lnTo>
                    <a:pt x="658" y="414"/>
                  </a:lnTo>
                  <a:lnTo>
                    <a:pt x="655" y="414"/>
                  </a:lnTo>
                  <a:lnTo>
                    <a:pt x="658" y="412"/>
                  </a:lnTo>
                  <a:lnTo>
                    <a:pt x="661" y="412"/>
                  </a:lnTo>
                  <a:lnTo>
                    <a:pt x="663" y="412"/>
                  </a:lnTo>
                  <a:lnTo>
                    <a:pt x="663" y="410"/>
                  </a:lnTo>
                  <a:lnTo>
                    <a:pt x="665" y="410"/>
                  </a:lnTo>
                  <a:lnTo>
                    <a:pt x="669" y="408"/>
                  </a:lnTo>
                  <a:lnTo>
                    <a:pt x="671" y="408"/>
                  </a:lnTo>
                  <a:lnTo>
                    <a:pt x="669" y="406"/>
                  </a:lnTo>
                  <a:lnTo>
                    <a:pt x="671" y="406"/>
                  </a:lnTo>
                  <a:lnTo>
                    <a:pt x="673" y="407"/>
                  </a:lnTo>
                  <a:lnTo>
                    <a:pt x="677" y="406"/>
                  </a:lnTo>
                  <a:lnTo>
                    <a:pt x="677" y="403"/>
                  </a:lnTo>
                  <a:lnTo>
                    <a:pt x="674" y="401"/>
                  </a:lnTo>
                  <a:lnTo>
                    <a:pt x="677" y="401"/>
                  </a:lnTo>
                  <a:lnTo>
                    <a:pt x="680" y="401"/>
                  </a:lnTo>
                  <a:lnTo>
                    <a:pt x="682" y="401"/>
                  </a:lnTo>
                  <a:lnTo>
                    <a:pt x="686" y="401"/>
                  </a:lnTo>
                  <a:lnTo>
                    <a:pt x="682" y="398"/>
                  </a:lnTo>
                  <a:lnTo>
                    <a:pt x="686" y="398"/>
                  </a:lnTo>
                  <a:lnTo>
                    <a:pt x="688" y="398"/>
                  </a:lnTo>
                  <a:lnTo>
                    <a:pt x="690" y="397"/>
                  </a:lnTo>
                  <a:lnTo>
                    <a:pt x="692" y="394"/>
                  </a:lnTo>
                  <a:lnTo>
                    <a:pt x="695" y="394"/>
                  </a:lnTo>
                  <a:lnTo>
                    <a:pt x="698" y="392"/>
                  </a:lnTo>
                  <a:lnTo>
                    <a:pt x="695" y="392"/>
                  </a:lnTo>
                  <a:lnTo>
                    <a:pt x="692" y="392"/>
                  </a:lnTo>
                  <a:lnTo>
                    <a:pt x="690" y="393"/>
                  </a:lnTo>
                  <a:lnTo>
                    <a:pt x="687" y="393"/>
                  </a:lnTo>
                  <a:lnTo>
                    <a:pt x="685" y="392"/>
                  </a:lnTo>
                  <a:lnTo>
                    <a:pt x="681" y="392"/>
                  </a:lnTo>
                  <a:lnTo>
                    <a:pt x="679" y="392"/>
                  </a:lnTo>
                  <a:lnTo>
                    <a:pt x="677" y="391"/>
                  </a:lnTo>
                  <a:lnTo>
                    <a:pt x="673" y="391"/>
                  </a:lnTo>
                  <a:lnTo>
                    <a:pt x="671" y="390"/>
                  </a:lnTo>
                  <a:lnTo>
                    <a:pt x="668" y="390"/>
                  </a:lnTo>
                  <a:lnTo>
                    <a:pt x="665" y="389"/>
                  </a:lnTo>
                  <a:lnTo>
                    <a:pt x="662" y="387"/>
                  </a:lnTo>
                  <a:lnTo>
                    <a:pt x="660" y="387"/>
                  </a:lnTo>
                  <a:lnTo>
                    <a:pt x="657" y="386"/>
                  </a:lnTo>
                  <a:lnTo>
                    <a:pt x="654" y="387"/>
                  </a:lnTo>
                  <a:lnTo>
                    <a:pt x="655" y="385"/>
                  </a:lnTo>
                  <a:lnTo>
                    <a:pt x="652" y="385"/>
                  </a:lnTo>
                  <a:lnTo>
                    <a:pt x="649" y="386"/>
                  </a:lnTo>
                  <a:lnTo>
                    <a:pt x="647" y="387"/>
                  </a:lnTo>
                  <a:lnTo>
                    <a:pt x="644" y="389"/>
                  </a:lnTo>
                  <a:lnTo>
                    <a:pt x="642" y="390"/>
                  </a:lnTo>
                  <a:lnTo>
                    <a:pt x="638" y="390"/>
                  </a:lnTo>
                  <a:lnTo>
                    <a:pt x="636" y="389"/>
                  </a:lnTo>
                  <a:lnTo>
                    <a:pt x="634" y="389"/>
                  </a:lnTo>
                  <a:lnTo>
                    <a:pt x="630" y="390"/>
                  </a:lnTo>
                  <a:lnTo>
                    <a:pt x="628" y="393"/>
                  </a:lnTo>
                  <a:lnTo>
                    <a:pt x="627" y="394"/>
                  </a:lnTo>
                  <a:lnTo>
                    <a:pt x="625" y="395"/>
                  </a:lnTo>
                  <a:lnTo>
                    <a:pt x="623" y="394"/>
                  </a:lnTo>
                  <a:lnTo>
                    <a:pt x="623" y="393"/>
                  </a:lnTo>
                  <a:lnTo>
                    <a:pt x="620" y="394"/>
                  </a:lnTo>
                  <a:lnTo>
                    <a:pt x="618" y="394"/>
                  </a:lnTo>
                  <a:lnTo>
                    <a:pt x="615" y="393"/>
                  </a:lnTo>
                  <a:lnTo>
                    <a:pt x="612" y="393"/>
                  </a:lnTo>
                  <a:lnTo>
                    <a:pt x="610" y="392"/>
                  </a:lnTo>
                  <a:lnTo>
                    <a:pt x="612" y="392"/>
                  </a:lnTo>
                  <a:lnTo>
                    <a:pt x="614" y="391"/>
                  </a:lnTo>
                  <a:lnTo>
                    <a:pt x="618" y="392"/>
                  </a:lnTo>
                  <a:lnTo>
                    <a:pt x="620" y="392"/>
                  </a:lnTo>
                  <a:lnTo>
                    <a:pt x="623" y="391"/>
                  </a:lnTo>
                  <a:lnTo>
                    <a:pt x="626" y="390"/>
                  </a:lnTo>
                  <a:lnTo>
                    <a:pt x="629" y="387"/>
                  </a:lnTo>
                  <a:lnTo>
                    <a:pt x="631" y="386"/>
                  </a:lnTo>
                  <a:lnTo>
                    <a:pt x="634" y="387"/>
                  </a:lnTo>
                  <a:lnTo>
                    <a:pt x="637" y="387"/>
                  </a:lnTo>
                  <a:lnTo>
                    <a:pt x="639" y="386"/>
                  </a:lnTo>
                  <a:lnTo>
                    <a:pt x="638" y="383"/>
                  </a:lnTo>
                  <a:lnTo>
                    <a:pt x="635" y="383"/>
                  </a:lnTo>
                  <a:lnTo>
                    <a:pt x="632" y="384"/>
                  </a:lnTo>
                  <a:lnTo>
                    <a:pt x="630" y="384"/>
                  </a:lnTo>
                  <a:lnTo>
                    <a:pt x="627" y="384"/>
                  </a:lnTo>
                  <a:lnTo>
                    <a:pt x="625" y="384"/>
                  </a:lnTo>
                  <a:lnTo>
                    <a:pt x="621" y="384"/>
                  </a:lnTo>
                  <a:lnTo>
                    <a:pt x="619" y="385"/>
                  </a:lnTo>
                  <a:lnTo>
                    <a:pt x="615" y="385"/>
                  </a:lnTo>
                  <a:lnTo>
                    <a:pt x="613" y="385"/>
                  </a:lnTo>
                  <a:lnTo>
                    <a:pt x="613" y="382"/>
                  </a:lnTo>
                  <a:lnTo>
                    <a:pt x="611" y="382"/>
                  </a:lnTo>
                  <a:lnTo>
                    <a:pt x="608" y="383"/>
                  </a:lnTo>
                  <a:lnTo>
                    <a:pt x="605" y="384"/>
                  </a:lnTo>
                  <a:lnTo>
                    <a:pt x="602" y="383"/>
                  </a:lnTo>
                  <a:lnTo>
                    <a:pt x="605" y="382"/>
                  </a:lnTo>
                  <a:lnTo>
                    <a:pt x="608" y="382"/>
                  </a:lnTo>
                  <a:lnTo>
                    <a:pt x="611" y="382"/>
                  </a:lnTo>
                  <a:lnTo>
                    <a:pt x="613" y="380"/>
                  </a:lnTo>
                  <a:lnTo>
                    <a:pt x="615" y="378"/>
                  </a:lnTo>
                  <a:lnTo>
                    <a:pt x="618" y="375"/>
                  </a:lnTo>
                  <a:lnTo>
                    <a:pt x="617" y="373"/>
                  </a:lnTo>
                  <a:lnTo>
                    <a:pt x="614" y="372"/>
                  </a:lnTo>
                  <a:lnTo>
                    <a:pt x="612" y="370"/>
                  </a:lnTo>
                  <a:lnTo>
                    <a:pt x="614" y="370"/>
                  </a:lnTo>
                  <a:lnTo>
                    <a:pt x="617" y="370"/>
                  </a:lnTo>
                  <a:lnTo>
                    <a:pt x="620" y="370"/>
                  </a:lnTo>
                  <a:lnTo>
                    <a:pt x="622" y="370"/>
                  </a:lnTo>
                  <a:lnTo>
                    <a:pt x="620" y="369"/>
                  </a:lnTo>
                  <a:lnTo>
                    <a:pt x="620" y="366"/>
                  </a:lnTo>
                  <a:lnTo>
                    <a:pt x="622" y="369"/>
                  </a:lnTo>
                  <a:lnTo>
                    <a:pt x="625" y="372"/>
                  </a:lnTo>
                  <a:lnTo>
                    <a:pt x="628" y="372"/>
                  </a:lnTo>
                  <a:lnTo>
                    <a:pt x="630" y="372"/>
                  </a:lnTo>
                  <a:lnTo>
                    <a:pt x="634" y="372"/>
                  </a:lnTo>
                  <a:lnTo>
                    <a:pt x="636" y="372"/>
                  </a:lnTo>
                  <a:lnTo>
                    <a:pt x="638" y="370"/>
                  </a:lnTo>
                  <a:lnTo>
                    <a:pt x="642" y="369"/>
                  </a:lnTo>
                  <a:lnTo>
                    <a:pt x="644" y="368"/>
                  </a:lnTo>
                  <a:lnTo>
                    <a:pt x="647" y="367"/>
                  </a:lnTo>
                  <a:lnTo>
                    <a:pt x="647" y="367"/>
                  </a:lnTo>
                  <a:lnTo>
                    <a:pt x="649" y="364"/>
                  </a:lnTo>
                  <a:lnTo>
                    <a:pt x="653" y="363"/>
                  </a:lnTo>
                  <a:lnTo>
                    <a:pt x="651" y="360"/>
                  </a:lnTo>
                  <a:lnTo>
                    <a:pt x="648" y="358"/>
                  </a:lnTo>
                  <a:lnTo>
                    <a:pt x="645" y="358"/>
                  </a:lnTo>
                  <a:lnTo>
                    <a:pt x="643" y="358"/>
                  </a:lnTo>
                  <a:lnTo>
                    <a:pt x="639" y="357"/>
                  </a:lnTo>
                  <a:lnTo>
                    <a:pt x="637" y="358"/>
                  </a:lnTo>
                  <a:lnTo>
                    <a:pt x="634" y="357"/>
                  </a:lnTo>
                  <a:lnTo>
                    <a:pt x="631" y="357"/>
                  </a:lnTo>
                  <a:lnTo>
                    <a:pt x="629" y="356"/>
                  </a:lnTo>
                  <a:lnTo>
                    <a:pt x="626" y="355"/>
                  </a:lnTo>
                  <a:lnTo>
                    <a:pt x="623" y="355"/>
                  </a:lnTo>
                  <a:lnTo>
                    <a:pt x="620" y="355"/>
                  </a:lnTo>
                  <a:lnTo>
                    <a:pt x="618" y="356"/>
                  </a:lnTo>
                  <a:lnTo>
                    <a:pt x="614" y="356"/>
                  </a:lnTo>
                  <a:lnTo>
                    <a:pt x="612" y="356"/>
                  </a:lnTo>
                  <a:lnTo>
                    <a:pt x="614" y="356"/>
                  </a:lnTo>
                  <a:lnTo>
                    <a:pt x="617" y="355"/>
                  </a:lnTo>
                  <a:lnTo>
                    <a:pt x="620" y="355"/>
                  </a:lnTo>
                  <a:lnTo>
                    <a:pt x="622" y="354"/>
                  </a:lnTo>
                  <a:lnTo>
                    <a:pt x="626" y="354"/>
                  </a:lnTo>
                  <a:lnTo>
                    <a:pt x="625" y="351"/>
                  </a:lnTo>
                  <a:lnTo>
                    <a:pt x="621" y="350"/>
                  </a:lnTo>
                  <a:lnTo>
                    <a:pt x="619" y="347"/>
                  </a:lnTo>
                  <a:lnTo>
                    <a:pt x="617" y="347"/>
                  </a:lnTo>
                  <a:lnTo>
                    <a:pt x="613" y="347"/>
                  </a:lnTo>
                  <a:lnTo>
                    <a:pt x="611" y="346"/>
                  </a:lnTo>
                  <a:lnTo>
                    <a:pt x="611" y="343"/>
                  </a:lnTo>
                  <a:lnTo>
                    <a:pt x="608" y="342"/>
                  </a:lnTo>
                  <a:lnTo>
                    <a:pt x="611" y="342"/>
                  </a:lnTo>
                  <a:lnTo>
                    <a:pt x="613" y="343"/>
                  </a:lnTo>
                  <a:lnTo>
                    <a:pt x="617" y="346"/>
                  </a:lnTo>
                  <a:lnTo>
                    <a:pt x="619" y="346"/>
                  </a:lnTo>
                  <a:lnTo>
                    <a:pt x="621" y="347"/>
                  </a:lnTo>
                  <a:lnTo>
                    <a:pt x="625" y="349"/>
                  </a:lnTo>
                  <a:lnTo>
                    <a:pt x="627" y="350"/>
                  </a:lnTo>
                  <a:lnTo>
                    <a:pt x="629" y="354"/>
                  </a:lnTo>
                  <a:lnTo>
                    <a:pt x="632" y="356"/>
                  </a:lnTo>
                  <a:lnTo>
                    <a:pt x="635" y="356"/>
                  </a:lnTo>
                  <a:lnTo>
                    <a:pt x="637" y="356"/>
                  </a:lnTo>
                  <a:lnTo>
                    <a:pt x="640" y="356"/>
                  </a:lnTo>
                  <a:lnTo>
                    <a:pt x="643" y="355"/>
                  </a:lnTo>
                  <a:lnTo>
                    <a:pt x="646" y="356"/>
                  </a:lnTo>
                  <a:lnTo>
                    <a:pt x="648" y="357"/>
                  </a:lnTo>
                  <a:lnTo>
                    <a:pt x="649" y="357"/>
                  </a:lnTo>
                  <a:lnTo>
                    <a:pt x="655" y="360"/>
                  </a:lnTo>
                  <a:lnTo>
                    <a:pt x="657" y="363"/>
                  </a:lnTo>
                  <a:lnTo>
                    <a:pt x="660" y="363"/>
                  </a:lnTo>
                  <a:lnTo>
                    <a:pt x="663" y="363"/>
                  </a:lnTo>
                  <a:lnTo>
                    <a:pt x="665" y="366"/>
                  </a:lnTo>
                  <a:lnTo>
                    <a:pt x="669" y="368"/>
                  </a:lnTo>
                  <a:lnTo>
                    <a:pt x="669" y="370"/>
                  </a:lnTo>
                  <a:lnTo>
                    <a:pt x="669" y="374"/>
                  </a:lnTo>
                  <a:lnTo>
                    <a:pt x="670" y="376"/>
                  </a:lnTo>
                  <a:lnTo>
                    <a:pt x="672" y="378"/>
                  </a:lnTo>
                  <a:lnTo>
                    <a:pt x="674" y="381"/>
                  </a:lnTo>
                  <a:lnTo>
                    <a:pt x="678" y="382"/>
                  </a:lnTo>
                  <a:lnTo>
                    <a:pt x="680" y="384"/>
                  </a:lnTo>
                  <a:lnTo>
                    <a:pt x="683" y="384"/>
                  </a:lnTo>
                  <a:lnTo>
                    <a:pt x="689" y="384"/>
                  </a:lnTo>
                  <a:lnTo>
                    <a:pt x="691" y="382"/>
                  </a:lnTo>
                  <a:lnTo>
                    <a:pt x="691" y="380"/>
                  </a:lnTo>
                  <a:lnTo>
                    <a:pt x="691" y="377"/>
                  </a:lnTo>
                  <a:lnTo>
                    <a:pt x="694" y="375"/>
                  </a:lnTo>
                  <a:lnTo>
                    <a:pt x="692" y="378"/>
                  </a:lnTo>
                  <a:lnTo>
                    <a:pt x="694" y="381"/>
                  </a:lnTo>
                  <a:lnTo>
                    <a:pt x="696" y="384"/>
                  </a:lnTo>
                  <a:lnTo>
                    <a:pt x="699" y="383"/>
                  </a:lnTo>
                  <a:lnTo>
                    <a:pt x="702" y="384"/>
                  </a:lnTo>
                  <a:lnTo>
                    <a:pt x="704" y="384"/>
                  </a:lnTo>
                  <a:lnTo>
                    <a:pt x="705" y="381"/>
                  </a:lnTo>
                  <a:lnTo>
                    <a:pt x="704" y="378"/>
                  </a:lnTo>
                  <a:lnTo>
                    <a:pt x="704" y="375"/>
                  </a:lnTo>
                  <a:lnTo>
                    <a:pt x="703" y="373"/>
                  </a:lnTo>
                  <a:lnTo>
                    <a:pt x="703" y="370"/>
                  </a:lnTo>
                  <a:lnTo>
                    <a:pt x="700" y="370"/>
                  </a:lnTo>
                  <a:lnTo>
                    <a:pt x="704" y="368"/>
                  </a:lnTo>
                  <a:lnTo>
                    <a:pt x="697" y="369"/>
                  </a:lnTo>
                  <a:lnTo>
                    <a:pt x="695" y="368"/>
                  </a:lnTo>
                  <a:lnTo>
                    <a:pt x="697" y="368"/>
                  </a:lnTo>
                  <a:lnTo>
                    <a:pt x="704" y="367"/>
                  </a:lnTo>
                  <a:lnTo>
                    <a:pt x="704" y="365"/>
                  </a:lnTo>
                  <a:lnTo>
                    <a:pt x="700" y="363"/>
                  </a:lnTo>
                  <a:lnTo>
                    <a:pt x="704" y="363"/>
                  </a:lnTo>
                  <a:lnTo>
                    <a:pt x="704" y="359"/>
                  </a:lnTo>
                  <a:lnTo>
                    <a:pt x="702" y="357"/>
                  </a:lnTo>
                  <a:lnTo>
                    <a:pt x="698" y="358"/>
                  </a:lnTo>
                  <a:lnTo>
                    <a:pt x="696" y="359"/>
                  </a:lnTo>
                  <a:lnTo>
                    <a:pt x="695" y="361"/>
                  </a:lnTo>
                  <a:lnTo>
                    <a:pt x="692" y="359"/>
                  </a:lnTo>
                  <a:lnTo>
                    <a:pt x="692" y="356"/>
                  </a:lnTo>
                  <a:lnTo>
                    <a:pt x="695" y="355"/>
                  </a:lnTo>
                  <a:lnTo>
                    <a:pt x="698" y="355"/>
                  </a:lnTo>
                  <a:lnTo>
                    <a:pt x="700" y="352"/>
                  </a:lnTo>
                  <a:lnTo>
                    <a:pt x="697" y="352"/>
                  </a:lnTo>
                  <a:lnTo>
                    <a:pt x="695" y="354"/>
                  </a:lnTo>
                  <a:lnTo>
                    <a:pt x="692" y="354"/>
                  </a:lnTo>
                  <a:lnTo>
                    <a:pt x="692" y="351"/>
                  </a:lnTo>
                  <a:lnTo>
                    <a:pt x="690" y="351"/>
                  </a:lnTo>
                  <a:lnTo>
                    <a:pt x="688" y="352"/>
                  </a:lnTo>
                  <a:lnTo>
                    <a:pt x="685" y="354"/>
                  </a:lnTo>
                  <a:lnTo>
                    <a:pt x="686" y="351"/>
                  </a:lnTo>
                  <a:lnTo>
                    <a:pt x="688" y="350"/>
                  </a:lnTo>
                  <a:lnTo>
                    <a:pt x="691" y="348"/>
                  </a:lnTo>
                  <a:lnTo>
                    <a:pt x="689" y="346"/>
                  </a:lnTo>
                  <a:lnTo>
                    <a:pt x="686" y="344"/>
                  </a:lnTo>
                  <a:lnTo>
                    <a:pt x="683" y="344"/>
                  </a:lnTo>
                  <a:lnTo>
                    <a:pt x="680" y="342"/>
                  </a:lnTo>
                  <a:lnTo>
                    <a:pt x="678" y="341"/>
                  </a:lnTo>
                  <a:lnTo>
                    <a:pt x="674" y="342"/>
                  </a:lnTo>
                  <a:lnTo>
                    <a:pt x="675" y="339"/>
                  </a:lnTo>
                  <a:lnTo>
                    <a:pt x="673" y="338"/>
                  </a:lnTo>
                  <a:lnTo>
                    <a:pt x="671" y="338"/>
                  </a:lnTo>
                  <a:lnTo>
                    <a:pt x="668" y="337"/>
                  </a:lnTo>
                  <a:lnTo>
                    <a:pt x="665" y="334"/>
                  </a:lnTo>
                  <a:lnTo>
                    <a:pt x="662" y="334"/>
                  </a:lnTo>
                  <a:lnTo>
                    <a:pt x="660" y="334"/>
                  </a:lnTo>
                  <a:lnTo>
                    <a:pt x="658" y="335"/>
                  </a:lnTo>
                  <a:lnTo>
                    <a:pt x="656" y="335"/>
                  </a:lnTo>
                  <a:lnTo>
                    <a:pt x="654" y="338"/>
                  </a:lnTo>
                  <a:lnTo>
                    <a:pt x="652" y="340"/>
                  </a:lnTo>
                  <a:lnTo>
                    <a:pt x="653" y="337"/>
                  </a:lnTo>
                  <a:lnTo>
                    <a:pt x="653" y="334"/>
                  </a:lnTo>
                  <a:lnTo>
                    <a:pt x="651" y="334"/>
                  </a:lnTo>
                  <a:lnTo>
                    <a:pt x="647" y="333"/>
                  </a:lnTo>
                  <a:lnTo>
                    <a:pt x="649" y="333"/>
                  </a:lnTo>
                  <a:lnTo>
                    <a:pt x="653" y="333"/>
                  </a:lnTo>
                  <a:lnTo>
                    <a:pt x="655" y="333"/>
                  </a:lnTo>
                  <a:lnTo>
                    <a:pt x="658" y="333"/>
                  </a:lnTo>
                  <a:lnTo>
                    <a:pt x="661" y="332"/>
                  </a:lnTo>
                  <a:lnTo>
                    <a:pt x="662" y="330"/>
                  </a:lnTo>
                  <a:lnTo>
                    <a:pt x="662" y="326"/>
                  </a:lnTo>
                  <a:lnTo>
                    <a:pt x="658" y="326"/>
                  </a:lnTo>
                  <a:lnTo>
                    <a:pt x="656" y="325"/>
                  </a:lnTo>
                  <a:lnTo>
                    <a:pt x="653" y="324"/>
                  </a:lnTo>
                  <a:lnTo>
                    <a:pt x="651" y="323"/>
                  </a:lnTo>
                  <a:lnTo>
                    <a:pt x="647" y="325"/>
                  </a:lnTo>
                  <a:lnTo>
                    <a:pt x="645" y="326"/>
                  </a:lnTo>
                  <a:lnTo>
                    <a:pt x="643" y="326"/>
                  </a:lnTo>
                  <a:lnTo>
                    <a:pt x="639" y="329"/>
                  </a:lnTo>
                  <a:lnTo>
                    <a:pt x="639" y="325"/>
                  </a:lnTo>
                  <a:lnTo>
                    <a:pt x="637" y="326"/>
                  </a:lnTo>
                  <a:lnTo>
                    <a:pt x="634" y="326"/>
                  </a:lnTo>
                  <a:lnTo>
                    <a:pt x="637" y="324"/>
                  </a:lnTo>
                  <a:lnTo>
                    <a:pt x="635" y="323"/>
                  </a:lnTo>
                  <a:lnTo>
                    <a:pt x="631" y="323"/>
                  </a:lnTo>
                  <a:lnTo>
                    <a:pt x="629" y="324"/>
                  </a:lnTo>
                  <a:lnTo>
                    <a:pt x="626" y="323"/>
                  </a:lnTo>
                  <a:lnTo>
                    <a:pt x="629" y="323"/>
                  </a:lnTo>
                  <a:lnTo>
                    <a:pt x="631" y="323"/>
                  </a:lnTo>
                  <a:lnTo>
                    <a:pt x="634" y="322"/>
                  </a:lnTo>
                  <a:lnTo>
                    <a:pt x="637" y="323"/>
                  </a:lnTo>
                  <a:lnTo>
                    <a:pt x="639" y="324"/>
                  </a:lnTo>
                  <a:lnTo>
                    <a:pt x="643" y="324"/>
                  </a:lnTo>
                  <a:lnTo>
                    <a:pt x="645" y="324"/>
                  </a:lnTo>
                  <a:lnTo>
                    <a:pt x="647" y="322"/>
                  </a:lnTo>
                  <a:lnTo>
                    <a:pt x="651" y="322"/>
                  </a:lnTo>
                  <a:lnTo>
                    <a:pt x="653" y="322"/>
                  </a:lnTo>
                  <a:lnTo>
                    <a:pt x="656" y="321"/>
                  </a:lnTo>
                  <a:lnTo>
                    <a:pt x="658" y="318"/>
                  </a:lnTo>
                  <a:lnTo>
                    <a:pt x="656" y="316"/>
                  </a:lnTo>
                  <a:lnTo>
                    <a:pt x="653" y="316"/>
                  </a:lnTo>
                  <a:lnTo>
                    <a:pt x="651" y="316"/>
                  </a:lnTo>
                  <a:lnTo>
                    <a:pt x="647" y="314"/>
                  </a:lnTo>
                  <a:lnTo>
                    <a:pt x="645" y="314"/>
                  </a:lnTo>
                  <a:lnTo>
                    <a:pt x="642" y="314"/>
                  </a:lnTo>
                  <a:lnTo>
                    <a:pt x="638" y="314"/>
                  </a:lnTo>
                  <a:lnTo>
                    <a:pt x="636" y="316"/>
                  </a:lnTo>
                  <a:lnTo>
                    <a:pt x="634" y="316"/>
                  </a:lnTo>
                  <a:lnTo>
                    <a:pt x="630" y="315"/>
                  </a:lnTo>
                  <a:lnTo>
                    <a:pt x="628" y="315"/>
                  </a:lnTo>
                  <a:lnTo>
                    <a:pt x="626" y="318"/>
                  </a:lnTo>
                  <a:lnTo>
                    <a:pt x="626" y="315"/>
                  </a:lnTo>
                  <a:lnTo>
                    <a:pt x="622" y="315"/>
                  </a:lnTo>
                  <a:lnTo>
                    <a:pt x="626" y="315"/>
                  </a:lnTo>
                  <a:lnTo>
                    <a:pt x="628" y="314"/>
                  </a:lnTo>
                  <a:lnTo>
                    <a:pt x="630" y="314"/>
                  </a:lnTo>
                  <a:lnTo>
                    <a:pt x="634" y="315"/>
                  </a:lnTo>
                  <a:lnTo>
                    <a:pt x="636" y="314"/>
                  </a:lnTo>
                  <a:lnTo>
                    <a:pt x="637" y="312"/>
                  </a:lnTo>
                  <a:lnTo>
                    <a:pt x="634" y="310"/>
                  </a:lnTo>
                  <a:lnTo>
                    <a:pt x="631" y="309"/>
                  </a:lnTo>
                  <a:lnTo>
                    <a:pt x="628" y="309"/>
                  </a:lnTo>
                  <a:lnTo>
                    <a:pt x="626" y="306"/>
                  </a:lnTo>
                  <a:lnTo>
                    <a:pt x="628" y="307"/>
                  </a:lnTo>
                  <a:lnTo>
                    <a:pt x="631" y="309"/>
                  </a:lnTo>
                  <a:lnTo>
                    <a:pt x="634" y="310"/>
                  </a:lnTo>
                  <a:lnTo>
                    <a:pt x="637" y="310"/>
                  </a:lnTo>
                  <a:lnTo>
                    <a:pt x="639" y="310"/>
                  </a:lnTo>
                  <a:lnTo>
                    <a:pt x="643" y="313"/>
                  </a:lnTo>
                  <a:lnTo>
                    <a:pt x="647" y="313"/>
                  </a:lnTo>
                  <a:lnTo>
                    <a:pt x="651" y="310"/>
                  </a:lnTo>
                  <a:lnTo>
                    <a:pt x="652" y="308"/>
                  </a:lnTo>
                  <a:lnTo>
                    <a:pt x="655" y="306"/>
                  </a:lnTo>
                  <a:lnTo>
                    <a:pt x="657" y="306"/>
                  </a:lnTo>
                  <a:lnTo>
                    <a:pt x="661" y="306"/>
                  </a:lnTo>
                  <a:lnTo>
                    <a:pt x="658" y="304"/>
                  </a:lnTo>
                  <a:lnTo>
                    <a:pt x="657" y="300"/>
                  </a:lnTo>
                  <a:lnTo>
                    <a:pt x="654" y="299"/>
                  </a:lnTo>
                  <a:lnTo>
                    <a:pt x="652" y="298"/>
                  </a:lnTo>
                  <a:lnTo>
                    <a:pt x="649" y="295"/>
                  </a:lnTo>
                  <a:lnTo>
                    <a:pt x="652" y="296"/>
                  </a:lnTo>
                  <a:lnTo>
                    <a:pt x="655" y="298"/>
                  </a:lnTo>
                  <a:lnTo>
                    <a:pt x="657" y="299"/>
                  </a:lnTo>
                  <a:lnTo>
                    <a:pt x="658" y="303"/>
                  </a:lnTo>
                  <a:lnTo>
                    <a:pt x="661" y="304"/>
                  </a:lnTo>
                  <a:lnTo>
                    <a:pt x="664" y="304"/>
                  </a:lnTo>
                  <a:lnTo>
                    <a:pt x="666" y="305"/>
                  </a:lnTo>
                  <a:lnTo>
                    <a:pt x="665" y="301"/>
                  </a:lnTo>
                  <a:lnTo>
                    <a:pt x="668" y="299"/>
                  </a:lnTo>
                  <a:lnTo>
                    <a:pt x="670" y="298"/>
                  </a:lnTo>
                  <a:lnTo>
                    <a:pt x="673" y="298"/>
                  </a:lnTo>
                  <a:lnTo>
                    <a:pt x="675" y="299"/>
                  </a:lnTo>
                  <a:lnTo>
                    <a:pt x="678" y="299"/>
                  </a:lnTo>
                  <a:lnTo>
                    <a:pt x="681" y="300"/>
                  </a:lnTo>
                  <a:lnTo>
                    <a:pt x="683" y="301"/>
                  </a:lnTo>
                  <a:lnTo>
                    <a:pt x="687" y="303"/>
                  </a:lnTo>
                  <a:lnTo>
                    <a:pt x="689" y="304"/>
                  </a:lnTo>
                  <a:lnTo>
                    <a:pt x="691" y="304"/>
                  </a:lnTo>
                  <a:lnTo>
                    <a:pt x="695" y="303"/>
                  </a:lnTo>
                  <a:lnTo>
                    <a:pt x="691" y="304"/>
                  </a:lnTo>
                  <a:lnTo>
                    <a:pt x="689" y="305"/>
                  </a:lnTo>
                  <a:lnTo>
                    <a:pt x="683" y="303"/>
                  </a:lnTo>
                  <a:lnTo>
                    <a:pt x="680" y="301"/>
                  </a:lnTo>
                  <a:lnTo>
                    <a:pt x="678" y="300"/>
                  </a:lnTo>
                  <a:lnTo>
                    <a:pt x="674" y="300"/>
                  </a:lnTo>
                  <a:lnTo>
                    <a:pt x="672" y="300"/>
                  </a:lnTo>
                  <a:lnTo>
                    <a:pt x="672" y="303"/>
                  </a:lnTo>
                  <a:lnTo>
                    <a:pt x="674" y="305"/>
                  </a:lnTo>
                  <a:lnTo>
                    <a:pt x="678" y="306"/>
                  </a:lnTo>
                  <a:lnTo>
                    <a:pt x="680" y="308"/>
                  </a:lnTo>
                  <a:lnTo>
                    <a:pt x="682" y="308"/>
                  </a:lnTo>
                  <a:lnTo>
                    <a:pt x="686" y="309"/>
                  </a:lnTo>
                  <a:lnTo>
                    <a:pt x="688" y="310"/>
                  </a:lnTo>
                  <a:lnTo>
                    <a:pt x="691" y="312"/>
                  </a:lnTo>
                  <a:lnTo>
                    <a:pt x="694" y="312"/>
                  </a:lnTo>
                  <a:lnTo>
                    <a:pt x="697" y="313"/>
                  </a:lnTo>
                  <a:lnTo>
                    <a:pt x="699" y="310"/>
                  </a:lnTo>
                  <a:lnTo>
                    <a:pt x="703" y="309"/>
                  </a:lnTo>
                  <a:lnTo>
                    <a:pt x="705" y="308"/>
                  </a:lnTo>
                  <a:lnTo>
                    <a:pt x="708" y="306"/>
                  </a:lnTo>
                  <a:lnTo>
                    <a:pt x="711" y="307"/>
                  </a:lnTo>
                  <a:lnTo>
                    <a:pt x="713" y="307"/>
                  </a:lnTo>
                  <a:lnTo>
                    <a:pt x="716" y="307"/>
                  </a:lnTo>
                  <a:lnTo>
                    <a:pt x="719" y="307"/>
                  </a:lnTo>
                  <a:lnTo>
                    <a:pt x="722" y="305"/>
                  </a:lnTo>
                  <a:lnTo>
                    <a:pt x="721" y="303"/>
                  </a:lnTo>
                  <a:lnTo>
                    <a:pt x="721" y="299"/>
                  </a:lnTo>
                  <a:lnTo>
                    <a:pt x="723" y="297"/>
                  </a:lnTo>
                  <a:lnTo>
                    <a:pt x="721" y="296"/>
                  </a:lnTo>
                  <a:lnTo>
                    <a:pt x="717" y="296"/>
                  </a:lnTo>
                  <a:lnTo>
                    <a:pt x="715" y="295"/>
                  </a:lnTo>
                  <a:lnTo>
                    <a:pt x="712" y="293"/>
                  </a:lnTo>
                  <a:lnTo>
                    <a:pt x="709" y="292"/>
                  </a:lnTo>
                  <a:lnTo>
                    <a:pt x="706" y="291"/>
                  </a:lnTo>
                  <a:lnTo>
                    <a:pt x="704" y="291"/>
                  </a:lnTo>
                  <a:lnTo>
                    <a:pt x="700" y="291"/>
                  </a:lnTo>
                  <a:lnTo>
                    <a:pt x="700" y="295"/>
                  </a:lnTo>
                  <a:lnTo>
                    <a:pt x="703" y="297"/>
                  </a:lnTo>
                  <a:lnTo>
                    <a:pt x="704" y="300"/>
                  </a:lnTo>
                  <a:lnTo>
                    <a:pt x="702" y="297"/>
                  </a:lnTo>
                  <a:lnTo>
                    <a:pt x="700" y="295"/>
                  </a:lnTo>
                  <a:lnTo>
                    <a:pt x="698" y="292"/>
                  </a:lnTo>
                  <a:lnTo>
                    <a:pt x="696" y="291"/>
                  </a:lnTo>
                  <a:lnTo>
                    <a:pt x="692" y="290"/>
                  </a:lnTo>
                  <a:lnTo>
                    <a:pt x="696" y="290"/>
                  </a:lnTo>
                  <a:lnTo>
                    <a:pt x="697" y="287"/>
                  </a:lnTo>
                  <a:lnTo>
                    <a:pt x="698" y="284"/>
                  </a:lnTo>
                  <a:lnTo>
                    <a:pt x="696" y="284"/>
                  </a:lnTo>
                  <a:lnTo>
                    <a:pt x="692" y="284"/>
                  </a:lnTo>
                  <a:lnTo>
                    <a:pt x="696" y="284"/>
                  </a:lnTo>
                  <a:lnTo>
                    <a:pt x="698" y="283"/>
                  </a:lnTo>
                  <a:lnTo>
                    <a:pt x="702" y="283"/>
                  </a:lnTo>
                  <a:lnTo>
                    <a:pt x="702" y="280"/>
                  </a:lnTo>
                  <a:lnTo>
                    <a:pt x="699" y="278"/>
                  </a:lnTo>
                  <a:lnTo>
                    <a:pt x="702" y="279"/>
                  </a:lnTo>
                  <a:lnTo>
                    <a:pt x="704" y="280"/>
                  </a:lnTo>
                  <a:lnTo>
                    <a:pt x="707" y="280"/>
                  </a:lnTo>
                  <a:lnTo>
                    <a:pt x="709" y="280"/>
                  </a:lnTo>
                  <a:lnTo>
                    <a:pt x="713" y="280"/>
                  </a:lnTo>
                  <a:lnTo>
                    <a:pt x="716" y="280"/>
                  </a:lnTo>
                  <a:lnTo>
                    <a:pt x="719" y="280"/>
                  </a:lnTo>
                  <a:lnTo>
                    <a:pt x="721" y="280"/>
                  </a:lnTo>
                  <a:lnTo>
                    <a:pt x="723" y="283"/>
                  </a:lnTo>
                  <a:lnTo>
                    <a:pt x="726" y="286"/>
                  </a:lnTo>
                  <a:lnTo>
                    <a:pt x="726" y="286"/>
                  </a:lnTo>
                  <a:lnTo>
                    <a:pt x="729" y="286"/>
                  </a:lnTo>
                  <a:lnTo>
                    <a:pt x="731" y="286"/>
                  </a:lnTo>
                  <a:lnTo>
                    <a:pt x="734" y="286"/>
                  </a:lnTo>
                  <a:lnTo>
                    <a:pt x="737" y="284"/>
                  </a:lnTo>
                  <a:lnTo>
                    <a:pt x="739" y="282"/>
                  </a:lnTo>
                  <a:lnTo>
                    <a:pt x="740" y="279"/>
                  </a:lnTo>
                  <a:lnTo>
                    <a:pt x="737" y="277"/>
                  </a:lnTo>
                  <a:lnTo>
                    <a:pt x="734" y="274"/>
                  </a:lnTo>
                  <a:lnTo>
                    <a:pt x="732" y="275"/>
                  </a:lnTo>
                  <a:lnTo>
                    <a:pt x="730" y="277"/>
                  </a:lnTo>
                  <a:lnTo>
                    <a:pt x="726" y="275"/>
                  </a:lnTo>
                  <a:lnTo>
                    <a:pt x="724" y="274"/>
                  </a:lnTo>
                  <a:lnTo>
                    <a:pt x="721" y="274"/>
                  </a:lnTo>
                  <a:lnTo>
                    <a:pt x="719" y="274"/>
                  </a:lnTo>
                  <a:lnTo>
                    <a:pt x="715" y="275"/>
                  </a:lnTo>
                  <a:lnTo>
                    <a:pt x="713" y="275"/>
                  </a:lnTo>
                  <a:lnTo>
                    <a:pt x="715" y="274"/>
                  </a:lnTo>
                  <a:lnTo>
                    <a:pt x="719" y="273"/>
                  </a:lnTo>
                  <a:lnTo>
                    <a:pt x="716" y="270"/>
                  </a:lnTo>
                  <a:lnTo>
                    <a:pt x="717" y="267"/>
                  </a:lnTo>
                  <a:lnTo>
                    <a:pt x="717" y="264"/>
                  </a:lnTo>
                  <a:lnTo>
                    <a:pt x="712" y="263"/>
                  </a:lnTo>
                  <a:lnTo>
                    <a:pt x="709" y="264"/>
                  </a:lnTo>
                  <a:lnTo>
                    <a:pt x="706" y="266"/>
                  </a:lnTo>
                  <a:lnTo>
                    <a:pt x="704" y="266"/>
                  </a:lnTo>
                  <a:lnTo>
                    <a:pt x="700" y="266"/>
                  </a:lnTo>
                  <a:lnTo>
                    <a:pt x="699" y="263"/>
                  </a:lnTo>
                  <a:lnTo>
                    <a:pt x="696" y="262"/>
                  </a:lnTo>
                  <a:lnTo>
                    <a:pt x="698" y="262"/>
                  </a:lnTo>
                  <a:lnTo>
                    <a:pt x="702" y="264"/>
                  </a:lnTo>
                  <a:lnTo>
                    <a:pt x="704" y="265"/>
                  </a:lnTo>
                  <a:lnTo>
                    <a:pt x="707" y="264"/>
                  </a:lnTo>
                  <a:lnTo>
                    <a:pt x="709" y="263"/>
                  </a:lnTo>
                  <a:lnTo>
                    <a:pt x="713" y="262"/>
                  </a:lnTo>
                  <a:lnTo>
                    <a:pt x="715" y="262"/>
                  </a:lnTo>
                  <a:lnTo>
                    <a:pt x="717" y="262"/>
                  </a:lnTo>
                  <a:lnTo>
                    <a:pt x="717" y="260"/>
                  </a:lnTo>
                  <a:lnTo>
                    <a:pt x="715" y="258"/>
                  </a:lnTo>
                  <a:lnTo>
                    <a:pt x="713" y="256"/>
                  </a:lnTo>
                  <a:lnTo>
                    <a:pt x="709" y="255"/>
                  </a:lnTo>
                  <a:lnTo>
                    <a:pt x="707" y="253"/>
                  </a:lnTo>
                  <a:lnTo>
                    <a:pt x="704" y="253"/>
                  </a:lnTo>
                  <a:lnTo>
                    <a:pt x="702" y="253"/>
                  </a:lnTo>
                  <a:lnTo>
                    <a:pt x="698" y="253"/>
                  </a:lnTo>
                  <a:lnTo>
                    <a:pt x="696" y="252"/>
                  </a:lnTo>
                  <a:lnTo>
                    <a:pt x="692" y="252"/>
                  </a:lnTo>
                  <a:lnTo>
                    <a:pt x="696" y="252"/>
                  </a:lnTo>
                  <a:lnTo>
                    <a:pt x="698" y="253"/>
                  </a:lnTo>
                  <a:lnTo>
                    <a:pt x="702" y="253"/>
                  </a:lnTo>
                  <a:lnTo>
                    <a:pt x="704" y="253"/>
                  </a:lnTo>
                  <a:lnTo>
                    <a:pt x="707" y="253"/>
                  </a:lnTo>
                  <a:lnTo>
                    <a:pt x="704" y="250"/>
                  </a:lnTo>
                  <a:lnTo>
                    <a:pt x="702" y="249"/>
                  </a:lnTo>
                  <a:lnTo>
                    <a:pt x="698" y="248"/>
                  </a:lnTo>
                  <a:lnTo>
                    <a:pt x="696" y="248"/>
                  </a:lnTo>
                  <a:lnTo>
                    <a:pt x="699" y="247"/>
                  </a:lnTo>
                  <a:lnTo>
                    <a:pt x="702" y="248"/>
                  </a:lnTo>
                  <a:lnTo>
                    <a:pt x="704" y="249"/>
                  </a:lnTo>
                  <a:lnTo>
                    <a:pt x="707" y="250"/>
                  </a:lnTo>
                  <a:lnTo>
                    <a:pt x="709" y="253"/>
                  </a:lnTo>
                  <a:lnTo>
                    <a:pt x="713" y="255"/>
                  </a:lnTo>
                  <a:lnTo>
                    <a:pt x="715" y="256"/>
                  </a:lnTo>
                  <a:lnTo>
                    <a:pt x="719" y="257"/>
                  </a:lnTo>
                  <a:lnTo>
                    <a:pt x="721" y="257"/>
                  </a:lnTo>
                  <a:lnTo>
                    <a:pt x="724" y="256"/>
                  </a:lnTo>
                  <a:lnTo>
                    <a:pt x="726" y="257"/>
                  </a:lnTo>
                  <a:lnTo>
                    <a:pt x="726" y="261"/>
                  </a:lnTo>
                  <a:lnTo>
                    <a:pt x="730" y="262"/>
                  </a:lnTo>
                  <a:lnTo>
                    <a:pt x="732" y="262"/>
                  </a:lnTo>
                  <a:lnTo>
                    <a:pt x="734" y="258"/>
                  </a:lnTo>
                  <a:lnTo>
                    <a:pt x="736" y="256"/>
                  </a:lnTo>
                  <a:lnTo>
                    <a:pt x="736" y="254"/>
                  </a:lnTo>
                  <a:lnTo>
                    <a:pt x="736" y="250"/>
                  </a:lnTo>
                  <a:lnTo>
                    <a:pt x="733" y="248"/>
                  </a:lnTo>
                  <a:lnTo>
                    <a:pt x="732" y="245"/>
                  </a:lnTo>
                  <a:lnTo>
                    <a:pt x="736" y="245"/>
                  </a:lnTo>
                  <a:lnTo>
                    <a:pt x="732" y="244"/>
                  </a:lnTo>
                  <a:lnTo>
                    <a:pt x="730" y="240"/>
                  </a:lnTo>
                  <a:lnTo>
                    <a:pt x="728" y="239"/>
                  </a:lnTo>
                  <a:lnTo>
                    <a:pt x="726" y="239"/>
                  </a:lnTo>
                  <a:lnTo>
                    <a:pt x="724" y="240"/>
                  </a:lnTo>
                  <a:lnTo>
                    <a:pt x="721" y="239"/>
                  </a:lnTo>
                  <a:lnTo>
                    <a:pt x="719" y="239"/>
                  </a:lnTo>
                  <a:lnTo>
                    <a:pt x="715" y="239"/>
                  </a:lnTo>
                  <a:lnTo>
                    <a:pt x="713" y="238"/>
                  </a:lnTo>
                  <a:lnTo>
                    <a:pt x="709" y="239"/>
                  </a:lnTo>
                  <a:lnTo>
                    <a:pt x="707" y="239"/>
                  </a:lnTo>
                  <a:lnTo>
                    <a:pt x="702" y="239"/>
                  </a:lnTo>
                  <a:lnTo>
                    <a:pt x="704" y="238"/>
                  </a:lnTo>
                  <a:lnTo>
                    <a:pt x="707" y="238"/>
                  </a:lnTo>
                  <a:lnTo>
                    <a:pt x="709" y="238"/>
                  </a:lnTo>
                  <a:lnTo>
                    <a:pt x="713" y="238"/>
                  </a:lnTo>
                  <a:lnTo>
                    <a:pt x="715" y="238"/>
                  </a:lnTo>
                  <a:lnTo>
                    <a:pt x="717" y="238"/>
                  </a:lnTo>
                  <a:lnTo>
                    <a:pt x="721" y="238"/>
                  </a:lnTo>
                  <a:lnTo>
                    <a:pt x="723" y="238"/>
                  </a:lnTo>
                  <a:lnTo>
                    <a:pt x="726" y="236"/>
                  </a:lnTo>
                  <a:lnTo>
                    <a:pt x="726" y="236"/>
                  </a:lnTo>
                  <a:lnTo>
                    <a:pt x="730" y="236"/>
                  </a:lnTo>
                  <a:lnTo>
                    <a:pt x="731" y="233"/>
                  </a:lnTo>
                  <a:lnTo>
                    <a:pt x="729" y="231"/>
                  </a:lnTo>
                  <a:lnTo>
                    <a:pt x="726" y="230"/>
                  </a:lnTo>
                  <a:lnTo>
                    <a:pt x="724" y="231"/>
                  </a:lnTo>
                  <a:lnTo>
                    <a:pt x="721" y="231"/>
                  </a:lnTo>
                  <a:lnTo>
                    <a:pt x="715" y="229"/>
                  </a:lnTo>
                  <a:lnTo>
                    <a:pt x="713" y="229"/>
                  </a:lnTo>
                  <a:lnTo>
                    <a:pt x="715" y="231"/>
                  </a:lnTo>
                  <a:lnTo>
                    <a:pt x="719" y="232"/>
                  </a:lnTo>
                  <a:lnTo>
                    <a:pt x="721" y="233"/>
                  </a:lnTo>
                  <a:lnTo>
                    <a:pt x="719" y="235"/>
                  </a:lnTo>
                  <a:lnTo>
                    <a:pt x="715" y="231"/>
                  </a:lnTo>
                  <a:lnTo>
                    <a:pt x="713" y="230"/>
                  </a:lnTo>
                  <a:lnTo>
                    <a:pt x="709" y="230"/>
                  </a:lnTo>
                  <a:lnTo>
                    <a:pt x="707" y="230"/>
                  </a:lnTo>
                  <a:lnTo>
                    <a:pt x="704" y="231"/>
                  </a:lnTo>
                  <a:lnTo>
                    <a:pt x="704" y="228"/>
                  </a:lnTo>
                  <a:lnTo>
                    <a:pt x="705" y="226"/>
                  </a:lnTo>
                  <a:lnTo>
                    <a:pt x="703" y="226"/>
                  </a:lnTo>
                  <a:lnTo>
                    <a:pt x="699" y="226"/>
                  </a:lnTo>
                  <a:lnTo>
                    <a:pt x="697" y="226"/>
                  </a:lnTo>
                  <a:lnTo>
                    <a:pt x="695" y="226"/>
                  </a:lnTo>
                  <a:lnTo>
                    <a:pt x="697" y="226"/>
                  </a:lnTo>
                  <a:lnTo>
                    <a:pt x="699" y="226"/>
                  </a:lnTo>
                  <a:lnTo>
                    <a:pt x="703" y="226"/>
                  </a:lnTo>
                  <a:lnTo>
                    <a:pt x="699" y="224"/>
                  </a:lnTo>
                  <a:lnTo>
                    <a:pt x="703" y="223"/>
                  </a:lnTo>
                  <a:lnTo>
                    <a:pt x="699" y="223"/>
                  </a:lnTo>
                  <a:lnTo>
                    <a:pt x="700" y="220"/>
                  </a:lnTo>
                  <a:lnTo>
                    <a:pt x="697" y="220"/>
                  </a:lnTo>
                  <a:lnTo>
                    <a:pt x="695" y="222"/>
                  </a:lnTo>
                  <a:lnTo>
                    <a:pt x="694" y="220"/>
                  </a:lnTo>
                  <a:lnTo>
                    <a:pt x="690" y="219"/>
                  </a:lnTo>
                  <a:lnTo>
                    <a:pt x="694" y="216"/>
                  </a:lnTo>
                  <a:lnTo>
                    <a:pt x="695" y="214"/>
                  </a:lnTo>
                  <a:lnTo>
                    <a:pt x="697" y="213"/>
                  </a:lnTo>
                  <a:lnTo>
                    <a:pt x="699" y="215"/>
                  </a:lnTo>
                  <a:lnTo>
                    <a:pt x="703" y="219"/>
                  </a:lnTo>
                  <a:lnTo>
                    <a:pt x="705" y="219"/>
                  </a:lnTo>
                  <a:lnTo>
                    <a:pt x="707" y="218"/>
                  </a:lnTo>
                  <a:lnTo>
                    <a:pt x="711" y="215"/>
                  </a:lnTo>
                  <a:lnTo>
                    <a:pt x="713" y="214"/>
                  </a:lnTo>
                  <a:lnTo>
                    <a:pt x="716" y="214"/>
                  </a:lnTo>
                  <a:lnTo>
                    <a:pt x="713" y="213"/>
                  </a:lnTo>
                  <a:lnTo>
                    <a:pt x="711" y="213"/>
                  </a:lnTo>
                  <a:lnTo>
                    <a:pt x="708" y="213"/>
                  </a:lnTo>
                  <a:lnTo>
                    <a:pt x="705" y="213"/>
                  </a:lnTo>
                  <a:lnTo>
                    <a:pt x="708" y="212"/>
                  </a:lnTo>
                  <a:lnTo>
                    <a:pt x="711" y="212"/>
                  </a:lnTo>
                  <a:lnTo>
                    <a:pt x="714" y="212"/>
                  </a:lnTo>
                  <a:lnTo>
                    <a:pt x="716" y="213"/>
                  </a:lnTo>
                  <a:lnTo>
                    <a:pt x="714" y="211"/>
                  </a:lnTo>
                  <a:lnTo>
                    <a:pt x="716" y="210"/>
                  </a:lnTo>
                  <a:lnTo>
                    <a:pt x="720" y="210"/>
                  </a:lnTo>
                  <a:lnTo>
                    <a:pt x="722" y="210"/>
                  </a:lnTo>
                  <a:lnTo>
                    <a:pt x="725" y="211"/>
                  </a:lnTo>
                  <a:lnTo>
                    <a:pt x="726" y="210"/>
                  </a:lnTo>
                  <a:lnTo>
                    <a:pt x="729" y="211"/>
                  </a:lnTo>
                  <a:lnTo>
                    <a:pt x="732" y="212"/>
                  </a:lnTo>
                  <a:lnTo>
                    <a:pt x="734" y="213"/>
                  </a:lnTo>
                  <a:lnTo>
                    <a:pt x="738" y="213"/>
                  </a:lnTo>
                  <a:lnTo>
                    <a:pt x="740" y="213"/>
                  </a:lnTo>
                  <a:lnTo>
                    <a:pt x="743" y="214"/>
                  </a:lnTo>
                  <a:lnTo>
                    <a:pt x="746" y="214"/>
                  </a:lnTo>
                  <a:lnTo>
                    <a:pt x="748" y="214"/>
                  </a:lnTo>
                  <a:lnTo>
                    <a:pt x="751" y="213"/>
                  </a:lnTo>
                  <a:lnTo>
                    <a:pt x="753" y="210"/>
                  </a:lnTo>
                  <a:lnTo>
                    <a:pt x="753" y="207"/>
                  </a:lnTo>
                  <a:lnTo>
                    <a:pt x="751" y="205"/>
                  </a:lnTo>
                  <a:lnTo>
                    <a:pt x="751" y="202"/>
                  </a:lnTo>
                  <a:lnTo>
                    <a:pt x="749" y="200"/>
                  </a:lnTo>
                  <a:lnTo>
                    <a:pt x="746" y="200"/>
                  </a:lnTo>
                  <a:lnTo>
                    <a:pt x="743" y="198"/>
                  </a:lnTo>
                  <a:lnTo>
                    <a:pt x="740" y="200"/>
                  </a:lnTo>
                  <a:lnTo>
                    <a:pt x="738" y="202"/>
                  </a:lnTo>
                  <a:lnTo>
                    <a:pt x="734" y="201"/>
                  </a:lnTo>
                  <a:lnTo>
                    <a:pt x="732" y="198"/>
                  </a:lnTo>
                  <a:lnTo>
                    <a:pt x="730" y="197"/>
                  </a:lnTo>
                  <a:lnTo>
                    <a:pt x="726" y="197"/>
                  </a:lnTo>
                  <a:lnTo>
                    <a:pt x="724" y="198"/>
                  </a:lnTo>
                  <a:lnTo>
                    <a:pt x="721" y="197"/>
                  </a:lnTo>
                  <a:lnTo>
                    <a:pt x="719" y="197"/>
                  </a:lnTo>
                  <a:lnTo>
                    <a:pt x="721" y="197"/>
                  </a:lnTo>
                  <a:lnTo>
                    <a:pt x="724" y="197"/>
                  </a:lnTo>
                  <a:lnTo>
                    <a:pt x="726" y="196"/>
                  </a:lnTo>
                  <a:lnTo>
                    <a:pt x="724" y="196"/>
                  </a:lnTo>
                  <a:lnTo>
                    <a:pt x="721" y="195"/>
                  </a:lnTo>
                  <a:lnTo>
                    <a:pt x="719" y="195"/>
                  </a:lnTo>
                  <a:lnTo>
                    <a:pt x="715" y="194"/>
                  </a:lnTo>
                  <a:lnTo>
                    <a:pt x="713" y="194"/>
                  </a:lnTo>
                  <a:lnTo>
                    <a:pt x="715" y="194"/>
                  </a:lnTo>
                  <a:lnTo>
                    <a:pt x="719" y="194"/>
                  </a:lnTo>
                  <a:lnTo>
                    <a:pt x="721" y="195"/>
                  </a:lnTo>
                  <a:lnTo>
                    <a:pt x="719" y="193"/>
                  </a:lnTo>
                  <a:lnTo>
                    <a:pt x="721" y="193"/>
                  </a:lnTo>
                  <a:lnTo>
                    <a:pt x="719" y="190"/>
                  </a:lnTo>
                  <a:lnTo>
                    <a:pt x="715" y="189"/>
                  </a:lnTo>
                  <a:lnTo>
                    <a:pt x="719" y="188"/>
                  </a:lnTo>
                  <a:lnTo>
                    <a:pt x="721" y="189"/>
                  </a:lnTo>
                  <a:lnTo>
                    <a:pt x="724" y="188"/>
                  </a:lnTo>
                  <a:lnTo>
                    <a:pt x="726" y="188"/>
                  </a:lnTo>
                  <a:lnTo>
                    <a:pt x="730" y="189"/>
                  </a:lnTo>
                  <a:lnTo>
                    <a:pt x="732" y="192"/>
                  </a:lnTo>
                  <a:lnTo>
                    <a:pt x="736" y="193"/>
                  </a:lnTo>
                  <a:lnTo>
                    <a:pt x="739" y="192"/>
                  </a:lnTo>
                  <a:lnTo>
                    <a:pt x="741" y="192"/>
                  </a:lnTo>
                  <a:lnTo>
                    <a:pt x="739" y="188"/>
                  </a:lnTo>
                  <a:lnTo>
                    <a:pt x="736" y="187"/>
                  </a:lnTo>
                  <a:lnTo>
                    <a:pt x="733" y="186"/>
                  </a:lnTo>
                  <a:lnTo>
                    <a:pt x="730" y="186"/>
                  </a:lnTo>
                  <a:lnTo>
                    <a:pt x="728" y="185"/>
                  </a:lnTo>
                  <a:lnTo>
                    <a:pt x="726" y="185"/>
                  </a:lnTo>
                  <a:lnTo>
                    <a:pt x="724" y="184"/>
                  </a:lnTo>
                  <a:lnTo>
                    <a:pt x="721" y="184"/>
                  </a:lnTo>
                  <a:lnTo>
                    <a:pt x="719" y="183"/>
                  </a:lnTo>
                  <a:lnTo>
                    <a:pt x="715" y="179"/>
                  </a:lnTo>
                  <a:lnTo>
                    <a:pt x="713" y="180"/>
                  </a:lnTo>
                  <a:lnTo>
                    <a:pt x="709" y="184"/>
                  </a:lnTo>
                  <a:lnTo>
                    <a:pt x="708" y="186"/>
                  </a:lnTo>
                  <a:lnTo>
                    <a:pt x="707" y="189"/>
                  </a:lnTo>
                  <a:lnTo>
                    <a:pt x="706" y="192"/>
                  </a:lnTo>
                  <a:lnTo>
                    <a:pt x="704" y="194"/>
                  </a:lnTo>
                  <a:lnTo>
                    <a:pt x="706" y="190"/>
                  </a:lnTo>
                  <a:lnTo>
                    <a:pt x="703" y="189"/>
                  </a:lnTo>
                  <a:lnTo>
                    <a:pt x="700" y="189"/>
                  </a:lnTo>
                  <a:lnTo>
                    <a:pt x="700" y="187"/>
                  </a:lnTo>
                  <a:lnTo>
                    <a:pt x="703" y="184"/>
                  </a:lnTo>
                  <a:lnTo>
                    <a:pt x="705" y="181"/>
                  </a:lnTo>
                  <a:lnTo>
                    <a:pt x="703" y="183"/>
                  </a:lnTo>
                  <a:lnTo>
                    <a:pt x="704" y="179"/>
                  </a:lnTo>
                  <a:lnTo>
                    <a:pt x="706" y="178"/>
                  </a:lnTo>
                  <a:lnTo>
                    <a:pt x="704" y="176"/>
                  </a:lnTo>
                  <a:lnTo>
                    <a:pt x="706" y="176"/>
                  </a:lnTo>
                  <a:lnTo>
                    <a:pt x="709" y="173"/>
                  </a:lnTo>
                  <a:lnTo>
                    <a:pt x="708" y="171"/>
                  </a:lnTo>
                  <a:lnTo>
                    <a:pt x="709" y="168"/>
                  </a:lnTo>
                  <a:lnTo>
                    <a:pt x="711" y="166"/>
                  </a:lnTo>
                  <a:lnTo>
                    <a:pt x="713" y="162"/>
                  </a:lnTo>
                  <a:lnTo>
                    <a:pt x="711" y="161"/>
                  </a:lnTo>
                  <a:lnTo>
                    <a:pt x="707" y="161"/>
                  </a:lnTo>
                  <a:lnTo>
                    <a:pt x="711" y="160"/>
                  </a:lnTo>
                  <a:lnTo>
                    <a:pt x="713" y="160"/>
                  </a:lnTo>
                  <a:lnTo>
                    <a:pt x="712" y="158"/>
                  </a:lnTo>
                  <a:lnTo>
                    <a:pt x="714" y="155"/>
                  </a:lnTo>
                  <a:lnTo>
                    <a:pt x="717" y="154"/>
                  </a:lnTo>
                  <a:lnTo>
                    <a:pt x="720" y="153"/>
                  </a:lnTo>
                  <a:lnTo>
                    <a:pt x="723" y="154"/>
                  </a:lnTo>
                  <a:lnTo>
                    <a:pt x="725" y="154"/>
                  </a:lnTo>
                  <a:lnTo>
                    <a:pt x="726" y="153"/>
                  </a:lnTo>
                  <a:lnTo>
                    <a:pt x="728" y="151"/>
                  </a:lnTo>
                  <a:lnTo>
                    <a:pt x="726" y="149"/>
                  </a:lnTo>
                  <a:lnTo>
                    <a:pt x="726" y="147"/>
                  </a:lnTo>
                  <a:lnTo>
                    <a:pt x="728" y="146"/>
                  </a:lnTo>
                  <a:lnTo>
                    <a:pt x="731" y="146"/>
                  </a:lnTo>
                  <a:lnTo>
                    <a:pt x="733" y="144"/>
                  </a:lnTo>
                  <a:lnTo>
                    <a:pt x="736" y="142"/>
                  </a:lnTo>
                  <a:lnTo>
                    <a:pt x="739" y="143"/>
                  </a:lnTo>
                  <a:lnTo>
                    <a:pt x="739" y="141"/>
                  </a:lnTo>
                  <a:lnTo>
                    <a:pt x="732" y="141"/>
                  </a:lnTo>
                  <a:lnTo>
                    <a:pt x="730" y="143"/>
                  </a:lnTo>
                  <a:lnTo>
                    <a:pt x="732" y="141"/>
                  </a:lnTo>
                  <a:lnTo>
                    <a:pt x="732" y="137"/>
                  </a:lnTo>
                  <a:lnTo>
                    <a:pt x="731" y="135"/>
                  </a:lnTo>
                  <a:lnTo>
                    <a:pt x="733" y="132"/>
                  </a:lnTo>
                  <a:lnTo>
                    <a:pt x="732" y="129"/>
                  </a:lnTo>
                  <a:lnTo>
                    <a:pt x="736" y="127"/>
                  </a:lnTo>
                  <a:lnTo>
                    <a:pt x="739" y="126"/>
                  </a:lnTo>
                  <a:lnTo>
                    <a:pt x="741" y="126"/>
                  </a:lnTo>
                  <a:lnTo>
                    <a:pt x="743" y="127"/>
                  </a:lnTo>
                  <a:lnTo>
                    <a:pt x="747" y="127"/>
                  </a:lnTo>
                  <a:lnTo>
                    <a:pt x="749" y="127"/>
                  </a:lnTo>
                  <a:lnTo>
                    <a:pt x="753" y="127"/>
                  </a:lnTo>
                  <a:lnTo>
                    <a:pt x="755" y="125"/>
                  </a:lnTo>
                  <a:lnTo>
                    <a:pt x="758" y="122"/>
                  </a:lnTo>
                  <a:lnTo>
                    <a:pt x="760" y="120"/>
                  </a:lnTo>
                  <a:lnTo>
                    <a:pt x="760" y="119"/>
                  </a:lnTo>
                  <a:lnTo>
                    <a:pt x="762" y="117"/>
                  </a:lnTo>
                  <a:lnTo>
                    <a:pt x="759" y="116"/>
                  </a:lnTo>
                  <a:lnTo>
                    <a:pt x="756" y="115"/>
                  </a:lnTo>
                  <a:lnTo>
                    <a:pt x="753" y="115"/>
                  </a:lnTo>
                  <a:lnTo>
                    <a:pt x="747" y="116"/>
                  </a:lnTo>
                  <a:lnTo>
                    <a:pt x="743" y="117"/>
                  </a:lnTo>
                  <a:lnTo>
                    <a:pt x="741" y="117"/>
                  </a:lnTo>
                  <a:lnTo>
                    <a:pt x="739" y="116"/>
                  </a:lnTo>
                  <a:lnTo>
                    <a:pt x="736" y="117"/>
                  </a:lnTo>
                  <a:lnTo>
                    <a:pt x="733" y="118"/>
                  </a:lnTo>
                  <a:lnTo>
                    <a:pt x="730" y="118"/>
                  </a:lnTo>
                  <a:lnTo>
                    <a:pt x="728" y="119"/>
                  </a:lnTo>
                  <a:lnTo>
                    <a:pt x="726" y="119"/>
                  </a:lnTo>
                  <a:lnTo>
                    <a:pt x="725" y="122"/>
                  </a:lnTo>
                  <a:lnTo>
                    <a:pt x="724" y="125"/>
                  </a:lnTo>
                  <a:lnTo>
                    <a:pt x="726" y="125"/>
                  </a:lnTo>
                  <a:lnTo>
                    <a:pt x="726" y="125"/>
                  </a:lnTo>
                  <a:lnTo>
                    <a:pt x="724" y="126"/>
                  </a:lnTo>
                  <a:lnTo>
                    <a:pt x="721" y="125"/>
                  </a:lnTo>
                  <a:lnTo>
                    <a:pt x="719" y="124"/>
                  </a:lnTo>
                  <a:lnTo>
                    <a:pt x="720" y="120"/>
                  </a:lnTo>
                  <a:lnTo>
                    <a:pt x="720" y="119"/>
                  </a:lnTo>
                  <a:lnTo>
                    <a:pt x="72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 name="Freeform 219">
              <a:extLst>
                <a:ext uri="{FF2B5EF4-FFF2-40B4-BE49-F238E27FC236}">
                  <a16:creationId xmlns:a16="http://schemas.microsoft.com/office/drawing/2014/main" id="{9ADAD2B4-0195-4F26-AA3D-F72523307C6C}"/>
                </a:ext>
              </a:extLst>
            </p:cNvPr>
            <p:cNvSpPr>
              <a:spLocks noEditPoints="1"/>
            </p:cNvSpPr>
            <p:nvPr/>
          </p:nvSpPr>
          <p:spPr bwMode="auto">
            <a:xfrm>
              <a:off x="2197101" y="2528888"/>
              <a:ext cx="2441575" cy="1749425"/>
            </a:xfrm>
            <a:custGeom>
              <a:avLst/>
              <a:gdLst>
                <a:gd name="T0" fmla="*/ 1511 w 1538"/>
                <a:gd name="T1" fmla="*/ 384 h 1102"/>
                <a:gd name="T2" fmla="*/ 1448 w 1538"/>
                <a:gd name="T3" fmla="*/ 324 h 1102"/>
                <a:gd name="T4" fmla="*/ 1401 w 1538"/>
                <a:gd name="T5" fmla="*/ 296 h 1102"/>
                <a:gd name="T6" fmla="*/ 1350 w 1538"/>
                <a:gd name="T7" fmla="*/ 256 h 1102"/>
                <a:gd name="T8" fmla="*/ 1239 w 1538"/>
                <a:gd name="T9" fmla="*/ 280 h 1102"/>
                <a:gd name="T10" fmla="*/ 1191 w 1538"/>
                <a:gd name="T11" fmla="*/ 427 h 1102"/>
                <a:gd name="T12" fmla="*/ 1019 w 1538"/>
                <a:gd name="T13" fmla="*/ 298 h 1102"/>
                <a:gd name="T14" fmla="*/ 1029 w 1538"/>
                <a:gd name="T15" fmla="*/ 193 h 1102"/>
                <a:gd name="T16" fmla="*/ 1095 w 1538"/>
                <a:gd name="T17" fmla="*/ 159 h 1102"/>
                <a:gd name="T18" fmla="*/ 1187 w 1538"/>
                <a:gd name="T19" fmla="*/ 114 h 1102"/>
                <a:gd name="T20" fmla="*/ 1138 w 1538"/>
                <a:gd name="T21" fmla="*/ 74 h 1102"/>
                <a:gd name="T22" fmla="*/ 1052 w 1538"/>
                <a:gd name="T23" fmla="*/ 62 h 1102"/>
                <a:gd name="T24" fmla="*/ 979 w 1538"/>
                <a:gd name="T25" fmla="*/ 42 h 1102"/>
                <a:gd name="T26" fmla="*/ 984 w 1538"/>
                <a:gd name="T27" fmla="*/ 116 h 1102"/>
                <a:gd name="T28" fmla="*/ 842 w 1538"/>
                <a:gd name="T29" fmla="*/ 79 h 1102"/>
                <a:gd name="T30" fmla="*/ 799 w 1538"/>
                <a:gd name="T31" fmla="*/ 106 h 1102"/>
                <a:gd name="T32" fmla="*/ 589 w 1538"/>
                <a:gd name="T33" fmla="*/ 50 h 1102"/>
                <a:gd name="T34" fmla="*/ 481 w 1538"/>
                <a:gd name="T35" fmla="*/ 72 h 1102"/>
                <a:gd name="T36" fmla="*/ 442 w 1538"/>
                <a:gd name="T37" fmla="*/ 77 h 1102"/>
                <a:gd name="T38" fmla="*/ 276 w 1538"/>
                <a:gd name="T39" fmla="*/ 45 h 1102"/>
                <a:gd name="T40" fmla="*/ 106 w 1538"/>
                <a:gd name="T41" fmla="*/ 39 h 1102"/>
                <a:gd name="T42" fmla="*/ 82 w 1538"/>
                <a:gd name="T43" fmla="*/ 130 h 1102"/>
                <a:gd name="T44" fmla="*/ 67 w 1538"/>
                <a:gd name="T45" fmla="*/ 181 h 1102"/>
                <a:gd name="T46" fmla="*/ 45 w 1538"/>
                <a:gd name="T47" fmla="*/ 241 h 1102"/>
                <a:gd name="T48" fmla="*/ 100 w 1538"/>
                <a:gd name="T49" fmla="*/ 296 h 1102"/>
                <a:gd name="T50" fmla="*/ 65 w 1538"/>
                <a:gd name="T51" fmla="*/ 370 h 1102"/>
                <a:gd name="T52" fmla="*/ 200 w 1538"/>
                <a:gd name="T53" fmla="*/ 297 h 1102"/>
                <a:gd name="T54" fmla="*/ 250 w 1538"/>
                <a:gd name="T55" fmla="*/ 279 h 1102"/>
                <a:gd name="T56" fmla="*/ 347 w 1538"/>
                <a:gd name="T57" fmla="*/ 271 h 1102"/>
                <a:gd name="T58" fmla="*/ 445 w 1538"/>
                <a:gd name="T59" fmla="*/ 289 h 1102"/>
                <a:gd name="T60" fmla="*/ 511 w 1538"/>
                <a:gd name="T61" fmla="*/ 376 h 1102"/>
                <a:gd name="T62" fmla="*/ 548 w 1538"/>
                <a:gd name="T63" fmla="*/ 422 h 1102"/>
                <a:gd name="T64" fmla="*/ 591 w 1538"/>
                <a:gd name="T65" fmla="*/ 448 h 1102"/>
                <a:gd name="T66" fmla="*/ 596 w 1538"/>
                <a:gd name="T67" fmla="*/ 493 h 1102"/>
                <a:gd name="T68" fmla="*/ 626 w 1538"/>
                <a:gd name="T69" fmla="*/ 672 h 1102"/>
                <a:gd name="T70" fmla="*/ 734 w 1538"/>
                <a:gd name="T71" fmla="*/ 821 h 1102"/>
                <a:gd name="T72" fmla="*/ 768 w 1538"/>
                <a:gd name="T73" fmla="*/ 835 h 1102"/>
                <a:gd name="T74" fmla="*/ 803 w 1538"/>
                <a:gd name="T75" fmla="*/ 852 h 1102"/>
                <a:gd name="T76" fmla="*/ 1017 w 1538"/>
                <a:gd name="T77" fmla="*/ 994 h 1102"/>
                <a:gd name="T78" fmla="*/ 1161 w 1538"/>
                <a:gd name="T79" fmla="*/ 1094 h 1102"/>
                <a:gd name="T80" fmla="*/ 1120 w 1538"/>
                <a:gd name="T81" fmla="*/ 994 h 1102"/>
                <a:gd name="T82" fmla="*/ 1040 w 1538"/>
                <a:gd name="T83" fmla="*/ 954 h 1102"/>
                <a:gd name="T84" fmla="*/ 964 w 1538"/>
                <a:gd name="T85" fmla="*/ 828 h 1102"/>
                <a:gd name="T86" fmla="*/ 1082 w 1538"/>
                <a:gd name="T87" fmla="*/ 802 h 1102"/>
                <a:gd name="T88" fmla="*/ 1168 w 1538"/>
                <a:gd name="T89" fmla="*/ 803 h 1102"/>
                <a:gd name="T90" fmla="*/ 1205 w 1538"/>
                <a:gd name="T91" fmla="*/ 750 h 1102"/>
                <a:gd name="T92" fmla="*/ 1251 w 1538"/>
                <a:gd name="T93" fmla="*/ 675 h 1102"/>
                <a:gd name="T94" fmla="*/ 1272 w 1538"/>
                <a:gd name="T95" fmla="*/ 656 h 1102"/>
                <a:gd name="T96" fmla="*/ 1339 w 1538"/>
                <a:gd name="T97" fmla="*/ 573 h 1102"/>
                <a:gd name="T98" fmla="*/ 1397 w 1538"/>
                <a:gd name="T99" fmla="*/ 559 h 1102"/>
                <a:gd name="T100" fmla="*/ 1402 w 1538"/>
                <a:gd name="T101" fmla="*/ 507 h 1102"/>
                <a:gd name="T102" fmla="*/ 1379 w 1538"/>
                <a:gd name="T103" fmla="*/ 475 h 1102"/>
                <a:gd name="T104" fmla="*/ 665 w 1538"/>
                <a:gd name="T105" fmla="*/ 160 h 1102"/>
                <a:gd name="T106" fmla="*/ 590 w 1538"/>
                <a:gd name="T107" fmla="*/ 139 h 1102"/>
                <a:gd name="T108" fmla="*/ 797 w 1538"/>
                <a:gd name="T109" fmla="*/ 217 h 1102"/>
                <a:gd name="T110" fmla="*/ 722 w 1538"/>
                <a:gd name="T111" fmla="*/ 219 h 1102"/>
                <a:gd name="T112" fmla="*/ 945 w 1538"/>
                <a:gd name="T113" fmla="*/ 397 h 1102"/>
                <a:gd name="T114" fmla="*/ 1129 w 1538"/>
                <a:gd name="T115" fmla="*/ 554 h 1102"/>
                <a:gd name="T116" fmla="*/ 1128 w 1538"/>
                <a:gd name="T117" fmla="*/ 534 h 1102"/>
                <a:gd name="T118" fmla="*/ 1076 w 1538"/>
                <a:gd name="T119" fmla="*/ 498 h 1102"/>
                <a:gd name="T120" fmla="*/ 1206 w 1538"/>
                <a:gd name="T121" fmla="*/ 552 h 1102"/>
                <a:gd name="T122" fmla="*/ 1161 w 1538"/>
                <a:gd name="T123" fmla="*/ 601 h 1102"/>
                <a:gd name="T124" fmla="*/ 1224 w 1538"/>
                <a:gd name="T125" fmla="*/ 570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8" h="1102">
                  <a:moveTo>
                    <a:pt x="1531" y="421"/>
                  </a:moveTo>
                  <a:lnTo>
                    <a:pt x="1537" y="422"/>
                  </a:lnTo>
                  <a:lnTo>
                    <a:pt x="1536" y="419"/>
                  </a:lnTo>
                  <a:lnTo>
                    <a:pt x="1533" y="418"/>
                  </a:lnTo>
                  <a:lnTo>
                    <a:pt x="1529" y="418"/>
                  </a:lnTo>
                  <a:lnTo>
                    <a:pt x="1527" y="417"/>
                  </a:lnTo>
                  <a:lnTo>
                    <a:pt x="1530" y="418"/>
                  </a:lnTo>
                  <a:lnTo>
                    <a:pt x="1534" y="416"/>
                  </a:lnTo>
                  <a:lnTo>
                    <a:pt x="1536" y="416"/>
                  </a:lnTo>
                  <a:lnTo>
                    <a:pt x="1534" y="414"/>
                  </a:lnTo>
                  <a:lnTo>
                    <a:pt x="1536" y="414"/>
                  </a:lnTo>
                  <a:lnTo>
                    <a:pt x="1535" y="410"/>
                  </a:lnTo>
                  <a:lnTo>
                    <a:pt x="1533" y="409"/>
                  </a:lnTo>
                  <a:lnTo>
                    <a:pt x="1535" y="409"/>
                  </a:lnTo>
                  <a:lnTo>
                    <a:pt x="1537" y="406"/>
                  </a:lnTo>
                  <a:lnTo>
                    <a:pt x="1536" y="404"/>
                  </a:lnTo>
                  <a:lnTo>
                    <a:pt x="1530" y="399"/>
                  </a:lnTo>
                  <a:lnTo>
                    <a:pt x="1533" y="399"/>
                  </a:lnTo>
                  <a:lnTo>
                    <a:pt x="1530" y="399"/>
                  </a:lnTo>
                  <a:lnTo>
                    <a:pt x="1525" y="397"/>
                  </a:lnTo>
                  <a:lnTo>
                    <a:pt x="1528" y="396"/>
                  </a:lnTo>
                  <a:lnTo>
                    <a:pt x="1525" y="397"/>
                  </a:lnTo>
                  <a:lnTo>
                    <a:pt x="1522" y="397"/>
                  </a:lnTo>
                  <a:lnTo>
                    <a:pt x="1519" y="397"/>
                  </a:lnTo>
                  <a:lnTo>
                    <a:pt x="1518" y="400"/>
                  </a:lnTo>
                  <a:lnTo>
                    <a:pt x="1516" y="401"/>
                  </a:lnTo>
                  <a:lnTo>
                    <a:pt x="1514" y="399"/>
                  </a:lnTo>
                  <a:lnTo>
                    <a:pt x="1514" y="398"/>
                  </a:lnTo>
                  <a:lnTo>
                    <a:pt x="1517" y="397"/>
                  </a:lnTo>
                  <a:lnTo>
                    <a:pt x="1518" y="393"/>
                  </a:lnTo>
                  <a:lnTo>
                    <a:pt x="1514" y="389"/>
                  </a:lnTo>
                  <a:lnTo>
                    <a:pt x="1509" y="388"/>
                  </a:lnTo>
                  <a:lnTo>
                    <a:pt x="1507" y="387"/>
                  </a:lnTo>
                  <a:lnTo>
                    <a:pt x="1504" y="387"/>
                  </a:lnTo>
                  <a:lnTo>
                    <a:pt x="1501" y="388"/>
                  </a:lnTo>
                  <a:lnTo>
                    <a:pt x="1504" y="389"/>
                  </a:lnTo>
                  <a:lnTo>
                    <a:pt x="1507" y="389"/>
                  </a:lnTo>
                  <a:lnTo>
                    <a:pt x="1504" y="390"/>
                  </a:lnTo>
                  <a:lnTo>
                    <a:pt x="1496" y="392"/>
                  </a:lnTo>
                  <a:lnTo>
                    <a:pt x="1493" y="395"/>
                  </a:lnTo>
                  <a:lnTo>
                    <a:pt x="1492" y="397"/>
                  </a:lnTo>
                  <a:lnTo>
                    <a:pt x="1490" y="398"/>
                  </a:lnTo>
                  <a:lnTo>
                    <a:pt x="1484" y="400"/>
                  </a:lnTo>
                  <a:lnTo>
                    <a:pt x="1480" y="400"/>
                  </a:lnTo>
                  <a:lnTo>
                    <a:pt x="1480" y="401"/>
                  </a:lnTo>
                  <a:lnTo>
                    <a:pt x="1476" y="405"/>
                  </a:lnTo>
                  <a:lnTo>
                    <a:pt x="1474" y="405"/>
                  </a:lnTo>
                  <a:lnTo>
                    <a:pt x="1476" y="405"/>
                  </a:lnTo>
                  <a:lnTo>
                    <a:pt x="1477" y="401"/>
                  </a:lnTo>
                  <a:lnTo>
                    <a:pt x="1475" y="399"/>
                  </a:lnTo>
                  <a:lnTo>
                    <a:pt x="1471" y="397"/>
                  </a:lnTo>
                  <a:lnTo>
                    <a:pt x="1466" y="397"/>
                  </a:lnTo>
                  <a:lnTo>
                    <a:pt x="1467" y="395"/>
                  </a:lnTo>
                  <a:lnTo>
                    <a:pt x="1470" y="397"/>
                  </a:lnTo>
                  <a:lnTo>
                    <a:pt x="1473" y="397"/>
                  </a:lnTo>
                  <a:lnTo>
                    <a:pt x="1475" y="399"/>
                  </a:lnTo>
                  <a:lnTo>
                    <a:pt x="1478" y="400"/>
                  </a:lnTo>
                  <a:lnTo>
                    <a:pt x="1478" y="397"/>
                  </a:lnTo>
                  <a:lnTo>
                    <a:pt x="1479" y="396"/>
                  </a:lnTo>
                  <a:lnTo>
                    <a:pt x="1487" y="395"/>
                  </a:lnTo>
                  <a:lnTo>
                    <a:pt x="1495" y="390"/>
                  </a:lnTo>
                  <a:lnTo>
                    <a:pt x="1499" y="390"/>
                  </a:lnTo>
                  <a:lnTo>
                    <a:pt x="1501" y="388"/>
                  </a:lnTo>
                  <a:lnTo>
                    <a:pt x="1490" y="391"/>
                  </a:lnTo>
                  <a:lnTo>
                    <a:pt x="1486" y="391"/>
                  </a:lnTo>
                  <a:lnTo>
                    <a:pt x="1486" y="390"/>
                  </a:lnTo>
                  <a:lnTo>
                    <a:pt x="1490" y="390"/>
                  </a:lnTo>
                  <a:lnTo>
                    <a:pt x="1494" y="389"/>
                  </a:lnTo>
                  <a:lnTo>
                    <a:pt x="1497" y="388"/>
                  </a:lnTo>
                  <a:lnTo>
                    <a:pt x="1500" y="387"/>
                  </a:lnTo>
                  <a:lnTo>
                    <a:pt x="1503" y="387"/>
                  </a:lnTo>
                  <a:lnTo>
                    <a:pt x="1505" y="384"/>
                  </a:lnTo>
                  <a:lnTo>
                    <a:pt x="1511" y="384"/>
                  </a:lnTo>
                  <a:lnTo>
                    <a:pt x="1513" y="382"/>
                  </a:lnTo>
                  <a:lnTo>
                    <a:pt x="1511" y="383"/>
                  </a:lnTo>
                  <a:lnTo>
                    <a:pt x="1512" y="382"/>
                  </a:lnTo>
                  <a:lnTo>
                    <a:pt x="1514" y="380"/>
                  </a:lnTo>
                  <a:lnTo>
                    <a:pt x="1507" y="378"/>
                  </a:lnTo>
                  <a:lnTo>
                    <a:pt x="1504" y="378"/>
                  </a:lnTo>
                  <a:lnTo>
                    <a:pt x="1501" y="376"/>
                  </a:lnTo>
                  <a:lnTo>
                    <a:pt x="1496" y="375"/>
                  </a:lnTo>
                  <a:lnTo>
                    <a:pt x="1492" y="371"/>
                  </a:lnTo>
                  <a:lnTo>
                    <a:pt x="1490" y="371"/>
                  </a:lnTo>
                  <a:lnTo>
                    <a:pt x="1491" y="368"/>
                  </a:lnTo>
                  <a:lnTo>
                    <a:pt x="1487" y="371"/>
                  </a:lnTo>
                  <a:lnTo>
                    <a:pt x="1482" y="374"/>
                  </a:lnTo>
                  <a:lnTo>
                    <a:pt x="1479" y="378"/>
                  </a:lnTo>
                  <a:lnTo>
                    <a:pt x="1482" y="374"/>
                  </a:lnTo>
                  <a:lnTo>
                    <a:pt x="1484" y="372"/>
                  </a:lnTo>
                  <a:lnTo>
                    <a:pt x="1485" y="370"/>
                  </a:lnTo>
                  <a:lnTo>
                    <a:pt x="1482" y="368"/>
                  </a:lnTo>
                  <a:lnTo>
                    <a:pt x="1482" y="366"/>
                  </a:lnTo>
                  <a:lnTo>
                    <a:pt x="1479" y="367"/>
                  </a:lnTo>
                  <a:lnTo>
                    <a:pt x="1477" y="370"/>
                  </a:lnTo>
                  <a:lnTo>
                    <a:pt x="1475" y="372"/>
                  </a:lnTo>
                  <a:lnTo>
                    <a:pt x="1477" y="371"/>
                  </a:lnTo>
                  <a:lnTo>
                    <a:pt x="1478" y="367"/>
                  </a:lnTo>
                  <a:lnTo>
                    <a:pt x="1475" y="368"/>
                  </a:lnTo>
                  <a:lnTo>
                    <a:pt x="1469" y="372"/>
                  </a:lnTo>
                  <a:lnTo>
                    <a:pt x="1475" y="363"/>
                  </a:lnTo>
                  <a:lnTo>
                    <a:pt x="1473" y="365"/>
                  </a:lnTo>
                  <a:lnTo>
                    <a:pt x="1473" y="363"/>
                  </a:lnTo>
                  <a:lnTo>
                    <a:pt x="1473" y="361"/>
                  </a:lnTo>
                  <a:lnTo>
                    <a:pt x="1475" y="357"/>
                  </a:lnTo>
                  <a:lnTo>
                    <a:pt x="1471" y="358"/>
                  </a:lnTo>
                  <a:lnTo>
                    <a:pt x="1470" y="362"/>
                  </a:lnTo>
                  <a:lnTo>
                    <a:pt x="1469" y="358"/>
                  </a:lnTo>
                  <a:lnTo>
                    <a:pt x="1466" y="358"/>
                  </a:lnTo>
                  <a:lnTo>
                    <a:pt x="1467" y="356"/>
                  </a:lnTo>
                  <a:lnTo>
                    <a:pt x="1465" y="356"/>
                  </a:lnTo>
                  <a:lnTo>
                    <a:pt x="1462" y="354"/>
                  </a:lnTo>
                  <a:lnTo>
                    <a:pt x="1459" y="353"/>
                  </a:lnTo>
                  <a:lnTo>
                    <a:pt x="1462" y="353"/>
                  </a:lnTo>
                  <a:lnTo>
                    <a:pt x="1459" y="353"/>
                  </a:lnTo>
                  <a:lnTo>
                    <a:pt x="1458" y="349"/>
                  </a:lnTo>
                  <a:lnTo>
                    <a:pt x="1454" y="349"/>
                  </a:lnTo>
                  <a:lnTo>
                    <a:pt x="1451" y="347"/>
                  </a:lnTo>
                  <a:lnTo>
                    <a:pt x="1454" y="348"/>
                  </a:lnTo>
                  <a:lnTo>
                    <a:pt x="1457" y="347"/>
                  </a:lnTo>
                  <a:lnTo>
                    <a:pt x="1451" y="344"/>
                  </a:lnTo>
                  <a:lnTo>
                    <a:pt x="1454" y="342"/>
                  </a:lnTo>
                  <a:lnTo>
                    <a:pt x="1449" y="341"/>
                  </a:lnTo>
                  <a:lnTo>
                    <a:pt x="1452" y="341"/>
                  </a:lnTo>
                  <a:lnTo>
                    <a:pt x="1448" y="340"/>
                  </a:lnTo>
                  <a:lnTo>
                    <a:pt x="1447" y="339"/>
                  </a:lnTo>
                  <a:lnTo>
                    <a:pt x="1445" y="338"/>
                  </a:lnTo>
                  <a:lnTo>
                    <a:pt x="1447" y="338"/>
                  </a:lnTo>
                  <a:lnTo>
                    <a:pt x="1445" y="337"/>
                  </a:lnTo>
                  <a:lnTo>
                    <a:pt x="1451" y="337"/>
                  </a:lnTo>
                  <a:lnTo>
                    <a:pt x="1448" y="337"/>
                  </a:lnTo>
                  <a:lnTo>
                    <a:pt x="1447" y="338"/>
                  </a:lnTo>
                  <a:lnTo>
                    <a:pt x="1447" y="339"/>
                  </a:lnTo>
                  <a:lnTo>
                    <a:pt x="1453" y="340"/>
                  </a:lnTo>
                  <a:lnTo>
                    <a:pt x="1456" y="340"/>
                  </a:lnTo>
                  <a:lnTo>
                    <a:pt x="1453" y="338"/>
                  </a:lnTo>
                  <a:lnTo>
                    <a:pt x="1457" y="337"/>
                  </a:lnTo>
                  <a:lnTo>
                    <a:pt x="1458" y="335"/>
                  </a:lnTo>
                  <a:lnTo>
                    <a:pt x="1460" y="335"/>
                  </a:lnTo>
                  <a:lnTo>
                    <a:pt x="1460" y="333"/>
                  </a:lnTo>
                  <a:lnTo>
                    <a:pt x="1459" y="331"/>
                  </a:lnTo>
                  <a:lnTo>
                    <a:pt x="1453" y="328"/>
                  </a:lnTo>
                  <a:lnTo>
                    <a:pt x="1453" y="325"/>
                  </a:lnTo>
                  <a:lnTo>
                    <a:pt x="1450" y="324"/>
                  </a:lnTo>
                  <a:lnTo>
                    <a:pt x="1448" y="325"/>
                  </a:lnTo>
                  <a:lnTo>
                    <a:pt x="1444" y="324"/>
                  </a:lnTo>
                  <a:lnTo>
                    <a:pt x="1448" y="324"/>
                  </a:lnTo>
                  <a:lnTo>
                    <a:pt x="1450" y="323"/>
                  </a:lnTo>
                  <a:lnTo>
                    <a:pt x="1453" y="321"/>
                  </a:lnTo>
                  <a:lnTo>
                    <a:pt x="1450" y="319"/>
                  </a:lnTo>
                  <a:lnTo>
                    <a:pt x="1449" y="315"/>
                  </a:lnTo>
                  <a:lnTo>
                    <a:pt x="1445" y="316"/>
                  </a:lnTo>
                  <a:lnTo>
                    <a:pt x="1444" y="314"/>
                  </a:lnTo>
                  <a:lnTo>
                    <a:pt x="1448" y="313"/>
                  </a:lnTo>
                  <a:lnTo>
                    <a:pt x="1444" y="311"/>
                  </a:lnTo>
                  <a:lnTo>
                    <a:pt x="1437" y="313"/>
                  </a:lnTo>
                  <a:lnTo>
                    <a:pt x="1435" y="313"/>
                  </a:lnTo>
                  <a:lnTo>
                    <a:pt x="1437" y="311"/>
                  </a:lnTo>
                  <a:lnTo>
                    <a:pt x="1440" y="311"/>
                  </a:lnTo>
                  <a:lnTo>
                    <a:pt x="1443" y="310"/>
                  </a:lnTo>
                  <a:lnTo>
                    <a:pt x="1441" y="308"/>
                  </a:lnTo>
                  <a:lnTo>
                    <a:pt x="1443" y="307"/>
                  </a:lnTo>
                  <a:lnTo>
                    <a:pt x="1442" y="304"/>
                  </a:lnTo>
                  <a:lnTo>
                    <a:pt x="1439" y="305"/>
                  </a:lnTo>
                  <a:lnTo>
                    <a:pt x="1436" y="305"/>
                  </a:lnTo>
                  <a:lnTo>
                    <a:pt x="1434" y="305"/>
                  </a:lnTo>
                  <a:lnTo>
                    <a:pt x="1431" y="307"/>
                  </a:lnTo>
                  <a:lnTo>
                    <a:pt x="1433" y="304"/>
                  </a:lnTo>
                  <a:lnTo>
                    <a:pt x="1435" y="304"/>
                  </a:lnTo>
                  <a:lnTo>
                    <a:pt x="1439" y="303"/>
                  </a:lnTo>
                  <a:lnTo>
                    <a:pt x="1437" y="301"/>
                  </a:lnTo>
                  <a:lnTo>
                    <a:pt x="1439" y="297"/>
                  </a:lnTo>
                  <a:lnTo>
                    <a:pt x="1435" y="297"/>
                  </a:lnTo>
                  <a:lnTo>
                    <a:pt x="1434" y="295"/>
                  </a:lnTo>
                  <a:lnTo>
                    <a:pt x="1434" y="293"/>
                  </a:lnTo>
                  <a:lnTo>
                    <a:pt x="1430" y="294"/>
                  </a:lnTo>
                  <a:lnTo>
                    <a:pt x="1424" y="293"/>
                  </a:lnTo>
                  <a:lnTo>
                    <a:pt x="1430" y="293"/>
                  </a:lnTo>
                  <a:lnTo>
                    <a:pt x="1433" y="291"/>
                  </a:lnTo>
                  <a:lnTo>
                    <a:pt x="1432" y="288"/>
                  </a:lnTo>
                  <a:lnTo>
                    <a:pt x="1430" y="289"/>
                  </a:lnTo>
                  <a:lnTo>
                    <a:pt x="1430" y="287"/>
                  </a:lnTo>
                  <a:lnTo>
                    <a:pt x="1427" y="287"/>
                  </a:lnTo>
                  <a:lnTo>
                    <a:pt x="1425" y="286"/>
                  </a:lnTo>
                  <a:lnTo>
                    <a:pt x="1427" y="285"/>
                  </a:lnTo>
                  <a:lnTo>
                    <a:pt x="1425" y="281"/>
                  </a:lnTo>
                  <a:lnTo>
                    <a:pt x="1423" y="284"/>
                  </a:lnTo>
                  <a:lnTo>
                    <a:pt x="1424" y="280"/>
                  </a:lnTo>
                  <a:lnTo>
                    <a:pt x="1420" y="279"/>
                  </a:lnTo>
                  <a:lnTo>
                    <a:pt x="1422" y="277"/>
                  </a:lnTo>
                  <a:lnTo>
                    <a:pt x="1422" y="273"/>
                  </a:lnTo>
                  <a:lnTo>
                    <a:pt x="1417" y="273"/>
                  </a:lnTo>
                  <a:lnTo>
                    <a:pt x="1417" y="272"/>
                  </a:lnTo>
                  <a:lnTo>
                    <a:pt x="1414" y="273"/>
                  </a:lnTo>
                  <a:lnTo>
                    <a:pt x="1413" y="273"/>
                  </a:lnTo>
                  <a:lnTo>
                    <a:pt x="1418" y="271"/>
                  </a:lnTo>
                  <a:lnTo>
                    <a:pt x="1417" y="269"/>
                  </a:lnTo>
                  <a:lnTo>
                    <a:pt x="1415" y="269"/>
                  </a:lnTo>
                  <a:lnTo>
                    <a:pt x="1417" y="268"/>
                  </a:lnTo>
                  <a:lnTo>
                    <a:pt x="1415" y="268"/>
                  </a:lnTo>
                  <a:lnTo>
                    <a:pt x="1413" y="269"/>
                  </a:lnTo>
                  <a:lnTo>
                    <a:pt x="1415" y="271"/>
                  </a:lnTo>
                  <a:lnTo>
                    <a:pt x="1413" y="273"/>
                  </a:lnTo>
                  <a:lnTo>
                    <a:pt x="1409" y="273"/>
                  </a:lnTo>
                  <a:lnTo>
                    <a:pt x="1408" y="278"/>
                  </a:lnTo>
                  <a:lnTo>
                    <a:pt x="1410" y="279"/>
                  </a:lnTo>
                  <a:lnTo>
                    <a:pt x="1406" y="278"/>
                  </a:lnTo>
                  <a:lnTo>
                    <a:pt x="1403" y="280"/>
                  </a:lnTo>
                  <a:lnTo>
                    <a:pt x="1405" y="282"/>
                  </a:lnTo>
                  <a:lnTo>
                    <a:pt x="1407" y="285"/>
                  </a:lnTo>
                  <a:lnTo>
                    <a:pt x="1408" y="285"/>
                  </a:lnTo>
                  <a:lnTo>
                    <a:pt x="1410" y="287"/>
                  </a:lnTo>
                  <a:lnTo>
                    <a:pt x="1407" y="285"/>
                  </a:lnTo>
                  <a:lnTo>
                    <a:pt x="1405" y="286"/>
                  </a:lnTo>
                  <a:lnTo>
                    <a:pt x="1403" y="289"/>
                  </a:lnTo>
                  <a:lnTo>
                    <a:pt x="1400" y="290"/>
                  </a:lnTo>
                  <a:lnTo>
                    <a:pt x="1403" y="293"/>
                  </a:lnTo>
                  <a:lnTo>
                    <a:pt x="1406" y="294"/>
                  </a:lnTo>
                  <a:lnTo>
                    <a:pt x="1403" y="293"/>
                  </a:lnTo>
                  <a:lnTo>
                    <a:pt x="1401" y="296"/>
                  </a:lnTo>
                  <a:lnTo>
                    <a:pt x="1399" y="295"/>
                  </a:lnTo>
                  <a:lnTo>
                    <a:pt x="1399" y="297"/>
                  </a:lnTo>
                  <a:lnTo>
                    <a:pt x="1399" y="297"/>
                  </a:lnTo>
                  <a:lnTo>
                    <a:pt x="1397" y="297"/>
                  </a:lnTo>
                  <a:lnTo>
                    <a:pt x="1397" y="299"/>
                  </a:lnTo>
                  <a:lnTo>
                    <a:pt x="1399" y="303"/>
                  </a:lnTo>
                  <a:lnTo>
                    <a:pt x="1398" y="305"/>
                  </a:lnTo>
                  <a:lnTo>
                    <a:pt x="1396" y="307"/>
                  </a:lnTo>
                  <a:lnTo>
                    <a:pt x="1397" y="306"/>
                  </a:lnTo>
                  <a:lnTo>
                    <a:pt x="1397" y="303"/>
                  </a:lnTo>
                  <a:lnTo>
                    <a:pt x="1396" y="301"/>
                  </a:lnTo>
                  <a:lnTo>
                    <a:pt x="1393" y="298"/>
                  </a:lnTo>
                  <a:lnTo>
                    <a:pt x="1390" y="299"/>
                  </a:lnTo>
                  <a:lnTo>
                    <a:pt x="1388" y="304"/>
                  </a:lnTo>
                  <a:lnTo>
                    <a:pt x="1383" y="305"/>
                  </a:lnTo>
                  <a:lnTo>
                    <a:pt x="1381" y="307"/>
                  </a:lnTo>
                  <a:lnTo>
                    <a:pt x="1375" y="310"/>
                  </a:lnTo>
                  <a:lnTo>
                    <a:pt x="1373" y="315"/>
                  </a:lnTo>
                  <a:lnTo>
                    <a:pt x="1373" y="315"/>
                  </a:lnTo>
                  <a:lnTo>
                    <a:pt x="1374" y="310"/>
                  </a:lnTo>
                  <a:lnTo>
                    <a:pt x="1372" y="306"/>
                  </a:lnTo>
                  <a:lnTo>
                    <a:pt x="1372" y="310"/>
                  </a:lnTo>
                  <a:lnTo>
                    <a:pt x="1368" y="311"/>
                  </a:lnTo>
                  <a:lnTo>
                    <a:pt x="1372" y="308"/>
                  </a:lnTo>
                  <a:lnTo>
                    <a:pt x="1369" y="303"/>
                  </a:lnTo>
                  <a:lnTo>
                    <a:pt x="1367" y="305"/>
                  </a:lnTo>
                  <a:lnTo>
                    <a:pt x="1367" y="307"/>
                  </a:lnTo>
                  <a:lnTo>
                    <a:pt x="1364" y="313"/>
                  </a:lnTo>
                  <a:lnTo>
                    <a:pt x="1364" y="313"/>
                  </a:lnTo>
                  <a:lnTo>
                    <a:pt x="1362" y="314"/>
                  </a:lnTo>
                  <a:lnTo>
                    <a:pt x="1356" y="315"/>
                  </a:lnTo>
                  <a:lnTo>
                    <a:pt x="1351" y="319"/>
                  </a:lnTo>
                  <a:lnTo>
                    <a:pt x="1352" y="318"/>
                  </a:lnTo>
                  <a:lnTo>
                    <a:pt x="1355" y="315"/>
                  </a:lnTo>
                  <a:lnTo>
                    <a:pt x="1356" y="315"/>
                  </a:lnTo>
                  <a:lnTo>
                    <a:pt x="1364" y="313"/>
                  </a:lnTo>
                  <a:lnTo>
                    <a:pt x="1365" y="311"/>
                  </a:lnTo>
                  <a:lnTo>
                    <a:pt x="1366" y="305"/>
                  </a:lnTo>
                  <a:lnTo>
                    <a:pt x="1365" y="302"/>
                  </a:lnTo>
                  <a:lnTo>
                    <a:pt x="1364" y="299"/>
                  </a:lnTo>
                  <a:lnTo>
                    <a:pt x="1362" y="297"/>
                  </a:lnTo>
                  <a:lnTo>
                    <a:pt x="1359" y="296"/>
                  </a:lnTo>
                  <a:lnTo>
                    <a:pt x="1357" y="297"/>
                  </a:lnTo>
                  <a:lnTo>
                    <a:pt x="1354" y="296"/>
                  </a:lnTo>
                  <a:lnTo>
                    <a:pt x="1351" y="297"/>
                  </a:lnTo>
                  <a:lnTo>
                    <a:pt x="1346" y="301"/>
                  </a:lnTo>
                  <a:lnTo>
                    <a:pt x="1343" y="301"/>
                  </a:lnTo>
                  <a:lnTo>
                    <a:pt x="1341" y="299"/>
                  </a:lnTo>
                  <a:lnTo>
                    <a:pt x="1339" y="298"/>
                  </a:lnTo>
                  <a:lnTo>
                    <a:pt x="1339" y="298"/>
                  </a:lnTo>
                  <a:lnTo>
                    <a:pt x="1342" y="298"/>
                  </a:lnTo>
                  <a:lnTo>
                    <a:pt x="1345" y="296"/>
                  </a:lnTo>
                  <a:lnTo>
                    <a:pt x="1343" y="293"/>
                  </a:lnTo>
                  <a:lnTo>
                    <a:pt x="1347" y="296"/>
                  </a:lnTo>
                  <a:lnTo>
                    <a:pt x="1348" y="298"/>
                  </a:lnTo>
                  <a:lnTo>
                    <a:pt x="1349" y="296"/>
                  </a:lnTo>
                  <a:lnTo>
                    <a:pt x="1351" y="288"/>
                  </a:lnTo>
                  <a:lnTo>
                    <a:pt x="1347" y="286"/>
                  </a:lnTo>
                  <a:lnTo>
                    <a:pt x="1346" y="284"/>
                  </a:lnTo>
                  <a:lnTo>
                    <a:pt x="1348" y="281"/>
                  </a:lnTo>
                  <a:lnTo>
                    <a:pt x="1347" y="277"/>
                  </a:lnTo>
                  <a:lnTo>
                    <a:pt x="1345" y="274"/>
                  </a:lnTo>
                  <a:lnTo>
                    <a:pt x="1335" y="274"/>
                  </a:lnTo>
                  <a:lnTo>
                    <a:pt x="1328" y="272"/>
                  </a:lnTo>
                  <a:lnTo>
                    <a:pt x="1333" y="273"/>
                  </a:lnTo>
                  <a:lnTo>
                    <a:pt x="1346" y="273"/>
                  </a:lnTo>
                  <a:lnTo>
                    <a:pt x="1345" y="272"/>
                  </a:lnTo>
                  <a:lnTo>
                    <a:pt x="1347" y="272"/>
                  </a:lnTo>
                  <a:lnTo>
                    <a:pt x="1347" y="269"/>
                  </a:lnTo>
                  <a:lnTo>
                    <a:pt x="1346" y="267"/>
                  </a:lnTo>
                  <a:lnTo>
                    <a:pt x="1345" y="264"/>
                  </a:lnTo>
                  <a:lnTo>
                    <a:pt x="1348" y="259"/>
                  </a:lnTo>
                  <a:lnTo>
                    <a:pt x="1350" y="256"/>
                  </a:lnTo>
                  <a:lnTo>
                    <a:pt x="1349" y="253"/>
                  </a:lnTo>
                  <a:lnTo>
                    <a:pt x="1347" y="253"/>
                  </a:lnTo>
                  <a:lnTo>
                    <a:pt x="1345" y="255"/>
                  </a:lnTo>
                  <a:lnTo>
                    <a:pt x="1342" y="256"/>
                  </a:lnTo>
                  <a:lnTo>
                    <a:pt x="1339" y="252"/>
                  </a:lnTo>
                  <a:lnTo>
                    <a:pt x="1337" y="253"/>
                  </a:lnTo>
                  <a:lnTo>
                    <a:pt x="1333" y="253"/>
                  </a:lnTo>
                  <a:lnTo>
                    <a:pt x="1331" y="252"/>
                  </a:lnTo>
                  <a:lnTo>
                    <a:pt x="1329" y="251"/>
                  </a:lnTo>
                  <a:lnTo>
                    <a:pt x="1323" y="250"/>
                  </a:lnTo>
                  <a:lnTo>
                    <a:pt x="1321" y="248"/>
                  </a:lnTo>
                  <a:lnTo>
                    <a:pt x="1317" y="245"/>
                  </a:lnTo>
                  <a:lnTo>
                    <a:pt x="1321" y="245"/>
                  </a:lnTo>
                  <a:lnTo>
                    <a:pt x="1317" y="243"/>
                  </a:lnTo>
                  <a:lnTo>
                    <a:pt x="1317" y="242"/>
                  </a:lnTo>
                  <a:lnTo>
                    <a:pt x="1320" y="241"/>
                  </a:lnTo>
                  <a:lnTo>
                    <a:pt x="1317" y="239"/>
                  </a:lnTo>
                  <a:lnTo>
                    <a:pt x="1315" y="241"/>
                  </a:lnTo>
                  <a:lnTo>
                    <a:pt x="1312" y="241"/>
                  </a:lnTo>
                  <a:lnTo>
                    <a:pt x="1315" y="239"/>
                  </a:lnTo>
                  <a:lnTo>
                    <a:pt x="1312" y="238"/>
                  </a:lnTo>
                  <a:lnTo>
                    <a:pt x="1312" y="235"/>
                  </a:lnTo>
                  <a:lnTo>
                    <a:pt x="1306" y="234"/>
                  </a:lnTo>
                  <a:lnTo>
                    <a:pt x="1306" y="236"/>
                  </a:lnTo>
                  <a:lnTo>
                    <a:pt x="1304" y="236"/>
                  </a:lnTo>
                  <a:lnTo>
                    <a:pt x="1305" y="235"/>
                  </a:lnTo>
                  <a:lnTo>
                    <a:pt x="1306" y="231"/>
                  </a:lnTo>
                  <a:lnTo>
                    <a:pt x="1305" y="229"/>
                  </a:lnTo>
                  <a:lnTo>
                    <a:pt x="1302" y="229"/>
                  </a:lnTo>
                  <a:lnTo>
                    <a:pt x="1299" y="227"/>
                  </a:lnTo>
                  <a:lnTo>
                    <a:pt x="1296" y="225"/>
                  </a:lnTo>
                  <a:lnTo>
                    <a:pt x="1294" y="224"/>
                  </a:lnTo>
                  <a:lnTo>
                    <a:pt x="1291" y="222"/>
                  </a:lnTo>
                  <a:lnTo>
                    <a:pt x="1288" y="224"/>
                  </a:lnTo>
                  <a:lnTo>
                    <a:pt x="1286" y="225"/>
                  </a:lnTo>
                  <a:lnTo>
                    <a:pt x="1280" y="227"/>
                  </a:lnTo>
                  <a:lnTo>
                    <a:pt x="1278" y="227"/>
                  </a:lnTo>
                  <a:lnTo>
                    <a:pt x="1279" y="230"/>
                  </a:lnTo>
                  <a:lnTo>
                    <a:pt x="1273" y="227"/>
                  </a:lnTo>
                  <a:lnTo>
                    <a:pt x="1270" y="226"/>
                  </a:lnTo>
                  <a:lnTo>
                    <a:pt x="1268" y="226"/>
                  </a:lnTo>
                  <a:lnTo>
                    <a:pt x="1262" y="229"/>
                  </a:lnTo>
                  <a:lnTo>
                    <a:pt x="1262" y="228"/>
                  </a:lnTo>
                  <a:lnTo>
                    <a:pt x="1263" y="226"/>
                  </a:lnTo>
                  <a:lnTo>
                    <a:pt x="1261" y="225"/>
                  </a:lnTo>
                  <a:lnTo>
                    <a:pt x="1247" y="221"/>
                  </a:lnTo>
                  <a:lnTo>
                    <a:pt x="1241" y="220"/>
                  </a:lnTo>
                  <a:lnTo>
                    <a:pt x="1238" y="221"/>
                  </a:lnTo>
                  <a:lnTo>
                    <a:pt x="1234" y="224"/>
                  </a:lnTo>
                  <a:lnTo>
                    <a:pt x="1230" y="227"/>
                  </a:lnTo>
                  <a:lnTo>
                    <a:pt x="1230" y="231"/>
                  </a:lnTo>
                  <a:lnTo>
                    <a:pt x="1234" y="238"/>
                  </a:lnTo>
                  <a:lnTo>
                    <a:pt x="1236" y="239"/>
                  </a:lnTo>
                  <a:lnTo>
                    <a:pt x="1238" y="241"/>
                  </a:lnTo>
                  <a:lnTo>
                    <a:pt x="1238" y="244"/>
                  </a:lnTo>
                  <a:lnTo>
                    <a:pt x="1236" y="244"/>
                  </a:lnTo>
                  <a:lnTo>
                    <a:pt x="1236" y="246"/>
                  </a:lnTo>
                  <a:lnTo>
                    <a:pt x="1236" y="250"/>
                  </a:lnTo>
                  <a:lnTo>
                    <a:pt x="1235" y="252"/>
                  </a:lnTo>
                  <a:lnTo>
                    <a:pt x="1231" y="254"/>
                  </a:lnTo>
                  <a:lnTo>
                    <a:pt x="1231" y="258"/>
                  </a:lnTo>
                  <a:lnTo>
                    <a:pt x="1234" y="256"/>
                  </a:lnTo>
                  <a:lnTo>
                    <a:pt x="1234" y="259"/>
                  </a:lnTo>
                  <a:lnTo>
                    <a:pt x="1237" y="259"/>
                  </a:lnTo>
                  <a:lnTo>
                    <a:pt x="1236" y="262"/>
                  </a:lnTo>
                  <a:lnTo>
                    <a:pt x="1238" y="263"/>
                  </a:lnTo>
                  <a:lnTo>
                    <a:pt x="1236" y="265"/>
                  </a:lnTo>
                  <a:lnTo>
                    <a:pt x="1240" y="271"/>
                  </a:lnTo>
                  <a:lnTo>
                    <a:pt x="1238" y="272"/>
                  </a:lnTo>
                  <a:lnTo>
                    <a:pt x="1243" y="273"/>
                  </a:lnTo>
                  <a:lnTo>
                    <a:pt x="1240" y="276"/>
                  </a:lnTo>
                  <a:lnTo>
                    <a:pt x="1241" y="278"/>
                  </a:lnTo>
                  <a:lnTo>
                    <a:pt x="1239" y="280"/>
                  </a:lnTo>
                  <a:lnTo>
                    <a:pt x="1241" y="282"/>
                  </a:lnTo>
                  <a:lnTo>
                    <a:pt x="1239" y="280"/>
                  </a:lnTo>
                  <a:lnTo>
                    <a:pt x="1236" y="281"/>
                  </a:lnTo>
                  <a:lnTo>
                    <a:pt x="1235" y="284"/>
                  </a:lnTo>
                  <a:lnTo>
                    <a:pt x="1235" y="287"/>
                  </a:lnTo>
                  <a:lnTo>
                    <a:pt x="1234" y="288"/>
                  </a:lnTo>
                  <a:lnTo>
                    <a:pt x="1229" y="293"/>
                  </a:lnTo>
                  <a:lnTo>
                    <a:pt x="1228" y="296"/>
                  </a:lnTo>
                  <a:lnTo>
                    <a:pt x="1226" y="297"/>
                  </a:lnTo>
                  <a:lnTo>
                    <a:pt x="1226" y="299"/>
                  </a:lnTo>
                  <a:lnTo>
                    <a:pt x="1226" y="302"/>
                  </a:lnTo>
                  <a:lnTo>
                    <a:pt x="1231" y="305"/>
                  </a:lnTo>
                  <a:lnTo>
                    <a:pt x="1232" y="306"/>
                  </a:lnTo>
                  <a:lnTo>
                    <a:pt x="1238" y="308"/>
                  </a:lnTo>
                  <a:lnTo>
                    <a:pt x="1244" y="313"/>
                  </a:lnTo>
                  <a:lnTo>
                    <a:pt x="1249" y="321"/>
                  </a:lnTo>
                  <a:lnTo>
                    <a:pt x="1253" y="332"/>
                  </a:lnTo>
                  <a:lnTo>
                    <a:pt x="1253" y="345"/>
                  </a:lnTo>
                  <a:lnTo>
                    <a:pt x="1253" y="347"/>
                  </a:lnTo>
                  <a:lnTo>
                    <a:pt x="1251" y="353"/>
                  </a:lnTo>
                  <a:lnTo>
                    <a:pt x="1245" y="358"/>
                  </a:lnTo>
                  <a:lnTo>
                    <a:pt x="1244" y="361"/>
                  </a:lnTo>
                  <a:lnTo>
                    <a:pt x="1236" y="367"/>
                  </a:lnTo>
                  <a:lnTo>
                    <a:pt x="1230" y="370"/>
                  </a:lnTo>
                  <a:lnTo>
                    <a:pt x="1228" y="372"/>
                  </a:lnTo>
                  <a:lnTo>
                    <a:pt x="1224" y="372"/>
                  </a:lnTo>
                  <a:lnTo>
                    <a:pt x="1223" y="373"/>
                  </a:lnTo>
                  <a:lnTo>
                    <a:pt x="1218" y="375"/>
                  </a:lnTo>
                  <a:lnTo>
                    <a:pt x="1215" y="376"/>
                  </a:lnTo>
                  <a:lnTo>
                    <a:pt x="1212" y="378"/>
                  </a:lnTo>
                  <a:lnTo>
                    <a:pt x="1210" y="379"/>
                  </a:lnTo>
                  <a:lnTo>
                    <a:pt x="1212" y="382"/>
                  </a:lnTo>
                  <a:lnTo>
                    <a:pt x="1212" y="384"/>
                  </a:lnTo>
                  <a:lnTo>
                    <a:pt x="1214" y="387"/>
                  </a:lnTo>
                  <a:lnTo>
                    <a:pt x="1215" y="390"/>
                  </a:lnTo>
                  <a:lnTo>
                    <a:pt x="1219" y="390"/>
                  </a:lnTo>
                  <a:lnTo>
                    <a:pt x="1218" y="393"/>
                  </a:lnTo>
                  <a:lnTo>
                    <a:pt x="1220" y="395"/>
                  </a:lnTo>
                  <a:lnTo>
                    <a:pt x="1218" y="397"/>
                  </a:lnTo>
                  <a:lnTo>
                    <a:pt x="1220" y="405"/>
                  </a:lnTo>
                  <a:lnTo>
                    <a:pt x="1220" y="408"/>
                  </a:lnTo>
                  <a:lnTo>
                    <a:pt x="1221" y="410"/>
                  </a:lnTo>
                  <a:lnTo>
                    <a:pt x="1220" y="412"/>
                  </a:lnTo>
                  <a:lnTo>
                    <a:pt x="1221" y="415"/>
                  </a:lnTo>
                  <a:lnTo>
                    <a:pt x="1223" y="417"/>
                  </a:lnTo>
                  <a:lnTo>
                    <a:pt x="1224" y="418"/>
                  </a:lnTo>
                  <a:lnTo>
                    <a:pt x="1226" y="422"/>
                  </a:lnTo>
                  <a:lnTo>
                    <a:pt x="1227" y="424"/>
                  </a:lnTo>
                  <a:lnTo>
                    <a:pt x="1224" y="425"/>
                  </a:lnTo>
                  <a:lnTo>
                    <a:pt x="1219" y="433"/>
                  </a:lnTo>
                  <a:lnTo>
                    <a:pt x="1223" y="438"/>
                  </a:lnTo>
                  <a:lnTo>
                    <a:pt x="1220" y="441"/>
                  </a:lnTo>
                  <a:lnTo>
                    <a:pt x="1221" y="443"/>
                  </a:lnTo>
                  <a:lnTo>
                    <a:pt x="1220" y="443"/>
                  </a:lnTo>
                  <a:lnTo>
                    <a:pt x="1219" y="438"/>
                  </a:lnTo>
                  <a:lnTo>
                    <a:pt x="1213" y="435"/>
                  </a:lnTo>
                  <a:lnTo>
                    <a:pt x="1211" y="439"/>
                  </a:lnTo>
                  <a:lnTo>
                    <a:pt x="1211" y="439"/>
                  </a:lnTo>
                  <a:lnTo>
                    <a:pt x="1210" y="441"/>
                  </a:lnTo>
                  <a:lnTo>
                    <a:pt x="1209" y="444"/>
                  </a:lnTo>
                  <a:lnTo>
                    <a:pt x="1213" y="449"/>
                  </a:lnTo>
                  <a:lnTo>
                    <a:pt x="1214" y="451"/>
                  </a:lnTo>
                  <a:lnTo>
                    <a:pt x="1212" y="448"/>
                  </a:lnTo>
                  <a:lnTo>
                    <a:pt x="1205" y="442"/>
                  </a:lnTo>
                  <a:lnTo>
                    <a:pt x="1200" y="441"/>
                  </a:lnTo>
                  <a:lnTo>
                    <a:pt x="1196" y="443"/>
                  </a:lnTo>
                  <a:lnTo>
                    <a:pt x="1192" y="445"/>
                  </a:lnTo>
                  <a:lnTo>
                    <a:pt x="1196" y="441"/>
                  </a:lnTo>
                  <a:lnTo>
                    <a:pt x="1200" y="440"/>
                  </a:lnTo>
                  <a:lnTo>
                    <a:pt x="1198" y="438"/>
                  </a:lnTo>
                  <a:lnTo>
                    <a:pt x="1195" y="432"/>
                  </a:lnTo>
                  <a:lnTo>
                    <a:pt x="1193" y="430"/>
                  </a:lnTo>
                  <a:lnTo>
                    <a:pt x="1191" y="427"/>
                  </a:lnTo>
                  <a:lnTo>
                    <a:pt x="1187" y="427"/>
                  </a:lnTo>
                  <a:lnTo>
                    <a:pt x="1185" y="424"/>
                  </a:lnTo>
                  <a:lnTo>
                    <a:pt x="1181" y="424"/>
                  </a:lnTo>
                  <a:lnTo>
                    <a:pt x="1179" y="425"/>
                  </a:lnTo>
                  <a:lnTo>
                    <a:pt x="1179" y="424"/>
                  </a:lnTo>
                  <a:lnTo>
                    <a:pt x="1185" y="423"/>
                  </a:lnTo>
                  <a:lnTo>
                    <a:pt x="1184" y="419"/>
                  </a:lnTo>
                  <a:lnTo>
                    <a:pt x="1176" y="412"/>
                  </a:lnTo>
                  <a:lnTo>
                    <a:pt x="1174" y="410"/>
                  </a:lnTo>
                  <a:lnTo>
                    <a:pt x="1175" y="406"/>
                  </a:lnTo>
                  <a:lnTo>
                    <a:pt x="1176" y="404"/>
                  </a:lnTo>
                  <a:lnTo>
                    <a:pt x="1175" y="401"/>
                  </a:lnTo>
                  <a:lnTo>
                    <a:pt x="1175" y="398"/>
                  </a:lnTo>
                  <a:lnTo>
                    <a:pt x="1176" y="396"/>
                  </a:lnTo>
                  <a:lnTo>
                    <a:pt x="1176" y="392"/>
                  </a:lnTo>
                  <a:lnTo>
                    <a:pt x="1174" y="390"/>
                  </a:lnTo>
                  <a:lnTo>
                    <a:pt x="1172" y="387"/>
                  </a:lnTo>
                  <a:lnTo>
                    <a:pt x="1172" y="384"/>
                  </a:lnTo>
                  <a:lnTo>
                    <a:pt x="1175" y="376"/>
                  </a:lnTo>
                  <a:lnTo>
                    <a:pt x="1174" y="370"/>
                  </a:lnTo>
                  <a:lnTo>
                    <a:pt x="1168" y="370"/>
                  </a:lnTo>
                  <a:lnTo>
                    <a:pt x="1166" y="370"/>
                  </a:lnTo>
                  <a:lnTo>
                    <a:pt x="1164" y="371"/>
                  </a:lnTo>
                  <a:lnTo>
                    <a:pt x="1162" y="368"/>
                  </a:lnTo>
                  <a:lnTo>
                    <a:pt x="1157" y="367"/>
                  </a:lnTo>
                  <a:lnTo>
                    <a:pt x="1154" y="368"/>
                  </a:lnTo>
                  <a:lnTo>
                    <a:pt x="1151" y="366"/>
                  </a:lnTo>
                  <a:lnTo>
                    <a:pt x="1149" y="367"/>
                  </a:lnTo>
                  <a:lnTo>
                    <a:pt x="1146" y="366"/>
                  </a:lnTo>
                  <a:lnTo>
                    <a:pt x="1143" y="367"/>
                  </a:lnTo>
                  <a:lnTo>
                    <a:pt x="1135" y="367"/>
                  </a:lnTo>
                  <a:lnTo>
                    <a:pt x="1133" y="370"/>
                  </a:lnTo>
                  <a:lnTo>
                    <a:pt x="1130" y="373"/>
                  </a:lnTo>
                  <a:lnTo>
                    <a:pt x="1132" y="371"/>
                  </a:lnTo>
                  <a:lnTo>
                    <a:pt x="1134" y="367"/>
                  </a:lnTo>
                  <a:lnTo>
                    <a:pt x="1133" y="365"/>
                  </a:lnTo>
                  <a:lnTo>
                    <a:pt x="1129" y="363"/>
                  </a:lnTo>
                  <a:lnTo>
                    <a:pt x="1127" y="361"/>
                  </a:lnTo>
                  <a:lnTo>
                    <a:pt x="1125" y="359"/>
                  </a:lnTo>
                  <a:lnTo>
                    <a:pt x="1121" y="359"/>
                  </a:lnTo>
                  <a:lnTo>
                    <a:pt x="1119" y="358"/>
                  </a:lnTo>
                  <a:lnTo>
                    <a:pt x="1116" y="357"/>
                  </a:lnTo>
                  <a:lnTo>
                    <a:pt x="1111" y="355"/>
                  </a:lnTo>
                  <a:lnTo>
                    <a:pt x="1106" y="354"/>
                  </a:lnTo>
                  <a:lnTo>
                    <a:pt x="1102" y="353"/>
                  </a:lnTo>
                  <a:lnTo>
                    <a:pt x="1101" y="354"/>
                  </a:lnTo>
                  <a:lnTo>
                    <a:pt x="1100" y="350"/>
                  </a:lnTo>
                  <a:lnTo>
                    <a:pt x="1095" y="345"/>
                  </a:lnTo>
                  <a:lnTo>
                    <a:pt x="1090" y="342"/>
                  </a:lnTo>
                  <a:lnTo>
                    <a:pt x="1085" y="338"/>
                  </a:lnTo>
                  <a:lnTo>
                    <a:pt x="1082" y="337"/>
                  </a:lnTo>
                  <a:lnTo>
                    <a:pt x="1076" y="336"/>
                  </a:lnTo>
                  <a:lnTo>
                    <a:pt x="1068" y="333"/>
                  </a:lnTo>
                  <a:lnTo>
                    <a:pt x="1060" y="330"/>
                  </a:lnTo>
                  <a:lnTo>
                    <a:pt x="1055" y="329"/>
                  </a:lnTo>
                  <a:lnTo>
                    <a:pt x="1039" y="333"/>
                  </a:lnTo>
                  <a:lnTo>
                    <a:pt x="1035" y="335"/>
                  </a:lnTo>
                  <a:lnTo>
                    <a:pt x="1034" y="336"/>
                  </a:lnTo>
                  <a:lnTo>
                    <a:pt x="1038" y="333"/>
                  </a:lnTo>
                  <a:lnTo>
                    <a:pt x="1034" y="333"/>
                  </a:lnTo>
                  <a:lnTo>
                    <a:pt x="1032" y="335"/>
                  </a:lnTo>
                  <a:lnTo>
                    <a:pt x="1029" y="336"/>
                  </a:lnTo>
                  <a:lnTo>
                    <a:pt x="1032" y="335"/>
                  </a:lnTo>
                  <a:lnTo>
                    <a:pt x="1033" y="331"/>
                  </a:lnTo>
                  <a:lnTo>
                    <a:pt x="1035" y="329"/>
                  </a:lnTo>
                  <a:lnTo>
                    <a:pt x="1034" y="327"/>
                  </a:lnTo>
                  <a:lnTo>
                    <a:pt x="1031" y="319"/>
                  </a:lnTo>
                  <a:lnTo>
                    <a:pt x="1030" y="313"/>
                  </a:lnTo>
                  <a:lnTo>
                    <a:pt x="1029" y="310"/>
                  </a:lnTo>
                  <a:lnTo>
                    <a:pt x="1025" y="304"/>
                  </a:lnTo>
                  <a:lnTo>
                    <a:pt x="1025" y="299"/>
                  </a:lnTo>
                  <a:lnTo>
                    <a:pt x="1022" y="301"/>
                  </a:lnTo>
                  <a:lnTo>
                    <a:pt x="1019" y="298"/>
                  </a:lnTo>
                  <a:lnTo>
                    <a:pt x="1012" y="299"/>
                  </a:lnTo>
                  <a:lnTo>
                    <a:pt x="1010" y="302"/>
                  </a:lnTo>
                  <a:lnTo>
                    <a:pt x="1010" y="307"/>
                  </a:lnTo>
                  <a:lnTo>
                    <a:pt x="1008" y="310"/>
                  </a:lnTo>
                  <a:lnTo>
                    <a:pt x="1010" y="299"/>
                  </a:lnTo>
                  <a:lnTo>
                    <a:pt x="1007" y="299"/>
                  </a:lnTo>
                  <a:lnTo>
                    <a:pt x="1004" y="295"/>
                  </a:lnTo>
                  <a:lnTo>
                    <a:pt x="1000" y="293"/>
                  </a:lnTo>
                  <a:lnTo>
                    <a:pt x="1002" y="293"/>
                  </a:lnTo>
                  <a:lnTo>
                    <a:pt x="1002" y="289"/>
                  </a:lnTo>
                  <a:lnTo>
                    <a:pt x="1005" y="287"/>
                  </a:lnTo>
                  <a:lnTo>
                    <a:pt x="1002" y="281"/>
                  </a:lnTo>
                  <a:lnTo>
                    <a:pt x="1002" y="279"/>
                  </a:lnTo>
                  <a:lnTo>
                    <a:pt x="1002" y="273"/>
                  </a:lnTo>
                  <a:lnTo>
                    <a:pt x="1004" y="271"/>
                  </a:lnTo>
                  <a:lnTo>
                    <a:pt x="1004" y="269"/>
                  </a:lnTo>
                  <a:lnTo>
                    <a:pt x="1005" y="265"/>
                  </a:lnTo>
                  <a:lnTo>
                    <a:pt x="1002" y="263"/>
                  </a:lnTo>
                  <a:lnTo>
                    <a:pt x="1004" y="263"/>
                  </a:lnTo>
                  <a:lnTo>
                    <a:pt x="1006" y="263"/>
                  </a:lnTo>
                  <a:lnTo>
                    <a:pt x="1008" y="256"/>
                  </a:lnTo>
                  <a:lnTo>
                    <a:pt x="1012" y="253"/>
                  </a:lnTo>
                  <a:lnTo>
                    <a:pt x="1013" y="251"/>
                  </a:lnTo>
                  <a:lnTo>
                    <a:pt x="1013" y="248"/>
                  </a:lnTo>
                  <a:lnTo>
                    <a:pt x="1012" y="246"/>
                  </a:lnTo>
                  <a:lnTo>
                    <a:pt x="1015" y="247"/>
                  </a:lnTo>
                  <a:lnTo>
                    <a:pt x="1014" y="245"/>
                  </a:lnTo>
                  <a:lnTo>
                    <a:pt x="1015" y="242"/>
                  </a:lnTo>
                  <a:lnTo>
                    <a:pt x="1018" y="241"/>
                  </a:lnTo>
                  <a:lnTo>
                    <a:pt x="1024" y="238"/>
                  </a:lnTo>
                  <a:lnTo>
                    <a:pt x="1022" y="236"/>
                  </a:lnTo>
                  <a:lnTo>
                    <a:pt x="1019" y="236"/>
                  </a:lnTo>
                  <a:lnTo>
                    <a:pt x="1022" y="235"/>
                  </a:lnTo>
                  <a:lnTo>
                    <a:pt x="1022" y="231"/>
                  </a:lnTo>
                  <a:lnTo>
                    <a:pt x="1025" y="231"/>
                  </a:lnTo>
                  <a:lnTo>
                    <a:pt x="1029" y="230"/>
                  </a:lnTo>
                  <a:lnTo>
                    <a:pt x="1030" y="227"/>
                  </a:lnTo>
                  <a:lnTo>
                    <a:pt x="1025" y="225"/>
                  </a:lnTo>
                  <a:lnTo>
                    <a:pt x="1030" y="226"/>
                  </a:lnTo>
                  <a:lnTo>
                    <a:pt x="1033" y="229"/>
                  </a:lnTo>
                  <a:lnTo>
                    <a:pt x="1033" y="226"/>
                  </a:lnTo>
                  <a:lnTo>
                    <a:pt x="1030" y="225"/>
                  </a:lnTo>
                  <a:lnTo>
                    <a:pt x="1033" y="222"/>
                  </a:lnTo>
                  <a:lnTo>
                    <a:pt x="1033" y="220"/>
                  </a:lnTo>
                  <a:lnTo>
                    <a:pt x="1035" y="221"/>
                  </a:lnTo>
                  <a:lnTo>
                    <a:pt x="1038" y="219"/>
                  </a:lnTo>
                  <a:lnTo>
                    <a:pt x="1040" y="221"/>
                  </a:lnTo>
                  <a:lnTo>
                    <a:pt x="1042" y="219"/>
                  </a:lnTo>
                  <a:lnTo>
                    <a:pt x="1039" y="218"/>
                  </a:lnTo>
                  <a:lnTo>
                    <a:pt x="1036" y="217"/>
                  </a:lnTo>
                  <a:lnTo>
                    <a:pt x="1035" y="214"/>
                  </a:lnTo>
                  <a:lnTo>
                    <a:pt x="1039" y="214"/>
                  </a:lnTo>
                  <a:lnTo>
                    <a:pt x="1041" y="214"/>
                  </a:lnTo>
                  <a:lnTo>
                    <a:pt x="1050" y="216"/>
                  </a:lnTo>
                  <a:lnTo>
                    <a:pt x="1052" y="213"/>
                  </a:lnTo>
                  <a:lnTo>
                    <a:pt x="1055" y="212"/>
                  </a:lnTo>
                  <a:lnTo>
                    <a:pt x="1058" y="212"/>
                  </a:lnTo>
                  <a:lnTo>
                    <a:pt x="1059" y="209"/>
                  </a:lnTo>
                  <a:lnTo>
                    <a:pt x="1059" y="207"/>
                  </a:lnTo>
                  <a:lnTo>
                    <a:pt x="1058" y="204"/>
                  </a:lnTo>
                  <a:lnTo>
                    <a:pt x="1052" y="201"/>
                  </a:lnTo>
                  <a:lnTo>
                    <a:pt x="1050" y="201"/>
                  </a:lnTo>
                  <a:lnTo>
                    <a:pt x="1047" y="199"/>
                  </a:lnTo>
                  <a:lnTo>
                    <a:pt x="1044" y="196"/>
                  </a:lnTo>
                  <a:lnTo>
                    <a:pt x="1042" y="196"/>
                  </a:lnTo>
                  <a:lnTo>
                    <a:pt x="1036" y="199"/>
                  </a:lnTo>
                  <a:lnTo>
                    <a:pt x="1033" y="199"/>
                  </a:lnTo>
                  <a:lnTo>
                    <a:pt x="1036" y="196"/>
                  </a:lnTo>
                  <a:lnTo>
                    <a:pt x="1039" y="196"/>
                  </a:lnTo>
                  <a:lnTo>
                    <a:pt x="1036" y="195"/>
                  </a:lnTo>
                  <a:lnTo>
                    <a:pt x="1033" y="193"/>
                  </a:lnTo>
                  <a:lnTo>
                    <a:pt x="1031" y="193"/>
                  </a:lnTo>
                  <a:lnTo>
                    <a:pt x="1029" y="193"/>
                  </a:lnTo>
                  <a:lnTo>
                    <a:pt x="1022" y="190"/>
                  </a:lnTo>
                  <a:lnTo>
                    <a:pt x="1023" y="193"/>
                  </a:lnTo>
                  <a:lnTo>
                    <a:pt x="1021" y="193"/>
                  </a:lnTo>
                  <a:lnTo>
                    <a:pt x="1016" y="191"/>
                  </a:lnTo>
                  <a:lnTo>
                    <a:pt x="1016" y="190"/>
                  </a:lnTo>
                  <a:lnTo>
                    <a:pt x="1019" y="190"/>
                  </a:lnTo>
                  <a:lnTo>
                    <a:pt x="1016" y="185"/>
                  </a:lnTo>
                  <a:lnTo>
                    <a:pt x="1019" y="187"/>
                  </a:lnTo>
                  <a:lnTo>
                    <a:pt x="1022" y="190"/>
                  </a:lnTo>
                  <a:lnTo>
                    <a:pt x="1031" y="192"/>
                  </a:lnTo>
                  <a:lnTo>
                    <a:pt x="1035" y="194"/>
                  </a:lnTo>
                  <a:lnTo>
                    <a:pt x="1039" y="195"/>
                  </a:lnTo>
                  <a:lnTo>
                    <a:pt x="1041" y="193"/>
                  </a:lnTo>
                  <a:lnTo>
                    <a:pt x="1044" y="195"/>
                  </a:lnTo>
                  <a:lnTo>
                    <a:pt x="1049" y="195"/>
                  </a:lnTo>
                  <a:lnTo>
                    <a:pt x="1051" y="197"/>
                  </a:lnTo>
                  <a:lnTo>
                    <a:pt x="1057" y="199"/>
                  </a:lnTo>
                  <a:lnTo>
                    <a:pt x="1063" y="196"/>
                  </a:lnTo>
                  <a:lnTo>
                    <a:pt x="1065" y="197"/>
                  </a:lnTo>
                  <a:lnTo>
                    <a:pt x="1068" y="194"/>
                  </a:lnTo>
                  <a:lnTo>
                    <a:pt x="1068" y="193"/>
                  </a:lnTo>
                  <a:lnTo>
                    <a:pt x="1066" y="190"/>
                  </a:lnTo>
                  <a:lnTo>
                    <a:pt x="1068" y="190"/>
                  </a:lnTo>
                  <a:lnTo>
                    <a:pt x="1069" y="187"/>
                  </a:lnTo>
                  <a:lnTo>
                    <a:pt x="1067" y="186"/>
                  </a:lnTo>
                  <a:lnTo>
                    <a:pt x="1068" y="186"/>
                  </a:lnTo>
                  <a:lnTo>
                    <a:pt x="1070" y="185"/>
                  </a:lnTo>
                  <a:lnTo>
                    <a:pt x="1072" y="187"/>
                  </a:lnTo>
                  <a:lnTo>
                    <a:pt x="1074" y="190"/>
                  </a:lnTo>
                  <a:lnTo>
                    <a:pt x="1075" y="191"/>
                  </a:lnTo>
                  <a:lnTo>
                    <a:pt x="1074" y="188"/>
                  </a:lnTo>
                  <a:lnTo>
                    <a:pt x="1077" y="188"/>
                  </a:lnTo>
                  <a:lnTo>
                    <a:pt x="1079" y="190"/>
                  </a:lnTo>
                  <a:lnTo>
                    <a:pt x="1078" y="187"/>
                  </a:lnTo>
                  <a:lnTo>
                    <a:pt x="1082" y="188"/>
                  </a:lnTo>
                  <a:lnTo>
                    <a:pt x="1084" y="190"/>
                  </a:lnTo>
                  <a:lnTo>
                    <a:pt x="1087" y="190"/>
                  </a:lnTo>
                  <a:lnTo>
                    <a:pt x="1095" y="185"/>
                  </a:lnTo>
                  <a:lnTo>
                    <a:pt x="1098" y="179"/>
                  </a:lnTo>
                  <a:lnTo>
                    <a:pt x="1102" y="176"/>
                  </a:lnTo>
                  <a:lnTo>
                    <a:pt x="1103" y="173"/>
                  </a:lnTo>
                  <a:lnTo>
                    <a:pt x="1108" y="168"/>
                  </a:lnTo>
                  <a:lnTo>
                    <a:pt x="1109" y="166"/>
                  </a:lnTo>
                  <a:lnTo>
                    <a:pt x="1109" y="162"/>
                  </a:lnTo>
                  <a:lnTo>
                    <a:pt x="1106" y="161"/>
                  </a:lnTo>
                  <a:lnTo>
                    <a:pt x="1103" y="161"/>
                  </a:lnTo>
                  <a:lnTo>
                    <a:pt x="1100" y="161"/>
                  </a:lnTo>
                  <a:lnTo>
                    <a:pt x="1094" y="161"/>
                  </a:lnTo>
                  <a:lnTo>
                    <a:pt x="1086" y="160"/>
                  </a:lnTo>
                  <a:lnTo>
                    <a:pt x="1082" y="160"/>
                  </a:lnTo>
                  <a:lnTo>
                    <a:pt x="1078" y="158"/>
                  </a:lnTo>
                  <a:lnTo>
                    <a:pt x="1076" y="156"/>
                  </a:lnTo>
                  <a:lnTo>
                    <a:pt x="1074" y="153"/>
                  </a:lnTo>
                  <a:lnTo>
                    <a:pt x="1070" y="151"/>
                  </a:lnTo>
                  <a:lnTo>
                    <a:pt x="1068" y="149"/>
                  </a:lnTo>
                  <a:lnTo>
                    <a:pt x="1060" y="148"/>
                  </a:lnTo>
                  <a:lnTo>
                    <a:pt x="1055" y="147"/>
                  </a:lnTo>
                  <a:lnTo>
                    <a:pt x="1051" y="148"/>
                  </a:lnTo>
                  <a:lnTo>
                    <a:pt x="1049" y="147"/>
                  </a:lnTo>
                  <a:lnTo>
                    <a:pt x="1055" y="147"/>
                  </a:lnTo>
                  <a:lnTo>
                    <a:pt x="1060" y="148"/>
                  </a:lnTo>
                  <a:lnTo>
                    <a:pt x="1063" y="147"/>
                  </a:lnTo>
                  <a:lnTo>
                    <a:pt x="1066" y="148"/>
                  </a:lnTo>
                  <a:lnTo>
                    <a:pt x="1068" y="148"/>
                  </a:lnTo>
                  <a:lnTo>
                    <a:pt x="1070" y="149"/>
                  </a:lnTo>
                  <a:lnTo>
                    <a:pt x="1068" y="147"/>
                  </a:lnTo>
                  <a:lnTo>
                    <a:pt x="1074" y="147"/>
                  </a:lnTo>
                  <a:lnTo>
                    <a:pt x="1082" y="151"/>
                  </a:lnTo>
                  <a:lnTo>
                    <a:pt x="1090" y="153"/>
                  </a:lnTo>
                  <a:lnTo>
                    <a:pt x="1084" y="153"/>
                  </a:lnTo>
                  <a:lnTo>
                    <a:pt x="1090" y="156"/>
                  </a:lnTo>
                  <a:lnTo>
                    <a:pt x="1092" y="158"/>
                  </a:lnTo>
                  <a:lnTo>
                    <a:pt x="1095" y="159"/>
                  </a:lnTo>
                  <a:lnTo>
                    <a:pt x="1098" y="160"/>
                  </a:lnTo>
                  <a:lnTo>
                    <a:pt x="1103" y="160"/>
                  </a:lnTo>
                  <a:lnTo>
                    <a:pt x="1106" y="159"/>
                  </a:lnTo>
                  <a:lnTo>
                    <a:pt x="1108" y="157"/>
                  </a:lnTo>
                  <a:lnTo>
                    <a:pt x="1116" y="151"/>
                  </a:lnTo>
                  <a:lnTo>
                    <a:pt x="1117" y="150"/>
                  </a:lnTo>
                  <a:lnTo>
                    <a:pt x="1117" y="149"/>
                  </a:lnTo>
                  <a:lnTo>
                    <a:pt x="1121" y="145"/>
                  </a:lnTo>
                  <a:lnTo>
                    <a:pt x="1123" y="142"/>
                  </a:lnTo>
                  <a:lnTo>
                    <a:pt x="1123" y="140"/>
                  </a:lnTo>
                  <a:lnTo>
                    <a:pt x="1119" y="139"/>
                  </a:lnTo>
                  <a:lnTo>
                    <a:pt x="1118" y="139"/>
                  </a:lnTo>
                  <a:lnTo>
                    <a:pt x="1113" y="137"/>
                  </a:lnTo>
                  <a:lnTo>
                    <a:pt x="1113" y="134"/>
                  </a:lnTo>
                  <a:lnTo>
                    <a:pt x="1116" y="133"/>
                  </a:lnTo>
                  <a:lnTo>
                    <a:pt x="1119" y="133"/>
                  </a:lnTo>
                  <a:lnTo>
                    <a:pt x="1121" y="133"/>
                  </a:lnTo>
                  <a:lnTo>
                    <a:pt x="1125" y="133"/>
                  </a:lnTo>
                  <a:lnTo>
                    <a:pt x="1127" y="133"/>
                  </a:lnTo>
                  <a:lnTo>
                    <a:pt x="1129" y="132"/>
                  </a:lnTo>
                  <a:lnTo>
                    <a:pt x="1132" y="134"/>
                  </a:lnTo>
                  <a:lnTo>
                    <a:pt x="1133" y="136"/>
                  </a:lnTo>
                  <a:lnTo>
                    <a:pt x="1137" y="139"/>
                  </a:lnTo>
                  <a:lnTo>
                    <a:pt x="1137" y="139"/>
                  </a:lnTo>
                  <a:lnTo>
                    <a:pt x="1138" y="139"/>
                  </a:lnTo>
                  <a:lnTo>
                    <a:pt x="1141" y="140"/>
                  </a:lnTo>
                  <a:lnTo>
                    <a:pt x="1144" y="141"/>
                  </a:lnTo>
                  <a:lnTo>
                    <a:pt x="1143" y="139"/>
                  </a:lnTo>
                  <a:lnTo>
                    <a:pt x="1143" y="135"/>
                  </a:lnTo>
                  <a:lnTo>
                    <a:pt x="1145" y="139"/>
                  </a:lnTo>
                  <a:lnTo>
                    <a:pt x="1147" y="137"/>
                  </a:lnTo>
                  <a:lnTo>
                    <a:pt x="1151" y="140"/>
                  </a:lnTo>
                  <a:lnTo>
                    <a:pt x="1153" y="141"/>
                  </a:lnTo>
                  <a:lnTo>
                    <a:pt x="1153" y="139"/>
                  </a:lnTo>
                  <a:lnTo>
                    <a:pt x="1153" y="137"/>
                  </a:lnTo>
                  <a:lnTo>
                    <a:pt x="1152" y="135"/>
                  </a:lnTo>
                  <a:lnTo>
                    <a:pt x="1150" y="133"/>
                  </a:lnTo>
                  <a:lnTo>
                    <a:pt x="1149" y="130"/>
                  </a:lnTo>
                  <a:lnTo>
                    <a:pt x="1146" y="130"/>
                  </a:lnTo>
                  <a:lnTo>
                    <a:pt x="1143" y="126"/>
                  </a:lnTo>
                  <a:lnTo>
                    <a:pt x="1141" y="125"/>
                  </a:lnTo>
                  <a:lnTo>
                    <a:pt x="1137" y="124"/>
                  </a:lnTo>
                  <a:lnTo>
                    <a:pt x="1135" y="126"/>
                  </a:lnTo>
                  <a:lnTo>
                    <a:pt x="1136" y="123"/>
                  </a:lnTo>
                  <a:lnTo>
                    <a:pt x="1137" y="123"/>
                  </a:lnTo>
                  <a:lnTo>
                    <a:pt x="1137" y="123"/>
                  </a:lnTo>
                  <a:lnTo>
                    <a:pt x="1141" y="123"/>
                  </a:lnTo>
                  <a:lnTo>
                    <a:pt x="1138" y="123"/>
                  </a:lnTo>
                  <a:lnTo>
                    <a:pt x="1142" y="122"/>
                  </a:lnTo>
                  <a:lnTo>
                    <a:pt x="1144" y="123"/>
                  </a:lnTo>
                  <a:lnTo>
                    <a:pt x="1142" y="123"/>
                  </a:lnTo>
                  <a:lnTo>
                    <a:pt x="1145" y="124"/>
                  </a:lnTo>
                  <a:lnTo>
                    <a:pt x="1145" y="126"/>
                  </a:lnTo>
                  <a:lnTo>
                    <a:pt x="1147" y="128"/>
                  </a:lnTo>
                  <a:lnTo>
                    <a:pt x="1151" y="127"/>
                  </a:lnTo>
                  <a:lnTo>
                    <a:pt x="1152" y="130"/>
                  </a:lnTo>
                  <a:lnTo>
                    <a:pt x="1152" y="132"/>
                  </a:lnTo>
                  <a:lnTo>
                    <a:pt x="1154" y="133"/>
                  </a:lnTo>
                  <a:lnTo>
                    <a:pt x="1157" y="135"/>
                  </a:lnTo>
                  <a:lnTo>
                    <a:pt x="1160" y="136"/>
                  </a:lnTo>
                  <a:lnTo>
                    <a:pt x="1162" y="135"/>
                  </a:lnTo>
                  <a:lnTo>
                    <a:pt x="1164" y="132"/>
                  </a:lnTo>
                  <a:lnTo>
                    <a:pt x="1168" y="132"/>
                  </a:lnTo>
                  <a:lnTo>
                    <a:pt x="1170" y="131"/>
                  </a:lnTo>
                  <a:lnTo>
                    <a:pt x="1172" y="128"/>
                  </a:lnTo>
                  <a:lnTo>
                    <a:pt x="1176" y="128"/>
                  </a:lnTo>
                  <a:lnTo>
                    <a:pt x="1177" y="126"/>
                  </a:lnTo>
                  <a:lnTo>
                    <a:pt x="1178" y="123"/>
                  </a:lnTo>
                  <a:lnTo>
                    <a:pt x="1180" y="122"/>
                  </a:lnTo>
                  <a:lnTo>
                    <a:pt x="1184" y="122"/>
                  </a:lnTo>
                  <a:lnTo>
                    <a:pt x="1186" y="119"/>
                  </a:lnTo>
                  <a:lnTo>
                    <a:pt x="1186" y="116"/>
                  </a:lnTo>
                  <a:lnTo>
                    <a:pt x="1187" y="114"/>
                  </a:lnTo>
                  <a:lnTo>
                    <a:pt x="1188" y="110"/>
                  </a:lnTo>
                  <a:lnTo>
                    <a:pt x="1186" y="108"/>
                  </a:lnTo>
                  <a:lnTo>
                    <a:pt x="1183" y="107"/>
                  </a:lnTo>
                  <a:lnTo>
                    <a:pt x="1180" y="105"/>
                  </a:lnTo>
                  <a:lnTo>
                    <a:pt x="1178" y="101"/>
                  </a:lnTo>
                  <a:lnTo>
                    <a:pt x="1176" y="99"/>
                  </a:lnTo>
                  <a:lnTo>
                    <a:pt x="1176" y="97"/>
                  </a:lnTo>
                  <a:lnTo>
                    <a:pt x="1177" y="93"/>
                  </a:lnTo>
                  <a:lnTo>
                    <a:pt x="1175" y="96"/>
                  </a:lnTo>
                  <a:lnTo>
                    <a:pt x="1174" y="93"/>
                  </a:lnTo>
                  <a:lnTo>
                    <a:pt x="1171" y="92"/>
                  </a:lnTo>
                  <a:lnTo>
                    <a:pt x="1171" y="89"/>
                  </a:lnTo>
                  <a:lnTo>
                    <a:pt x="1169" y="89"/>
                  </a:lnTo>
                  <a:lnTo>
                    <a:pt x="1169" y="87"/>
                  </a:lnTo>
                  <a:lnTo>
                    <a:pt x="1172" y="88"/>
                  </a:lnTo>
                  <a:lnTo>
                    <a:pt x="1175" y="88"/>
                  </a:lnTo>
                  <a:lnTo>
                    <a:pt x="1178" y="89"/>
                  </a:lnTo>
                  <a:lnTo>
                    <a:pt x="1178" y="89"/>
                  </a:lnTo>
                  <a:lnTo>
                    <a:pt x="1181" y="87"/>
                  </a:lnTo>
                  <a:lnTo>
                    <a:pt x="1184" y="87"/>
                  </a:lnTo>
                  <a:lnTo>
                    <a:pt x="1186" y="84"/>
                  </a:lnTo>
                  <a:lnTo>
                    <a:pt x="1188" y="82"/>
                  </a:lnTo>
                  <a:lnTo>
                    <a:pt x="1187" y="79"/>
                  </a:lnTo>
                  <a:lnTo>
                    <a:pt x="1185" y="79"/>
                  </a:lnTo>
                  <a:lnTo>
                    <a:pt x="1181" y="77"/>
                  </a:lnTo>
                  <a:lnTo>
                    <a:pt x="1179" y="77"/>
                  </a:lnTo>
                  <a:lnTo>
                    <a:pt x="1181" y="76"/>
                  </a:lnTo>
                  <a:lnTo>
                    <a:pt x="1184" y="74"/>
                  </a:lnTo>
                  <a:lnTo>
                    <a:pt x="1187" y="73"/>
                  </a:lnTo>
                  <a:lnTo>
                    <a:pt x="1186" y="70"/>
                  </a:lnTo>
                  <a:lnTo>
                    <a:pt x="1184" y="70"/>
                  </a:lnTo>
                  <a:lnTo>
                    <a:pt x="1180" y="68"/>
                  </a:lnTo>
                  <a:lnTo>
                    <a:pt x="1178" y="68"/>
                  </a:lnTo>
                  <a:lnTo>
                    <a:pt x="1175" y="70"/>
                  </a:lnTo>
                  <a:lnTo>
                    <a:pt x="1174" y="66"/>
                  </a:lnTo>
                  <a:lnTo>
                    <a:pt x="1171" y="64"/>
                  </a:lnTo>
                  <a:lnTo>
                    <a:pt x="1170" y="64"/>
                  </a:lnTo>
                  <a:lnTo>
                    <a:pt x="1167" y="63"/>
                  </a:lnTo>
                  <a:lnTo>
                    <a:pt x="1164" y="63"/>
                  </a:lnTo>
                  <a:lnTo>
                    <a:pt x="1161" y="62"/>
                  </a:lnTo>
                  <a:lnTo>
                    <a:pt x="1164" y="62"/>
                  </a:lnTo>
                  <a:lnTo>
                    <a:pt x="1167" y="63"/>
                  </a:lnTo>
                  <a:lnTo>
                    <a:pt x="1170" y="63"/>
                  </a:lnTo>
                  <a:lnTo>
                    <a:pt x="1169" y="60"/>
                  </a:lnTo>
                  <a:lnTo>
                    <a:pt x="1171" y="59"/>
                  </a:lnTo>
                  <a:lnTo>
                    <a:pt x="1175" y="59"/>
                  </a:lnTo>
                  <a:lnTo>
                    <a:pt x="1171" y="59"/>
                  </a:lnTo>
                  <a:lnTo>
                    <a:pt x="1169" y="58"/>
                  </a:lnTo>
                  <a:lnTo>
                    <a:pt x="1166" y="58"/>
                  </a:lnTo>
                  <a:lnTo>
                    <a:pt x="1163" y="58"/>
                  </a:lnTo>
                  <a:lnTo>
                    <a:pt x="1160" y="58"/>
                  </a:lnTo>
                  <a:lnTo>
                    <a:pt x="1158" y="58"/>
                  </a:lnTo>
                  <a:lnTo>
                    <a:pt x="1155" y="58"/>
                  </a:lnTo>
                  <a:lnTo>
                    <a:pt x="1152" y="57"/>
                  </a:lnTo>
                  <a:lnTo>
                    <a:pt x="1146" y="55"/>
                  </a:lnTo>
                  <a:lnTo>
                    <a:pt x="1144" y="54"/>
                  </a:lnTo>
                  <a:lnTo>
                    <a:pt x="1141" y="55"/>
                  </a:lnTo>
                  <a:lnTo>
                    <a:pt x="1138" y="54"/>
                  </a:lnTo>
                  <a:lnTo>
                    <a:pt x="1135" y="56"/>
                  </a:lnTo>
                  <a:lnTo>
                    <a:pt x="1133" y="55"/>
                  </a:lnTo>
                  <a:lnTo>
                    <a:pt x="1129" y="54"/>
                  </a:lnTo>
                  <a:lnTo>
                    <a:pt x="1128" y="55"/>
                  </a:lnTo>
                  <a:lnTo>
                    <a:pt x="1132" y="55"/>
                  </a:lnTo>
                  <a:lnTo>
                    <a:pt x="1130" y="57"/>
                  </a:lnTo>
                  <a:lnTo>
                    <a:pt x="1130" y="60"/>
                  </a:lnTo>
                  <a:lnTo>
                    <a:pt x="1129" y="63"/>
                  </a:lnTo>
                  <a:lnTo>
                    <a:pt x="1130" y="66"/>
                  </a:lnTo>
                  <a:lnTo>
                    <a:pt x="1130" y="68"/>
                  </a:lnTo>
                  <a:lnTo>
                    <a:pt x="1134" y="71"/>
                  </a:lnTo>
                  <a:lnTo>
                    <a:pt x="1136" y="71"/>
                  </a:lnTo>
                  <a:lnTo>
                    <a:pt x="1138" y="73"/>
                  </a:lnTo>
                  <a:lnTo>
                    <a:pt x="1142" y="74"/>
                  </a:lnTo>
                  <a:lnTo>
                    <a:pt x="1138" y="74"/>
                  </a:lnTo>
                  <a:lnTo>
                    <a:pt x="1137" y="75"/>
                  </a:lnTo>
                  <a:lnTo>
                    <a:pt x="1140" y="76"/>
                  </a:lnTo>
                  <a:lnTo>
                    <a:pt x="1137" y="76"/>
                  </a:lnTo>
                  <a:lnTo>
                    <a:pt x="1134" y="77"/>
                  </a:lnTo>
                  <a:lnTo>
                    <a:pt x="1137" y="80"/>
                  </a:lnTo>
                  <a:lnTo>
                    <a:pt x="1140" y="80"/>
                  </a:lnTo>
                  <a:lnTo>
                    <a:pt x="1137" y="81"/>
                  </a:lnTo>
                  <a:lnTo>
                    <a:pt x="1134" y="81"/>
                  </a:lnTo>
                  <a:lnTo>
                    <a:pt x="1133" y="81"/>
                  </a:lnTo>
                  <a:lnTo>
                    <a:pt x="1129" y="81"/>
                  </a:lnTo>
                  <a:lnTo>
                    <a:pt x="1126" y="84"/>
                  </a:lnTo>
                  <a:lnTo>
                    <a:pt x="1127" y="87"/>
                  </a:lnTo>
                  <a:lnTo>
                    <a:pt x="1127" y="90"/>
                  </a:lnTo>
                  <a:lnTo>
                    <a:pt x="1125" y="92"/>
                  </a:lnTo>
                  <a:lnTo>
                    <a:pt x="1125" y="94"/>
                  </a:lnTo>
                  <a:lnTo>
                    <a:pt x="1125" y="98"/>
                  </a:lnTo>
                  <a:lnTo>
                    <a:pt x="1121" y="99"/>
                  </a:lnTo>
                  <a:lnTo>
                    <a:pt x="1118" y="102"/>
                  </a:lnTo>
                  <a:lnTo>
                    <a:pt x="1116" y="106"/>
                  </a:lnTo>
                  <a:lnTo>
                    <a:pt x="1117" y="108"/>
                  </a:lnTo>
                  <a:lnTo>
                    <a:pt x="1117" y="111"/>
                  </a:lnTo>
                  <a:lnTo>
                    <a:pt x="1116" y="114"/>
                  </a:lnTo>
                  <a:lnTo>
                    <a:pt x="1113" y="113"/>
                  </a:lnTo>
                  <a:lnTo>
                    <a:pt x="1110" y="114"/>
                  </a:lnTo>
                  <a:lnTo>
                    <a:pt x="1109" y="116"/>
                  </a:lnTo>
                  <a:lnTo>
                    <a:pt x="1107" y="116"/>
                  </a:lnTo>
                  <a:lnTo>
                    <a:pt x="1106" y="119"/>
                  </a:lnTo>
                  <a:lnTo>
                    <a:pt x="1102" y="119"/>
                  </a:lnTo>
                  <a:lnTo>
                    <a:pt x="1103" y="117"/>
                  </a:lnTo>
                  <a:lnTo>
                    <a:pt x="1103" y="114"/>
                  </a:lnTo>
                  <a:lnTo>
                    <a:pt x="1100" y="111"/>
                  </a:lnTo>
                  <a:lnTo>
                    <a:pt x="1098" y="109"/>
                  </a:lnTo>
                  <a:lnTo>
                    <a:pt x="1094" y="107"/>
                  </a:lnTo>
                  <a:lnTo>
                    <a:pt x="1091" y="101"/>
                  </a:lnTo>
                  <a:lnTo>
                    <a:pt x="1091" y="99"/>
                  </a:lnTo>
                  <a:lnTo>
                    <a:pt x="1092" y="97"/>
                  </a:lnTo>
                  <a:lnTo>
                    <a:pt x="1091" y="93"/>
                  </a:lnTo>
                  <a:lnTo>
                    <a:pt x="1092" y="91"/>
                  </a:lnTo>
                  <a:lnTo>
                    <a:pt x="1094" y="93"/>
                  </a:lnTo>
                  <a:lnTo>
                    <a:pt x="1098" y="93"/>
                  </a:lnTo>
                  <a:lnTo>
                    <a:pt x="1098" y="92"/>
                  </a:lnTo>
                  <a:lnTo>
                    <a:pt x="1099" y="90"/>
                  </a:lnTo>
                  <a:lnTo>
                    <a:pt x="1096" y="84"/>
                  </a:lnTo>
                  <a:lnTo>
                    <a:pt x="1096" y="82"/>
                  </a:lnTo>
                  <a:lnTo>
                    <a:pt x="1094" y="79"/>
                  </a:lnTo>
                  <a:lnTo>
                    <a:pt x="1092" y="76"/>
                  </a:lnTo>
                  <a:lnTo>
                    <a:pt x="1086" y="73"/>
                  </a:lnTo>
                  <a:lnTo>
                    <a:pt x="1081" y="68"/>
                  </a:lnTo>
                  <a:lnTo>
                    <a:pt x="1078" y="68"/>
                  </a:lnTo>
                  <a:lnTo>
                    <a:pt x="1073" y="74"/>
                  </a:lnTo>
                  <a:lnTo>
                    <a:pt x="1072" y="76"/>
                  </a:lnTo>
                  <a:lnTo>
                    <a:pt x="1073" y="79"/>
                  </a:lnTo>
                  <a:lnTo>
                    <a:pt x="1072" y="82"/>
                  </a:lnTo>
                  <a:lnTo>
                    <a:pt x="1069" y="84"/>
                  </a:lnTo>
                  <a:lnTo>
                    <a:pt x="1070" y="85"/>
                  </a:lnTo>
                  <a:lnTo>
                    <a:pt x="1068" y="89"/>
                  </a:lnTo>
                  <a:lnTo>
                    <a:pt x="1068" y="90"/>
                  </a:lnTo>
                  <a:lnTo>
                    <a:pt x="1067" y="91"/>
                  </a:lnTo>
                  <a:lnTo>
                    <a:pt x="1064" y="92"/>
                  </a:lnTo>
                  <a:lnTo>
                    <a:pt x="1063" y="89"/>
                  </a:lnTo>
                  <a:lnTo>
                    <a:pt x="1060" y="84"/>
                  </a:lnTo>
                  <a:lnTo>
                    <a:pt x="1061" y="79"/>
                  </a:lnTo>
                  <a:lnTo>
                    <a:pt x="1059" y="73"/>
                  </a:lnTo>
                  <a:lnTo>
                    <a:pt x="1051" y="68"/>
                  </a:lnTo>
                  <a:lnTo>
                    <a:pt x="1053" y="67"/>
                  </a:lnTo>
                  <a:lnTo>
                    <a:pt x="1053" y="68"/>
                  </a:lnTo>
                  <a:lnTo>
                    <a:pt x="1056" y="68"/>
                  </a:lnTo>
                  <a:lnTo>
                    <a:pt x="1058" y="66"/>
                  </a:lnTo>
                  <a:lnTo>
                    <a:pt x="1060" y="65"/>
                  </a:lnTo>
                  <a:lnTo>
                    <a:pt x="1063" y="65"/>
                  </a:lnTo>
                  <a:lnTo>
                    <a:pt x="1060" y="63"/>
                  </a:lnTo>
                  <a:lnTo>
                    <a:pt x="1058" y="63"/>
                  </a:lnTo>
                  <a:lnTo>
                    <a:pt x="1052" y="62"/>
                  </a:lnTo>
                  <a:lnTo>
                    <a:pt x="1049" y="62"/>
                  </a:lnTo>
                  <a:lnTo>
                    <a:pt x="1052" y="60"/>
                  </a:lnTo>
                  <a:lnTo>
                    <a:pt x="1049" y="59"/>
                  </a:lnTo>
                  <a:lnTo>
                    <a:pt x="1047" y="60"/>
                  </a:lnTo>
                  <a:lnTo>
                    <a:pt x="1046" y="62"/>
                  </a:lnTo>
                  <a:lnTo>
                    <a:pt x="1042" y="63"/>
                  </a:lnTo>
                  <a:lnTo>
                    <a:pt x="1040" y="62"/>
                  </a:lnTo>
                  <a:lnTo>
                    <a:pt x="1034" y="58"/>
                  </a:lnTo>
                  <a:lnTo>
                    <a:pt x="1032" y="59"/>
                  </a:lnTo>
                  <a:lnTo>
                    <a:pt x="1029" y="59"/>
                  </a:lnTo>
                  <a:lnTo>
                    <a:pt x="1032" y="58"/>
                  </a:lnTo>
                  <a:lnTo>
                    <a:pt x="1030" y="58"/>
                  </a:lnTo>
                  <a:lnTo>
                    <a:pt x="1038" y="54"/>
                  </a:lnTo>
                  <a:lnTo>
                    <a:pt x="1040" y="51"/>
                  </a:lnTo>
                  <a:lnTo>
                    <a:pt x="1041" y="50"/>
                  </a:lnTo>
                  <a:lnTo>
                    <a:pt x="1038" y="49"/>
                  </a:lnTo>
                  <a:lnTo>
                    <a:pt x="1035" y="49"/>
                  </a:lnTo>
                  <a:lnTo>
                    <a:pt x="1036" y="46"/>
                  </a:lnTo>
                  <a:lnTo>
                    <a:pt x="1039" y="47"/>
                  </a:lnTo>
                  <a:lnTo>
                    <a:pt x="1042" y="48"/>
                  </a:lnTo>
                  <a:lnTo>
                    <a:pt x="1047" y="47"/>
                  </a:lnTo>
                  <a:lnTo>
                    <a:pt x="1043" y="41"/>
                  </a:lnTo>
                  <a:lnTo>
                    <a:pt x="1040" y="43"/>
                  </a:lnTo>
                  <a:lnTo>
                    <a:pt x="1040" y="40"/>
                  </a:lnTo>
                  <a:lnTo>
                    <a:pt x="1038" y="39"/>
                  </a:lnTo>
                  <a:lnTo>
                    <a:pt x="1039" y="36"/>
                  </a:lnTo>
                  <a:lnTo>
                    <a:pt x="1033" y="33"/>
                  </a:lnTo>
                  <a:lnTo>
                    <a:pt x="1030" y="31"/>
                  </a:lnTo>
                  <a:lnTo>
                    <a:pt x="1027" y="30"/>
                  </a:lnTo>
                  <a:lnTo>
                    <a:pt x="1029" y="26"/>
                  </a:lnTo>
                  <a:lnTo>
                    <a:pt x="1029" y="22"/>
                  </a:lnTo>
                  <a:lnTo>
                    <a:pt x="1029" y="19"/>
                  </a:lnTo>
                  <a:lnTo>
                    <a:pt x="1025" y="16"/>
                  </a:lnTo>
                  <a:lnTo>
                    <a:pt x="1024" y="14"/>
                  </a:lnTo>
                  <a:lnTo>
                    <a:pt x="1018" y="12"/>
                  </a:lnTo>
                  <a:lnTo>
                    <a:pt x="1017" y="8"/>
                  </a:lnTo>
                  <a:lnTo>
                    <a:pt x="1014" y="7"/>
                  </a:lnTo>
                  <a:lnTo>
                    <a:pt x="1012" y="7"/>
                  </a:lnTo>
                  <a:lnTo>
                    <a:pt x="1009" y="8"/>
                  </a:lnTo>
                  <a:lnTo>
                    <a:pt x="1008" y="5"/>
                  </a:lnTo>
                  <a:lnTo>
                    <a:pt x="1006" y="7"/>
                  </a:lnTo>
                  <a:lnTo>
                    <a:pt x="1006" y="5"/>
                  </a:lnTo>
                  <a:lnTo>
                    <a:pt x="1007" y="2"/>
                  </a:lnTo>
                  <a:lnTo>
                    <a:pt x="1004" y="0"/>
                  </a:lnTo>
                  <a:lnTo>
                    <a:pt x="998" y="2"/>
                  </a:lnTo>
                  <a:lnTo>
                    <a:pt x="997" y="5"/>
                  </a:lnTo>
                  <a:lnTo>
                    <a:pt x="1002" y="5"/>
                  </a:lnTo>
                  <a:lnTo>
                    <a:pt x="1005" y="4"/>
                  </a:lnTo>
                  <a:lnTo>
                    <a:pt x="1002" y="5"/>
                  </a:lnTo>
                  <a:lnTo>
                    <a:pt x="997" y="5"/>
                  </a:lnTo>
                  <a:lnTo>
                    <a:pt x="995" y="8"/>
                  </a:lnTo>
                  <a:lnTo>
                    <a:pt x="989" y="11"/>
                  </a:lnTo>
                  <a:lnTo>
                    <a:pt x="989" y="13"/>
                  </a:lnTo>
                  <a:lnTo>
                    <a:pt x="991" y="14"/>
                  </a:lnTo>
                  <a:lnTo>
                    <a:pt x="995" y="13"/>
                  </a:lnTo>
                  <a:lnTo>
                    <a:pt x="992" y="16"/>
                  </a:lnTo>
                  <a:lnTo>
                    <a:pt x="992" y="19"/>
                  </a:lnTo>
                  <a:lnTo>
                    <a:pt x="990" y="19"/>
                  </a:lnTo>
                  <a:lnTo>
                    <a:pt x="987" y="15"/>
                  </a:lnTo>
                  <a:lnTo>
                    <a:pt x="983" y="16"/>
                  </a:lnTo>
                  <a:lnTo>
                    <a:pt x="981" y="19"/>
                  </a:lnTo>
                  <a:lnTo>
                    <a:pt x="979" y="26"/>
                  </a:lnTo>
                  <a:lnTo>
                    <a:pt x="978" y="30"/>
                  </a:lnTo>
                  <a:lnTo>
                    <a:pt x="980" y="32"/>
                  </a:lnTo>
                  <a:lnTo>
                    <a:pt x="982" y="34"/>
                  </a:lnTo>
                  <a:lnTo>
                    <a:pt x="984" y="34"/>
                  </a:lnTo>
                  <a:lnTo>
                    <a:pt x="988" y="33"/>
                  </a:lnTo>
                  <a:lnTo>
                    <a:pt x="985" y="36"/>
                  </a:lnTo>
                  <a:lnTo>
                    <a:pt x="988" y="37"/>
                  </a:lnTo>
                  <a:lnTo>
                    <a:pt x="985" y="36"/>
                  </a:lnTo>
                  <a:lnTo>
                    <a:pt x="982" y="37"/>
                  </a:lnTo>
                  <a:lnTo>
                    <a:pt x="981" y="40"/>
                  </a:lnTo>
                  <a:lnTo>
                    <a:pt x="979" y="42"/>
                  </a:lnTo>
                  <a:lnTo>
                    <a:pt x="979" y="45"/>
                  </a:lnTo>
                  <a:lnTo>
                    <a:pt x="979" y="48"/>
                  </a:lnTo>
                  <a:lnTo>
                    <a:pt x="981" y="50"/>
                  </a:lnTo>
                  <a:lnTo>
                    <a:pt x="984" y="51"/>
                  </a:lnTo>
                  <a:lnTo>
                    <a:pt x="984" y="55"/>
                  </a:lnTo>
                  <a:lnTo>
                    <a:pt x="988" y="56"/>
                  </a:lnTo>
                  <a:lnTo>
                    <a:pt x="990" y="56"/>
                  </a:lnTo>
                  <a:lnTo>
                    <a:pt x="992" y="57"/>
                  </a:lnTo>
                  <a:lnTo>
                    <a:pt x="1001" y="60"/>
                  </a:lnTo>
                  <a:lnTo>
                    <a:pt x="1004" y="58"/>
                  </a:lnTo>
                  <a:lnTo>
                    <a:pt x="1007" y="62"/>
                  </a:lnTo>
                  <a:lnTo>
                    <a:pt x="1009" y="64"/>
                  </a:lnTo>
                  <a:lnTo>
                    <a:pt x="1015" y="65"/>
                  </a:lnTo>
                  <a:lnTo>
                    <a:pt x="1017" y="63"/>
                  </a:lnTo>
                  <a:lnTo>
                    <a:pt x="1021" y="63"/>
                  </a:lnTo>
                  <a:lnTo>
                    <a:pt x="1019" y="65"/>
                  </a:lnTo>
                  <a:lnTo>
                    <a:pt x="1022" y="66"/>
                  </a:lnTo>
                  <a:lnTo>
                    <a:pt x="1016" y="71"/>
                  </a:lnTo>
                  <a:lnTo>
                    <a:pt x="1016" y="67"/>
                  </a:lnTo>
                  <a:lnTo>
                    <a:pt x="1018" y="65"/>
                  </a:lnTo>
                  <a:lnTo>
                    <a:pt x="1016" y="66"/>
                  </a:lnTo>
                  <a:lnTo>
                    <a:pt x="1014" y="66"/>
                  </a:lnTo>
                  <a:lnTo>
                    <a:pt x="1010" y="67"/>
                  </a:lnTo>
                  <a:lnTo>
                    <a:pt x="1009" y="70"/>
                  </a:lnTo>
                  <a:lnTo>
                    <a:pt x="1012" y="72"/>
                  </a:lnTo>
                  <a:lnTo>
                    <a:pt x="1010" y="74"/>
                  </a:lnTo>
                  <a:lnTo>
                    <a:pt x="1008" y="76"/>
                  </a:lnTo>
                  <a:lnTo>
                    <a:pt x="1006" y="79"/>
                  </a:lnTo>
                  <a:lnTo>
                    <a:pt x="1006" y="82"/>
                  </a:lnTo>
                  <a:lnTo>
                    <a:pt x="1010" y="81"/>
                  </a:lnTo>
                  <a:lnTo>
                    <a:pt x="1016" y="77"/>
                  </a:lnTo>
                  <a:lnTo>
                    <a:pt x="1013" y="79"/>
                  </a:lnTo>
                  <a:lnTo>
                    <a:pt x="1014" y="76"/>
                  </a:lnTo>
                  <a:lnTo>
                    <a:pt x="1016" y="73"/>
                  </a:lnTo>
                  <a:lnTo>
                    <a:pt x="1018" y="76"/>
                  </a:lnTo>
                  <a:lnTo>
                    <a:pt x="1019" y="79"/>
                  </a:lnTo>
                  <a:lnTo>
                    <a:pt x="1017" y="84"/>
                  </a:lnTo>
                  <a:lnTo>
                    <a:pt x="1019" y="84"/>
                  </a:lnTo>
                  <a:lnTo>
                    <a:pt x="1019" y="85"/>
                  </a:lnTo>
                  <a:lnTo>
                    <a:pt x="1014" y="88"/>
                  </a:lnTo>
                  <a:lnTo>
                    <a:pt x="1012" y="89"/>
                  </a:lnTo>
                  <a:lnTo>
                    <a:pt x="1010" y="92"/>
                  </a:lnTo>
                  <a:lnTo>
                    <a:pt x="1006" y="94"/>
                  </a:lnTo>
                  <a:lnTo>
                    <a:pt x="1002" y="98"/>
                  </a:lnTo>
                  <a:lnTo>
                    <a:pt x="998" y="97"/>
                  </a:lnTo>
                  <a:lnTo>
                    <a:pt x="995" y="97"/>
                  </a:lnTo>
                  <a:lnTo>
                    <a:pt x="992" y="100"/>
                  </a:lnTo>
                  <a:lnTo>
                    <a:pt x="992" y="102"/>
                  </a:lnTo>
                  <a:lnTo>
                    <a:pt x="990" y="106"/>
                  </a:lnTo>
                  <a:lnTo>
                    <a:pt x="993" y="107"/>
                  </a:lnTo>
                  <a:lnTo>
                    <a:pt x="996" y="109"/>
                  </a:lnTo>
                  <a:lnTo>
                    <a:pt x="995" y="113"/>
                  </a:lnTo>
                  <a:lnTo>
                    <a:pt x="997" y="115"/>
                  </a:lnTo>
                  <a:lnTo>
                    <a:pt x="995" y="119"/>
                  </a:lnTo>
                  <a:lnTo>
                    <a:pt x="996" y="123"/>
                  </a:lnTo>
                  <a:lnTo>
                    <a:pt x="991" y="124"/>
                  </a:lnTo>
                  <a:lnTo>
                    <a:pt x="985" y="123"/>
                  </a:lnTo>
                  <a:lnTo>
                    <a:pt x="989" y="128"/>
                  </a:lnTo>
                  <a:lnTo>
                    <a:pt x="989" y="132"/>
                  </a:lnTo>
                  <a:lnTo>
                    <a:pt x="989" y="128"/>
                  </a:lnTo>
                  <a:lnTo>
                    <a:pt x="981" y="122"/>
                  </a:lnTo>
                  <a:lnTo>
                    <a:pt x="983" y="123"/>
                  </a:lnTo>
                  <a:lnTo>
                    <a:pt x="985" y="120"/>
                  </a:lnTo>
                  <a:lnTo>
                    <a:pt x="989" y="123"/>
                  </a:lnTo>
                  <a:lnTo>
                    <a:pt x="991" y="123"/>
                  </a:lnTo>
                  <a:lnTo>
                    <a:pt x="995" y="123"/>
                  </a:lnTo>
                  <a:lnTo>
                    <a:pt x="995" y="119"/>
                  </a:lnTo>
                  <a:lnTo>
                    <a:pt x="993" y="117"/>
                  </a:lnTo>
                  <a:lnTo>
                    <a:pt x="990" y="117"/>
                  </a:lnTo>
                  <a:lnTo>
                    <a:pt x="992" y="115"/>
                  </a:lnTo>
                  <a:lnTo>
                    <a:pt x="990" y="114"/>
                  </a:lnTo>
                  <a:lnTo>
                    <a:pt x="987" y="115"/>
                  </a:lnTo>
                  <a:lnTo>
                    <a:pt x="984" y="116"/>
                  </a:lnTo>
                  <a:lnTo>
                    <a:pt x="984" y="114"/>
                  </a:lnTo>
                  <a:lnTo>
                    <a:pt x="982" y="111"/>
                  </a:lnTo>
                  <a:lnTo>
                    <a:pt x="980" y="109"/>
                  </a:lnTo>
                  <a:lnTo>
                    <a:pt x="983" y="104"/>
                  </a:lnTo>
                  <a:lnTo>
                    <a:pt x="987" y="93"/>
                  </a:lnTo>
                  <a:lnTo>
                    <a:pt x="983" y="93"/>
                  </a:lnTo>
                  <a:lnTo>
                    <a:pt x="981" y="94"/>
                  </a:lnTo>
                  <a:lnTo>
                    <a:pt x="980" y="98"/>
                  </a:lnTo>
                  <a:lnTo>
                    <a:pt x="976" y="98"/>
                  </a:lnTo>
                  <a:lnTo>
                    <a:pt x="980" y="92"/>
                  </a:lnTo>
                  <a:lnTo>
                    <a:pt x="976" y="94"/>
                  </a:lnTo>
                  <a:lnTo>
                    <a:pt x="974" y="92"/>
                  </a:lnTo>
                  <a:lnTo>
                    <a:pt x="972" y="92"/>
                  </a:lnTo>
                  <a:lnTo>
                    <a:pt x="971" y="90"/>
                  </a:lnTo>
                  <a:lnTo>
                    <a:pt x="967" y="88"/>
                  </a:lnTo>
                  <a:lnTo>
                    <a:pt x="965" y="87"/>
                  </a:lnTo>
                  <a:lnTo>
                    <a:pt x="959" y="85"/>
                  </a:lnTo>
                  <a:lnTo>
                    <a:pt x="959" y="90"/>
                  </a:lnTo>
                  <a:lnTo>
                    <a:pt x="955" y="91"/>
                  </a:lnTo>
                  <a:lnTo>
                    <a:pt x="951" y="89"/>
                  </a:lnTo>
                  <a:lnTo>
                    <a:pt x="949" y="90"/>
                  </a:lnTo>
                  <a:lnTo>
                    <a:pt x="951" y="92"/>
                  </a:lnTo>
                  <a:lnTo>
                    <a:pt x="954" y="94"/>
                  </a:lnTo>
                  <a:lnTo>
                    <a:pt x="951" y="94"/>
                  </a:lnTo>
                  <a:lnTo>
                    <a:pt x="953" y="98"/>
                  </a:lnTo>
                  <a:lnTo>
                    <a:pt x="955" y="100"/>
                  </a:lnTo>
                  <a:lnTo>
                    <a:pt x="958" y="100"/>
                  </a:lnTo>
                  <a:lnTo>
                    <a:pt x="964" y="99"/>
                  </a:lnTo>
                  <a:lnTo>
                    <a:pt x="966" y="101"/>
                  </a:lnTo>
                  <a:lnTo>
                    <a:pt x="968" y="100"/>
                  </a:lnTo>
                  <a:lnTo>
                    <a:pt x="971" y="106"/>
                  </a:lnTo>
                  <a:lnTo>
                    <a:pt x="970" y="107"/>
                  </a:lnTo>
                  <a:lnTo>
                    <a:pt x="964" y="108"/>
                  </a:lnTo>
                  <a:lnTo>
                    <a:pt x="958" y="105"/>
                  </a:lnTo>
                  <a:lnTo>
                    <a:pt x="953" y="99"/>
                  </a:lnTo>
                  <a:lnTo>
                    <a:pt x="950" y="97"/>
                  </a:lnTo>
                  <a:lnTo>
                    <a:pt x="949" y="100"/>
                  </a:lnTo>
                  <a:lnTo>
                    <a:pt x="951" y="101"/>
                  </a:lnTo>
                  <a:lnTo>
                    <a:pt x="949" y="105"/>
                  </a:lnTo>
                  <a:lnTo>
                    <a:pt x="946" y="106"/>
                  </a:lnTo>
                  <a:lnTo>
                    <a:pt x="938" y="104"/>
                  </a:lnTo>
                  <a:lnTo>
                    <a:pt x="932" y="102"/>
                  </a:lnTo>
                  <a:lnTo>
                    <a:pt x="931" y="104"/>
                  </a:lnTo>
                  <a:lnTo>
                    <a:pt x="929" y="102"/>
                  </a:lnTo>
                  <a:lnTo>
                    <a:pt x="925" y="102"/>
                  </a:lnTo>
                  <a:lnTo>
                    <a:pt x="923" y="104"/>
                  </a:lnTo>
                  <a:lnTo>
                    <a:pt x="921" y="102"/>
                  </a:lnTo>
                  <a:lnTo>
                    <a:pt x="918" y="105"/>
                  </a:lnTo>
                  <a:lnTo>
                    <a:pt x="915" y="105"/>
                  </a:lnTo>
                  <a:lnTo>
                    <a:pt x="910" y="106"/>
                  </a:lnTo>
                  <a:lnTo>
                    <a:pt x="906" y="106"/>
                  </a:lnTo>
                  <a:lnTo>
                    <a:pt x="904" y="104"/>
                  </a:lnTo>
                  <a:lnTo>
                    <a:pt x="902" y="105"/>
                  </a:lnTo>
                  <a:lnTo>
                    <a:pt x="893" y="102"/>
                  </a:lnTo>
                  <a:lnTo>
                    <a:pt x="890" y="101"/>
                  </a:lnTo>
                  <a:lnTo>
                    <a:pt x="887" y="100"/>
                  </a:lnTo>
                  <a:lnTo>
                    <a:pt x="885" y="97"/>
                  </a:lnTo>
                  <a:lnTo>
                    <a:pt x="879" y="98"/>
                  </a:lnTo>
                  <a:lnTo>
                    <a:pt x="877" y="98"/>
                  </a:lnTo>
                  <a:lnTo>
                    <a:pt x="874" y="98"/>
                  </a:lnTo>
                  <a:lnTo>
                    <a:pt x="871" y="98"/>
                  </a:lnTo>
                  <a:lnTo>
                    <a:pt x="869" y="97"/>
                  </a:lnTo>
                  <a:lnTo>
                    <a:pt x="868" y="94"/>
                  </a:lnTo>
                  <a:lnTo>
                    <a:pt x="865" y="92"/>
                  </a:lnTo>
                  <a:lnTo>
                    <a:pt x="862" y="91"/>
                  </a:lnTo>
                  <a:lnTo>
                    <a:pt x="860" y="91"/>
                  </a:lnTo>
                  <a:lnTo>
                    <a:pt x="857" y="89"/>
                  </a:lnTo>
                  <a:lnTo>
                    <a:pt x="857" y="87"/>
                  </a:lnTo>
                  <a:lnTo>
                    <a:pt x="855" y="83"/>
                  </a:lnTo>
                  <a:lnTo>
                    <a:pt x="855" y="81"/>
                  </a:lnTo>
                  <a:lnTo>
                    <a:pt x="853" y="79"/>
                  </a:lnTo>
                  <a:lnTo>
                    <a:pt x="847" y="76"/>
                  </a:lnTo>
                  <a:lnTo>
                    <a:pt x="842" y="79"/>
                  </a:lnTo>
                  <a:lnTo>
                    <a:pt x="836" y="80"/>
                  </a:lnTo>
                  <a:lnTo>
                    <a:pt x="830" y="82"/>
                  </a:lnTo>
                  <a:lnTo>
                    <a:pt x="825" y="83"/>
                  </a:lnTo>
                  <a:lnTo>
                    <a:pt x="820" y="83"/>
                  </a:lnTo>
                  <a:lnTo>
                    <a:pt x="817" y="84"/>
                  </a:lnTo>
                  <a:lnTo>
                    <a:pt x="812" y="90"/>
                  </a:lnTo>
                  <a:lnTo>
                    <a:pt x="811" y="92"/>
                  </a:lnTo>
                  <a:lnTo>
                    <a:pt x="813" y="92"/>
                  </a:lnTo>
                  <a:lnTo>
                    <a:pt x="817" y="93"/>
                  </a:lnTo>
                  <a:lnTo>
                    <a:pt x="819" y="94"/>
                  </a:lnTo>
                  <a:lnTo>
                    <a:pt x="822" y="94"/>
                  </a:lnTo>
                  <a:lnTo>
                    <a:pt x="825" y="94"/>
                  </a:lnTo>
                  <a:lnTo>
                    <a:pt x="823" y="92"/>
                  </a:lnTo>
                  <a:lnTo>
                    <a:pt x="827" y="91"/>
                  </a:lnTo>
                  <a:lnTo>
                    <a:pt x="829" y="91"/>
                  </a:lnTo>
                  <a:lnTo>
                    <a:pt x="831" y="92"/>
                  </a:lnTo>
                  <a:lnTo>
                    <a:pt x="837" y="90"/>
                  </a:lnTo>
                  <a:lnTo>
                    <a:pt x="839" y="90"/>
                  </a:lnTo>
                  <a:lnTo>
                    <a:pt x="840" y="88"/>
                  </a:lnTo>
                  <a:lnTo>
                    <a:pt x="843" y="87"/>
                  </a:lnTo>
                  <a:lnTo>
                    <a:pt x="848" y="84"/>
                  </a:lnTo>
                  <a:lnTo>
                    <a:pt x="852" y="84"/>
                  </a:lnTo>
                  <a:lnTo>
                    <a:pt x="853" y="87"/>
                  </a:lnTo>
                  <a:lnTo>
                    <a:pt x="851" y="89"/>
                  </a:lnTo>
                  <a:lnTo>
                    <a:pt x="847" y="90"/>
                  </a:lnTo>
                  <a:lnTo>
                    <a:pt x="845" y="90"/>
                  </a:lnTo>
                  <a:lnTo>
                    <a:pt x="843" y="92"/>
                  </a:lnTo>
                  <a:lnTo>
                    <a:pt x="839" y="94"/>
                  </a:lnTo>
                  <a:lnTo>
                    <a:pt x="838" y="97"/>
                  </a:lnTo>
                  <a:lnTo>
                    <a:pt x="834" y="96"/>
                  </a:lnTo>
                  <a:lnTo>
                    <a:pt x="830" y="98"/>
                  </a:lnTo>
                  <a:lnTo>
                    <a:pt x="828" y="97"/>
                  </a:lnTo>
                  <a:lnTo>
                    <a:pt x="825" y="99"/>
                  </a:lnTo>
                  <a:lnTo>
                    <a:pt x="823" y="97"/>
                  </a:lnTo>
                  <a:lnTo>
                    <a:pt x="823" y="99"/>
                  </a:lnTo>
                  <a:lnTo>
                    <a:pt x="826" y="100"/>
                  </a:lnTo>
                  <a:lnTo>
                    <a:pt x="822" y="102"/>
                  </a:lnTo>
                  <a:lnTo>
                    <a:pt x="821" y="105"/>
                  </a:lnTo>
                  <a:lnTo>
                    <a:pt x="826" y="109"/>
                  </a:lnTo>
                  <a:lnTo>
                    <a:pt x="827" y="115"/>
                  </a:lnTo>
                  <a:lnTo>
                    <a:pt x="829" y="118"/>
                  </a:lnTo>
                  <a:lnTo>
                    <a:pt x="831" y="119"/>
                  </a:lnTo>
                  <a:lnTo>
                    <a:pt x="831" y="122"/>
                  </a:lnTo>
                  <a:lnTo>
                    <a:pt x="834" y="125"/>
                  </a:lnTo>
                  <a:lnTo>
                    <a:pt x="830" y="123"/>
                  </a:lnTo>
                  <a:lnTo>
                    <a:pt x="829" y="126"/>
                  </a:lnTo>
                  <a:lnTo>
                    <a:pt x="827" y="125"/>
                  </a:lnTo>
                  <a:lnTo>
                    <a:pt x="828" y="122"/>
                  </a:lnTo>
                  <a:lnTo>
                    <a:pt x="826" y="123"/>
                  </a:lnTo>
                  <a:lnTo>
                    <a:pt x="826" y="125"/>
                  </a:lnTo>
                  <a:lnTo>
                    <a:pt x="826" y="127"/>
                  </a:lnTo>
                  <a:lnTo>
                    <a:pt x="827" y="131"/>
                  </a:lnTo>
                  <a:lnTo>
                    <a:pt x="829" y="133"/>
                  </a:lnTo>
                  <a:lnTo>
                    <a:pt x="833" y="135"/>
                  </a:lnTo>
                  <a:lnTo>
                    <a:pt x="829" y="134"/>
                  </a:lnTo>
                  <a:lnTo>
                    <a:pt x="822" y="126"/>
                  </a:lnTo>
                  <a:lnTo>
                    <a:pt x="819" y="125"/>
                  </a:lnTo>
                  <a:lnTo>
                    <a:pt x="819" y="123"/>
                  </a:lnTo>
                  <a:lnTo>
                    <a:pt x="817" y="122"/>
                  </a:lnTo>
                  <a:lnTo>
                    <a:pt x="814" y="119"/>
                  </a:lnTo>
                  <a:lnTo>
                    <a:pt x="817" y="120"/>
                  </a:lnTo>
                  <a:lnTo>
                    <a:pt x="822" y="120"/>
                  </a:lnTo>
                  <a:lnTo>
                    <a:pt x="823" y="118"/>
                  </a:lnTo>
                  <a:lnTo>
                    <a:pt x="821" y="115"/>
                  </a:lnTo>
                  <a:lnTo>
                    <a:pt x="816" y="111"/>
                  </a:lnTo>
                  <a:lnTo>
                    <a:pt x="814" y="109"/>
                  </a:lnTo>
                  <a:lnTo>
                    <a:pt x="811" y="111"/>
                  </a:lnTo>
                  <a:lnTo>
                    <a:pt x="809" y="111"/>
                  </a:lnTo>
                  <a:lnTo>
                    <a:pt x="808" y="110"/>
                  </a:lnTo>
                  <a:lnTo>
                    <a:pt x="808" y="108"/>
                  </a:lnTo>
                  <a:lnTo>
                    <a:pt x="808" y="105"/>
                  </a:lnTo>
                  <a:lnTo>
                    <a:pt x="802" y="105"/>
                  </a:lnTo>
                  <a:lnTo>
                    <a:pt x="799" y="106"/>
                  </a:lnTo>
                  <a:lnTo>
                    <a:pt x="797" y="102"/>
                  </a:lnTo>
                  <a:lnTo>
                    <a:pt x="795" y="101"/>
                  </a:lnTo>
                  <a:lnTo>
                    <a:pt x="794" y="102"/>
                  </a:lnTo>
                  <a:lnTo>
                    <a:pt x="794" y="99"/>
                  </a:lnTo>
                  <a:lnTo>
                    <a:pt x="788" y="100"/>
                  </a:lnTo>
                  <a:lnTo>
                    <a:pt x="780" y="105"/>
                  </a:lnTo>
                  <a:lnTo>
                    <a:pt x="773" y="105"/>
                  </a:lnTo>
                  <a:lnTo>
                    <a:pt x="769" y="105"/>
                  </a:lnTo>
                  <a:lnTo>
                    <a:pt x="768" y="106"/>
                  </a:lnTo>
                  <a:lnTo>
                    <a:pt x="766" y="105"/>
                  </a:lnTo>
                  <a:lnTo>
                    <a:pt x="763" y="105"/>
                  </a:lnTo>
                  <a:lnTo>
                    <a:pt x="760" y="106"/>
                  </a:lnTo>
                  <a:lnTo>
                    <a:pt x="741" y="106"/>
                  </a:lnTo>
                  <a:lnTo>
                    <a:pt x="739" y="105"/>
                  </a:lnTo>
                  <a:lnTo>
                    <a:pt x="735" y="105"/>
                  </a:lnTo>
                  <a:lnTo>
                    <a:pt x="733" y="104"/>
                  </a:lnTo>
                  <a:lnTo>
                    <a:pt x="729" y="104"/>
                  </a:lnTo>
                  <a:lnTo>
                    <a:pt x="725" y="104"/>
                  </a:lnTo>
                  <a:lnTo>
                    <a:pt x="722" y="101"/>
                  </a:lnTo>
                  <a:lnTo>
                    <a:pt x="719" y="101"/>
                  </a:lnTo>
                  <a:lnTo>
                    <a:pt x="724" y="99"/>
                  </a:lnTo>
                  <a:lnTo>
                    <a:pt x="724" y="96"/>
                  </a:lnTo>
                  <a:lnTo>
                    <a:pt x="726" y="96"/>
                  </a:lnTo>
                  <a:lnTo>
                    <a:pt x="728" y="94"/>
                  </a:lnTo>
                  <a:lnTo>
                    <a:pt x="728" y="93"/>
                  </a:lnTo>
                  <a:lnTo>
                    <a:pt x="733" y="92"/>
                  </a:lnTo>
                  <a:lnTo>
                    <a:pt x="736" y="93"/>
                  </a:lnTo>
                  <a:lnTo>
                    <a:pt x="739" y="93"/>
                  </a:lnTo>
                  <a:lnTo>
                    <a:pt x="740" y="90"/>
                  </a:lnTo>
                  <a:lnTo>
                    <a:pt x="739" y="88"/>
                  </a:lnTo>
                  <a:lnTo>
                    <a:pt x="736" y="85"/>
                  </a:lnTo>
                  <a:lnTo>
                    <a:pt x="728" y="79"/>
                  </a:lnTo>
                  <a:lnTo>
                    <a:pt x="719" y="76"/>
                  </a:lnTo>
                  <a:lnTo>
                    <a:pt x="714" y="75"/>
                  </a:lnTo>
                  <a:lnTo>
                    <a:pt x="711" y="75"/>
                  </a:lnTo>
                  <a:lnTo>
                    <a:pt x="708" y="75"/>
                  </a:lnTo>
                  <a:lnTo>
                    <a:pt x="710" y="79"/>
                  </a:lnTo>
                  <a:lnTo>
                    <a:pt x="705" y="79"/>
                  </a:lnTo>
                  <a:lnTo>
                    <a:pt x="702" y="77"/>
                  </a:lnTo>
                  <a:lnTo>
                    <a:pt x="700" y="76"/>
                  </a:lnTo>
                  <a:lnTo>
                    <a:pt x="697" y="77"/>
                  </a:lnTo>
                  <a:lnTo>
                    <a:pt x="691" y="75"/>
                  </a:lnTo>
                  <a:lnTo>
                    <a:pt x="685" y="75"/>
                  </a:lnTo>
                  <a:lnTo>
                    <a:pt x="677" y="72"/>
                  </a:lnTo>
                  <a:lnTo>
                    <a:pt x="675" y="70"/>
                  </a:lnTo>
                  <a:lnTo>
                    <a:pt x="658" y="66"/>
                  </a:lnTo>
                  <a:lnTo>
                    <a:pt x="655" y="66"/>
                  </a:lnTo>
                  <a:lnTo>
                    <a:pt x="651" y="64"/>
                  </a:lnTo>
                  <a:lnTo>
                    <a:pt x="647" y="60"/>
                  </a:lnTo>
                  <a:lnTo>
                    <a:pt x="638" y="57"/>
                  </a:lnTo>
                  <a:lnTo>
                    <a:pt x="630" y="55"/>
                  </a:lnTo>
                  <a:lnTo>
                    <a:pt x="628" y="56"/>
                  </a:lnTo>
                  <a:lnTo>
                    <a:pt x="624" y="55"/>
                  </a:lnTo>
                  <a:lnTo>
                    <a:pt x="618" y="56"/>
                  </a:lnTo>
                  <a:lnTo>
                    <a:pt x="616" y="55"/>
                  </a:lnTo>
                  <a:lnTo>
                    <a:pt x="615" y="57"/>
                  </a:lnTo>
                  <a:lnTo>
                    <a:pt x="614" y="60"/>
                  </a:lnTo>
                  <a:lnTo>
                    <a:pt x="612" y="63"/>
                  </a:lnTo>
                  <a:lnTo>
                    <a:pt x="611" y="66"/>
                  </a:lnTo>
                  <a:lnTo>
                    <a:pt x="607" y="66"/>
                  </a:lnTo>
                  <a:lnTo>
                    <a:pt x="598" y="66"/>
                  </a:lnTo>
                  <a:lnTo>
                    <a:pt x="596" y="66"/>
                  </a:lnTo>
                  <a:lnTo>
                    <a:pt x="597" y="63"/>
                  </a:lnTo>
                  <a:lnTo>
                    <a:pt x="601" y="57"/>
                  </a:lnTo>
                  <a:lnTo>
                    <a:pt x="596" y="57"/>
                  </a:lnTo>
                  <a:lnTo>
                    <a:pt x="597" y="53"/>
                  </a:lnTo>
                  <a:lnTo>
                    <a:pt x="597" y="48"/>
                  </a:lnTo>
                  <a:lnTo>
                    <a:pt x="594" y="47"/>
                  </a:lnTo>
                  <a:lnTo>
                    <a:pt x="597" y="49"/>
                  </a:lnTo>
                  <a:lnTo>
                    <a:pt x="591" y="49"/>
                  </a:lnTo>
                  <a:lnTo>
                    <a:pt x="586" y="50"/>
                  </a:lnTo>
                  <a:lnTo>
                    <a:pt x="586" y="53"/>
                  </a:lnTo>
                  <a:lnTo>
                    <a:pt x="589" y="50"/>
                  </a:lnTo>
                  <a:lnTo>
                    <a:pt x="594" y="50"/>
                  </a:lnTo>
                  <a:lnTo>
                    <a:pt x="590" y="53"/>
                  </a:lnTo>
                  <a:lnTo>
                    <a:pt x="589" y="55"/>
                  </a:lnTo>
                  <a:lnTo>
                    <a:pt x="586" y="57"/>
                  </a:lnTo>
                  <a:lnTo>
                    <a:pt x="589" y="57"/>
                  </a:lnTo>
                  <a:lnTo>
                    <a:pt x="591" y="57"/>
                  </a:lnTo>
                  <a:lnTo>
                    <a:pt x="589" y="57"/>
                  </a:lnTo>
                  <a:lnTo>
                    <a:pt x="586" y="58"/>
                  </a:lnTo>
                  <a:lnTo>
                    <a:pt x="583" y="60"/>
                  </a:lnTo>
                  <a:lnTo>
                    <a:pt x="586" y="63"/>
                  </a:lnTo>
                  <a:lnTo>
                    <a:pt x="583" y="64"/>
                  </a:lnTo>
                  <a:lnTo>
                    <a:pt x="586" y="66"/>
                  </a:lnTo>
                  <a:lnTo>
                    <a:pt x="582" y="67"/>
                  </a:lnTo>
                  <a:lnTo>
                    <a:pt x="578" y="66"/>
                  </a:lnTo>
                  <a:lnTo>
                    <a:pt x="572" y="63"/>
                  </a:lnTo>
                  <a:lnTo>
                    <a:pt x="566" y="57"/>
                  </a:lnTo>
                  <a:lnTo>
                    <a:pt x="565" y="55"/>
                  </a:lnTo>
                  <a:lnTo>
                    <a:pt x="564" y="53"/>
                  </a:lnTo>
                  <a:lnTo>
                    <a:pt x="560" y="43"/>
                  </a:lnTo>
                  <a:lnTo>
                    <a:pt x="556" y="41"/>
                  </a:lnTo>
                  <a:lnTo>
                    <a:pt x="555" y="40"/>
                  </a:lnTo>
                  <a:lnTo>
                    <a:pt x="548" y="37"/>
                  </a:lnTo>
                  <a:lnTo>
                    <a:pt x="546" y="39"/>
                  </a:lnTo>
                  <a:lnTo>
                    <a:pt x="546" y="41"/>
                  </a:lnTo>
                  <a:lnTo>
                    <a:pt x="549" y="41"/>
                  </a:lnTo>
                  <a:lnTo>
                    <a:pt x="548" y="43"/>
                  </a:lnTo>
                  <a:lnTo>
                    <a:pt x="554" y="45"/>
                  </a:lnTo>
                  <a:lnTo>
                    <a:pt x="546" y="47"/>
                  </a:lnTo>
                  <a:lnTo>
                    <a:pt x="543" y="48"/>
                  </a:lnTo>
                  <a:lnTo>
                    <a:pt x="544" y="50"/>
                  </a:lnTo>
                  <a:lnTo>
                    <a:pt x="543" y="53"/>
                  </a:lnTo>
                  <a:lnTo>
                    <a:pt x="540" y="54"/>
                  </a:lnTo>
                  <a:lnTo>
                    <a:pt x="538" y="56"/>
                  </a:lnTo>
                  <a:lnTo>
                    <a:pt x="535" y="58"/>
                  </a:lnTo>
                  <a:lnTo>
                    <a:pt x="532" y="57"/>
                  </a:lnTo>
                  <a:lnTo>
                    <a:pt x="532" y="55"/>
                  </a:lnTo>
                  <a:lnTo>
                    <a:pt x="534" y="53"/>
                  </a:lnTo>
                  <a:lnTo>
                    <a:pt x="531" y="55"/>
                  </a:lnTo>
                  <a:lnTo>
                    <a:pt x="526" y="55"/>
                  </a:lnTo>
                  <a:lnTo>
                    <a:pt x="515" y="58"/>
                  </a:lnTo>
                  <a:lnTo>
                    <a:pt x="511" y="64"/>
                  </a:lnTo>
                  <a:lnTo>
                    <a:pt x="510" y="66"/>
                  </a:lnTo>
                  <a:lnTo>
                    <a:pt x="507" y="70"/>
                  </a:lnTo>
                  <a:lnTo>
                    <a:pt x="506" y="66"/>
                  </a:lnTo>
                  <a:lnTo>
                    <a:pt x="507" y="64"/>
                  </a:lnTo>
                  <a:lnTo>
                    <a:pt x="505" y="66"/>
                  </a:lnTo>
                  <a:lnTo>
                    <a:pt x="506" y="64"/>
                  </a:lnTo>
                  <a:lnTo>
                    <a:pt x="504" y="62"/>
                  </a:lnTo>
                  <a:lnTo>
                    <a:pt x="505" y="64"/>
                  </a:lnTo>
                  <a:lnTo>
                    <a:pt x="503" y="62"/>
                  </a:lnTo>
                  <a:lnTo>
                    <a:pt x="504" y="64"/>
                  </a:lnTo>
                  <a:lnTo>
                    <a:pt x="502" y="66"/>
                  </a:lnTo>
                  <a:lnTo>
                    <a:pt x="502" y="64"/>
                  </a:lnTo>
                  <a:lnTo>
                    <a:pt x="500" y="66"/>
                  </a:lnTo>
                  <a:lnTo>
                    <a:pt x="500" y="64"/>
                  </a:lnTo>
                  <a:lnTo>
                    <a:pt x="495" y="65"/>
                  </a:lnTo>
                  <a:lnTo>
                    <a:pt x="495" y="67"/>
                  </a:lnTo>
                  <a:lnTo>
                    <a:pt x="492" y="70"/>
                  </a:lnTo>
                  <a:lnTo>
                    <a:pt x="487" y="71"/>
                  </a:lnTo>
                  <a:lnTo>
                    <a:pt x="481" y="74"/>
                  </a:lnTo>
                  <a:lnTo>
                    <a:pt x="481" y="77"/>
                  </a:lnTo>
                  <a:lnTo>
                    <a:pt x="485" y="77"/>
                  </a:lnTo>
                  <a:lnTo>
                    <a:pt x="487" y="79"/>
                  </a:lnTo>
                  <a:lnTo>
                    <a:pt x="485" y="80"/>
                  </a:lnTo>
                  <a:lnTo>
                    <a:pt x="479" y="79"/>
                  </a:lnTo>
                  <a:lnTo>
                    <a:pt x="476" y="81"/>
                  </a:lnTo>
                  <a:lnTo>
                    <a:pt x="479" y="82"/>
                  </a:lnTo>
                  <a:lnTo>
                    <a:pt x="473" y="80"/>
                  </a:lnTo>
                  <a:lnTo>
                    <a:pt x="473" y="77"/>
                  </a:lnTo>
                  <a:lnTo>
                    <a:pt x="476" y="76"/>
                  </a:lnTo>
                  <a:lnTo>
                    <a:pt x="478" y="73"/>
                  </a:lnTo>
                  <a:lnTo>
                    <a:pt x="480" y="74"/>
                  </a:lnTo>
                  <a:lnTo>
                    <a:pt x="481" y="72"/>
                  </a:lnTo>
                  <a:lnTo>
                    <a:pt x="484" y="68"/>
                  </a:lnTo>
                  <a:lnTo>
                    <a:pt x="486" y="70"/>
                  </a:lnTo>
                  <a:lnTo>
                    <a:pt x="489" y="67"/>
                  </a:lnTo>
                  <a:lnTo>
                    <a:pt x="492" y="65"/>
                  </a:lnTo>
                  <a:lnTo>
                    <a:pt x="493" y="62"/>
                  </a:lnTo>
                  <a:lnTo>
                    <a:pt x="496" y="62"/>
                  </a:lnTo>
                  <a:lnTo>
                    <a:pt x="502" y="62"/>
                  </a:lnTo>
                  <a:lnTo>
                    <a:pt x="504" y="60"/>
                  </a:lnTo>
                  <a:lnTo>
                    <a:pt x="506" y="60"/>
                  </a:lnTo>
                  <a:lnTo>
                    <a:pt x="510" y="58"/>
                  </a:lnTo>
                  <a:lnTo>
                    <a:pt x="512" y="58"/>
                  </a:lnTo>
                  <a:lnTo>
                    <a:pt x="515" y="56"/>
                  </a:lnTo>
                  <a:lnTo>
                    <a:pt x="527" y="50"/>
                  </a:lnTo>
                  <a:lnTo>
                    <a:pt x="528" y="48"/>
                  </a:lnTo>
                  <a:lnTo>
                    <a:pt x="526" y="46"/>
                  </a:lnTo>
                  <a:lnTo>
                    <a:pt x="520" y="49"/>
                  </a:lnTo>
                  <a:lnTo>
                    <a:pt x="518" y="49"/>
                  </a:lnTo>
                  <a:lnTo>
                    <a:pt x="515" y="48"/>
                  </a:lnTo>
                  <a:lnTo>
                    <a:pt x="512" y="48"/>
                  </a:lnTo>
                  <a:lnTo>
                    <a:pt x="510" y="48"/>
                  </a:lnTo>
                  <a:lnTo>
                    <a:pt x="506" y="50"/>
                  </a:lnTo>
                  <a:lnTo>
                    <a:pt x="506" y="53"/>
                  </a:lnTo>
                  <a:lnTo>
                    <a:pt x="504" y="55"/>
                  </a:lnTo>
                  <a:lnTo>
                    <a:pt x="503" y="53"/>
                  </a:lnTo>
                  <a:lnTo>
                    <a:pt x="497" y="55"/>
                  </a:lnTo>
                  <a:lnTo>
                    <a:pt x="495" y="56"/>
                  </a:lnTo>
                  <a:lnTo>
                    <a:pt x="492" y="57"/>
                  </a:lnTo>
                  <a:lnTo>
                    <a:pt x="489" y="58"/>
                  </a:lnTo>
                  <a:lnTo>
                    <a:pt x="487" y="57"/>
                  </a:lnTo>
                  <a:lnTo>
                    <a:pt x="489" y="56"/>
                  </a:lnTo>
                  <a:lnTo>
                    <a:pt x="486" y="57"/>
                  </a:lnTo>
                  <a:lnTo>
                    <a:pt x="487" y="59"/>
                  </a:lnTo>
                  <a:lnTo>
                    <a:pt x="481" y="59"/>
                  </a:lnTo>
                  <a:lnTo>
                    <a:pt x="478" y="65"/>
                  </a:lnTo>
                  <a:lnTo>
                    <a:pt x="472" y="65"/>
                  </a:lnTo>
                  <a:lnTo>
                    <a:pt x="469" y="67"/>
                  </a:lnTo>
                  <a:lnTo>
                    <a:pt x="467" y="68"/>
                  </a:lnTo>
                  <a:lnTo>
                    <a:pt x="463" y="68"/>
                  </a:lnTo>
                  <a:lnTo>
                    <a:pt x="461" y="71"/>
                  </a:lnTo>
                  <a:lnTo>
                    <a:pt x="459" y="72"/>
                  </a:lnTo>
                  <a:lnTo>
                    <a:pt x="459" y="72"/>
                  </a:lnTo>
                  <a:lnTo>
                    <a:pt x="462" y="70"/>
                  </a:lnTo>
                  <a:lnTo>
                    <a:pt x="464" y="66"/>
                  </a:lnTo>
                  <a:lnTo>
                    <a:pt x="468" y="65"/>
                  </a:lnTo>
                  <a:lnTo>
                    <a:pt x="469" y="62"/>
                  </a:lnTo>
                  <a:lnTo>
                    <a:pt x="467" y="63"/>
                  </a:lnTo>
                  <a:lnTo>
                    <a:pt x="463" y="62"/>
                  </a:lnTo>
                  <a:lnTo>
                    <a:pt x="463" y="58"/>
                  </a:lnTo>
                  <a:lnTo>
                    <a:pt x="460" y="57"/>
                  </a:lnTo>
                  <a:lnTo>
                    <a:pt x="460" y="60"/>
                  </a:lnTo>
                  <a:lnTo>
                    <a:pt x="458" y="63"/>
                  </a:lnTo>
                  <a:lnTo>
                    <a:pt x="455" y="64"/>
                  </a:lnTo>
                  <a:lnTo>
                    <a:pt x="452" y="64"/>
                  </a:lnTo>
                  <a:lnTo>
                    <a:pt x="451" y="63"/>
                  </a:lnTo>
                  <a:lnTo>
                    <a:pt x="449" y="64"/>
                  </a:lnTo>
                  <a:lnTo>
                    <a:pt x="449" y="67"/>
                  </a:lnTo>
                  <a:lnTo>
                    <a:pt x="450" y="68"/>
                  </a:lnTo>
                  <a:lnTo>
                    <a:pt x="446" y="67"/>
                  </a:lnTo>
                  <a:lnTo>
                    <a:pt x="444" y="66"/>
                  </a:lnTo>
                  <a:lnTo>
                    <a:pt x="444" y="70"/>
                  </a:lnTo>
                  <a:lnTo>
                    <a:pt x="442" y="67"/>
                  </a:lnTo>
                  <a:lnTo>
                    <a:pt x="442" y="70"/>
                  </a:lnTo>
                  <a:lnTo>
                    <a:pt x="445" y="72"/>
                  </a:lnTo>
                  <a:lnTo>
                    <a:pt x="442" y="71"/>
                  </a:lnTo>
                  <a:lnTo>
                    <a:pt x="440" y="70"/>
                  </a:lnTo>
                  <a:lnTo>
                    <a:pt x="440" y="72"/>
                  </a:lnTo>
                  <a:lnTo>
                    <a:pt x="442" y="74"/>
                  </a:lnTo>
                  <a:lnTo>
                    <a:pt x="444" y="74"/>
                  </a:lnTo>
                  <a:lnTo>
                    <a:pt x="445" y="74"/>
                  </a:lnTo>
                  <a:lnTo>
                    <a:pt x="442" y="75"/>
                  </a:lnTo>
                  <a:lnTo>
                    <a:pt x="441" y="75"/>
                  </a:lnTo>
                  <a:lnTo>
                    <a:pt x="440" y="75"/>
                  </a:lnTo>
                  <a:lnTo>
                    <a:pt x="442" y="77"/>
                  </a:lnTo>
                  <a:lnTo>
                    <a:pt x="445" y="77"/>
                  </a:lnTo>
                  <a:lnTo>
                    <a:pt x="446" y="75"/>
                  </a:lnTo>
                  <a:lnTo>
                    <a:pt x="449" y="76"/>
                  </a:lnTo>
                  <a:lnTo>
                    <a:pt x="451" y="77"/>
                  </a:lnTo>
                  <a:lnTo>
                    <a:pt x="454" y="75"/>
                  </a:lnTo>
                  <a:lnTo>
                    <a:pt x="454" y="75"/>
                  </a:lnTo>
                  <a:lnTo>
                    <a:pt x="455" y="75"/>
                  </a:lnTo>
                  <a:lnTo>
                    <a:pt x="458" y="79"/>
                  </a:lnTo>
                  <a:lnTo>
                    <a:pt x="459" y="81"/>
                  </a:lnTo>
                  <a:lnTo>
                    <a:pt x="462" y="82"/>
                  </a:lnTo>
                  <a:lnTo>
                    <a:pt x="460" y="80"/>
                  </a:lnTo>
                  <a:lnTo>
                    <a:pt x="458" y="76"/>
                  </a:lnTo>
                  <a:lnTo>
                    <a:pt x="456" y="74"/>
                  </a:lnTo>
                  <a:lnTo>
                    <a:pt x="459" y="73"/>
                  </a:lnTo>
                  <a:lnTo>
                    <a:pt x="458" y="75"/>
                  </a:lnTo>
                  <a:lnTo>
                    <a:pt x="462" y="82"/>
                  </a:lnTo>
                  <a:lnTo>
                    <a:pt x="462" y="83"/>
                  </a:lnTo>
                  <a:lnTo>
                    <a:pt x="459" y="81"/>
                  </a:lnTo>
                  <a:lnTo>
                    <a:pt x="456" y="79"/>
                  </a:lnTo>
                  <a:lnTo>
                    <a:pt x="454" y="76"/>
                  </a:lnTo>
                  <a:lnTo>
                    <a:pt x="451" y="77"/>
                  </a:lnTo>
                  <a:lnTo>
                    <a:pt x="449" y="76"/>
                  </a:lnTo>
                  <a:lnTo>
                    <a:pt x="446" y="79"/>
                  </a:lnTo>
                  <a:lnTo>
                    <a:pt x="447" y="81"/>
                  </a:lnTo>
                  <a:lnTo>
                    <a:pt x="450" y="83"/>
                  </a:lnTo>
                  <a:lnTo>
                    <a:pt x="449" y="83"/>
                  </a:lnTo>
                  <a:lnTo>
                    <a:pt x="449" y="82"/>
                  </a:lnTo>
                  <a:lnTo>
                    <a:pt x="443" y="81"/>
                  </a:lnTo>
                  <a:lnTo>
                    <a:pt x="441" y="79"/>
                  </a:lnTo>
                  <a:lnTo>
                    <a:pt x="436" y="77"/>
                  </a:lnTo>
                  <a:lnTo>
                    <a:pt x="433" y="77"/>
                  </a:lnTo>
                  <a:lnTo>
                    <a:pt x="433" y="77"/>
                  </a:lnTo>
                  <a:lnTo>
                    <a:pt x="429" y="77"/>
                  </a:lnTo>
                  <a:lnTo>
                    <a:pt x="427" y="77"/>
                  </a:lnTo>
                  <a:lnTo>
                    <a:pt x="424" y="76"/>
                  </a:lnTo>
                  <a:lnTo>
                    <a:pt x="421" y="76"/>
                  </a:lnTo>
                  <a:lnTo>
                    <a:pt x="419" y="74"/>
                  </a:lnTo>
                  <a:lnTo>
                    <a:pt x="410" y="72"/>
                  </a:lnTo>
                  <a:lnTo>
                    <a:pt x="404" y="70"/>
                  </a:lnTo>
                  <a:lnTo>
                    <a:pt x="402" y="70"/>
                  </a:lnTo>
                  <a:lnTo>
                    <a:pt x="400" y="66"/>
                  </a:lnTo>
                  <a:lnTo>
                    <a:pt x="398" y="65"/>
                  </a:lnTo>
                  <a:lnTo>
                    <a:pt x="394" y="63"/>
                  </a:lnTo>
                  <a:lnTo>
                    <a:pt x="386" y="60"/>
                  </a:lnTo>
                  <a:lnTo>
                    <a:pt x="384" y="60"/>
                  </a:lnTo>
                  <a:lnTo>
                    <a:pt x="378" y="60"/>
                  </a:lnTo>
                  <a:lnTo>
                    <a:pt x="369" y="59"/>
                  </a:lnTo>
                  <a:lnTo>
                    <a:pt x="369" y="59"/>
                  </a:lnTo>
                  <a:lnTo>
                    <a:pt x="366" y="59"/>
                  </a:lnTo>
                  <a:lnTo>
                    <a:pt x="366" y="59"/>
                  </a:lnTo>
                  <a:lnTo>
                    <a:pt x="364" y="58"/>
                  </a:lnTo>
                  <a:lnTo>
                    <a:pt x="360" y="56"/>
                  </a:lnTo>
                  <a:lnTo>
                    <a:pt x="357" y="55"/>
                  </a:lnTo>
                  <a:lnTo>
                    <a:pt x="357" y="56"/>
                  </a:lnTo>
                  <a:lnTo>
                    <a:pt x="349" y="51"/>
                  </a:lnTo>
                  <a:lnTo>
                    <a:pt x="348" y="50"/>
                  </a:lnTo>
                  <a:lnTo>
                    <a:pt x="344" y="49"/>
                  </a:lnTo>
                  <a:lnTo>
                    <a:pt x="339" y="48"/>
                  </a:lnTo>
                  <a:lnTo>
                    <a:pt x="331" y="49"/>
                  </a:lnTo>
                  <a:lnTo>
                    <a:pt x="328" y="50"/>
                  </a:lnTo>
                  <a:lnTo>
                    <a:pt x="327" y="49"/>
                  </a:lnTo>
                  <a:lnTo>
                    <a:pt x="324" y="49"/>
                  </a:lnTo>
                  <a:lnTo>
                    <a:pt x="321" y="51"/>
                  </a:lnTo>
                  <a:lnTo>
                    <a:pt x="315" y="51"/>
                  </a:lnTo>
                  <a:lnTo>
                    <a:pt x="312" y="50"/>
                  </a:lnTo>
                  <a:lnTo>
                    <a:pt x="309" y="49"/>
                  </a:lnTo>
                  <a:lnTo>
                    <a:pt x="307" y="49"/>
                  </a:lnTo>
                  <a:lnTo>
                    <a:pt x="305" y="47"/>
                  </a:lnTo>
                  <a:lnTo>
                    <a:pt x="296" y="46"/>
                  </a:lnTo>
                  <a:lnTo>
                    <a:pt x="290" y="46"/>
                  </a:lnTo>
                  <a:lnTo>
                    <a:pt x="288" y="47"/>
                  </a:lnTo>
                  <a:lnTo>
                    <a:pt x="280" y="46"/>
                  </a:lnTo>
                  <a:lnTo>
                    <a:pt x="276" y="45"/>
                  </a:lnTo>
                  <a:lnTo>
                    <a:pt x="275" y="43"/>
                  </a:lnTo>
                  <a:lnTo>
                    <a:pt x="273" y="42"/>
                  </a:lnTo>
                  <a:lnTo>
                    <a:pt x="272" y="42"/>
                  </a:lnTo>
                  <a:lnTo>
                    <a:pt x="268" y="43"/>
                  </a:lnTo>
                  <a:lnTo>
                    <a:pt x="266" y="41"/>
                  </a:lnTo>
                  <a:lnTo>
                    <a:pt x="264" y="40"/>
                  </a:lnTo>
                  <a:lnTo>
                    <a:pt x="261" y="40"/>
                  </a:lnTo>
                  <a:lnTo>
                    <a:pt x="258" y="39"/>
                  </a:lnTo>
                  <a:lnTo>
                    <a:pt x="255" y="39"/>
                  </a:lnTo>
                  <a:lnTo>
                    <a:pt x="253" y="38"/>
                  </a:lnTo>
                  <a:lnTo>
                    <a:pt x="247" y="39"/>
                  </a:lnTo>
                  <a:lnTo>
                    <a:pt x="244" y="40"/>
                  </a:lnTo>
                  <a:lnTo>
                    <a:pt x="241" y="40"/>
                  </a:lnTo>
                  <a:lnTo>
                    <a:pt x="239" y="38"/>
                  </a:lnTo>
                  <a:lnTo>
                    <a:pt x="231" y="40"/>
                  </a:lnTo>
                  <a:lnTo>
                    <a:pt x="230" y="41"/>
                  </a:lnTo>
                  <a:lnTo>
                    <a:pt x="225" y="40"/>
                  </a:lnTo>
                  <a:lnTo>
                    <a:pt x="220" y="40"/>
                  </a:lnTo>
                  <a:lnTo>
                    <a:pt x="222" y="37"/>
                  </a:lnTo>
                  <a:lnTo>
                    <a:pt x="219" y="37"/>
                  </a:lnTo>
                  <a:lnTo>
                    <a:pt x="216" y="37"/>
                  </a:lnTo>
                  <a:lnTo>
                    <a:pt x="211" y="37"/>
                  </a:lnTo>
                  <a:lnTo>
                    <a:pt x="216" y="36"/>
                  </a:lnTo>
                  <a:lnTo>
                    <a:pt x="213" y="36"/>
                  </a:lnTo>
                  <a:lnTo>
                    <a:pt x="214" y="32"/>
                  </a:lnTo>
                  <a:lnTo>
                    <a:pt x="215" y="30"/>
                  </a:lnTo>
                  <a:lnTo>
                    <a:pt x="213" y="29"/>
                  </a:lnTo>
                  <a:lnTo>
                    <a:pt x="211" y="30"/>
                  </a:lnTo>
                  <a:lnTo>
                    <a:pt x="207" y="30"/>
                  </a:lnTo>
                  <a:lnTo>
                    <a:pt x="202" y="28"/>
                  </a:lnTo>
                  <a:lnTo>
                    <a:pt x="199" y="29"/>
                  </a:lnTo>
                  <a:lnTo>
                    <a:pt x="194" y="29"/>
                  </a:lnTo>
                  <a:lnTo>
                    <a:pt x="190" y="31"/>
                  </a:lnTo>
                  <a:lnTo>
                    <a:pt x="185" y="30"/>
                  </a:lnTo>
                  <a:lnTo>
                    <a:pt x="182" y="28"/>
                  </a:lnTo>
                  <a:lnTo>
                    <a:pt x="184" y="25"/>
                  </a:lnTo>
                  <a:lnTo>
                    <a:pt x="180" y="23"/>
                  </a:lnTo>
                  <a:lnTo>
                    <a:pt x="178" y="25"/>
                  </a:lnTo>
                  <a:lnTo>
                    <a:pt x="176" y="23"/>
                  </a:lnTo>
                  <a:lnTo>
                    <a:pt x="171" y="28"/>
                  </a:lnTo>
                  <a:lnTo>
                    <a:pt x="170" y="30"/>
                  </a:lnTo>
                  <a:lnTo>
                    <a:pt x="164" y="30"/>
                  </a:lnTo>
                  <a:lnTo>
                    <a:pt x="165" y="30"/>
                  </a:lnTo>
                  <a:lnTo>
                    <a:pt x="162" y="28"/>
                  </a:lnTo>
                  <a:lnTo>
                    <a:pt x="165" y="26"/>
                  </a:lnTo>
                  <a:lnTo>
                    <a:pt x="168" y="26"/>
                  </a:lnTo>
                  <a:lnTo>
                    <a:pt x="171" y="23"/>
                  </a:lnTo>
                  <a:lnTo>
                    <a:pt x="168" y="21"/>
                  </a:lnTo>
                  <a:lnTo>
                    <a:pt x="157" y="19"/>
                  </a:lnTo>
                  <a:lnTo>
                    <a:pt x="159" y="16"/>
                  </a:lnTo>
                  <a:lnTo>
                    <a:pt x="153" y="19"/>
                  </a:lnTo>
                  <a:lnTo>
                    <a:pt x="151" y="21"/>
                  </a:lnTo>
                  <a:lnTo>
                    <a:pt x="148" y="24"/>
                  </a:lnTo>
                  <a:lnTo>
                    <a:pt x="144" y="26"/>
                  </a:lnTo>
                  <a:lnTo>
                    <a:pt x="139" y="29"/>
                  </a:lnTo>
                  <a:lnTo>
                    <a:pt x="137" y="30"/>
                  </a:lnTo>
                  <a:lnTo>
                    <a:pt x="123" y="31"/>
                  </a:lnTo>
                  <a:lnTo>
                    <a:pt x="120" y="32"/>
                  </a:lnTo>
                  <a:lnTo>
                    <a:pt x="118" y="31"/>
                  </a:lnTo>
                  <a:lnTo>
                    <a:pt x="120" y="29"/>
                  </a:lnTo>
                  <a:lnTo>
                    <a:pt x="116" y="31"/>
                  </a:lnTo>
                  <a:lnTo>
                    <a:pt x="110" y="34"/>
                  </a:lnTo>
                  <a:lnTo>
                    <a:pt x="110" y="36"/>
                  </a:lnTo>
                  <a:lnTo>
                    <a:pt x="112" y="37"/>
                  </a:lnTo>
                  <a:lnTo>
                    <a:pt x="118" y="39"/>
                  </a:lnTo>
                  <a:lnTo>
                    <a:pt x="112" y="39"/>
                  </a:lnTo>
                  <a:lnTo>
                    <a:pt x="111" y="42"/>
                  </a:lnTo>
                  <a:lnTo>
                    <a:pt x="112" y="45"/>
                  </a:lnTo>
                  <a:lnTo>
                    <a:pt x="110" y="42"/>
                  </a:lnTo>
                  <a:lnTo>
                    <a:pt x="108" y="42"/>
                  </a:lnTo>
                  <a:lnTo>
                    <a:pt x="110" y="40"/>
                  </a:lnTo>
                  <a:lnTo>
                    <a:pt x="110" y="39"/>
                  </a:lnTo>
                  <a:lnTo>
                    <a:pt x="106" y="39"/>
                  </a:lnTo>
                  <a:lnTo>
                    <a:pt x="110" y="38"/>
                  </a:lnTo>
                  <a:lnTo>
                    <a:pt x="110" y="36"/>
                  </a:lnTo>
                  <a:lnTo>
                    <a:pt x="108" y="36"/>
                  </a:lnTo>
                  <a:lnTo>
                    <a:pt x="96" y="43"/>
                  </a:lnTo>
                  <a:lnTo>
                    <a:pt x="93" y="43"/>
                  </a:lnTo>
                  <a:lnTo>
                    <a:pt x="88" y="45"/>
                  </a:lnTo>
                  <a:lnTo>
                    <a:pt x="85" y="46"/>
                  </a:lnTo>
                  <a:lnTo>
                    <a:pt x="83" y="46"/>
                  </a:lnTo>
                  <a:lnTo>
                    <a:pt x="85" y="45"/>
                  </a:lnTo>
                  <a:lnTo>
                    <a:pt x="86" y="43"/>
                  </a:lnTo>
                  <a:lnTo>
                    <a:pt x="83" y="43"/>
                  </a:lnTo>
                  <a:lnTo>
                    <a:pt x="80" y="46"/>
                  </a:lnTo>
                  <a:lnTo>
                    <a:pt x="77" y="48"/>
                  </a:lnTo>
                  <a:lnTo>
                    <a:pt x="76" y="51"/>
                  </a:lnTo>
                  <a:lnTo>
                    <a:pt x="70" y="56"/>
                  </a:lnTo>
                  <a:lnTo>
                    <a:pt x="69" y="58"/>
                  </a:lnTo>
                  <a:lnTo>
                    <a:pt x="68" y="59"/>
                  </a:lnTo>
                  <a:lnTo>
                    <a:pt x="67" y="60"/>
                  </a:lnTo>
                  <a:lnTo>
                    <a:pt x="67" y="63"/>
                  </a:lnTo>
                  <a:lnTo>
                    <a:pt x="66" y="66"/>
                  </a:lnTo>
                  <a:lnTo>
                    <a:pt x="61" y="72"/>
                  </a:lnTo>
                  <a:lnTo>
                    <a:pt x="56" y="75"/>
                  </a:lnTo>
                  <a:lnTo>
                    <a:pt x="53" y="76"/>
                  </a:lnTo>
                  <a:lnTo>
                    <a:pt x="49" y="76"/>
                  </a:lnTo>
                  <a:lnTo>
                    <a:pt x="33" y="79"/>
                  </a:lnTo>
                  <a:lnTo>
                    <a:pt x="27" y="77"/>
                  </a:lnTo>
                  <a:lnTo>
                    <a:pt x="24" y="79"/>
                  </a:lnTo>
                  <a:lnTo>
                    <a:pt x="25" y="81"/>
                  </a:lnTo>
                  <a:lnTo>
                    <a:pt x="23" y="89"/>
                  </a:lnTo>
                  <a:lnTo>
                    <a:pt x="19" y="90"/>
                  </a:lnTo>
                  <a:lnTo>
                    <a:pt x="18" y="90"/>
                  </a:lnTo>
                  <a:lnTo>
                    <a:pt x="18" y="91"/>
                  </a:lnTo>
                  <a:lnTo>
                    <a:pt x="20" y="91"/>
                  </a:lnTo>
                  <a:lnTo>
                    <a:pt x="24" y="92"/>
                  </a:lnTo>
                  <a:lnTo>
                    <a:pt x="26" y="93"/>
                  </a:lnTo>
                  <a:lnTo>
                    <a:pt x="28" y="96"/>
                  </a:lnTo>
                  <a:lnTo>
                    <a:pt x="32" y="97"/>
                  </a:lnTo>
                  <a:lnTo>
                    <a:pt x="36" y="98"/>
                  </a:lnTo>
                  <a:lnTo>
                    <a:pt x="42" y="101"/>
                  </a:lnTo>
                  <a:lnTo>
                    <a:pt x="45" y="104"/>
                  </a:lnTo>
                  <a:lnTo>
                    <a:pt x="45" y="104"/>
                  </a:lnTo>
                  <a:lnTo>
                    <a:pt x="54" y="108"/>
                  </a:lnTo>
                  <a:lnTo>
                    <a:pt x="58" y="114"/>
                  </a:lnTo>
                  <a:lnTo>
                    <a:pt x="59" y="119"/>
                  </a:lnTo>
                  <a:lnTo>
                    <a:pt x="67" y="120"/>
                  </a:lnTo>
                  <a:lnTo>
                    <a:pt x="72" y="120"/>
                  </a:lnTo>
                  <a:lnTo>
                    <a:pt x="72" y="122"/>
                  </a:lnTo>
                  <a:lnTo>
                    <a:pt x="76" y="120"/>
                  </a:lnTo>
                  <a:lnTo>
                    <a:pt x="76" y="118"/>
                  </a:lnTo>
                  <a:lnTo>
                    <a:pt x="78" y="120"/>
                  </a:lnTo>
                  <a:lnTo>
                    <a:pt x="80" y="122"/>
                  </a:lnTo>
                  <a:lnTo>
                    <a:pt x="84" y="120"/>
                  </a:lnTo>
                  <a:lnTo>
                    <a:pt x="86" y="122"/>
                  </a:lnTo>
                  <a:lnTo>
                    <a:pt x="89" y="123"/>
                  </a:lnTo>
                  <a:lnTo>
                    <a:pt x="86" y="123"/>
                  </a:lnTo>
                  <a:lnTo>
                    <a:pt x="84" y="126"/>
                  </a:lnTo>
                  <a:lnTo>
                    <a:pt x="85" y="130"/>
                  </a:lnTo>
                  <a:lnTo>
                    <a:pt x="88" y="132"/>
                  </a:lnTo>
                  <a:lnTo>
                    <a:pt x="92" y="133"/>
                  </a:lnTo>
                  <a:lnTo>
                    <a:pt x="94" y="130"/>
                  </a:lnTo>
                  <a:lnTo>
                    <a:pt x="97" y="130"/>
                  </a:lnTo>
                  <a:lnTo>
                    <a:pt x="100" y="131"/>
                  </a:lnTo>
                  <a:lnTo>
                    <a:pt x="105" y="131"/>
                  </a:lnTo>
                  <a:lnTo>
                    <a:pt x="106" y="133"/>
                  </a:lnTo>
                  <a:lnTo>
                    <a:pt x="105" y="135"/>
                  </a:lnTo>
                  <a:lnTo>
                    <a:pt x="100" y="136"/>
                  </a:lnTo>
                  <a:lnTo>
                    <a:pt x="97" y="135"/>
                  </a:lnTo>
                  <a:lnTo>
                    <a:pt x="94" y="134"/>
                  </a:lnTo>
                  <a:lnTo>
                    <a:pt x="92" y="133"/>
                  </a:lnTo>
                  <a:lnTo>
                    <a:pt x="89" y="134"/>
                  </a:lnTo>
                  <a:lnTo>
                    <a:pt x="86" y="134"/>
                  </a:lnTo>
                  <a:lnTo>
                    <a:pt x="84" y="132"/>
                  </a:lnTo>
                  <a:lnTo>
                    <a:pt x="82" y="130"/>
                  </a:lnTo>
                  <a:lnTo>
                    <a:pt x="82" y="127"/>
                  </a:lnTo>
                  <a:lnTo>
                    <a:pt x="79" y="125"/>
                  </a:lnTo>
                  <a:lnTo>
                    <a:pt x="76" y="124"/>
                  </a:lnTo>
                  <a:lnTo>
                    <a:pt x="74" y="125"/>
                  </a:lnTo>
                  <a:lnTo>
                    <a:pt x="76" y="128"/>
                  </a:lnTo>
                  <a:lnTo>
                    <a:pt x="78" y="128"/>
                  </a:lnTo>
                  <a:lnTo>
                    <a:pt x="84" y="134"/>
                  </a:lnTo>
                  <a:lnTo>
                    <a:pt x="84" y="136"/>
                  </a:lnTo>
                  <a:lnTo>
                    <a:pt x="87" y="135"/>
                  </a:lnTo>
                  <a:lnTo>
                    <a:pt x="93" y="136"/>
                  </a:lnTo>
                  <a:lnTo>
                    <a:pt x="95" y="139"/>
                  </a:lnTo>
                  <a:lnTo>
                    <a:pt x="95" y="141"/>
                  </a:lnTo>
                  <a:lnTo>
                    <a:pt x="89" y="139"/>
                  </a:lnTo>
                  <a:lnTo>
                    <a:pt x="87" y="140"/>
                  </a:lnTo>
                  <a:lnTo>
                    <a:pt x="85" y="143"/>
                  </a:lnTo>
                  <a:lnTo>
                    <a:pt x="85" y="143"/>
                  </a:lnTo>
                  <a:lnTo>
                    <a:pt x="83" y="144"/>
                  </a:lnTo>
                  <a:lnTo>
                    <a:pt x="80" y="143"/>
                  </a:lnTo>
                  <a:lnTo>
                    <a:pt x="77" y="144"/>
                  </a:lnTo>
                  <a:lnTo>
                    <a:pt x="75" y="144"/>
                  </a:lnTo>
                  <a:lnTo>
                    <a:pt x="71" y="142"/>
                  </a:lnTo>
                  <a:lnTo>
                    <a:pt x="69" y="142"/>
                  </a:lnTo>
                  <a:lnTo>
                    <a:pt x="67" y="143"/>
                  </a:lnTo>
                  <a:lnTo>
                    <a:pt x="63" y="143"/>
                  </a:lnTo>
                  <a:lnTo>
                    <a:pt x="58" y="143"/>
                  </a:lnTo>
                  <a:lnTo>
                    <a:pt x="56" y="140"/>
                  </a:lnTo>
                  <a:lnTo>
                    <a:pt x="53" y="140"/>
                  </a:lnTo>
                  <a:lnTo>
                    <a:pt x="56" y="140"/>
                  </a:lnTo>
                  <a:lnTo>
                    <a:pt x="58" y="134"/>
                  </a:lnTo>
                  <a:lnTo>
                    <a:pt x="58" y="132"/>
                  </a:lnTo>
                  <a:lnTo>
                    <a:pt x="50" y="132"/>
                  </a:lnTo>
                  <a:lnTo>
                    <a:pt x="48" y="132"/>
                  </a:lnTo>
                  <a:lnTo>
                    <a:pt x="42" y="134"/>
                  </a:lnTo>
                  <a:lnTo>
                    <a:pt x="36" y="135"/>
                  </a:lnTo>
                  <a:lnTo>
                    <a:pt x="32" y="137"/>
                  </a:lnTo>
                  <a:lnTo>
                    <a:pt x="31" y="140"/>
                  </a:lnTo>
                  <a:lnTo>
                    <a:pt x="34" y="141"/>
                  </a:lnTo>
                  <a:lnTo>
                    <a:pt x="31" y="142"/>
                  </a:lnTo>
                  <a:lnTo>
                    <a:pt x="26" y="141"/>
                  </a:lnTo>
                  <a:lnTo>
                    <a:pt x="23" y="141"/>
                  </a:lnTo>
                  <a:lnTo>
                    <a:pt x="17" y="144"/>
                  </a:lnTo>
                  <a:lnTo>
                    <a:pt x="15" y="147"/>
                  </a:lnTo>
                  <a:lnTo>
                    <a:pt x="12" y="148"/>
                  </a:lnTo>
                  <a:lnTo>
                    <a:pt x="10" y="148"/>
                  </a:lnTo>
                  <a:lnTo>
                    <a:pt x="7" y="149"/>
                  </a:lnTo>
                  <a:lnTo>
                    <a:pt x="6" y="151"/>
                  </a:lnTo>
                  <a:lnTo>
                    <a:pt x="2" y="151"/>
                  </a:lnTo>
                  <a:lnTo>
                    <a:pt x="0" y="153"/>
                  </a:lnTo>
                  <a:lnTo>
                    <a:pt x="0" y="154"/>
                  </a:lnTo>
                  <a:lnTo>
                    <a:pt x="8" y="158"/>
                  </a:lnTo>
                  <a:lnTo>
                    <a:pt x="14" y="159"/>
                  </a:lnTo>
                  <a:lnTo>
                    <a:pt x="16" y="159"/>
                  </a:lnTo>
                  <a:lnTo>
                    <a:pt x="18" y="160"/>
                  </a:lnTo>
                  <a:lnTo>
                    <a:pt x="16" y="159"/>
                  </a:lnTo>
                  <a:lnTo>
                    <a:pt x="24" y="160"/>
                  </a:lnTo>
                  <a:lnTo>
                    <a:pt x="27" y="162"/>
                  </a:lnTo>
                  <a:lnTo>
                    <a:pt x="22" y="162"/>
                  </a:lnTo>
                  <a:lnTo>
                    <a:pt x="19" y="165"/>
                  </a:lnTo>
                  <a:lnTo>
                    <a:pt x="17" y="165"/>
                  </a:lnTo>
                  <a:lnTo>
                    <a:pt x="15" y="162"/>
                  </a:lnTo>
                  <a:lnTo>
                    <a:pt x="16" y="166"/>
                  </a:lnTo>
                  <a:lnTo>
                    <a:pt x="18" y="168"/>
                  </a:lnTo>
                  <a:lnTo>
                    <a:pt x="22" y="170"/>
                  </a:lnTo>
                  <a:lnTo>
                    <a:pt x="20" y="173"/>
                  </a:lnTo>
                  <a:lnTo>
                    <a:pt x="23" y="175"/>
                  </a:lnTo>
                  <a:lnTo>
                    <a:pt x="25" y="176"/>
                  </a:lnTo>
                  <a:lnTo>
                    <a:pt x="36" y="178"/>
                  </a:lnTo>
                  <a:lnTo>
                    <a:pt x="39" y="179"/>
                  </a:lnTo>
                  <a:lnTo>
                    <a:pt x="50" y="177"/>
                  </a:lnTo>
                  <a:lnTo>
                    <a:pt x="59" y="176"/>
                  </a:lnTo>
                  <a:lnTo>
                    <a:pt x="61" y="177"/>
                  </a:lnTo>
                  <a:lnTo>
                    <a:pt x="63" y="178"/>
                  </a:lnTo>
                  <a:lnTo>
                    <a:pt x="67" y="181"/>
                  </a:lnTo>
                  <a:lnTo>
                    <a:pt x="66" y="175"/>
                  </a:lnTo>
                  <a:lnTo>
                    <a:pt x="71" y="179"/>
                  </a:lnTo>
                  <a:lnTo>
                    <a:pt x="74" y="181"/>
                  </a:lnTo>
                  <a:lnTo>
                    <a:pt x="75" y="178"/>
                  </a:lnTo>
                  <a:lnTo>
                    <a:pt x="77" y="176"/>
                  </a:lnTo>
                  <a:lnTo>
                    <a:pt x="80" y="174"/>
                  </a:lnTo>
                  <a:lnTo>
                    <a:pt x="83" y="174"/>
                  </a:lnTo>
                  <a:lnTo>
                    <a:pt x="85" y="171"/>
                  </a:lnTo>
                  <a:lnTo>
                    <a:pt x="88" y="173"/>
                  </a:lnTo>
                  <a:lnTo>
                    <a:pt x="91" y="171"/>
                  </a:lnTo>
                  <a:lnTo>
                    <a:pt x="93" y="169"/>
                  </a:lnTo>
                  <a:lnTo>
                    <a:pt x="96" y="168"/>
                  </a:lnTo>
                  <a:lnTo>
                    <a:pt x="95" y="170"/>
                  </a:lnTo>
                  <a:lnTo>
                    <a:pt x="97" y="171"/>
                  </a:lnTo>
                  <a:lnTo>
                    <a:pt x="99" y="175"/>
                  </a:lnTo>
                  <a:lnTo>
                    <a:pt x="96" y="177"/>
                  </a:lnTo>
                  <a:lnTo>
                    <a:pt x="94" y="178"/>
                  </a:lnTo>
                  <a:lnTo>
                    <a:pt x="91" y="177"/>
                  </a:lnTo>
                  <a:lnTo>
                    <a:pt x="91" y="179"/>
                  </a:lnTo>
                  <a:lnTo>
                    <a:pt x="93" y="181"/>
                  </a:lnTo>
                  <a:lnTo>
                    <a:pt x="96" y="185"/>
                  </a:lnTo>
                  <a:lnTo>
                    <a:pt x="97" y="188"/>
                  </a:lnTo>
                  <a:lnTo>
                    <a:pt x="99" y="191"/>
                  </a:lnTo>
                  <a:lnTo>
                    <a:pt x="99" y="194"/>
                  </a:lnTo>
                  <a:lnTo>
                    <a:pt x="97" y="196"/>
                  </a:lnTo>
                  <a:lnTo>
                    <a:pt x="95" y="199"/>
                  </a:lnTo>
                  <a:lnTo>
                    <a:pt x="92" y="201"/>
                  </a:lnTo>
                  <a:lnTo>
                    <a:pt x="84" y="201"/>
                  </a:lnTo>
                  <a:lnTo>
                    <a:pt x="80" y="200"/>
                  </a:lnTo>
                  <a:lnTo>
                    <a:pt x="78" y="200"/>
                  </a:lnTo>
                  <a:lnTo>
                    <a:pt x="74" y="205"/>
                  </a:lnTo>
                  <a:lnTo>
                    <a:pt x="71" y="207"/>
                  </a:lnTo>
                  <a:lnTo>
                    <a:pt x="68" y="209"/>
                  </a:lnTo>
                  <a:lnTo>
                    <a:pt x="66" y="210"/>
                  </a:lnTo>
                  <a:lnTo>
                    <a:pt x="63" y="210"/>
                  </a:lnTo>
                  <a:lnTo>
                    <a:pt x="60" y="210"/>
                  </a:lnTo>
                  <a:lnTo>
                    <a:pt x="58" y="211"/>
                  </a:lnTo>
                  <a:lnTo>
                    <a:pt x="60" y="209"/>
                  </a:lnTo>
                  <a:lnTo>
                    <a:pt x="59" y="207"/>
                  </a:lnTo>
                  <a:lnTo>
                    <a:pt x="54" y="205"/>
                  </a:lnTo>
                  <a:lnTo>
                    <a:pt x="49" y="207"/>
                  </a:lnTo>
                  <a:lnTo>
                    <a:pt x="48" y="209"/>
                  </a:lnTo>
                  <a:lnTo>
                    <a:pt x="50" y="211"/>
                  </a:lnTo>
                  <a:lnTo>
                    <a:pt x="46" y="210"/>
                  </a:lnTo>
                  <a:lnTo>
                    <a:pt x="44" y="213"/>
                  </a:lnTo>
                  <a:lnTo>
                    <a:pt x="44" y="216"/>
                  </a:lnTo>
                  <a:lnTo>
                    <a:pt x="43" y="216"/>
                  </a:lnTo>
                  <a:lnTo>
                    <a:pt x="45" y="219"/>
                  </a:lnTo>
                  <a:lnTo>
                    <a:pt x="49" y="217"/>
                  </a:lnTo>
                  <a:lnTo>
                    <a:pt x="45" y="219"/>
                  </a:lnTo>
                  <a:lnTo>
                    <a:pt x="44" y="222"/>
                  </a:lnTo>
                  <a:lnTo>
                    <a:pt x="46" y="222"/>
                  </a:lnTo>
                  <a:lnTo>
                    <a:pt x="44" y="222"/>
                  </a:lnTo>
                  <a:lnTo>
                    <a:pt x="42" y="221"/>
                  </a:lnTo>
                  <a:lnTo>
                    <a:pt x="40" y="221"/>
                  </a:lnTo>
                  <a:lnTo>
                    <a:pt x="32" y="230"/>
                  </a:lnTo>
                  <a:lnTo>
                    <a:pt x="31" y="233"/>
                  </a:lnTo>
                  <a:lnTo>
                    <a:pt x="33" y="235"/>
                  </a:lnTo>
                  <a:lnTo>
                    <a:pt x="31" y="236"/>
                  </a:lnTo>
                  <a:lnTo>
                    <a:pt x="28" y="238"/>
                  </a:lnTo>
                  <a:lnTo>
                    <a:pt x="31" y="239"/>
                  </a:lnTo>
                  <a:lnTo>
                    <a:pt x="28" y="239"/>
                  </a:lnTo>
                  <a:lnTo>
                    <a:pt x="25" y="239"/>
                  </a:lnTo>
                  <a:lnTo>
                    <a:pt x="27" y="242"/>
                  </a:lnTo>
                  <a:lnTo>
                    <a:pt x="29" y="244"/>
                  </a:lnTo>
                  <a:lnTo>
                    <a:pt x="29" y="246"/>
                  </a:lnTo>
                  <a:lnTo>
                    <a:pt x="33" y="248"/>
                  </a:lnTo>
                  <a:lnTo>
                    <a:pt x="33" y="251"/>
                  </a:lnTo>
                  <a:lnTo>
                    <a:pt x="36" y="250"/>
                  </a:lnTo>
                  <a:lnTo>
                    <a:pt x="39" y="247"/>
                  </a:lnTo>
                  <a:lnTo>
                    <a:pt x="39" y="244"/>
                  </a:lnTo>
                  <a:lnTo>
                    <a:pt x="44" y="241"/>
                  </a:lnTo>
                  <a:lnTo>
                    <a:pt x="45" y="241"/>
                  </a:lnTo>
                  <a:lnTo>
                    <a:pt x="43" y="243"/>
                  </a:lnTo>
                  <a:lnTo>
                    <a:pt x="41" y="244"/>
                  </a:lnTo>
                  <a:lnTo>
                    <a:pt x="36" y="250"/>
                  </a:lnTo>
                  <a:lnTo>
                    <a:pt x="40" y="248"/>
                  </a:lnTo>
                  <a:lnTo>
                    <a:pt x="40" y="251"/>
                  </a:lnTo>
                  <a:lnTo>
                    <a:pt x="42" y="253"/>
                  </a:lnTo>
                  <a:lnTo>
                    <a:pt x="40" y="255"/>
                  </a:lnTo>
                  <a:lnTo>
                    <a:pt x="43" y="254"/>
                  </a:lnTo>
                  <a:lnTo>
                    <a:pt x="45" y="254"/>
                  </a:lnTo>
                  <a:lnTo>
                    <a:pt x="49" y="256"/>
                  </a:lnTo>
                  <a:lnTo>
                    <a:pt x="54" y="256"/>
                  </a:lnTo>
                  <a:lnTo>
                    <a:pt x="59" y="253"/>
                  </a:lnTo>
                  <a:lnTo>
                    <a:pt x="59" y="256"/>
                  </a:lnTo>
                  <a:lnTo>
                    <a:pt x="57" y="256"/>
                  </a:lnTo>
                  <a:lnTo>
                    <a:pt x="59" y="256"/>
                  </a:lnTo>
                  <a:lnTo>
                    <a:pt x="61" y="258"/>
                  </a:lnTo>
                  <a:lnTo>
                    <a:pt x="62" y="260"/>
                  </a:lnTo>
                  <a:lnTo>
                    <a:pt x="59" y="262"/>
                  </a:lnTo>
                  <a:lnTo>
                    <a:pt x="57" y="261"/>
                  </a:lnTo>
                  <a:lnTo>
                    <a:pt x="57" y="258"/>
                  </a:lnTo>
                  <a:lnTo>
                    <a:pt x="54" y="259"/>
                  </a:lnTo>
                  <a:lnTo>
                    <a:pt x="49" y="262"/>
                  </a:lnTo>
                  <a:lnTo>
                    <a:pt x="51" y="260"/>
                  </a:lnTo>
                  <a:lnTo>
                    <a:pt x="50" y="258"/>
                  </a:lnTo>
                  <a:lnTo>
                    <a:pt x="48" y="258"/>
                  </a:lnTo>
                  <a:lnTo>
                    <a:pt x="44" y="255"/>
                  </a:lnTo>
                  <a:lnTo>
                    <a:pt x="42" y="255"/>
                  </a:lnTo>
                  <a:lnTo>
                    <a:pt x="41" y="258"/>
                  </a:lnTo>
                  <a:lnTo>
                    <a:pt x="36" y="263"/>
                  </a:lnTo>
                  <a:lnTo>
                    <a:pt x="42" y="263"/>
                  </a:lnTo>
                  <a:lnTo>
                    <a:pt x="40" y="265"/>
                  </a:lnTo>
                  <a:lnTo>
                    <a:pt x="42" y="267"/>
                  </a:lnTo>
                  <a:lnTo>
                    <a:pt x="44" y="268"/>
                  </a:lnTo>
                  <a:lnTo>
                    <a:pt x="45" y="268"/>
                  </a:lnTo>
                  <a:lnTo>
                    <a:pt x="51" y="272"/>
                  </a:lnTo>
                  <a:lnTo>
                    <a:pt x="53" y="273"/>
                  </a:lnTo>
                  <a:lnTo>
                    <a:pt x="53" y="277"/>
                  </a:lnTo>
                  <a:lnTo>
                    <a:pt x="56" y="278"/>
                  </a:lnTo>
                  <a:lnTo>
                    <a:pt x="58" y="278"/>
                  </a:lnTo>
                  <a:lnTo>
                    <a:pt x="63" y="278"/>
                  </a:lnTo>
                  <a:lnTo>
                    <a:pt x="67" y="277"/>
                  </a:lnTo>
                  <a:lnTo>
                    <a:pt x="69" y="276"/>
                  </a:lnTo>
                  <a:lnTo>
                    <a:pt x="71" y="273"/>
                  </a:lnTo>
                  <a:lnTo>
                    <a:pt x="75" y="273"/>
                  </a:lnTo>
                  <a:lnTo>
                    <a:pt x="76" y="272"/>
                  </a:lnTo>
                  <a:lnTo>
                    <a:pt x="76" y="270"/>
                  </a:lnTo>
                  <a:lnTo>
                    <a:pt x="75" y="267"/>
                  </a:lnTo>
                  <a:lnTo>
                    <a:pt x="77" y="264"/>
                  </a:lnTo>
                  <a:lnTo>
                    <a:pt x="80" y="259"/>
                  </a:lnTo>
                  <a:lnTo>
                    <a:pt x="82" y="260"/>
                  </a:lnTo>
                  <a:lnTo>
                    <a:pt x="84" y="260"/>
                  </a:lnTo>
                  <a:lnTo>
                    <a:pt x="82" y="261"/>
                  </a:lnTo>
                  <a:lnTo>
                    <a:pt x="79" y="263"/>
                  </a:lnTo>
                  <a:lnTo>
                    <a:pt x="77" y="267"/>
                  </a:lnTo>
                  <a:lnTo>
                    <a:pt x="77" y="269"/>
                  </a:lnTo>
                  <a:lnTo>
                    <a:pt x="79" y="271"/>
                  </a:lnTo>
                  <a:lnTo>
                    <a:pt x="79" y="273"/>
                  </a:lnTo>
                  <a:lnTo>
                    <a:pt x="83" y="279"/>
                  </a:lnTo>
                  <a:lnTo>
                    <a:pt x="84" y="281"/>
                  </a:lnTo>
                  <a:lnTo>
                    <a:pt x="86" y="284"/>
                  </a:lnTo>
                  <a:lnTo>
                    <a:pt x="84" y="286"/>
                  </a:lnTo>
                  <a:lnTo>
                    <a:pt x="82" y="289"/>
                  </a:lnTo>
                  <a:lnTo>
                    <a:pt x="84" y="291"/>
                  </a:lnTo>
                  <a:lnTo>
                    <a:pt x="87" y="293"/>
                  </a:lnTo>
                  <a:lnTo>
                    <a:pt x="84" y="294"/>
                  </a:lnTo>
                  <a:lnTo>
                    <a:pt x="85" y="299"/>
                  </a:lnTo>
                  <a:lnTo>
                    <a:pt x="83" y="301"/>
                  </a:lnTo>
                  <a:lnTo>
                    <a:pt x="80" y="301"/>
                  </a:lnTo>
                  <a:lnTo>
                    <a:pt x="88" y="302"/>
                  </a:lnTo>
                  <a:lnTo>
                    <a:pt x="91" y="301"/>
                  </a:lnTo>
                  <a:lnTo>
                    <a:pt x="92" y="298"/>
                  </a:lnTo>
                  <a:lnTo>
                    <a:pt x="94" y="298"/>
                  </a:lnTo>
                  <a:lnTo>
                    <a:pt x="100" y="296"/>
                  </a:lnTo>
                  <a:lnTo>
                    <a:pt x="102" y="294"/>
                  </a:lnTo>
                  <a:lnTo>
                    <a:pt x="105" y="293"/>
                  </a:lnTo>
                  <a:lnTo>
                    <a:pt x="106" y="296"/>
                  </a:lnTo>
                  <a:lnTo>
                    <a:pt x="110" y="297"/>
                  </a:lnTo>
                  <a:lnTo>
                    <a:pt x="112" y="298"/>
                  </a:lnTo>
                  <a:lnTo>
                    <a:pt x="113" y="296"/>
                  </a:lnTo>
                  <a:lnTo>
                    <a:pt x="116" y="297"/>
                  </a:lnTo>
                  <a:lnTo>
                    <a:pt x="119" y="301"/>
                  </a:lnTo>
                  <a:lnTo>
                    <a:pt x="122" y="305"/>
                  </a:lnTo>
                  <a:lnTo>
                    <a:pt x="123" y="306"/>
                  </a:lnTo>
                  <a:lnTo>
                    <a:pt x="127" y="304"/>
                  </a:lnTo>
                  <a:lnTo>
                    <a:pt x="125" y="301"/>
                  </a:lnTo>
                  <a:lnTo>
                    <a:pt x="130" y="293"/>
                  </a:lnTo>
                  <a:lnTo>
                    <a:pt x="129" y="290"/>
                  </a:lnTo>
                  <a:lnTo>
                    <a:pt x="131" y="293"/>
                  </a:lnTo>
                  <a:lnTo>
                    <a:pt x="135" y="294"/>
                  </a:lnTo>
                  <a:lnTo>
                    <a:pt x="136" y="295"/>
                  </a:lnTo>
                  <a:lnTo>
                    <a:pt x="133" y="294"/>
                  </a:lnTo>
                  <a:lnTo>
                    <a:pt x="130" y="296"/>
                  </a:lnTo>
                  <a:lnTo>
                    <a:pt x="129" y="298"/>
                  </a:lnTo>
                  <a:lnTo>
                    <a:pt x="134" y="302"/>
                  </a:lnTo>
                  <a:lnTo>
                    <a:pt x="136" y="302"/>
                  </a:lnTo>
                  <a:lnTo>
                    <a:pt x="142" y="299"/>
                  </a:lnTo>
                  <a:lnTo>
                    <a:pt x="150" y="296"/>
                  </a:lnTo>
                  <a:lnTo>
                    <a:pt x="153" y="294"/>
                  </a:lnTo>
                  <a:lnTo>
                    <a:pt x="154" y="291"/>
                  </a:lnTo>
                  <a:lnTo>
                    <a:pt x="153" y="294"/>
                  </a:lnTo>
                  <a:lnTo>
                    <a:pt x="151" y="297"/>
                  </a:lnTo>
                  <a:lnTo>
                    <a:pt x="152" y="299"/>
                  </a:lnTo>
                  <a:lnTo>
                    <a:pt x="148" y="301"/>
                  </a:lnTo>
                  <a:lnTo>
                    <a:pt x="143" y="306"/>
                  </a:lnTo>
                  <a:lnTo>
                    <a:pt x="144" y="308"/>
                  </a:lnTo>
                  <a:lnTo>
                    <a:pt x="146" y="310"/>
                  </a:lnTo>
                  <a:lnTo>
                    <a:pt x="148" y="311"/>
                  </a:lnTo>
                  <a:lnTo>
                    <a:pt x="146" y="310"/>
                  </a:lnTo>
                  <a:lnTo>
                    <a:pt x="143" y="311"/>
                  </a:lnTo>
                  <a:lnTo>
                    <a:pt x="143" y="313"/>
                  </a:lnTo>
                  <a:lnTo>
                    <a:pt x="142" y="316"/>
                  </a:lnTo>
                  <a:lnTo>
                    <a:pt x="142" y="319"/>
                  </a:lnTo>
                  <a:lnTo>
                    <a:pt x="143" y="324"/>
                  </a:lnTo>
                  <a:lnTo>
                    <a:pt x="145" y="323"/>
                  </a:lnTo>
                  <a:lnTo>
                    <a:pt x="145" y="324"/>
                  </a:lnTo>
                  <a:lnTo>
                    <a:pt x="142" y="324"/>
                  </a:lnTo>
                  <a:lnTo>
                    <a:pt x="142" y="323"/>
                  </a:lnTo>
                  <a:lnTo>
                    <a:pt x="138" y="324"/>
                  </a:lnTo>
                  <a:lnTo>
                    <a:pt x="136" y="327"/>
                  </a:lnTo>
                  <a:lnTo>
                    <a:pt x="133" y="328"/>
                  </a:lnTo>
                  <a:lnTo>
                    <a:pt x="128" y="332"/>
                  </a:lnTo>
                  <a:lnTo>
                    <a:pt x="128" y="336"/>
                  </a:lnTo>
                  <a:lnTo>
                    <a:pt x="126" y="338"/>
                  </a:lnTo>
                  <a:lnTo>
                    <a:pt x="123" y="337"/>
                  </a:lnTo>
                  <a:lnTo>
                    <a:pt x="120" y="340"/>
                  </a:lnTo>
                  <a:lnTo>
                    <a:pt x="112" y="342"/>
                  </a:lnTo>
                  <a:lnTo>
                    <a:pt x="106" y="347"/>
                  </a:lnTo>
                  <a:lnTo>
                    <a:pt x="104" y="349"/>
                  </a:lnTo>
                  <a:lnTo>
                    <a:pt x="103" y="352"/>
                  </a:lnTo>
                  <a:lnTo>
                    <a:pt x="103" y="355"/>
                  </a:lnTo>
                  <a:lnTo>
                    <a:pt x="104" y="357"/>
                  </a:lnTo>
                  <a:lnTo>
                    <a:pt x="102" y="356"/>
                  </a:lnTo>
                  <a:lnTo>
                    <a:pt x="99" y="356"/>
                  </a:lnTo>
                  <a:lnTo>
                    <a:pt x="99" y="358"/>
                  </a:lnTo>
                  <a:lnTo>
                    <a:pt x="97" y="356"/>
                  </a:lnTo>
                  <a:lnTo>
                    <a:pt x="97" y="354"/>
                  </a:lnTo>
                  <a:lnTo>
                    <a:pt x="95" y="355"/>
                  </a:lnTo>
                  <a:lnTo>
                    <a:pt x="92" y="354"/>
                  </a:lnTo>
                  <a:lnTo>
                    <a:pt x="80" y="357"/>
                  </a:lnTo>
                  <a:lnTo>
                    <a:pt x="78" y="359"/>
                  </a:lnTo>
                  <a:lnTo>
                    <a:pt x="76" y="363"/>
                  </a:lnTo>
                  <a:lnTo>
                    <a:pt x="76" y="365"/>
                  </a:lnTo>
                  <a:lnTo>
                    <a:pt x="72" y="366"/>
                  </a:lnTo>
                  <a:lnTo>
                    <a:pt x="70" y="368"/>
                  </a:lnTo>
                  <a:lnTo>
                    <a:pt x="67" y="368"/>
                  </a:lnTo>
                  <a:lnTo>
                    <a:pt x="65" y="370"/>
                  </a:lnTo>
                  <a:lnTo>
                    <a:pt x="65" y="373"/>
                  </a:lnTo>
                  <a:lnTo>
                    <a:pt x="66" y="375"/>
                  </a:lnTo>
                  <a:lnTo>
                    <a:pt x="67" y="373"/>
                  </a:lnTo>
                  <a:lnTo>
                    <a:pt x="66" y="370"/>
                  </a:lnTo>
                  <a:lnTo>
                    <a:pt x="69" y="373"/>
                  </a:lnTo>
                  <a:lnTo>
                    <a:pt x="71" y="374"/>
                  </a:lnTo>
                  <a:lnTo>
                    <a:pt x="75" y="373"/>
                  </a:lnTo>
                  <a:lnTo>
                    <a:pt x="74" y="370"/>
                  </a:lnTo>
                  <a:lnTo>
                    <a:pt x="72" y="367"/>
                  </a:lnTo>
                  <a:lnTo>
                    <a:pt x="76" y="368"/>
                  </a:lnTo>
                  <a:lnTo>
                    <a:pt x="77" y="372"/>
                  </a:lnTo>
                  <a:lnTo>
                    <a:pt x="80" y="370"/>
                  </a:lnTo>
                  <a:lnTo>
                    <a:pt x="83" y="370"/>
                  </a:lnTo>
                  <a:lnTo>
                    <a:pt x="84" y="367"/>
                  </a:lnTo>
                  <a:lnTo>
                    <a:pt x="86" y="364"/>
                  </a:lnTo>
                  <a:lnTo>
                    <a:pt x="87" y="362"/>
                  </a:lnTo>
                  <a:lnTo>
                    <a:pt x="89" y="361"/>
                  </a:lnTo>
                  <a:lnTo>
                    <a:pt x="93" y="362"/>
                  </a:lnTo>
                  <a:lnTo>
                    <a:pt x="89" y="363"/>
                  </a:lnTo>
                  <a:lnTo>
                    <a:pt x="89" y="365"/>
                  </a:lnTo>
                  <a:lnTo>
                    <a:pt x="93" y="366"/>
                  </a:lnTo>
                  <a:lnTo>
                    <a:pt x="97" y="363"/>
                  </a:lnTo>
                  <a:lnTo>
                    <a:pt x="101" y="362"/>
                  </a:lnTo>
                  <a:lnTo>
                    <a:pt x="103" y="363"/>
                  </a:lnTo>
                  <a:lnTo>
                    <a:pt x="104" y="359"/>
                  </a:lnTo>
                  <a:lnTo>
                    <a:pt x="106" y="359"/>
                  </a:lnTo>
                  <a:lnTo>
                    <a:pt x="110" y="357"/>
                  </a:lnTo>
                  <a:lnTo>
                    <a:pt x="111" y="357"/>
                  </a:lnTo>
                  <a:lnTo>
                    <a:pt x="114" y="358"/>
                  </a:lnTo>
                  <a:lnTo>
                    <a:pt x="113" y="361"/>
                  </a:lnTo>
                  <a:lnTo>
                    <a:pt x="116" y="361"/>
                  </a:lnTo>
                  <a:lnTo>
                    <a:pt x="117" y="357"/>
                  </a:lnTo>
                  <a:lnTo>
                    <a:pt x="120" y="355"/>
                  </a:lnTo>
                  <a:lnTo>
                    <a:pt x="122" y="355"/>
                  </a:lnTo>
                  <a:lnTo>
                    <a:pt x="126" y="353"/>
                  </a:lnTo>
                  <a:lnTo>
                    <a:pt x="128" y="354"/>
                  </a:lnTo>
                  <a:lnTo>
                    <a:pt x="129" y="350"/>
                  </a:lnTo>
                  <a:lnTo>
                    <a:pt x="130" y="354"/>
                  </a:lnTo>
                  <a:lnTo>
                    <a:pt x="131" y="353"/>
                  </a:lnTo>
                  <a:lnTo>
                    <a:pt x="133" y="350"/>
                  </a:lnTo>
                  <a:lnTo>
                    <a:pt x="135" y="349"/>
                  </a:lnTo>
                  <a:lnTo>
                    <a:pt x="133" y="349"/>
                  </a:lnTo>
                  <a:lnTo>
                    <a:pt x="133" y="347"/>
                  </a:lnTo>
                  <a:lnTo>
                    <a:pt x="129" y="347"/>
                  </a:lnTo>
                  <a:lnTo>
                    <a:pt x="133" y="344"/>
                  </a:lnTo>
                  <a:lnTo>
                    <a:pt x="135" y="344"/>
                  </a:lnTo>
                  <a:lnTo>
                    <a:pt x="138" y="342"/>
                  </a:lnTo>
                  <a:lnTo>
                    <a:pt x="135" y="342"/>
                  </a:lnTo>
                  <a:lnTo>
                    <a:pt x="138" y="341"/>
                  </a:lnTo>
                  <a:lnTo>
                    <a:pt x="140" y="340"/>
                  </a:lnTo>
                  <a:lnTo>
                    <a:pt x="143" y="339"/>
                  </a:lnTo>
                  <a:lnTo>
                    <a:pt x="146" y="337"/>
                  </a:lnTo>
                  <a:lnTo>
                    <a:pt x="150" y="337"/>
                  </a:lnTo>
                  <a:lnTo>
                    <a:pt x="152" y="335"/>
                  </a:lnTo>
                  <a:lnTo>
                    <a:pt x="157" y="332"/>
                  </a:lnTo>
                  <a:lnTo>
                    <a:pt x="159" y="330"/>
                  </a:lnTo>
                  <a:lnTo>
                    <a:pt x="157" y="328"/>
                  </a:lnTo>
                  <a:lnTo>
                    <a:pt x="160" y="325"/>
                  </a:lnTo>
                  <a:lnTo>
                    <a:pt x="165" y="323"/>
                  </a:lnTo>
                  <a:lnTo>
                    <a:pt x="168" y="323"/>
                  </a:lnTo>
                  <a:lnTo>
                    <a:pt x="169" y="321"/>
                  </a:lnTo>
                  <a:lnTo>
                    <a:pt x="172" y="319"/>
                  </a:lnTo>
                  <a:lnTo>
                    <a:pt x="177" y="316"/>
                  </a:lnTo>
                  <a:lnTo>
                    <a:pt x="179" y="314"/>
                  </a:lnTo>
                  <a:lnTo>
                    <a:pt x="185" y="312"/>
                  </a:lnTo>
                  <a:lnTo>
                    <a:pt x="187" y="313"/>
                  </a:lnTo>
                  <a:lnTo>
                    <a:pt x="189" y="310"/>
                  </a:lnTo>
                  <a:lnTo>
                    <a:pt x="189" y="307"/>
                  </a:lnTo>
                  <a:lnTo>
                    <a:pt x="190" y="305"/>
                  </a:lnTo>
                  <a:lnTo>
                    <a:pt x="194" y="302"/>
                  </a:lnTo>
                  <a:lnTo>
                    <a:pt x="196" y="302"/>
                  </a:lnTo>
                  <a:lnTo>
                    <a:pt x="198" y="301"/>
                  </a:lnTo>
                  <a:lnTo>
                    <a:pt x="200" y="297"/>
                  </a:lnTo>
                  <a:lnTo>
                    <a:pt x="199" y="295"/>
                  </a:lnTo>
                  <a:lnTo>
                    <a:pt x="197" y="294"/>
                  </a:lnTo>
                  <a:lnTo>
                    <a:pt x="195" y="293"/>
                  </a:lnTo>
                  <a:lnTo>
                    <a:pt x="189" y="293"/>
                  </a:lnTo>
                  <a:lnTo>
                    <a:pt x="189" y="291"/>
                  </a:lnTo>
                  <a:lnTo>
                    <a:pt x="190" y="287"/>
                  </a:lnTo>
                  <a:lnTo>
                    <a:pt x="193" y="286"/>
                  </a:lnTo>
                  <a:lnTo>
                    <a:pt x="194" y="284"/>
                  </a:lnTo>
                  <a:lnTo>
                    <a:pt x="196" y="281"/>
                  </a:lnTo>
                  <a:lnTo>
                    <a:pt x="202" y="280"/>
                  </a:lnTo>
                  <a:lnTo>
                    <a:pt x="204" y="280"/>
                  </a:lnTo>
                  <a:lnTo>
                    <a:pt x="205" y="277"/>
                  </a:lnTo>
                  <a:lnTo>
                    <a:pt x="202" y="277"/>
                  </a:lnTo>
                  <a:lnTo>
                    <a:pt x="207" y="276"/>
                  </a:lnTo>
                  <a:lnTo>
                    <a:pt x="211" y="273"/>
                  </a:lnTo>
                  <a:lnTo>
                    <a:pt x="211" y="272"/>
                  </a:lnTo>
                  <a:lnTo>
                    <a:pt x="206" y="268"/>
                  </a:lnTo>
                  <a:lnTo>
                    <a:pt x="208" y="269"/>
                  </a:lnTo>
                  <a:lnTo>
                    <a:pt x="211" y="269"/>
                  </a:lnTo>
                  <a:lnTo>
                    <a:pt x="214" y="268"/>
                  </a:lnTo>
                  <a:lnTo>
                    <a:pt x="214" y="264"/>
                  </a:lnTo>
                  <a:lnTo>
                    <a:pt x="216" y="262"/>
                  </a:lnTo>
                  <a:lnTo>
                    <a:pt x="220" y="260"/>
                  </a:lnTo>
                  <a:lnTo>
                    <a:pt x="222" y="258"/>
                  </a:lnTo>
                  <a:lnTo>
                    <a:pt x="223" y="255"/>
                  </a:lnTo>
                  <a:lnTo>
                    <a:pt x="225" y="253"/>
                  </a:lnTo>
                  <a:lnTo>
                    <a:pt x="231" y="252"/>
                  </a:lnTo>
                  <a:lnTo>
                    <a:pt x="233" y="248"/>
                  </a:lnTo>
                  <a:lnTo>
                    <a:pt x="237" y="248"/>
                  </a:lnTo>
                  <a:lnTo>
                    <a:pt x="239" y="245"/>
                  </a:lnTo>
                  <a:lnTo>
                    <a:pt x="241" y="248"/>
                  </a:lnTo>
                  <a:lnTo>
                    <a:pt x="247" y="248"/>
                  </a:lnTo>
                  <a:lnTo>
                    <a:pt x="249" y="245"/>
                  </a:lnTo>
                  <a:lnTo>
                    <a:pt x="251" y="243"/>
                  </a:lnTo>
                  <a:lnTo>
                    <a:pt x="255" y="244"/>
                  </a:lnTo>
                  <a:lnTo>
                    <a:pt x="249" y="246"/>
                  </a:lnTo>
                  <a:lnTo>
                    <a:pt x="247" y="248"/>
                  </a:lnTo>
                  <a:lnTo>
                    <a:pt x="247" y="251"/>
                  </a:lnTo>
                  <a:lnTo>
                    <a:pt x="251" y="253"/>
                  </a:lnTo>
                  <a:lnTo>
                    <a:pt x="257" y="255"/>
                  </a:lnTo>
                  <a:lnTo>
                    <a:pt x="249" y="254"/>
                  </a:lnTo>
                  <a:lnTo>
                    <a:pt x="246" y="255"/>
                  </a:lnTo>
                  <a:lnTo>
                    <a:pt x="240" y="253"/>
                  </a:lnTo>
                  <a:lnTo>
                    <a:pt x="237" y="254"/>
                  </a:lnTo>
                  <a:lnTo>
                    <a:pt x="232" y="258"/>
                  </a:lnTo>
                  <a:lnTo>
                    <a:pt x="229" y="258"/>
                  </a:lnTo>
                  <a:lnTo>
                    <a:pt x="228" y="261"/>
                  </a:lnTo>
                  <a:lnTo>
                    <a:pt x="229" y="263"/>
                  </a:lnTo>
                  <a:lnTo>
                    <a:pt x="229" y="267"/>
                  </a:lnTo>
                  <a:lnTo>
                    <a:pt x="228" y="269"/>
                  </a:lnTo>
                  <a:lnTo>
                    <a:pt x="223" y="273"/>
                  </a:lnTo>
                  <a:lnTo>
                    <a:pt x="221" y="278"/>
                  </a:lnTo>
                  <a:lnTo>
                    <a:pt x="223" y="280"/>
                  </a:lnTo>
                  <a:lnTo>
                    <a:pt x="225" y="281"/>
                  </a:lnTo>
                  <a:lnTo>
                    <a:pt x="229" y="280"/>
                  </a:lnTo>
                  <a:lnTo>
                    <a:pt x="231" y="280"/>
                  </a:lnTo>
                  <a:lnTo>
                    <a:pt x="229" y="282"/>
                  </a:lnTo>
                  <a:lnTo>
                    <a:pt x="227" y="285"/>
                  </a:lnTo>
                  <a:lnTo>
                    <a:pt x="223" y="285"/>
                  </a:lnTo>
                  <a:lnTo>
                    <a:pt x="221" y="286"/>
                  </a:lnTo>
                  <a:lnTo>
                    <a:pt x="220" y="289"/>
                  </a:lnTo>
                  <a:lnTo>
                    <a:pt x="222" y="290"/>
                  </a:lnTo>
                  <a:lnTo>
                    <a:pt x="231" y="288"/>
                  </a:lnTo>
                  <a:lnTo>
                    <a:pt x="233" y="289"/>
                  </a:lnTo>
                  <a:lnTo>
                    <a:pt x="236" y="287"/>
                  </a:lnTo>
                  <a:lnTo>
                    <a:pt x="238" y="285"/>
                  </a:lnTo>
                  <a:lnTo>
                    <a:pt x="239" y="282"/>
                  </a:lnTo>
                  <a:lnTo>
                    <a:pt x="241" y="282"/>
                  </a:lnTo>
                  <a:lnTo>
                    <a:pt x="244" y="279"/>
                  </a:lnTo>
                  <a:lnTo>
                    <a:pt x="244" y="282"/>
                  </a:lnTo>
                  <a:lnTo>
                    <a:pt x="247" y="281"/>
                  </a:lnTo>
                  <a:lnTo>
                    <a:pt x="247" y="278"/>
                  </a:lnTo>
                  <a:lnTo>
                    <a:pt x="250" y="279"/>
                  </a:lnTo>
                  <a:lnTo>
                    <a:pt x="249" y="277"/>
                  </a:lnTo>
                  <a:lnTo>
                    <a:pt x="251" y="277"/>
                  </a:lnTo>
                  <a:lnTo>
                    <a:pt x="253" y="279"/>
                  </a:lnTo>
                  <a:lnTo>
                    <a:pt x="253" y="277"/>
                  </a:lnTo>
                  <a:lnTo>
                    <a:pt x="255" y="273"/>
                  </a:lnTo>
                  <a:lnTo>
                    <a:pt x="256" y="273"/>
                  </a:lnTo>
                  <a:lnTo>
                    <a:pt x="256" y="277"/>
                  </a:lnTo>
                  <a:lnTo>
                    <a:pt x="257" y="273"/>
                  </a:lnTo>
                  <a:lnTo>
                    <a:pt x="264" y="274"/>
                  </a:lnTo>
                  <a:lnTo>
                    <a:pt x="266" y="273"/>
                  </a:lnTo>
                  <a:lnTo>
                    <a:pt x="268" y="273"/>
                  </a:lnTo>
                  <a:lnTo>
                    <a:pt x="268" y="271"/>
                  </a:lnTo>
                  <a:lnTo>
                    <a:pt x="272" y="271"/>
                  </a:lnTo>
                  <a:lnTo>
                    <a:pt x="270" y="268"/>
                  </a:lnTo>
                  <a:lnTo>
                    <a:pt x="273" y="265"/>
                  </a:lnTo>
                  <a:lnTo>
                    <a:pt x="274" y="263"/>
                  </a:lnTo>
                  <a:lnTo>
                    <a:pt x="272" y="262"/>
                  </a:lnTo>
                  <a:lnTo>
                    <a:pt x="268" y="263"/>
                  </a:lnTo>
                  <a:lnTo>
                    <a:pt x="266" y="263"/>
                  </a:lnTo>
                  <a:lnTo>
                    <a:pt x="268" y="262"/>
                  </a:lnTo>
                  <a:lnTo>
                    <a:pt x="271" y="261"/>
                  </a:lnTo>
                  <a:lnTo>
                    <a:pt x="271" y="258"/>
                  </a:lnTo>
                  <a:lnTo>
                    <a:pt x="268" y="261"/>
                  </a:lnTo>
                  <a:lnTo>
                    <a:pt x="267" y="258"/>
                  </a:lnTo>
                  <a:lnTo>
                    <a:pt x="265" y="260"/>
                  </a:lnTo>
                  <a:lnTo>
                    <a:pt x="266" y="256"/>
                  </a:lnTo>
                  <a:lnTo>
                    <a:pt x="270" y="256"/>
                  </a:lnTo>
                  <a:lnTo>
                    <a:pt x="271" y="254"/>
                  </a:lnTo>
                  <a:lnTo>
                    <a:pt x="271" y="251"/>
                  </a:lnTo>
                  <a:lnTo>
                    <a:pt x="273" y="253"/>
                  </a:lnTo>
                  <a:lnTo>
                    <a:pt x="275" y="250"/>
                  </a:lnTo>
                  <a:lnTo>
                    <a:pt x="278" y="247"/>
                  </a:lnTo>
                  <a:lnTo>
                    <a:pt x="278" y="250"/>
                  </a:lnTo>
                  <a:lnTo>
                    <a:pt x="275" y="252"/>
                  </a:lnTo>
                  <a:lnTo>
                    <a:pt x="274" y="255"/>
                  </a:lnTo>
                  <a:lnTo>
                    <a:pt x="280" y="256"/>
                  </a:lnTo>
                  <a:lnTo>
                    <a:pt x="280" y="253"/>
                  </a:lnTo>
                  <a:lnTo>
                    <a:pt x="281" y="251"/>
                  </a:lnTo>
                  <a:lnTo>
                    <a:pt x="281" y="253"/>
                  </a:lnTo>
                  <a:lnTo>
                    <a:pt x="287" y="253"/>
                  </a:lnTo>
                  <a:lnTo>
                    <a:pt x="289" y="254"/>
                  </a:lnTo>
                  <a:lnTo>
                    <a:pt x="292" y="252"/>
                  </a:lnTo>
                  <a:lnTo>
                    <a:pt x="295" y="251"/>
                  </a:lnTo>
                  <a:lnTo>
                    <a:pt x="298" y="252"/>
                  </a:lnTo>
                  <a:lnTo>
                    <a:pt x="295" y="252"/>
                  </a:lnTo>
                  <a:lnTo>
                    <a:pt x="292" y="253"/>
                  </a:lnTo>
                  <a:lnTo>
                    <a:pt x="292" y="255"/>
                  </a:lnTo>
                  <a:lnTo>
                    <a:pt x="295" y="258"/>
                  </a:lnTo>
                  <a:lnTo>
                    <a:pt x="298" y="256"/>
                  </a:lnTo>
                  <a:lnTo>
                    <a:pt x="300" y="256"/>
                  </a:lnTo>
                  <a:lnTo>
                    <a:pt x="296" y="258"/>
                  </a:lnTo>
                  <a:lnTo>
                    <a:pt x="293" y="260"/>
                  </a:lnTo>
                  <a:lnTo>
                    <a:pt x="296" y="260"/>
                  </a:lnTo>
                  <a:lnTo>
                    <a:pt x="301" y="258"/>
                  </a:lnTo>
                  <a:lnTo>
                    <a:pt x="300" y="261"/>
                  </a:lnTo>
                  <a:lnTo>
                    <a:pt x="302" y="260"/>
                  </a:lnTo>
                  <a:lnTo>
                    <a:pt x="306" y="262"/>
                  </a:lnTo>
                  <a:lnTo>
                    <a:pt x="304" y="264"/>
                  </a:lnTo>
                  <a:lnTo>
                    <a:pt x="307" y="264"/>
                  </a:lnTo>
                  <a:lnTo>
                    <a:pt x="309" y="267"/>
                  </a:lnTo>
                  <a:lnTo>
                    <a:pt x="313" y="265"/>
                  </a:lnTo>
                  <a:lnTo>
                    <a:pt x="317" y="261"/>
                  </a:lnTo>
                  <a:lnTo>
                    <a:pt x="321" y="259"/>
                  </a:lnTo>
                  <a:lnTo>
                    <a:pt x="321" y="260"/>
                  </a:lnTo>
                  <a:lnTo>
                    <a:pt x="317" y="262"/>
                  </a:lnTo>
                  <a:lnTo>
                    <a:pt x="317" y="268"/>
                  </a:lnTo>
                  <a:lnTo>
                    <a:pt x="319" y="269"/>
                  </a:lnTo>
                  <a:lnTo>
                    <a:pt x="323" y="270"/>
                  </a:lnTo>
                  <a:lnTo>
                    <a:pt x="325" y="271"/>
                  </a:lnTo>
                  <a:lnTo>
                    <a:pt x="326" y="273"/>
                  </a:lnTo>
                  <a:lnTo>
                    <a:pt x="331" y="273"/>
                  </a:lnTo>
                  <a:lnTo>
                    <a:pt x="333" y="273"/>
                  </a:lnTo>
                  <a:lnTo>
                    <a:pt x="347" y="271"/>
                  </a:lnTo>
                  <a:lnTo>
                    <a:pt x="349" y="272"/>
                  </a:lnTo>
                  <a:lnTo>
                    <a:pt x="358" y="273"/>
                  </a:lnTo>
                  <a:lnTo>
                    <a:pt x="360" y="274"/>
                  </a:lnTo>
                  <a:lnTo>
                    <a:pt x="364" y="273"/>
                  </a:lnTo>
                  <a:lnTo>
                    <a:pt x="365" y="271"/>
                  </a:lnTo>
                  <a:lnTo>
                    <a:pt x="366" y="273"/>
                  </a:lnTo>
                  <a:lnTo>
                    <a:pt x="365" y="277"/>
                  </a:lnTo>
                  <a:lnTo>
                    <a:pt x="373" y="279"/>
                  </a:lnTo>
                  <a:lnTo>
                    <a:pt x="378" y="280"/>
                  </a:lnTo>
                  <a:lnTo>
                    <a:pt x="381" y="279"/>
                  </a:lnTo>
                  <a:lnTo>
                    <a:pt x="384" y="278"/>
                  </a:lnTo>
                  <a:lnTo>
                    <a:pt x="386" y="277"/>
                  </a:lnTo>
                  <a:lnTo>
                    <a:pt x="390" y="273"/>
                  </a:lnTo>
                  <a:lnTo>
                    <a:pt x="392" y="273"/>
                  </a:lnTo>
                  <a:lnTo>
                    <a:pt x="393" y="276"/>
                  </a:lnTo>
                  <a:lnTo>
                    <a:pt x="399" y="278"/>
                  </a:lnTo>
                  <a:lnTo>
                    <a:pt x="396" y="277"/>
                  </a:lnTo>
                  <a:lnTo>
                    <a:pt x="393" y="279"/>
                  </a:lnTo>
                  <a:lnTo>
                    <a:pt x="393" y="282"/>
                  </a:lnTo>
                  <a:lnTo>
                    <a:pt x="393" y="277"/>
                  </a:lnTo>
                  <a:lnTo>
                    <a:pt x="390" y="274"/>
                  </a:lnTo>
                  <a:lnTo>
                    <a:pt x="390" y="277"/>
                  </a:lnTo>
                  <a:lnTo>
                    <a:pt x="391" y="280"/>
                  </a:lnTo>
                  <a:lnTo>
                    <a:pt x="389" y="282"/>
                  </a:lnTo>
                  <a:lnTo>
                    <a:pt x="385" y="284"/>
                  </a:lnTo>
                  <a:lnTo>
                    <a:pt x="389" y="285"/>
                  </a:lnTo>
                  <a:lnTo>
                    <a:pt x="391" y="286"/>
                  </a:lnTo>
                  <a:lnTo>
                    <a:pt x="393" y="287"/>
                  </a:lnTo>
                  <a:lnTo>
                    <a:pt x="396" y="288"/>
                  </a:lnTo>
                  <a:lnTo>
                    <a:pt x="399" y="289"/>
                  </a:lnTo>
                  <a:lnTo>
                    <a:pt x="402" y="291"/>
                  </a:lnTo>
                  <a:lnTo>
                    <a:pt x="404" y="290"/>
                  </a:lnTo>
                  <a:lnTo>
                    <a:pt x="403" y="293"/>
                  </a:lnTo>
                  <a:lnTo>
                    <a:pt x="407" y="293"/>
                  </a:lnTo>
                  <a:lnTo>
                    <a:pt x="409" y="295"/>
                  </a:lnTo>
                  <a:lnTo>
                    <a:pt x="411" y="297"/>
                  </a:lnTo>
                  <a:lnTo>
                    <a:pt x="416" y="302"/>
                  </a:lnTo>
                  <a:lnTo>
                    <a:pt x="421" y="305"/>
                  </a:lnTo>
                  <a:lnTo>
                    <a:pt x="427" y="307"/>
                  </a:lnTo>
                  <a:lnTo>
                    <a:pt x="429" y="310"/>
                  </a:lnTo>
                  <a:lnTo>
                    <a:pt x="429" y="307"/>
                  </a:lnTo>
                  <a:lnTo>
                    <a:pt x="433" y="306"/>
                  </a:lnTo>
                  <a:lnTo>
                    <a:pt x="435" y="307"/>
                  </a:lnTo>
                  <a:lnTo>
                    <a:pt x="437" y="306"/>
                  </a:lnTo>
                  <a:lnTo>
                    <a:pt x="435" y="304"/>
                  </a:lnTo>
                  <a:lnTo>
                    <a:pt x="435" y="301"/>
                  </a:lnTo>
                  <a:lnTo>
                    <a:pt x="432" y="301"/>
                  </a:lnTo>
                  <a:lnTo>
                    <a:pt x="432" y="298"/>
                  </a:lnTo>
                  <a:lnTo>
                    <a:pt x="426" y="296"/>
                  </a:lnTo>
                  <a:lnTo>
                    <a:pt x="424" y="297"/>
                  </a:lnTo>
                  <a:lnTo>
                    <a:pt x="426" y="296"/>
                  </a:lnTo>
                  <a:lnTo>
                    <a:pt x="424" y="293"/>
                  </a:lnTo>
                  <a:lnTo>
                    <a:pt x="426" y="295"/>
                  </a:lnTo>
                  <a:lnTo>
                    <a:pt x="429" y="294"/>
                  </a:lnTo>
                  <a:lnTo>
                    <a:pt x="432" y="297"/>
                  </a:lnTo>
                  <a:lnTo>
                    <a:pt x="434" y="298"/>
                  </a:lnTo>
                  <a:lnTo>
                    <a:pt x="437" y="297"/>
                  </a:lnTo>
                  <a:lnTo>
                    <a:pt x="437" y="294"/>
                  </a:lnTo>
                  <a:lnTo>
                    <a:pt x="437" y="297"/>
                  </a:lnTo>
                  <a:lnTo>
                    <a:pt x="441" y="297"/>
                  </a:lnTo>
                  <a:lnTo>
                    <a:pt x="437" y="298"/>
                  </a:lnTo>
                  <a:lnTo>
                    <a:pt x="441" y="304"/>
                  </a:lnTo>
                  <a:lnTo>
                    <a:pt x="441" y="306"/>
                  </a:lnTo>
                  <a:lnTo>
                    <a:pt x="443" y="305"/>
                  </a:lnTo>
                  <a:lnTo>
                    <a:pt x="446" y="306"/>
                  </a:lnTo>
                  <a:lnTo>
                    <a:pt x="447" y="308"/>
                  </a:lnTo>
                  <a:lnTo>
                    <a:pt x="450" y="310"/>
                  </a:lnTo>
                  <a:lnTo>
                    <a:pt x="451" y="307"/>
                  </a:lnTo>
                  <a:lnTo>
                    <a:pt x="450" y="305"/>
                  </a:lnTo>
                  <a:lnTo>
                    <a:pt x="450" y="302"/>
                  </a:lnTo>
                  <a:lnTo>
                    <a:pt x="446" y="295"/>
                  </a:lnTo>
                  <a:lnTo>
                    <a:pt x="446" y="293"/>
                  </a:lnTo>
                  <a:lnTo>
                    <a:pt x="445" y="289"/>
                  </a:lnTo>
                  <a:lnTo>
                    <a:pt x="447" y="290"/>
                  </a:lnTo>
                  <a:lnTo>
                    <a:pt x="445" y="288"/>
                  </a:lnTo>
                  <a:lnTo>
                    <a:pt x="446" y="288"/>
                  </a:lnTo>
                  <a:lnTo>
                    <a:pt x="447" y="285"/>
                  </a:lnTo>
                  <a:lnTo>
                    <a:pt x="447" y="287"/>
                  </a:lnTo>
                  <a:lnTo>
                    <a:pt x="447" y="289"/>
                  </a:lnTo>
                  <a:lnTo>
                    <a:pt x="449" y="293"/>
                  </a:lnTo>
                  <a:lnTo>
                    <a:pt x="450" y="297"/>
                  </a:lnTo>
                  <a:lnTo>
                    <a:pt x="453" y="298"/>
                  </a:lnTo>
                  <a:lnTo>
                    <a:pt x="452" y="302"/>
                  </a:lnTo>
                  <a:lnTo>
                    <a:pt x="455" y="306"/>
                  </a:lnTo>
                  <a:lnTo>
                    <a:pt x="459" y="307"/>
                  </a:lnTo>
                  <a:lnTo>
                    <a:pt x="461" y="310"/>
                  </a:lnTo>
                  <a:lnTo>
                    <a:pt x="464" y="310"/>
                  </a:lnTo>
                  <a:lnTo>
                    <a:pt x="467" y="304"/>
                  </a:lnTo>
                  <a:lnTo>
                    <a:pt x="469" y="304"/>
                  </a:lnTo>
                  <a:lnTo>
                    <a:pt x="467" y="306"/>
                  </a:lnTo>
                  <a:lnTo>
                    <a:pt x="464" y="308"/>
                  </a:lnTo>
                  <a:lnTo>
                    <a:pt x="464" y="311"/>
                  </a:lnTo>
                  <a:lnTo>
                    <a:pt x="467" y="314"/>
                  </a:lnTo>
                  <a:lnTo>
                    <a:pt x="469" y="313"/>
                  </a:lnTo>
                  <a:lnTo>
                    <a:pt x="468" y="315"/>
                  </a:lnTo>
                  <a:lnTo>
                    <a:pt x="470" y="319"/>
                  </a:lnTo>
                  <a:lnTo>
                    <a:pt x="472" y="315"/>
                  </a:lnTo>
                  <a:lnTo>
                    <a:pt x="475" y="316"/>
                  </a:lnTo>
                  <a:lnTo>
                    <a:pt x="477" y="318"/>
                  </a:lnTo>
                  <a:lnTo>
                    <a:pt x="475" y="316"/>
                  </a:lnTo>
                  <a:lnTo>
                    <a:pt x="472" y="318"/>
                  </a:lnTo>
                  <a:lnTo>
                    <a:pt x="473" y="320"/>
                  </a:lnTo>
                  <a:lnTo>
                    <a:pt x="479" y="323"/>
                  </a:lnTo>
                  <a:lnTo>
                    <a:pt x="471" y="320"/>
                  </a:lnTo>
                  <a:lnTo>
                    <a:pt x="472" y="323"/>
                  </a:lnTo>
                  <a:lnTo>
                    <a:pt x="475" y="322"/>
                  </a:lnTo>
                  <a:lnTo>
                    <a:pt x="472" y="325"/>
                  </a:lnTo>
                  <a:lnTo>
                    <a:pt x="476" y="328"/>
                  </a:lnTo>
                  <a:lnTo>
                    <a:pt x="478" y="328"/>
                  </a:lnTo>
                  <a:lnTo>
                    <a:pt x="472" y="329"/>
                  </a:lnTo>
                  <a:lnTo>
                    <a:pt x="473" y="331"/>
                  </a:lnTo>
                  <a:lnTo>
                    <a:pt x="477" y="331"/>
                  </a:lnTo>
                  <a:lnTo>
                    <a:pt x="479" y="332"/>
                  </a:lnTo>
                  <a:lnTo>
                    <a:pt x="481" y="333"/>
                  </a:lnTo>
                  <a:lnTo>
                    <a:pt x="481" y="336"/>
                  </a:lnTo>
                  <a:lnTo>
                    <a:pt x="484" y="338"/>
                  </a:lnTo>
                  <a:lnTo>
                    <a:pt x="487" y="339"/>
                  </a:lnTo>
                  <a:lnTo>
                    <a:pt x="486" y="341"/>
                  </a:lnTo>
                  <a:lnTo>
                    <a:pt x="489" y="341"/>
                  </a:lnTo>
                  <a:lnTo>
                    <a:pt x="489" y="344"/>
                  </a:lnTo>
                  <a:lnTo>
                    <a:pt x="493" y="346"/>
                  </a:lnTo>
                  <a:lnTo>
                    <a:pt x="494" y="349"/>
                  </a:lnTo>
                  <a:lnTo>
                    <a:pt x="498" y="349"/>
                  </a:lnTo>
                  <a:lnTo>
                    <a:pt x="496" y="349"/>
                  </a:lnTo>
                  <a:lnTo>
                    <a:pt x="494" y="352"/>
                  </a:lnTo>
                  <a:lnTo>
                    <a:pt x="494" y="354"/>
                  </a:lnTo>
                  <a:lnTo>
                    <a:pt x="490" y="359"/>
                  </a:lnTo>
                  <a:lnTo>
                    <a:pt x="492" y="362"/>
                  </a:lnTo>
                  <a:lnTo>
                    <a:pt x="495" y="361"/>
                  </a:lnTo>
                  <a:lnTo>
                    <a:pt x="496" y="358"/>
                  </a:lnTo>
                  <a:lnTo>
                    <a:pt x="496" y="356"/>
                  </a:lnTo>
                  <a:lnTo>
                    <a:pt x="498" y="354"/>
                  </a:lnTo>
                  <a:lnTo>
                    <a:pt x="504" y="354"/>
                  </a:lnTo>
                  <a:lnTo>
                    <a:pt x="509" y="358"/>
                  </a:lnTo>
                  <a:lnTo>
                    <a:pt x="509" y="364"/>
                  </a:lnTo>
                  <a:lnTo>
                    <a:pt x="510" y="367"/>
                  </a:lnTo>
                  <a:lnTo>
                    <a:pt x="507" y="367"/>
                  </a:lnTo>
                  <a:lnTo>
                    <a:pt x="509" y="371"/>
                  </a:lnTo>
                  <a:lnTo>
                    <a:pt x="511" y="370"/>
                  </a:lnTo>
                  <a:lnTo>
                    <a:pt x="514" y="366"/>
                  </a:lnTo>
                  <a:lnTo>
                    <a:pt x="511" y="370"/>
                  </a:lnTo>
                  <a:lnTo>
                    <a:pt x="509" y="371"/>
                  </a:lnTo>
                  <a:lnTo>
                    <a:pt x="507" y="373"/>
                  </a:lnTo>
                  <a:lnTo>
                    <a:pt x="507" y="376"/>
                  </a:lnTo>
                  <a:lnTo>
                    <a:pt x="511" y="374"/>
                  </a:lnTo>
                  <a:lnTo>
                    <a:pt x="511" y="376"/>
                  </a:lnTo>
                  <a:lnTo>
                    <a:pt x="514" y="375"/>
                  </a:lnTo>
                  <a:lnTo>
                    <a:pt x="517" y="373"/>
                  </a:lnTo>
                  <a:lnTo>
                    <a:pt x="518" y="370"/>
                  </a:lnTo>
                  <a:lnTo>
                    <a:pt x="520" y="367"/>
                  </a:lnTo>
                  <a:lnTo>
                    <a:pt x="519" y="363"/>
                  </a:lnTo>
                  <a:lnTo>
                    <a:pt x="518" y="357"/>
                  </a:lnTo>
                  <a:lnTo>
                    <a:pt x="520" y="355"/>
                  </a:lnTo>
                  <a:lnTo>
                    <a:pt x="520" y="355"/>
                  </a:lnTo>
                  <a:lnTo>
                    <a:pt x="519" y="357"/>
                  </a:lnTo>
                  <a:lnTo>
                    <a:pt x="520" y="366"/>
                  </a:lnTo>
                  <a:lnTo>
                    <a:pt x="520" y="371"/>
                  </a:lnTo>
                  <a:lnTo>
                    <a:pt x="521" y="370"/>
                  </a:lnTo>
                  <a:lnTo>
                    <a:pt x="523" y="366"/>
                  </a:lnTo>
                  <a:lnTo>
                    <a:pt x="523" y="362"/>
                  </a:lnTo>
                  <a:lnTo>
                    <a:pt x="526" y="364"/>
                  </a:lnTo>
                  <a:lnTo>
                    <a:pt x="524" y="367"/>
                  </a:lnTo>
                  <a:lnTo>
                    <a:pt x="522" y="370"/>
                  </a:lnTo>
                  <a:lnTo>
                    <a:pt x="523" y="372"/>
                  </a:lnTo>
                  <a:lnTo>
                    <a:pt x="526" y="372"/>
                  </a:lnTo>
                  <a:lnTo>
                    <a:pt x="520" y="373"/>
                  </a:lnTo>
                  <a:lnTo>
                    <a:pt x="518" y="378"/>
                  </a:lnTo>
                  <a:lnTo>
                    <a:pt x="519" y="379"/>
                  </a:lnTo>
                  <a:lnTo>
                    <a:pt x="515" y="380"/>
                  </a:lnTo>
                  <a:lnTo>
                    <a:pt x="518" y="382"/>
                  </a:lnTo>
                  <a:lnTo>
                    <a:pt x="520" y="382"/>
                  </a:lnTo>
                  <a:lnTo>
                    <a:pt x="520" y="382"/>
                  </a:lnTo>
                  <a:lnTo>
                    <a:pt x="520" y="382"/>
                  </a:lnTo>
                  <a:lnTo>
                    <a:pt x="520" y="385"/>
                  </a:lnTo>
                  <a:lnTo>
                    <a:pt x="520" y="384"/>
                  </a:lnTo>
                  <a:lnTo>
                    <a:pt x="514" y="380"/>
                  </a:lnTo>
                  <a:lnTo>
                    <a:pt x="514" y="384"/>
                  </a:lnTo>
                  <a:lnTo>
                    <a:pt x="517" y="384"/>
                  </a:lnTo>
                  <a:lnTo>
                    <a:pt x="517" y="387"/>
                  </a:lnTo>
                  <a:lnTo>
                    <a:pt x="518" y="388"/>
                  </a:lnTo>
                  <a:lnTo>
                    <a:pt x="520" y="388"/>
                  </a:lnTo>
                  <a:lnTo>
                    <a:pt x="522" y="387"/>
                  </a:lnTo>
                  <a:lnTo>
                    <a:pt x="528" y="387"/>
                  </a:lnTo>
                  <a:lnTo>
                    <a:pt x="521" y="388"/>
                  </a:lnTo>
                  <a:lnTo>
                    <a:pt x="523" y="391"/>
                  </a:lnTo>
                  <a:lnTo>
                    <a:pt x="520" y="388"/>
                  </a:lnTo>
                  <a:lnTo>
                    <a:pt x="520" y="391"/>
                  </a:lnTo>
                  <a:lnTo>
                    <a:pt x="520" y="393"/>
                  </a:lnTo>
                  <a:lnTo>
                    <a:pt x="528" y="401"/>
                  </a:lnTo>
                  <a:lnTo>
                    <a:pt x="530" y="402"/>
                  </a:lnTo>
                  <a:lnTo>
                    <a:pt x="531" y="398"/>
                  </a:lnTo>
                  <a:lnTo>
                    <a:pt x="534" y="396"/>
                  </a:lnTo>
                  <a:lnTo>
                    <a:pt x="537" y="393"/>
                  </a:lnTo>
                  <a:lnTo>
                    <a:pt x="538" y="391"/>
                  </a:lnTo>
                  <a:lnTo>
                    <a:pt x="539" y="391"/>
                  </a:lnTo>
                  <a:lnTo>
                    <a:pt x="538" y="393"/>
                  </a:lnTo>
                  <a:lnTo>
                    <a:pt x="541" y="395"/>
                  </a:lnTo>
                  <a:lnTo>
                    <a:pt x="538" y="395"/>
                  </a:lnTo>
                  <a:lnTo>
                    <a:pt x="537" y="397"/>
                  </a:lnTo>
                  <a:lnTo>
                    <a:pt x="538" y="399"/>
                  </a:lnTo>
                  <a:lnTo>
                    <a:pt x="540" y="401"/>
                  </a:lnTo>
                  <a:lnTo>
                    <a:pt x="544" y="401"/>
                  </a:lnTo>
                  <a:lnTo>
                    <a:pt x="546" y="401"/>
                  </a:lnTo>
                  <a:lnTo>
                    <a:pt x="547" y="401"/>
                  </a:lnTo>
                  <a:lnTo>
                    <a:pt x="548" y="405"/>
                  </a:lnTo>
                  <a:lnTo>
                    <a:pt x="546" y="401"/>
                  </a:lnTo>
                  <a:lnTo>
                    <a:pt x="544" y="401"/>
                  </a:lnTo>
                  <a:lnTo>
                    <a:pt x="541" y="402"/>
                  </a:lnTo>
                  <a:lnTo>
                    <a:pt x="538" y="401"/>
                  </a:lnTo>
                  <a:lnTo>
                    <a:pt x="536" y="401"/>
                  </a:lnTo>
                  <a:lnTo>
                    <a:pt x="536" y="405"/>
                  </a:lnTo>
                  <a:lnTo>
                    <a:pt x="541" y="408"/>
                  </a:lnTo>
                  <a:lnTo>
                    <a:pt x="541" y="410"/>
                  </a:lnTo>
                  <a:lnTo>
                    <a:pt x="543" y="414"/>
                  </a:lnTo>
                  <a:lnTo>
                    <a:pt x="546" y="413"/>
                  </a:lnTo>
                  <a:lnTo>
                    <a:pt x="545" y="419"/>
                  </a:lnTo>
                  <a:lnTo>
                    <a:pt x="545" y="422"/>
                  </a:lnTo>
                  <a:lnTo>
                    <a:pt x="547" y="419"/>
                  </a:lnTo>
                  <a:lnTo>
                    <a:pt x="548" y="422"/>
                  </a:lnTo>
                  <a:lnTo>
                    <a:pt x="549" y="419"/>
                  </a:lnTo>
                  <a:lnTo>
                    <a:pt x="549" y="422"/>
                  </a:lnTo>
                  <a:lnTo>
                    <a:pt x="549" y="425"/>
                  </a:lnTo>
                  <a:lnTo>
                    <a:pt x="558" y="419"/>
                  </a:lnTo>
                  <a:lnTo>
                    <a:pt x="562" y="414"/>
                  </a:lnTo>
                  <a:lnTo>
                    <a:pt x="561" y="417"/>
                  </a:lnTo>
                  <a:lnTo>
                    <a:pt x="558" y="419"/>
                  </a:lnTo>
                  <a:lnTo>
                    <a:pt x="560" y="422"/>
                  </a:lnTo>
                  <a:lnTo>
                    <a:pt x="564" y="422"/>
                  </a:lnTo>
                  <a:lnTo>
                    <a:pt x="563" y="424"/>
                  </a:lnTo>
                  <a:lnTo>
                    <a:pt x="564" y="426"/>
                  </a:lnTo>
                  <a:lnTo>
                    <a:pt x="562" y="424"/>
                  </a:lnTo>
                  <a:lnTo>
                    <a:pt x="560" y="423"/>
                  </a:lnTo>
                  <a:lnTo>
                    <a:pt x="557" y="424"/>
                  </a:lnTo>
                  <a:lnTo>
                    <a:pt x="555" y="427"/>
                  </a:lnTo>
                  <a:lnTo>
                    <a:pt x="553" y="427"/>
                  </a:lnTo>
                  <a:lnTo>
                    <a:pt x="551" y="430"/>
                  </a:lnTo>
                  <a:lnTo>
                    <a:pt x="549" y="432"/>
                  </a:lnTo>
                  <a:lnTo>
                    <a:pt x="551" y="436"/>
                  </a:lnTo>
                  <a:lnTo>
                    <a:pt x="553" y="438"/>
                  </a:lnTo>
                  <a:lnTo>
                    <a:pt x="554" y="435"/>
                  </a:lnTo>
                  <a:lnTo>
                    <a:pt x="554" y="434"/>
                  </a:lnTo>
                  <a:lnTo>
                    <a:pt x="557" y="432"/>
                  </a:lnTo>
                  <a:lnTo>
                    <a:pt x="558" y="434"/>
                  </a:lnTo>
                  <a:lnTo>
                    <a:pt x="563" y="434"/>
                  </a:lnTo>
                  <a:lnTo>
                    <a:pt x="566" y="432"/>
                  </a:lnTo>
                  <a:lnTo>
                    <a:pt x="565" y="435"/>
                  </a:lnTo>
                  <a:lnTo>
                    <a:pt x="557" y="435"/>
                  </a:lnTo>
                  <a:lnTo>
                    <a:pt x="555" y="436"/>
                  </a:lnTo>
                  <a:lnTo>
                    <a:pt x="552" y="441"/>
                  </a:lnTo>
                  <a:lnTo>
                    <a:pt x="557" y="441"/>
                  </a:lnTo>
                  <a:lnTo>
                    <a:pt x="560" y="440"/>
                  </a:lnTo>
                  <a:lnTo>
                    <a:pt x="557" y="441"/>
                  </a:lnTo>
                  <a:lnTo>
                    <a:pt x="553" y="442"/>
                  </a:lnTo>
                  <a:lnTo>
                    <a:pt x="552" y="444"/>
                  </a:lnTo>
                  <a:lnTo>
                    <a:pt x="557" y="445"/>
                  </a:lnTo>
                  <a:lnTo>
                    <a:pt x="563" y="445"/>
                  </a:lnTo>
                  <a:lnTo>
                    <a:pt x="565" y="444"/>
                  </a:lnTo>
                  <a:lnTo>
                    <a:pt x="563" y="445"/>
                  </a:lnTo>
                  <a:lnTo>
                    <a:pt x="560" y="445"/>
                  </a:lnTo>
                  <a:lnTo>
                    <a:pt x="557" y="445"/>
                  </a:lnTo>
                  <a:lnTo>
                    <a:pt x="555" y="445"/>
                  </a:lnTo>
                  <a:lnTo>
                    <a:pt x="556" y="448"/>
                  </a:lnTo>
                  <a:lnTo>
                    <a:pt x="558" y="449"/>
                  </a:lnTo>
                  <a:lnTo>
                    <a:pt x="562" y="449"/>
                  </a:lnTo>
                  <a:lnTo>
                    <a:pt x="558" y="448"/>
                  </a:lnTo>
                  <a:lnTo>
                    <a:pt x="562" y="449"/>
                  </a:lnTo>
                  <a:lnTo>
                    <a:pt x="568" y="449"/>
                  </a:lnTo>
                  <a:lnTo>
                    <a:pt x="570" y="448"/>
                  </a:lnTo>
                  <a:lnTo>
                    <a:pt x="572" y="448"/>
                  </a:lnTo>
                  <a:lnTo>
                    <a:pt x="570" y="449"/>
                  </a:lnTo>
                  <a:lnTo>
                    <a:pt x="572" y="450"/>
                  </a:lnTo>
                  <a:lnTo>
                    <a:pt x="573" y="452"/>
                  </a:lnTo>
                  <a:lnTo>
                    <a:pt x="577" y="452"/>
                  </a:lnTo>
                  <a:lnTo>
                    <a:pt x="579" y="451"/>
                  </a:lnTo>
                  <a:lnTo>
                    <a:pt x="581" y="445"/>
                  </a:lnTo>
                  <a:lnTo>
                    <a:pt x="581" y="449"/>
                  </a:lnTo>
                  <a:lnTo>
                    <a:pt x="580" y="451"/>
                  </a:lnTo>
                  <a:lnTo>
                    <a:pt x="577" y="452"/>
                  </a:lnTo>
                  <a:lnTo>
                    <a:pt x="572" y="453"/>
                  </a:lnTo>
                  <a:lnTo>
                    <a:pt x="572" y="453"/>
                  </a:lnTo>
                  <a:lnTo>
                    <a:pt x="575" y="453"/>
                  </a:lnTo>
                  <a:lnTo>
                    <a:pt x="572" y="456"/>
                  </a:lnTo>
                  <a:lnTo>
                    <a:pt x="575" y="456"/>
                  </a:lnTo>
                  <a:lnTo>
                    <a:pt x="578" y="455"/>
                  </a:lnTo>
                  <a:lnTo>
                    <a:pt x="580" y="457"/>
                  </a:lnTo>
                  <a:lnTo>
                    <a:pt x="581" y="453"/>
                  </a:lnTo>
                  <a:lnTo>
                    <a:pt x="582" y="457"/>
                  </a:lnTo>
                  <a:lnTo>
                    <a:pt x="584" y="457"/>
                  </a:lnTo>
                  <a:lnTo>
                    <a:pt x="588" y="456"/>
                  </a:lnTo>
                  <a:lnTo>
                    <a:pt x="590" y="453"/>
                  </a:lnTo>
                  <a:lnTo>
                    <a:pt x="589" y="450"/>
                  </a:lnTo>
                  <a:lnTo>
                    <a:pt x="591" y="448"/>
                  </a:lnTo>
                  <a:lnTo>
                    <a:pt x="591" y="449"/>
                  </a:lnTo>
                  <a:lnTo>
                    <a:pt x="590" y="455"/>
                  </a:lnTo>
                  <a:lnTo>
                    <a:pt x="588" y="456"/>
                  </a:lnTo>
                  <a:lnTo>
                    <a:pt x="588" y="459"/>
                  </a:lnTo>
                  <a:lnTo>
                    <a:pt x="591" y="459"/>
                  </a:lnTo>
                  <a:lnTo>
                    <a:pt x="594" y="457"/>
                  </a:lnTo>
                  <a:lnTo>
                    <a:pt x="596" y="457"/>
                  </a:lnTo>
                  <a:lnTo>
                    <a:pt x="594" y="459"/>
                  </a:lnTo>
                  <a:lnTo>
                    <a:pt x="594" y="462"/>
                  </a:lnTo>
                  <a:lnTo>
                    <a:pt x="594" y="465"/>
                  </a:lnTo>
                  <a:lnTo>
                    <a:pt x="591" y="465"/>
                  </a:lnTo>
                  <a:lnTo>
                    <a:pt x="596" y="468"/>
                  </a:lnTo>
                  <a:lnTo>
                    <a:pt x="598" y="469"/>
                  </a:lnTo>
                  <a:lnTo>
                    <a:pt x="601" y="468"/>
                  </a:lnTo>
                  <a:lnTo>
                    <a:pt x="604" y="467"/>
                  </a:lnTo>
                  <a:lnTo>
                    <a:pt x="603" y="465"/>
                  </a:lnTo>
                  <a:lnTo>
                    <a:pt x="605" y="462"/>
                  </a:lnTo>
                  <a:lnTo>
                    <a:pt x="604" y="465"/>
                  </a:lnTo>
                  <a:lnTo>
                    <a:pt x="604" y="466"/>
                  </a:lnTo>
                  <a:lnTo>
                    <a:pt x="604" y="469"/>
                  </a:lnTo>
                  <a:lnTo>
                    <a:pt x="606" y="470"/>
                  </a:lnTo>
                  <a:lnTo>
                    <a:pt x="609" y="470"/>
                  </a:lnTo>
                  <a:lnTo>
                    <a:pt x="607" y="470"/>
                  </a:lnTo>
                  <a:lnTo>
                    <a:pt x="601" y="472"/>
                  </a:lnTo>
                  <a:lnTo>
                    <a:pt x="604" y="474"/>
                  </a:lnTo>
                  <a:lnTo>
                    <a:pt x="609" y="475"/>
                  </a:lnTo>
                  <a:lnTo>
                    <a:pt x="611" y="473"/>
                  </a:lnTo>
                  <a:lnTo>
                    <a:pt x="614" y="472"/>
                  </a:lnTo>
                  <a:lnTo>
                    <a:pt x="613" y="474"/>
                  </a:lnTo>
                  <a:lnTo>
                    <a:pt x="614" y="476"/>
                  </a:lnTo>
                  <a:lnTo>
                    <a:pt x="616" y="477"/>
                  </a:lnTo>
                  <a:lnTo>
                    <a:pt x="615" y="479"/>
                  </a:lnTo>
                  <a:lnTo>
                    <a:pt x="616" y="479"/>
                  </a:lnTo>
                  <a:lnTo>
                    <a:pt x="615" y="483"/>
                  </a:lnTo>
                  <a:lnTo>
                    <a:pt x="616" y="483"/>
                  </a:lnTo>
                  <a:lnTo>
                    <a:pt x="617" y="481"/>
                  </a:lnTo>
                  <a:lnTo>
                    <a:pt x="620" y="483"/>
                  </a:lnTo>
                  <a:lnTo>
                    <a:pt x="620" y="485"/>
                  </a:lnTo>
                  <a:lnTo>
                    <a:pt x="623" y="486"/>
                  </a:lnTo>
                  <a:lnTo>
                    <a:pt x="624" y="490"/>
                  </a:lnTo>
                  <a:lnTo>
                    <a:pt x="623" y="492"/>
                  </a:lnTo>
                  <a:lnTo>
                    <a:pt x="621" y="492"/>
                  </a:lnTo>
                  <a:lnTo>
                    <a:pt x="624" y="494"/>
                  </a:lnTo>
                  <a:lnTo>
                    <a:pt x="625" y="498"/>
                  </a:lnTo>
                  <a:lnTo>
                    <a:pt x="626" y="500"/>
                  </a:lnTo>
                  <a:lnTo>
                    <a:pt x="625" y="503"/>
                  </a:lnTo>
                  <a:lnTo>
                    <a:pt x="624" y="506"/>
                  </a:lnTo>
                  <a:lnTo>
                    <a:pt x="625" y="511"/>
                  </a:lnTo>
                  <a:lnTo>
                    <a:pt x="623" y="512"/>
                  </a:lnTo>
                  <a:lnTo>
                    <a:pt x="621" y="516"/>
                  </a:lnTo>
                  <a:lnTo>
                    <a:pt x="618" y="516"/>
                  </a:lnTo>
                  <a:lnTo>
                    <a:pt x="616" y="515"/>
                  </a:lnTo>
                  <a:lnTo>
                    <a:pt x="620" y="511"/>
                  </a:lnTo>
                  <a:lnTo>
                    <a:pt x="620" y="515"/>
                  </a:lnTo>
                  <a:lnTo>
                    <a:pt x="622" y="511"/>
                  </a:lnTo>
                  <a:lnTo>
                    <a:pt x="623" y="509"/>
                  </a:lnTo>
                  <a:lnTo>
                    <a:pt x="622" y="506"/>
                  </a:lnTo>
                  <a:lnTo>
                    <a:pt x="623" y="503"/>
                  </a:lnTo>
                  <a:lnTo>
                    <a:pt x="621" y="503"/>
                  </a:lnTo>
                  <a:lnTo>
                    <a:pt x="618" y="506"/>
                  </a:lnTo>
                  <a:lnTo>
                    <a:pt x="616" y="508"/>
                  </a:lnTo>
                  <a:lnTo>
                    <a:pt x="617" y="510"/>
                  </a:lnTo>
                  <a:lnTo>
                    <a:pt x="614" y="511"/>
                  </a:lnTo>
                  <a:lnTo>
                    <a:pt x="616" y="508"/>
                  </a:lnTo>
                  <a:lnTo>
                    <a:pt x="621" y="503"/>
                  </a:lnTo>
                  <a:lnTo>
                    <a:pt x="621" y="500"/>
                  </a:lnTo>
                  <a:lnTo>
                    <a:pt x="620" y="498"/>
                  </a:lnTo>
                  <a:lnTo>
                    <a:pt x="617" y="498"/>
                  </a:lnTo>
                  <a:lnTo>
                    <a:pt x="614" y="496"/>
                  </a:lnTo>
                  <a:lnTo>
                    <a:pt x="612" y="498"/>
                  </a:lnTo>
                  <a:lnTo>
                    <a:pt x="604" y="496"/>
                  </a:lnTo>
                  <a:lnTo>
                    <a:pt x="598" y="495"/>
                  </a:lnTo>
                  <a:lnTo>
                    <a:pt x="596" y="493"/>
                  </a:lnTo>
                  <a:lnTo>
                    <a:pt x="592" y="493"/>
                  </a:lnTo>
                  <a:lnTo>
                    <a:pt x="594" y="495"/>
                  </a:lnTo>
                  <a:lnTo>
                    <a:pt x="594" y="498"/>
                  </a:lnTo>
                  <a:lnTo>
                    <a:pt x="594" y="500"/>
                  </a:lnTo>
                  <a:lnTo>
                    <a:pt x="596" y="503"/>
                  </a:lnTo>
                  <a:lnTo>
                    <a:pt x="598" y="506"/>
                  </a:lnTo>
                  <a:lnTo>
                    <a:pt x="598" y="509"/>
                  </a:lnTo>
                  <a:lnTo>
                    <a:pt x="599" y="511"/>
                  </a:lnTo>
                  <a:lnTo>
                    <a:pt x="599" y="511"/>
                  </a:lnTo>
                  <a:lnTo>
                    <a:pt x="600" y="515"/>
                  </a:lnTo>
                  <a:lnTo>
                    <a:pt x="603" y="517"/>
                  </a:lnTo>
                  <a:lnTo>
                    <a:pt x="605" y="518"/>
                  </a:lnTo>
                  <a:lnTo>
                    <a:pt x="601" y="519"/>
                  </a:lnTo>
                  <a:lnTo>
                    <a:pt x="603" y="522"/>
                  </a:lnTo>
                  <a:lnTo>
                    <a:pt x="604" y="524"/>
                  </a:lnTo>
                  <a:lnTo>
                    <a:pt x="603" y="526"/>
                  </a:lnTo>
                  <a:lnTo>
                    <a:pt x="601" y="524"/>
                  </a:lnTo>
                  <a:lnTo>
                    <a:pt x="603" y="527"/>
                  </a:lnTo>
                  <a:lnTo>
                    <a:pt x="603" y="529"/>
                  </a:lnTo>
                  <a:lnTo>
                    <a:pt x="608" y="529"/>
                  </a:lnTo>
                  <a:lnTo>
                    <a:pt x="612" y="530"/>
                  </a:lnTo>
                  <a:lnTo>
                    <a:pt x="614" y="532"/>
                  </a:lnTo>
                  <a:lnTo>
                    <a:pt x="612" y="532"/>
                  </a:lnTo>
                  <a:lnTo>
                    <a:pt x="608" y="530"/>
                  </a:lnTo>
                  <a:lnTo>
                    <a:pt x="603" y="530"/>
                  </a:lnTo>
                  <a:lnTo>
                    <a:pt x="604" y="534"/>
                  </a:lnTo>
                  <a:lnTo>
                    <a:pt x="604" y="544"/>
                  </a:lnTo>
                  <a:lnTo>
                    <a:pt x="601" y="554"/>
                  </a:lnTo>
                  <a:lnTo>
                    <a:pt x="600" y="570"/>
                  </a:lnTo>
                  <a:lnTo>
                    <a:pt x="601" y="573"/>
                  </a:lnTo>
                  <a:lnTo>
                    <a:pt x="599" y="575"/>
                  </a:lnTo>
                  <a:lnTo>
                    <a:pt x="600" y="577"/>
                  </a:lnTo>
                  <a:lnTo>
                    <a:pt x="598" y="580"/>
                  </a:lnTo>
                  <a:lnTo>
                    <a:pt x="596" y="586"/>
                  </a:lnTo>
                  <a:lnTo>
                    <a:pt x="596" y="589"/>
                  </a:lnTo>
                  <a:lnTo>
                    <a:pt x="597" y="592"/>
                  </a:lnTo>
                  <a:lnTo>
                    <a:pt x="597" y="596"/>
                  </a:lnTo>
                  <a:lnTo>
                    <a:pt x="598" y="598"/>
                  </a:lnTo>
                  <a:lnTo>
                    <a:pt x="600" y="602"/>
                  </a:lnTo>
                  <a:lnTo>
                    <a:pt x="600" y="604"/>
                  </a:lnTo>
                  <a:lnTo>
                    <a:pt x="601" y="609"/>
                  </a:lnTo>
                  <a:lnTo>
                    <a:pt x="601" y="613"/>
                  </a:lnTo>
                  <a:lnTo>
                    <a:pt x="600" y="615"/>
                  </a:lnTo>
                  <a:lnTo>
                    <a:pt x="601" y="619"/>
                  </a:lnTo>
                  <a:lnTo>
                    <a:pt x="600" y="621"/>
                  </a:lnTo>
                  <a:lnTo>
                    <a:pt x="598" y="623"/>
                  </a:lnTo>
                  <a:lnTo>
                    <a:pt x="598" y="626"/>
                  </a:lnTo>
                  <a:lnTo>
                    <a:pt x="598" y="629"/>
                  </a:lnTo>
                  <a:lnTo>
                    <a:pt x="600" y="631"/>
                  </a:lnTo>
                  <a:lnTo>
                    <a:pt x="604" y="635"/>
                  </a:lnTo>
                  <a:lnTo>
                    <a:pt x="605" y="638"/>
                  </a:lnTo>
                  <a:lnTo>
                    <a:pt x="606" y="640"/>
                  </a:lnTo>
                  <a:lnTo>
                    <a:pt x="606" y="646"/>
                  </a:lnTo>
                  <a:lnTo>
                    <a:pt x="607" y="648"/>
                  </a:lnTo>
                  <a:lnTo>
                    <a:pt x="607" y="652"/>
                  </a:lnTo>
                  <a:lnTo>
                    <a:pt x="615" y="658"/>
                  </a:lnTo>
                  <a:lnTo>
                    <a:pt x="617" y="663"/>
                  </a:lnTo>
                  <a:lnTo>
                    <a:pt x="618" y="665"/>
                  </a:lnTo>
                  <a:lnTo>
                    <a:pt x="621" y="667"/>
                  </a:lnTo>
                  <a:lnTo>
                    <a:pt x="623" y="666"/>
                  </a:lnTo>
                  <a:lnTo>
                    <a:pt x="625" y="664"/>
                  </a:lnTo>
                  <a:lnTo>
                    <a:pt x="629" y="665"/>
                  </a:lnTo>
                  <a:lnTo>
                    <a:pt x="629" y="665"/>
                  </a:lnTo>
                  <a:lnTo>
                    <a:pt x="632" y="665"/>
                  </a:lnTo>
                  <a:lnTo>
                    <a:pt x="634" y="664"/>
                  </a:lnTo>
                  <a:lnTo>
                    <a:pt x="637" y="665"/>
                  </a:lnTo>
                  <a:lnTo>
                    <a:pt x="633" y="666"/>
                  </a:lnTo>
                  <a:lnTo>
                    <a:pt x="631" y="665"/>
                  </a:lnTo>
                  <a:lnTo>
                    <a:pt x="625" y="666"/>
                  </a:lnTo>
                  <a:lnTo>
                    <a:pt x="625" y="669"/>
                  </a:lnTo>
                  <a:lnTo>
                    <a:pt x="629" y="671"/>
                  </a:lnTo>
                  <a:lnTo>
                    <a:pt x="629" y="674"/>
                  </a:lnTo>
                  <a:lnTo>
                    <a:pt x="626" y="672"/>
                  </a:lnTo>
                  <a:lnTo>
                    <a:pt x="623" y="670"/>
                  </a:lnTo>
                  <a:lnTo>
                    <a:pt x="623" y="673"/>
                  </a:lnTo>
                  <a:lnTo>
                    <a:pt x="624" y="675"/>
                  </a:lnTo>
                  <a:lnTo>
                    <a:pt x="624" y="678"/>
                  </a:lnTo>
                  <a:lnTo>
                    <a:pt x="626" y="681"/>
                  </a:lnTo>
                  <a:lnTo>
                    <a:pt x="630" y="682"/>
                  </a:lnTo>
                  <a:lnTo>
                    <a:pt x="632" y="683"/>
                  </a:lnTo>
                  <a:lnTo>
                    <a:pt x="633" y="686"/>
                  </a:lnTo>
                  <a:lnTo>
                    <a:pt x="631" y="690"/>
                  </a:lnTo>
                  <a:lnTo>
                    <a:pt x="632" y="693"/>
                  </a:lnTo>
                  <a:lnTo>
                    <a:pt x="634" y="695"/>
                  </a:lnTo>
                  <a:lnTo>
                    <a:pt x="638" y="698"/>
                  </a:lnTo>
                  <a:lnTo>
                    <a:pt x="639" y="700"/>
                  </a:lnTo>
                  <a:lnTo>
                    <a:pt x="641" y="703"/>
                  </a:lnTo>
                  <a:lnTo>
                    <a:pt x="646" y="707"/>
                  </a:lnTo>
                  <a:lnTo>
                    <a:pt x="647" y="710"/>
                  </a:lnTo>
                  <a:lnTo>
                    <a:pt x="649" y="712"/>
                  </a:lnTo>
                  <a:lnTo>
                    <a:pt x="649" y="715"/>
                  </a:lnTo>
                  <a:lnTo>
                    <a:pt x="649" y="720"/>
                  </a:lnTo>
                  <a:lnTo>
                    <a:pt x="651" y="722"/>
                  </a:lnTo>
                  <a:lnTo>
                    <a:pt x="658" y="722"/>
                  </a:lnTo>
                  <a:lnTo>
                    <a:pt x="663" y="722"/>
                  </a:lnTo>
                  <a:lnTo>
                    <a:pt x="666" y="723"/>
                  </a:lnTo>
                  <a:lnTo>
                    <a:pt x="668" y="726"/>
                  </a:lnTo>
                  <a:lnTo>
                    <a:pt x="671" y="727"/>
                  </a:lnTo>
                  <a:lnTo>
                    <a:pt x="674" y="729"/>
                  </a:lnTo>
                  <a:lnTo>
                    <a:pt x="676" y="727"/>
                  </a:lnTo>
                  <a:lnTo>
                    <a:pt x="680" y="730"/>
                  </a:lnTo>
                  <a:lnTo>
                    <a:pt x="681" y="733"/>
                  </a:lnTo>
                  <a:lnTo>
                    <a:pt x="682" y="732"/>
                  </a:lnTo>
                  <a:lnTo>
                    <a:pt x="684" y="733"/>
                  </a:lnTo>
                  <a:lnTo>
                    <a:pt x="690" y="737"/>
                  </a:lnTo>
                  <a:lnTo>
                    <a:pt x="692" y="740"/>
                  </a:lnTo>
                  <a:lnTo>
                    <a:pt x="694" y="742"/>
                  </a:lnTo>
                  <a:lnTo>
                    <a:pt x="694" y="746"/>
                  </a:lnTo>
                  <a:lnTo>
                    <a:pt x="694" y="748"/>
                  </a:lnTo>
                  <a:lnTo>
                    <a:pt x="697" y="750"/>
                  </a:lnTo>
                  <a:lnTo>
                    <a:pt x="698" y="752"/>
                  </a:lnTo>
                  <a:lnTo>
                    <a:pt x="700" y="756"/>
                  </a:lnTo>
                  <a:lnTo>
                    <a:pt x="700" y="758"/>
                  </a:lnTo>
                  <a:lnTo>
                    <a:pt x="702" y="761"/>
                  </a:lnTo>
                  <a:lnTo>
                    <a:pt x="703" y="766"/>
                  </a:lnTo>
                  <a:lnTo>
                    <a:pt x="708" y="772"/>
                  </a:lnTo>
                  <a:lnTo>
                    <a:pt x="709" y="775"/>
                  </a:lnTo>
                  <a:lnTo>
                    <a:pt x="711" y="777"/>
                  </a:lnTo>
                  <a:lnTo>
                    <a:pt x="711" y="780"/>
                  </a:lnTo>
                  <a:lnTo>
                    <a:pt x="714" y="783"/>
                  </a:lnTo>
                  <a:lnTo>
                    <a:pt x="715" y="784"/>
                  </a:lnTo>
                  <a:lnTo>
                    <a:pt x="715" y="786"/>
                  </a:lnTo>
                  <a:lnTo>
                    <a:pt x="715" y="790"/>
                  </a:lnTo>
                  <a:lnTo>
                    <a:pt x="716" y="791"/>
                  </a:lnTo>
                  <a:lnTo>
                    <a:pt x="717" y="793"/>
                  </a:lnTo>
                  <a:lnTo>
                    <a:pt x="720" y="795"/>
                  </a:lnTo>
                  <a:lnTo>
                    <a:pt x="720" y="797"/>
                  </a:lnTo>
                  <a:lnTo>
                    <a:pt x="724" y="798"/>
                  </a:lnTo>
                  <a:lnTo>
                    <a:pt x="725" y="798"/>
                  </a:lnTo>
                  <a:lnTo>
                    <a:pt x="727" y="799"/>
                  </a:lnTo>
                  <a:lnTo>
                    <a:pt x="727" y="800"/>
                  </a:lnTo>
                  <a:lnTo>
                    <a:pt x="728" y="801"/>
                  </a:lnTo>
                  <a:lnTo>
                    <a:pt x="732" y="806"/>
                  </a:lnTo>
                  <a:lnTo>
                    <a:pt x="737" y="810"/>
                  </a:lnTo>
                  <a:lnTo>
                    <a:pt x="737" y="811"/>
                  </a:lnTo>
                  <a:lnTo>
                    <a:pt x="739" y="814"/>
                  </a:lnTo>
                  <a:lnTo>
                    <a:pt x="739" y="817"/>
                  </a:lnTo>
                  <a:lnTo>
                    <a:pt x="737" y="819"/>
                  </a:lnTo>
                  <a:lnTo>
                    <a:pt x="737" y="821"/>
                  </a:lnTo>
                  <a:lnTo>
                    <a:pt x="737" y="824"/>
                  </a:lnTo>
                  <a:lnTo>
                    <a:pt x="741" y="821"/>
                  </a:lnTo>
                  <a:lnTo>
                    <a:pt x="741" y="824"/>
                  </a:lnTo>
                  <a:lnTo>
                    <a:pt x="741" y="827"/>
                  </a:lnTo>
                  <a:lnTo>
                    <a:pt x="740" y="824"/>
                  </a:lnTo>
                  <a:lnTo>
                    <a:pt x="737" y="824"/>
                  </a:lnTo>
                  <a:lnTo>
                    <a:pt x="734" y="821"/>
                  </a:lnTo>
                  <a:lnTo>
                    <a:pt x="732" y="823"/>
                  </a:lnTo>
                  <a:lnTo>
                    <a:pt x="728" y="823"/>
                  </a:lnTo>
                  <a:lnTo>
                    <a:pt x="726" y="824"/>
                  </a:lnTo>
                  <a:lnTo>
                    <a:pt x="728" y="825"/>
                  </a:lnTo>
                  <a:lnTo>
                    <a:pt x="732" y="827"/>
                  </a:lnTo>
                  <a:lnTo>
                    <a:pt x="733" y="829"/>
                  </a:lnTo>
                  <a:lnTo>
                    <a:pt x="735" y="832"/>
                  </a:lnTo>
                  <a:lnTo>
                    <a:pt x="739" y="833"/>
                  </a:lnTo>
                  <a:lnTo>
                    <a:pt x="739" y="833"/>
                  </a:lnTo>
                  <a:lnTo>
                    <a:pt x="742" y="835"/>
                  </a:lnTo>
                  <a:lnTo>
                    <a:pt x="744" y="837"/>
                  </a:lnTo>
                  <a:lnTo>
                    <a:pt x="746" y="837"/>
                  </a:lnTo>
                  <a:lnTo>
                    <a:pt x="749" y="837"/>
                  </a:lnTo>
                  <a:lnTo>
                    <a:pt x="751" y="835"/>
                  </a:lnTo>
                  <a:lnTo>
                    <a:pt x="751" y="834"/>
                  </a:lnTo>
                  <a:lnTo>
                    <a:pt x="751" y="837"/>
                  </a:lnTo>
                  <a:lnTo>
                    <a:pt x="752" y="840"/>
                  </a:lnTo>
                  <a:lnTo>
                    <a:pt x="756" y="842"/>
                  </a:lnTo>
                  <a:lnTo>
                    <a:pt x="758" y="844"/>
                  </a:lnTo>
                  <a:lnTo>
                    <a:pt x="758" y="844"/>
                  </a:lnTo>
                  <a:lnTo>
                    <a:pt x="761" y="845"/>
                  </a:lnTo>
                  <a:lnTo>
                    <a:pt x="761" y="845"/>
                  </a:lnTo>
                  <a:lnTo>
                    <a:pt x="763" y="849"/>
                  </a:lnTo>
                  <a:lnTo>
                    <a:pt x="763" y="849"/>
                  </a:lnTo>
                  <a:lnTo>
                    <a:pt x="766" y="851"/>
                  </a:lnTo>
                  <a:lnTo>
                    <a:pt x="766" y="854"/>
                  </a:lnTo>
                  <a:lnTo>
                    <a:pt x="766" y="857"/>
                  </a:lnTo>
                  <a:lnTo>
                    <a:pt x="766" y="859"/>
                  </a:lnTo>
                  <a:lnTo>
                    <a:pt x="766" y="860"/>
                  </a:lnTo>
                  <a:lnTo>
                    <a:pt x="765" y="862"/>
                  </a:lnTo>
                  <a:lnTo>
                    <a:pt x="765" y="864"/>
                  </a:lnTo>
                  <a:lnTo>
                    <a:pt x="768" y="867"/>
                  </a:lnTo>
                  <a:lnTo>
                    <a:pt x="769" y="869"/>
                  </a:lnTo>
                  <a:lnTo>
                    <a:pt x="773" y="871"/>
                  </a:lnTo>
                  <a:lnTo>
                    <a:pt x="773" y="871"/>
                  </a:lnTo>
                  <a:lnTo>
                    <a:pt x="778" y="875"/>
                  </a:lnTo>
                  <a:lnTo>
                    <a:pt x="780" y="877"/>
                  </a:lnTo>
                  <a:lnTo>
                    <a:pt x="783" y="879"/>
                  </a:lnTo>
                  <a:lnTo>
                    <a:pt x="786" y="881"/>
                  </a:lnTo>
                  <a:lnTo>
                    <a:pt x="788" y="883"/>
                  </a:lnTo>
                  <a:lnTo>
                    <a:pt x="791" y="886"/>
                  </a:lnTo>
                  <a:lnTo>
                    <a:pt x="792" y="888"/>
                  </a:lnTo>
                  <a:lnTo>
                    <a:pt x="793" y="891"/>
                  </a:lnTo>
                  <a:lnTo>
                    <a:pt x="794" y="893"/>
                  </a:lnTo>
                  <a:lnTo>
                    <a:pt x="795" y="894"/>
                  </a:lnTo>
                  <a:lnTo>
                    <a:pt x="796" y="893"/>
                  </a:lnTo>
                  <a:lnTo>
                    <a:pt x="799" y="891"/>
                  </a:lnTo>
                  <a:lnTo>
                    <a:pt x="802" y="889"/>
                  </a:lnTo>
                  <a:lnTo>
                    <a:pt x="802" y="886"/>
                  </a:lnTo>
                  <a:lnTo>
                    <a:pt x="801" y="884"/>
                  </a:lnTo>
                  <a:lnTo>
                    <a:pt x="799" y="883"/>
                  </a:lnTo>
                  <a:lnTo>
                    <a:pt x="797" y="880"/>
                  </a:lnTo>
                  <a:lnTo>
                    <a:pt x="797" y="877"/>
                  </a:lnTo>
                  <a:lnTo>
                    <a:pt x="794" y="876"/>
                  </a:lnTo>
                  <a:lnTo>
                    <a:pt x="793" y="875"/>
                  </a:lnTo>
                  <a:lnTo>
                    <a:pt x="790" y="874"/>
                  </a:lnTo>
                  <a:lnTo>
                    <a:pt x="788" y="875"/>
                  </a:lnTo>
                  <a:lnTo>
                    <a:pt x="787" y="875"/>
                  </a:lnTo>
                  <a:lnTo>
                    <a:pt x="785" y="872"/>
                  </a:lnTo>
                  <a:lnTo>
                    <a:pt x="784" y="870"/>
                  </a:lnTo>
                  <a:lnTo>
                    <a:pt x="784" y="867"/>
                  </a:lnTo>
                  <a:lnTo>
                    <a:pt x="784" y="864"/>
                  </a:lnTo>
                  <a:lnTo>
                    <a:pt x="782" y="861"/>
                  </a:lnTo>
                  <a:lnTo>
                    <a:pt x="782" y="859"/>
                  </a:lnTo>
                  <a:lnTo>
                    <a:pt x="780" y="857"/>
                  </a:lnTo>
                  <a:lnTo>
                    <a:pt x="778" y="853"/>
                  </a:lnTo>
                  <a:lnTo>
                    <a:pt x="776" y="851"/>
                  </a:lnTo>
                  <a:lnTo>
                    <a:pt x="776" y="848"/>
                  </a:lnTo>
                  <a:lnTo>
                    <a:pt x="775" y="845"/>
                  </a:lnTo>
                  <a:lnTo>
                    <a:pt x="775" y="843"/>
                  </a:lnTo>
                  <a:lnTo>
                    <a:pt x="773" y="840"/>
                  </a:lnTo>
                  <a:lnTo>
                    <a:pt x="771" y="837"/>
                  </a:lnTo>
                  <a:lnTo>
                    <a:pt x="768" y="835"/>
                  </a:lnTo>
                  <a:lnTo>
                    <a:pt x="768" y="838"/>
                  </a:lnTo>
                  <a:lnTo>
                    <a:pt x="768" y="835"/>
                  </a:lnTo>
                  <a:lnTo>
                    <a:pt x="768" y="833"/>
                  </a:lnTo>
                  <a:lnTo>
                    <a:pt x="766" y="832"/>
                  </a:lnTo>
                  <a:lnTo>
                    <a:pt x="763" y="829"/>
                  </a:lnTo>
                  <a:lnTo>
                    <a:pt x="762" y="826"/>
                  </a:lnTo>
                  <a:lnTo>
                    <a:pt x="760" y="825"/>
                  </a:lnTo>
                  <a:lnTo>
                    <a:pt x="757" y="821"/>
                  </a:lnTo>
                  <a:lnTo>
                    <a:pt x="757" y="819"/>
                  </a:lnTo>
                  <a:lnTo>
                    <a:pt x="756" y="818"/>
                  </a:lnTo>
                  <a:lnTo>
                    <a:pt x="756" y="815"/>
                  </a:lnTo>
                  <a:lnTo>
                    <a:pt x="751" y="809"/>
                  </a:lnTo>
                  <a:lnTo>
                    <a:pt x="746" y="806"/>
                  </a:lnTo>
                  <a:lnTo>
                    <a:pt x="745" y="802"/>
                  </a:lnTo>
                  <a:lnTo>
                    <a:pt x="744" y="800"/>
                  </a:lnTo>
                  <a:lnTo>
                    <a:pt x="737" y="793"/>
                  </a:lnTo>
                  <a:lnTo>
                    <a:pt x="734" y="792"/>
                  </a:lnTo>
                  <a:lnTo>
                    <a:pt x="732" y="790"/>
                  </a:lnTo>
                  <a:lnTo>
                    <a:pt x="731" y="785"/>
                  </a:lnTo>
                  <a:lnTo>
                    <a:pt x="731" y="782"/>
                  </a:lnTo>
                  <a:lnTo>
                    <a:pt x="729" y="780"/>
                  </a:lnTo>
                  <a:lnTo>
                    <a:pt x="729" y="777"/>
                  </a:lnTo>
                  <a:lnTo>
                    <a:pt x="728" y="774"/>
                  </a:lnTo>
                  <a:lnTo>
                    <a:pt x="727" y="772"/>
                  </a:lnTo>
                  <a:lnTo>
                    <a:pt x="728" y="764"/>
                  </a:lnTo>
                  <a:lnTo>
                    <a:pt x="726" y="760"/>
                  </a:lnTo>
                  <a:lnTo>
                    <a:pt x="725" y="759"/>
                  </a:lnTo>
                  <a:lnTo>
                    <a:pt x="726" y="760"/>
                  </a:lnTo>
                  <a:lnTo>
                    <a:pt x="727" y="760"/>
                  </a:lnTo>
                  <a:lnTo>
                    <a:pt x="735" y="766"/>
                  </a:lnTo>
                  <a:lnTo>
                    <a:pt x="739" y="767"/>
                  </a:lnTo>
                  <a:lnTo>
                    <a:pt x="741" y="765"/>
                  </a:lnTo>
                  <a:lnTo>
                    <a:pt x="744" y="766"/>
                  </a:lnTo>
                  <a:lnTo>
                    <a:pt x="744" y="769"/>
                  </a:lnTo>
                  <a:lnTo>
                    <a:pt x="746" y="770"/>
                  </a:lnTo>
                  <a:lnTo>
                    <a:pt x="750" y="770"/>
                  </a:lnTo>
                  <a:lnTo>
                    <a:pt x="752" y="772"/>
                  </a:lnTo>
                  <a:lnTo>
                    <a:pt x="752" y="773"/>
                  </a:lnTo>
                  <a:lnTo>
                    <a:pt x="752" y="778"/>
                  </a:lnTo>
                  <a:lnTo>
                    <a:pt x="757" y="786"/>
                  </a:lnTo>
                  <a:lnTo>
                    <a:pt x="757" y="790"/>
                  </a:lnTo>
                  <a:lnTo>
                    <a:pt x="759" y="794"/>
                  </a:lnTo>
                  <a:lnTo>
                    <a:pt x="761" y="797"/>
                  </a:lnTo>
                  <a:lnTo>
                    <a:pt x="761" y="799"/>
                  </a:lnTo>
                  <a:lnTo>
                    <a:pt x="765" y="801"/>
                  </a:lnTo>
                  <a:lnTo>
                    <a:pt x="765" y="802"/>
                  </a:lnTo>
                  <a:lnTo>
                    <a:pt x="766" y="806"/>
                  </a:lnTo>
                  <a:lnTo>
                    <a:pt x="769" y="808"/>
                  </a:lnTo>
                  <a:lnTo>
                    <a:pt x="770" y="810"/>
                  </a:lnTo>
                  <a:lnTo>
                    <a:pt x="775" y="815"/>
                  </a:lnTo>
                  <a:lnTo>
                    <a:pt x="777" y="818"/>
                  </a:lnTo>
                  <a:lnTo>
                    <a:pt x="779" y="820"/>
                  </a:lnTo>
                  <a:lnTo>
                    <a:pt x="783" y="821"/>
                  </a:lnTo>
                  <a:lnTo>
                    <a:pt x="783" y="819"/>
                  </a:lnTo>
                  <a:lnTo>
                    <a:pt x="783" y="819"/>
                  </a:lnTo>
                  <a:lnTo>
                    <a:pt x="783" y="820"/>
                  </a:lnTo>
                  <a:lnTo>
                    <a:pt x="787" y="821"/>
                  </a:lnTo>
                  <a:lnTo>
                    <a:pt x="785" y="824"/>
                  </a:lnTo>
                  <a:lnTo>
                    <a:pt x="786" y="827"/>
                  </a:lnTo>
                  <a:lnTo>
                    <a:pt x="790" y="831"/>
                  </a:lnTo>
                  <a:lnTo>
                    <a:pt x="792" y="832"/>
                  </a:lnTo>
                  <a:lnTo>
                    <a:pt x="795" y="833"/>
                  </a:lnTo>
                  <a:lnTo>
                    <a:pt x="797" y="837"/>
                  </a:lnTo>
                  <a:lnTo>
                    <a:pt x="799" y="838"/>
                  </a:lnTo>
                  <a:lnTo>
                    <a:pt x="802" y="838"/>
                  </a:lnTo>
                  <a:lnTo>
                    <a:pt x="804" y="841"/>
                  </a:lnTo>
                  <a:lnTo>
                    <a:pt x="804" y="844"/>
                  </a:lnTo>
                  <a:lnTo>
                    <a:pt x="807" y="843"/>
                  </a:lnTo>
                  <a:lnTo>
                    <a:pt x="805" y="845"/>
                  </a:lnTo>
                  <a:lnTo>
                    <a:pt x="804" y="845"/>
                  </a:lnTo>
                  <a:lnTo>
                    <a:pt x="802" y="848"/>
                  </a:lnTo>
                  <a:lnTo>
                    <a:pt x="802" y="851"/>
                  </a:lnTo>
                  <a:lnTo>
                    <a:pt x="803" y="852"/>
                  </a:lnTo>
                  <a:lnTo>
                    <a:pt x="805" y="854"/>
                  </a:lnTo>
                  <a:lnTo>
                    <a:pt x="808" y="854"/>
                  </a:lnTo>
                  <a:lnTo>
                    <a:pt x="810" y="854"/>
                  </a:lnTo>
                  <a:lnTo>
                    <a:pt x="813" y="858"/>
                  </a:lnTo>
                  <a:lnTo>
                    <a:pt x="814" y="859"/>
                  </a:lnTo>
                  <a:lnTo>
                    <a:pt x="818" y="860"/>
                  </a:lnTo>
                  <a:lnTo>
                    <a:pt x="821" y="862"/>
                  </a:lnTo>
                  <a:lnTo>
                    <a:pt x="821" y="863"/>
                  </a:lnTo>
                  <a:lnTo>
                    <a:pt x="821" y="867"/>
                  </a:lnTo>
                  <a:lnTo>
                    <a:pt x="822" y="869"/>
                  </a:lnTo>
                  <a:lnTo>
                    <a:pt x="826" y="870"/>
                  </a:lnTo>
                  <a:lnTo>
                    <a:pt x="827" y="872"/>
                  </a:lnTo>
                  <a:lnTo>
                    <a:pt x="834" y="877"/>
                  </a:lnTo>
                  <a:lnTo>
                    <a:pt x="842" y="887"/>
                  </a:lnTo>
                  <a:lnTo>
                    <a:pt x="844" y="889"/>
                  </a:lnTo>
                  <a:lnTo>
                    <a:pt x="850" y="894"/>
                  </a:lnTo>
                  <a:lnTo>
                    <a:pt x="853" y="900"/>
                  </a:lnTo>
                  <a:lnTo>
                    <a:pt x="854" y="902"/>
                  </a:lnTo>
                  <a:lnTo>
                    <a:pt x="854" y="908"/>
                  </a:lnTo>
                  <a:lnTo>
                    <a:pt x="857" y="913"/>
                  </a:lnTo>
                  <a:lnTo>
                    <a:pt x="860" y="913"/>
                  </a:lnTo>
                  <a:lnTo>
                    <a:pt x="860" y="919"/>
                  </a:lnTo>
                  <a:lnTo>
                    <a:pt x="857" y="921"/>
                  </a:lnTo>
                  <a:lnTo>
                    <a:pt x="856" y="925"/>
                  </a:lnTo>
                  <a:lnTo>
                    <a:pt x="860" y="926"/>
                  </a:lnTo>
                  <a:lnTo>
                    <a:pt x="860" y="926"/>
                  </a:lnTo>
                  <a:lnTo>
                    <a:pt x="859" y="927"/>
                  </a:lnTo>
                  <a:lnTo>
                    <a:pt x="854" y="930"/>
                  </a:lnTo>
                  <a:lnTo>
                    <a:pt x="855" y="932"/>
                  </a:lnTo>
                  <a:lnTo>
                    <a:pt x="856" y="935"/>
                  </a:lnTo>
                  <a:lnTo>
                    <a:pt x="862" y="943"/>
                  </a:lnTo>
                  <a:lnTo>
                    <a:pt x="865" y="946"/>
                  </a:lnTo>
                  <a:lnTo>
                    <a:pt x="872" y="948"/>
                  </a:lnTo>
                  <a:lnTo>
                    <a:pt x="877" y="952"/>
                  </a:lnTo>
                  <a:lnTo>
                    <a:pt x="880" y="954"/>
                  </a:lnTo>
                  <a:lnTo>
                    <a:pt x="885" y="960"/>
                  </a:lnTo>
                  <a:lnTo>
                    <a:pt x="890" y="961"/>
                  </a:lnTo>
                  <a:lnTo>
                    <a:pt x="893" y="963"/>
                  </a:lnTo>
                  <a:lnTo>
                    <a:pt x="902" y="964"/>
                  </a:lnTo>
                  <a:lnTo>
                    <a:pt x="903" y="964"/>
                  </a:lnTo>
                  <a:lnTo>
                    <a:pt x="906" y="964"/>
                  </a:lnTo>
                  <a:lnTo>
                    <a:pt x="908" y="968"/>
                  </a:lnTo>
                  <a:lnTo>
                    <a:pt x="916" y="974"/>
                  </a:lnTo>
                  <a:lnTo>
                    <a:pt x="931" y="979"/>
                  </a:lnTo>
                  <a:lnTo>
                    <a:pt x="935" y="981"/>
                  </a:lnTo>
                  <a:lnTo>
                    <a:pt x="949" y="985"/>
                  </a:lnTo>
                  <a:lnTo>
                    <a:pt x="950" y="987"/>
                  </a:lnTo>
                  <a:lnTo>
                    <a:pt x="957" y="989"/>
                  </a:lnTo>
                  <a:lnTo>
                    <a:pt x="962" y="992"/>
                  </a:lnTo>
                  <a:lnTo>
                    <a:pt x="965" y="992"/>
                  </a:lnTo>
                  <a:lnTo>
                    <a:pt x="970" y="994"/>
                  </a:lnTo>
                  <a:lnTo>
                    <a:pt x="974" y="996"/>
                  </a:lnTo>
                  <a:lnTo>
                    <a:pt x="980" y="997"/>
                  </a:lnTo>
                  <a:lnTo>
                    <a:pt x="980" y="996"/>
                  </a:lnTo>
                  <a:lnTo>
                    <a:pt x="982" y="996"/>
                  </a:lnTo>
                  <a:lnTo>
                    <a:pt x="985" y="995"/>
                  </a:lnTo>
                  <a:lnTo>
                    <a:pt x="987" y="994"/>
                  </a:lnTo>
                  <a:lnTo>
                    <a:pt x="992" y="992"/>
                  </a:lnTo>
                  <a:lnTo>
                    <a:pt x="998" y="989"/>
                  </a:lnTo>
                  <a:lnTo>
                    <a:pt x="998" y="989"/>
                  </a:lnTo>
                  <a:lnTo>
                    <a:pt x="1000" y="989"/>
                  </a:lnTo>
                  <a:lnTo>
                    <a:pt x="1002" y="989"/>
                  </a:lnTo>
                  <a:lnTo>
                    <a:pt x="1000" y="988"/>
                  </a:lnTo>
                  <a:lnTo>
                    <a:pt x="1000" y="987"/>
                  </a:lnTo>
                  <a:lnTo>
                    <a:pt x="1002" y="986"/>
                  </a:lnTo>
                  <a:lnTo>
                    <a:pt x="1004" y="989"/>
                  </a:lnTo>
                  <a:lnTo>
                    <a:pt x="1006" y="989"/>
                  </a:lnTo>
                  <a:lnTo>
                    <a:pt x="1013" y="991"/>
                  </a:lnTo>
                  <a:lnTo>
                    <a:pt x="1012" y="990"/>
                  </a:lnTo>
                  <a:lnTo>
                    <a:pt x="1009" y="989"/>
                  </a:lnTo>
                  <a:lnTo>
                    <a:pt x="1013" y="989"/>
                  </a:lnTo>
                  <a:lnTo>
                    <a:pt x="1015" y="990"/>
                  </a:lnTo>
                  <a:lnTo>
                    <a:pt x="1017" y="994"/>
                  </a:lnTo>
                  <a:lnTo>
                    <a:pt x="1027" y="1002"/>
                  </a:lnTo>
                  <a:lnTo>
                    <a:pt x="1030" y="1003"/>
                  </a:lnTo>
                  <a:lnTo>
                    <a:pt x="1031" y="1006"/>
                  </a:lnTo>
                  <a:lnTo>
                    <a:pt x="1038" y="1012"/>
                  </a:lnTo>
                  <a:lnTo>
                    <a:pt x="1047" y="1020"/>
                  </a:lnTo>
                  <a:lnTo>
                    <a:pt x="1050" y="1021"/>
                  </a:lnTo>
                  <a:lnTo>
                    <a:pt x="1053" y="1021"/>
                  </a:lnTo>
                  <a:lnTo>
                    <a:pt x="1059" y="1021"/>
                  </a:lnTo>
                  <a:lnTo>
                    <a:pt x="1061" y="1021"/>
                  </a:lnTo>
                  <a:lnTo>
                    <a:pt x="1068" y="1024"/>
                  </a:lnTo>
                  <a:lnTo>
                    <a:pt x="1070" y="1026"/>
                  </a:lnTo>
                  <a:lnTo>
                    <a:pt x="1077" y="1028"/>
                  </a:lnTo>
                  <a:lnTo>
                    <a:pt x="1079" y="1028"/>
                  </a:lnTo>
                  <a:lnTo>
                    <a:pt x="1084" y="1030"/>
                  </a:lnTo>
                  <a:lnTo>
                    <a:pt x="1090" y="1031"/>
                  </a:lnTo>
                  <a:lnTo>
                    <a:pt x="1086" y="1030"/>
                  </a:lnTo>
                  <a:lnTo>
                    <a:pt x="1091" y="1031"/>
                  </a:lnTo>
                  <a:lnTo>
                    <a:pt x="1091" y="1031"/>
                  </a:lnTo>
                  <a:lnTo>
                    <a:pt x="1095" y="1031"/>
                  </a:lnTo>
                  <a:lnTo>
                    <a:pt x="1098" y="1030"/>
                  </a:lnTo>
                  <a:lnTo>
                    <a:pt x="1098" y="1028"/>
                  </a:lnTo>
                  <a:lnTo>
                    <a:pt x="1098" y="1029"/>
                  </a:lnTo>
                  <a:lnTo>
                    <a:pt x="1100" y="1029"/>
                  </a:lnTo>
                  <a:lnTo>
                    <a:pt x="1101" y="1029"/>
                  </a:lnTo>
                  <a:lnTo>
                    <a:pt x="1104" y="1029"/>
                  </a:lnTo>
                  <a:lnTo>
                    <a:pt x="1103" y="1029"/>
                  </a:lnTo>
                  <a:lnTo>
                    <a:pt x="1103" y="1032"/>
                  </a:lnTo>
                  <a:lnTo>
                    <a:pt x="1106" y="1033"/>
                  </a:lnTo>
                  <a:lnTo>
                    <a:pt x="1106" y="1034"/>
                  </a:lnTo>
                  <a:lnTo>
                    <a:pt x="1104" y="1034"/>
                  </a:lnTo>
                  <a:lnTo>
                    <a:pt x="1101" y="1033"/>
                  </a:lnTo>
                  <a:lnTo>
                    <a:pt x="1100" y="1033"/>
                  </a:lnTo>
                  <a:lnTo>
                    <a:pt x="1102" y="1037"/>
                  </a:lnTo>
                  <a:lnTo>
                    <a:pt x="1107" y="1041"/>
                  </a:lnTo>
                  <a:lnTo>
                    <a:pt x="1108" y="1041"/>
                  </a:lnTo>
                  <a:lnTo>
                    <a:pt x="1108" y="1041"/>
                  </a:lnTo>
                  <a:lnTo>
                    <a:pt x="1107" y="1041"/>
                  </a:lnTo>
                  <a:lnTo>
                    <a:pt x="1112" y="1045"/>
                  </a:lnTo>
                  <a:lnTo>
                    <a:pt x="1113" y="1048"/>
                  </a:lnTo>
                  <a:lnTo>
                    <a:pt x="1118" y="1052"/>
                  </a:lnTo>
                  <a:lnTo>
                    <a:pt x="1120" y="1055"/>
                  </a:lnTo>
                  <a:lnTo>
                    <a:pt x="1127" y="1060"/>
                  </a:lnTo>
                  <a:lnTo>
                    <a:pt x="1125" y="1063"/>
                  </a:lnTo>
                  <a:lnTo>
                    <a:pt x="1125" y="1064"/>
                  </a:lnTo>
                  <a:lnTo>
                    <a:pt x="1128" y="1065"/>
                  </a:lnTo>
                  <a:lnTo>
                    <a:pt x="1127" y="1067"/>
                  </a:lnTo>
                  <a:lnTo>
                    <a:pt x="1125" y="1071"/>
                  </a:lnTo>
                  <a:lnTo>
                    <a:pt x="1125" y="1073"/>
                  </a:lnTo>
                  <a:lnTo>
                    <a:pt x="1128" y="1076"/>
                  </a:lnTo>
                  <a:lnTo>
                    <a:pt x="1130" y="1077"/>
                  </a:lnTo>
                  <a:lnTo>
                    <a:pt x="1134" y="1079"/>
                  </a:lnTo>
                  <a:lnTo>
                    <a:pt x="1135" y="1081"/>
                  </a:lnTo>
                  <a:lnTo>
                    <a:pt x="1137" y="1079"/>
                  </a:lnTo>
                  <a:lnTo>
                    <a:pt x="1137" y="1076"/>
                  </a:lnTo>
                  <a:lnTo>
                    <a:pt x="1135" y="1075"/>
                  </a:lnTo>
                  <a:lnTo>
                    <a:pt x="1134" y="1074"/>
                  </a:lnTo>
                  <a:lnTo>
                    <a:pt x="1133" y="1072"/>
                  </a:lnTo>
                  <a:lnTo>
                    <a:pt x="1134" y="1072"/>
                  </a:lnTo>
                  <a:lnTo>
                    <a:pt x="1134" y="1073"/>
                  </a:lnTo>
                  <a:lnTo>
                    <a:pt x="1136" y="1073"/>
                  </a:lnTo>
                  <a:lnTo>
                    <a:pt x="1142" y="1079"/>
                  </a:lnTo>
                  <a:lnTo>
                    <a:pt x="1142" y="1080"/>
                  </a:lnTo>
                  <a:lnTo>
                    <a:pt x="1143" y="1082"/>
                  </a:lnTo>
                  <a:lnTo>
                    <a:pt x="1147" y="1083"/>
                  </a:lnTo>
                  <a:lnTo>
                    <a:pt x="1153" y="1086"/>
                  </a:lnTo>
                  <a:lnTo>
                    <a:pt x="1155" y="1090"/>
                  </a:lnTo>
                  <a:lnTo>
                    <a:pt x="1157" y="1091"/>
                  </a:lnTo>
                  <a:lnTo>
                    <a:pt x="1154" y="1093"/>
                  </a:lnTo>
                  <a:lnTo>
                    <a:pt x="1154" y="1096"/>
                  </a:lnTo>
                  <a:lnTo>
                    <a:pt x="1160" y="1098"/>
                  </a:lnTo>
                  <a:lnTo>
                    <a:pt x="1160" y="1096"/>
                  </a:lnTo>
                  <a:lnTo>
                    <a:pt x="1159" y="1093"/>
                  </a:lnTo>
                  <a:lnTo>
                    <a:pt x="1161" y="1094"/>
                  </a:lnTo>
                  <a:lnTo>
                    <a:pt x="1166" y="1102"/>
                  </a:lnTo>
                  <a:lnTo>
                    <a:pt x="1164" y="1099"/>
                  </a:lnTo>
                  <a:lnTo>
                    <a:pt x="1164" y="1099"/>
                  </a:lnTo>
                  <a:lnTo>
                    <a:pt x="1164" y="1098"/>
                  </a:lnTo>
                  <a:lnTo>
                    <a:pt x="1166" y="1097"/>
                  </a:lnTo>
                  <a:lnTo>
                    <a:pt x="1167" y="1097"/>
                  </a:lnTo>
                  <a:lnTo>
                    <a:pt x="1167" y="1096"/>
                  </a:lnTo>
                  <a:lnTo>
                    <a:pt x="1166" y="1092"/>
                  </a:lnTo>
                  <a:lnTo>
                    <a:pt x="1167" y="1091"/>
                  </a:lnTo>
                  <a:lnTo>
                    <a:pt x="1168" y="1090"/>
                  </a:lnTo>
                  <a:lnTo>
                    <a:pt x="1168" y="1090"/>
                  </a:lnTo>
                  <a:lnTo>
                    <a:pt x="1164" y="1089"/>
                  </a:lnTo>
                  <a:lnTo>
                    <a:pt x="1164" y="1085"/>
                  </a:lnTo>
                  <a:lnTo>
                    <a:pt x="1167" y="1082"/>
                  </a:lnTo>
                  <a:lnTo>
                    <a:pt x="1166" y="1081"/>
                  </a:lnTo>
                  <a:lnTo>
                    <a:pt x="1167" y="1081"/>
                  </a:lnTo>
                  <a:lnTo>
                    <a:pt x="1169" y="1082"/>
                  </a:lnTo>
                  <a:lnTo>
                    <a:pt x="1170" y="1081"/>
                  </a:lnTo>
                  <a:lnTo>
                    <a:pt x="1166" y="1079"/>
                  </a:lnTo>
                  <a:lnTo>
                    <a:pt x="1163" y="1075"/>
                  </a:lnTo>
                  <a:lnTo>
                    <a:pt x="1163" y="1075"/>
                  </a:lnTo>
                  <a:lnTo>
                    <a:pt x="1160" y="1072"/>
                  </a:lnTo>
                  <a:lnTo>
                    <a:pt x="1157" y="1067"/>
                  </a:lnTo>
                  <a:lnTo>
                    <a:pt x="1155" y="1065"/>
                  </a:lnTo>
                  <a:lnTo>
                    <a:pt x="1155" y="1065"/>
                  </a:lnTo>
                  <a:lnTo>
                    <a:pt x="1155" y="1063"/>
                  </a:lnTo>
                  <a:lnTo>
                    <a:pt x="1154" y="1063"/>
                  </a:lnTo>
                  <a:lnTo>
                    <a:pt x="1153" y="1060"/>
                  </a:lnTo>
                  <a:lnTo>
                    <a:pt x="1152" y="1057"/>
                  </a:lnTo>
                  <a:lnTo>
                    <a:pt x="1155" y="1051"/>
                  </a:lnTo>
                  <a:lnTo>
                    <a:pt x="1153" y="1049"/>
                  </a:lnTo>
                  <a:lnTo>
                    <a:pt x="1154" y="1046"/>
                  </a:lnTo>
                  <a:lnTo>
                    <a:pt x="1155" y="1043"/>
                  </a:lnTo>
                  <a:lnTo>
                    <a:pt x="1154" y="1042"/>
                  </a:lnTo>
                  <a:lnTo>
                    <a:pt x="1155" y="1039"/>
                  </a:lnTo>
                  <a:lnTo>
                    <a:pt x="1155" y="1037"/>
                  </a:lnTo>
                  <a:lnTo>
                    <a:pt x="1157" y="1037"/>
                  </a:lnTo>
                  <a:lnTo>
                    <a:pt x="1155" y="1040"/>
                  </a:lnTo>
                  <a:lnTo>
                    <a:pt x="1155" y="1040"/>
                  </a:lnTo>
                  <a:lnTo>
                    <a:pt x="1155" y="1042"/>
                  </a:lnTo>
                  <a:lnTo>
                    <a:pt x="1157" y="1040"/>
                  </a:lnTo>
                  <a:lnTo>
                    <a:pt x="1157" y="1038"/>
                  </a:lnTo>
                  <a:lnTo>
                    <a:pt x="1158" y="1035"/>
                  </a:lnTo>
                  <a:lnTo>
                    <a:pt x="1157" y="1033"/>
                  </a:lnTo>
                  <a:lnTo>
                    <a:pt x="1157" y="1029"/>
                  </a:lnTo>
                  <a:lnTo>
                    <a:pt x="1158" y="1021"/>
                  </a:lnTo>
                  <a:lnTo>
                    <a:pt x="1161" y="1016"/>
                  </a:lnTo>
                  <a:lnTo>
                    <a:pt x="1161" y="1014"/>
                  </a:lnTo>
                  <a:lnTo>
                    <a:pt x="1160" y="1009"/>
                  </a:lnTo>
                  <a:lnTo>
                    <a:pt x="1162" y="1006"/>
                  </a:lnTo>
                  <a:lnTo>
                    <a:pt x="1161" y="1005"/>
                  </a:lnTo>
                  <a:lnTo>
                    <a:pt x="1159" y="1003"/>
                  </a:lnTo>
                  <a:lnTo>
                    <a:pt x="1157" y="1002"/>
                  </a:lnTo>
                  <a:lnTo>
                    <a:pt x="1157" y="1002"/>
                  </a:lnTo>
                  <a:lnTo>
                    <a:pt x="1153" y="1003"/>
                  </a:lnTo>
                  <a:lnTo>
                    <a:pt x="1151" y="1000"/>
                  </a:lnTo>
                  <a:lnTo>
                    <a:pt x="1152" y="1003"/>
                  </a:lnTo>
                  <a:lnTo>
                    <a:pt x="1151" y="1002"/>
                  </a:lnTo>
                  <a:lnTo>
                    <a:pt x="1149" y="999"/>
                  </a:lnTo>
                  <a:lnTo>
                    <a:pt x="1151" y="998"/>
                  </a:lnTo>
                  <a:lnTo>
                    <a:pt x="1154" y="1000"/>
                  </a:lnTo>
                  <a:lnTo>
                    <a:pt x="1154" y="1000"/>
                  </a:lnTo>
                  <a:lnTo>
                    <a:pt x="1151" y="998"/>
                  </a:lnTo>
                  <a:lnTo>
                    <a:pt x="1146" y="994"/>
                  </a:lnTo>
                  <a:lnTo>
                    <a:pt x="1144" y="995"/>
                  </a:lnTo>
                  <a:lnTo>
                    <a:pt x="1142" y="994"/>
                  </a:lnTo>
                  <a:lnTo>
                    <a:pt x="1137" y="992"/>
                  </a:lnTo>
                  <a:lnTo>
                    <a:pt x="1130" y="994"/>
                  </a:lnTo>
                  <a:lnTo>
                    <a:pt x="1127" y="992"/>
                  </a:lnTo>
                  <a:lnTo>
                    <a:pt x="1127" y="992"/>
                  </a:lnTo>
                  <a:lnTo>
                    <a:pt x="1125" y="992"/>
                  </a:lnTo>
                  <a:lnTo>
                    <a:pt x="1124" y="994"/>
                  </a:lnTo>
                  <a:lnTo>
                    <a:pt x="1120" y="994"/>
                  </a:lnTo>
                  <a:lnTo>
                    <a:pt x="1118" y="995"/>
                  </a:lnTo>
                  <a:lnTo>
                    <a:pt x="1117" y="995"/>
                  </a:lnTo>
                  <a:lnTo>
                    <a:pt x="1108" y="995"/>
                  </a:lnTo>
                  <a:lnTo>
                    <a:pt x="1104" y="994"/>
                  </a:lnTo>
                  <a:lnTo>
                    <a:pt x="1102" y="995"/>
                  </a:lnTo>
                  <a:lnTo>
                    <a:pt x="1099" y="992"/>
                  </a:lnTo>
                  <a:lnTo>
                    <a:pt x="1095" y="995"/>
                  </a:lnTo>
                  <a:lnTo>
                    <a:pt x="1093" y="996"/>
                  </a:lnTo>
                  <a:lnTo>
                    <a:pt x="1090" y="994"/>
                  </a:lnTo>
                  <a:lnTo>
                    <a:pt x="1089" y="994"/>
                  </a:lnTo>
                  <a:lnTo>
                    <a:pt x="1087" y="996"/>
                  </a:lnTo>
                  <a:lnTo>
                    <a:pt x="1087" y="995"/>
                  </a:lnTo>
                  <a:lnTo>
                    <a:pt x="1083" y="994"/>
                  </a:lnTo>
                  <a:lnTo>
                    <a:pt x="1083" y="992"/>
                  </a:lnTo>
                  <a:lnTo>
                    <a:pt x="1086" y="988"/>
                  </a:lnTo>
                  <a:lnTo>
                    <a:pt x="1089" y="987"/>
                  </a:lnTo>
                  <a:lnTo>
                    <a:pt x="1090" y="985"/>
                  </a:lnTo>
                  <a:lnTo>
                    <a:pt x="1091" y="985"/>
                  </a:lnTo>
                  <a:lnTo>
                    <a:pt x="1092" y="981"/>
                  </a:lnTo>
                  <a:lnTo>
                    <a:pt x="1092" y="973"/>
                  </a:lnTo>
                  <a:lnTo>
                    <a:pt x="1093" y="971"/>
                  </a:lnTo>
                  <a:lnTo>
                    <a:pt x="1092" y="970"/>
                  </a:lnTo>
                  <a:lnTo>
                    <a:pt x="1094" y="962"/>
                  </a:lnTo>
                  <a:lnTo>
                    <a:pt x="1094" y="960"/>
                  </a:lnTo>
                  <a:lnTo>
                    <a:pt x="1092" y="956"/>
                  </a:lnTo>
                  <a:lnTo>
                    <a:pt x="1092" y="954"/>
                  </a:lnTo>
                  <a:lnTo>
                    <a:pt x="1095" y="953"/>
                  </a:lnTo>
                  <a:lnTo>
                    <a:pt x="1094" y="955"/>
                  </a:lnTo>
                  <a:lnTo>
                    <a:pt x="1098" y="961"/>
                  </a:lnTo>
                  <a:lnTo>
                    <a:pt x="1103" y="945"/>
                  </a:lnTo>
                  <a:lnTo>
                    <a:pt x="1101" y="946"/>
                  </a:lnTo>
                  <a:lnTo>
                    <a:pt x="1100" y="945"/>
                  </a:lnTo>
                  <a:lnTo>
                    <a:pt x="1102" y="941"/>
                  </a:lnTo>
                  <a:lnTo>
                    <a:pt x="1100" y="941"/>
                  </a:lnTo>
                  <a:lnTo>
                    <a:pt x="1103" y="936"/>
                  </a:lnTo>
                  <a:lnTo>
                    <a:pt x="1103" y="934"/>
                  </a:lnTo>
                  <a:lnTo>
                    <a:pt x="1104" y="931"/>
                  </a:lnTo>
                  <a:lnTo>
                    <a:pt x="1106" y="929"/>
                  </a:lnTo>
                  <a:lnTo>
                    <a:pt x="1109" y="926"/>
                  </a:lnTo>
                  <a:lnTo>
                    <a:pt x="1111" y="923"/>
                  </a:lnTo>
                  <a:lnTo>
                    <a:pt x="1111" y="921"/>
                  </a:lnTo>
                  <a:lnTo>
                    <a:pt x="1111" y="917"/>
                  </a:lnTo>
                  <a:lnTo>
                    <a:pt x="1110" y="914"/>
                  </a:lnTo>
                  <a:lnTo>
                    <a:pt x="1108" y="912"/>
                  </a:lnTo>
                  <a:lnTo>
                    <a:pt x="1104" y="914"/>
                  </a:lnTo>
                  <a:lnTo>
                    <a:pt x="1094" y="912"/>
                  </a:lnTo>
                  <a:lnTo>
                    <a:pt x="1091" y="913"/>
                  </a:lnTo>
                  <a:lnTo>
                    <a:pt x="1090" y="913"/>
                  </a:lnTo>
                  <a:lnTo>
                    <a:pt x="1084" y="915"/>
                  </a:lnTo>
                  <a:lnTo>
                    <a:pt x="1070" y="917"/>
                  </a:lnTo>
                  <a:lnTo>
                    <a:pt x="1065" y="920"/>
                  </a:lnTo>
                  <a:lnTo>
                    <a:pt x="1063" y="922"/>
                  </a:lnTo>
                  <a:lnTo>
                    <a:pt x="1064" y="923"/>
                  </a:lnTo>
                  <a:lnTo>
                    <a:pt x="1063" y="925"/>
                  </a:lnTo>
                  <a:lnTo>
                    <a:pt x="1061" y="927"/>
                  </a:lnTo>
                  <a:lnTo>
                    <a:pt x="1061" y="930"/>
                  </a:lnTo>
                  <a:lnTo>
                    <a:pt x="1061" y="932"/>
                  </a:lnTo>
                  <a:lnTo>
                    <a:pt x="1061" y="935"/>
                  </a:lnTo>
                  <a:lnTo>
                    <a:pt x="1061" y="936"/>
                  </a:lnTo>
                  <a:lnTo>
                    <a:pt x="1059" y="938"/>
                  </a:lnTo>
                  <a:lnTo>
                    <a:pt x="1058" y="944"/>
                  </a:lnTo>
                  <a:lnTo>
                    <a:pt x="1056" y="947"/>
                  </a:lnTo>
                  <a:lnTo>
                    <a:pt x="1050" y="949"/>
                  </a:lnTo>
                  <a:lnTo>
                    <a:pt x="1048" y="952"/>
                  </a:lnTo>
                  <a:lnTo>
                    <a:pt x="1049" y="952"/>
                  </a:lnTo>
                  <a:lnTo>
                    <a:pt x="1051" y="955"/>
                  </a:lnTo>
                  <a:lnTo>
                    <a:pt x="1050" y="955"/>
                  </a:lnTo>
                  <a:lnTo>
                    <a:pt x="1048" y="957"/>
                  </a:lnTo>
                  <a:lnTo>
                    <a:pt x="1046" y="957"/>
                  </a:lnTo>
                  <a:lnTo>
                    <a:pt x="1043" y="957"/>
                  </a:lnTo>
                  <a:lnTo>
                    <a:pt x="1041" y="955"/>
                  </a:lnTo>
                  <a:lnTo>
                    <a:pt x="1042" y="955"/>
                  </a:lnTo>
                  <a:lnTo>
                    <a:pt x="1040" y="954"/>
                  </a:lnTo>
                  <a:lnTo>
                    <a:pt x="1034" y="954"/>
                  </a:lnTo>
                  <a:lnTo>
                    <a:pt x="1033" y="955"/>
                  </a:lnTo>
                  <a:lnTo>
                    <a:pt x="1032" y="957"/>
                  </a:lnTo>
                  <a:lnTo>
                    <a:pt x="1031" y="956"/>
                  </a:lnTo>
                  <a:lnTo>
                    <a:pt x="1029" y="957"/>
                  </a:lnTo>
                  <a:lnTo>
                    <a:pt x="1025" y="957"/>
                  </a:lnTo>
                  <a:lnTo>
                    <a:pt x="1021" y="957"/>
                  </a:lnTo>
                  <a:lnTo>
                    <a:pt x="1010" y="961"/>
                  </a:lnTo>
                  <a:lnTo>
                    <a:pt x="1007" y="962"/>
                  </a:lnTo>
                  <a:lnTo>
                    <a:pt x="1006" y="961"/>
                  </a:lnTo>
                  <a:lnTo>
                    <a:pt x="1002" y="956"/>
                  </a:lnTo>
                  <a:lnTo>
                    <a:pt x="1000" y="956"/>
                  </a:lnTo>
                  <a:lnTo>
                    <a:pt x="996" y="954"/>
                  </a:lnTo>
                  <a:lnTo>
                    <a:pt x="991" y="953"/>
                  </a:lnTo>
                  <a:lnTo>
                    <a:pt x="989" y="953"/>
                  </a:lnTo>
                  <a:lnTo>
                    <a:pt x="989" y="953"/>
                  </a:lnTo>
                  <a:lnTo>
                    <a:pt x="988" y="954"/>
                  </a:lnTo>
                  <a:lnTo>
                    <a:pt x="988" y="955"/>
                  </a:lnTo>
                  <a:lnTo>
                    <a:pt x="987" y="955"/>
                  </a:lnTo>
                  <a:lnTo>
                    <a:pt x="988" y="954"/>
                  </a:lnTo>
                  <a:lnTo>
                    <a:pt x="987" y="952"/>
                  </a:lnTo>
                  <a:lnTo>
                    <a:pt x="989" y="953"/>
                  </a:lnTo>
                  <a:lnTo>
                    <a:pt x="987" y="952"/>
                  </a:lnTo>
                  <a:lnTo>
                    <a:pt x="985" y="948"/>
                  </a:lnTo>
                  <a:lnTo>
                    <a:pt x="982" y="945"/>
                  </a:lnTo>
                  <a:lnTo>
                    <a:pt x="981" y="944"/>
                  </a:lnTo>
                  <a:lnTo>
                    <a:pt x="980" y="938"/>
                  </a:lnTo>
                  <a:lnTo>
                    <a:pt x="979" y="935"/>
                  </a:lnTo>
                  <a:lnTo>
                    <a:pt x="971" y="927"/>
                  </a:lnTo>
                  <a:lnTo>
                    <a:pt x="967" y="919"/>
                  </a:lnTo>
                  <a:lnTo>
                    <a:pt x="965" y="914"/>
                  </a:lnTo>
                  <a:lnTo>
                    <a:pt x="964" y="912"/>
                  </a:lnTo>
                  <a:lnTo>
                    <a:pt x="963" y="910"/>
                  </a:lnTo>
                  <a:lnTo>
                    <a:pt x="963" y="906"/>
                  </a:lnTo>
                  <a:lnTo>
                    <a:pt x="964" y="910"/>
                  </a:lnTo>
                  <a:lnTo>
                    <a:pt x="967" y="913"/>
                  </a:lnTo>
                  <a:lnTo>
                    <a:pt x="966" y="915"/>
                  </a:lnTo>
                  <a:lnTo>
                    <a:pt x="967" y="917"/>
                  </a:lnTo>
                  <a:lnTo>
                    <a:pt x="968" y="913"/>
                  </a:lnTo>
                  <a:lnTo>
                    <a:pt x="967" y="912"/>
                  </a:lnTo>
                  <a:lnTo>
                    <a:pt x="964" y="910"/>
                  </a:lnTo>
                  <a:lnTo>
                    <a:pt x="963" y="906"/>
                  </a:lnTo>
                  <a:lnTo>
                    <a:pt x="962" y="904"/>
                  </a:lnTo>
                  <a:lnTo>
                    <a:pt x="962" y="903"/>
                  </a:lnTo>
                  <a:lnTo>
                    <a:pt x="961" y="901"/>
                  </a:lnTo>
                  <a:lnTo>
                    <a:pt x="961" y="896"/>
                  </a:lnTo>
                  <a:lnTo>
                    <a:pt x="962" y="893"/>
                  </a:lnTo>
                  <a:lnTo>
                    <a:pt x="962" y="891"/>
                  </a:lnTo>
                  <a:lnTo>
                    <a:pt x="962" y="884"/>
                  </a:lnTo>
                  <a:lnTo>
                    <a:pt x="961" y="880"/>
                  </a:lnTo>
                  <a:lnTo>
                    <a:pt x="962" y="880"/>
                  </a:lnTo>
                  <a:lnTo>
                    <a:pt x="962" y="878"/>
                  </a:lnTo>
                  <a:lnTo>
                    <a:pt x="962" y="872"/>
                  </a:lnTo>
                  <a:lnTo>
                    <a:pt x="961" y="869"/>
                  </a:lnTo>
                  <a:lnTo>
                    <a:pt x="963" y="867"/>
                  </a:lnTo>
                  <a:lnTo>
                    <a:pt x="963" y="864"/>
                  </a:lnTo>
                  <a:lnTo>
                    <a:pt x="963" y="863"/>
                  </a:lnTo>
                  <a:lnTo>
                    <a:pt x="963" y="858"/>
                  </a:lnTo>
                  <a:lnTo>
                    <a:pt x="965" y="859"/>
                  </a:lnTo>
                  <a:lnTo>
                    <a:pt x="965" y="863"/>
                  </a:lnTo>
                  <a:lnTo>
                    <a:pt x="964" y="869"/>
                  </a:lnTo>
                  <a:lnTo>
                    <a:pt x="962" y="879"/>
                  </a:lnTo>
                  <a:lnTo>
                    <a:pt x="963" y="879"/>
                  </a:lnTo>
                  <a:lnTo>
                    <a:pt x="963" y="871"/>
                  </a:lnTo>
                  <a:lnTo>
                    <a:pt x="965" y="862"/>
                  </a:lnTo>
                  <a:lnTo>
                    <a:pt x="970" y="854"/>
                  </a:lnTo>
                  <a:lnTo>
                    <a:pt x="971" y="849"/>
                  </a:lnTo>
                  <a:lnTo>
                    <a:pt x="968" y="846"/>
                  </a:lnTo>
                  <a:lnTo>
                    <a:pt x="964" y="834"/>
                  </a:lnTo>
                  <a:lnTo>
                    <a:pt x="966" y="832"/>
                  </a:lnTo>
                  <a:lnTo>
                    <a:pt x="964" y="831"/>
                  </a:lnTo>
                  <a:lnTo>
                    <a:pt x="962" y="827"/>
                  </a:lnTo>
                  <a:lnTo>
                    <a:pt x="964" y="828"/>
                  </a:lnTo>
                  <a:lnTo>
                    <a:pt x="966" y="829"/>
                  </a:lnTo>
                  <a:lnTo>
                    <a:pt x="968" y="824"/>
                  </a:lnTo>
                  <a:lnTo>
                    <a:pt x="967" y="821"/>
                  </a:lnTo>
                  <a:lnTo>
                    <a:pt x="965" y="821"/>
                  </a:lnTo>
                  <a:lnTo>
                    <a:pt x="970" y="821"/>
                  </a:lnTo>
                  <a:lnTo>
                    <a:pt x="972" y="818"/>
                  </a:lnTo>
                  <a:lnTo>
                    <a:pt x="972" y="817"/>
                  </a:lnTo>
                  <a:lnTo>
                    <a:pt x="975" y="816"/>
                  </a:lnTo>
                  <a:lnTo>
                    <a:pt x="974" y="814"/>
                  </a:lnTo>
                  <a:lnTo>
                    <a:pt x="975" y="812"/>
                  </a:lnTo>
                  <a:lnTo>
                    <a:pt x="978" y="815"/>
                  </a:lnTo>
                  <a:lnTo>
                    <a:pt x="981" y="812"/>
                  </a:lnTo>
                  <a:lnTo>
                    <a:pt x="978" y="810"/>
                  </a:lnTo>
                  <a:lnTo>
                    <a:pt x="978" y="810"/>
                  </a:lnTo>
                  <a:lnTo>
                    <a:pt x="979" y="809"/>
                  </a:lnTo>
                  <a:lnTo>
                    <a:pt x="980" y="810"/>
                  </a:lnTo>
                  <a:lnTo>
                    <a:pt x="980" y="808"/>
                  </a:lnTo>
                  <a:lnTo>
                    <a:pt x="983" y="809"/>
                  </a:lnTo>
                  <a:lnTo>
                    <a:pt x="984" y="810"/>
                  </a:lnTo>
                  <a:lnTo>
                    <a:pt x="983" y="810"/>
                  </a:lnTo>
                  <a:lnTo>
                    <a:pt x="987" y="810"/>
                  </a:lnTo>
                  <a:lnTo>
                    <a:pt x="983" y="812"/>
                  </a:lnTo>
                  <a:lnTo>
                    <a:pt x="991" y="808"/>
                  </a:lnTo>
                  <a:lnTo>
                    <a:pt x="993" y="807"/>
                  </a:lnTo>
                  <a:lnTo>
                    <a:pt x="995" y="807"/>
                  </a:lnTo>
                  <a:lnTo>
                    <a:pt x="997" y="804"/>
                  </a:lnTo>
                  <a:lnTo>
                    <a:pt x="998" y="802"/>
                  </a:lnTo>
                  <a:lnTo>
                    <a:pt x="1001" y="800"/>
                  </a:lnTo>
                  <a:lnTo>
                    <a:pt x="999" y="794"/>
                  </a:lnTo>
                  <a:lnTo>
                    <a:pt x="999" y="793"/>
                  </a:lnTo>
                  <a:lnTo>
                    <a:pt x="1001" y="794"/>
                  </a:lnTo>
                  <a:lnTo>
                    <a:pt x="1004" y="793"/>
                  </a:lnTo>
                  <a:lnTo>
                    <a:pt x="1005" y="797"/>
                  </a:lnTo>
                  <a:lnTo>
                    <a:pt x="1007" y="797"/>
                  </a:lnTo>
                  <a:lnTo>
                    <a:pt x="1006" y="797"/>
                  </a:lnTo>
                  <a:lnTo>
                    <a:pt x="1002" y="799"/>
                  </a:lnTo>
                  <a:lnTo>
                    <a:pt x="1008" y="795"/>
                  </a:lnTo>
                  <a:lnTo>
                    <a:pt x="1012" y="794"/>
                  </a:lnTo>
                  <a:lnTo>
                    <a:pt x="1014" y="794"/>
                  </a:lnTo>
                  <a:lnTo>
                    <a:pt x="1015" y="793"/>
                  </a:lnTo>
                  <a:lnTo>
                    <a:pt x="1014" y="792"/>
                  </a:lnTo>
                  <a:lnTo>
                    <a:pt x="1016" y="790"/>
                  </a:lnTo>
                  <a:lnTo>
                    <a:pt x="1015" y="792"/>
                  </a:lnTo>
                  <a:lnTo>
                    <a:pt x="1015" y="793"/>
                  </a:lnTo>
                  <a:lnTo>
                    <a:pt x="1021" y="793"/>
                  </a:lnTo>
                  <a:lnTo>
                    <a:pt x="1022" y="792"/>
                  </a:lnTo>
                  <a:lnTo>
                    <a:pt x="1023" y="790"/>
                  </a:lnTo>
                  <a:lnTo>
                    <a:pt x="1023" y="790"/>
                  </a:lnTo>
                  <a:lnTo>
                    <a:pt x="1022" y="792"/>
                  </a:lnTo>
                  <a:lnTo>
                    <a:pt x="1027" y="793"/>
                  </a:lnTo>
                  <a:lnTo>
                    <a:pt x="1031" y="795"/>
                  </a:lnTo>
                  <a:lnTo>
                    <a:pt x="1036" y="797"/>
                  </a:lnTo>
                  <a:lnTo>
                    <a:pt x="1039" y="795"/>
                  </a:lnTo>
                  <a:lnTo>
                    <a:pt x="1040" y="795"/>
                  </a:lnTo>
                  <a:lnTo>
                    <a:pt x="1041" y="792"/>
                  </a:lnTo>
                  <a:lnTo>
                    <a:pt x="1043" y="793"/>
                  </a:lnTo>
                  <a:lnTo>
                    <a:pt x="1049" y="797"/>
                  </a:lnTo>
                  <a:lnTo>
                    <a:pt x="1051" y="795"/>
                  </a:lnTo>
                  <a:lnTo>
                    <a:pt x="1051" y="797"/>
                  </a:lnTo>
                  <a:lnTo>
                    <a:pt x="1055" y="802"/>
                  </a:lnTo>
                  <a:lnTo>
                    <a:pt x="1059" y="802"/>
                  </a:lnTo>
                  <a:lnTo>
                    <a:pt x="1059" y="801"/>
                  </a:lnTo>
                  <a:lnTo>
                    <a:pt x="1063" y="799"/>
                  </a:lnTo>
                  <a:lnTo>
                    <a:pt x="1066" y="802"/>
                  </a:lnTo>
                  <a:lnTo>
                    <a:pt x="1067" y="801"/>
                  </a:lnTo>
                  <a:lnTo>
                    <a:pt x="1067" y="799"/>
                  </a:lnTo>
                  <a:lnTo>
                    <a:pt x="1066" y="795"/>
                  </a:lnTo>
                  <a:lnTo>
                    <a:pt x="1070" y="798"/>
                  </a:lnTo>
                  <a:lnTo>
                    <a:pt x="1074" y="801"/>
                  </a:lnTo>
                  <a:lnTo>
                    <a:pt x="1076" y="802"/>
                  </a:lnTo>
                  <a:lnTo>
                    <a:pt x="1076" y="806"/>
                  </a:lnTo>
                  <a:lnTo>
                    <a:pt x="1078" y="803"/>
                  </a:lnTo>
                  <a:lnTo>
                    <a:pt x="1082" y="802"/>
                  </a:lnTo>
                  <a:lnTo>
                    <a:pt x="1082" y="801"/>
                  </a:lnTo>
                  <a:lnTo>
                    <a:pt x="1079" y="800"/>
                  </a:lnTo>
                  <a:lnTo>
                    <a:pt x="1077" y="799"/>
                  </a:lnTo>
                  <a:lnTo>
                    <a:pt x="1074" y="797"/>
                  </a:lnTo>
                  <a:lnTo>
                    <a:pt x="1073" y="794"/>
                  </a:lnTo>
                  <a:lnTo>
                    <a:pt x="1076" y="792"/>
                  </a:lnTo>
                  <a:lnTo>
                    <a:pt x="1076" y="790"/>
                  </a:lnTo>
                  <a:lnTo>
                    <a:pt x="1074" y="790"/>
                  </a:lnTo>
                  <a:lnTo>
                    <a:pt x="1072" y="790"/>
                  </a:lnTo>
                  <a:lnTo>
                    <a:pt x="1070" y="790"/>
                  </a:lnTo>
                  <a:lnTo>
                    <a:pt x="1073" y="787"/>
                  </a:lnTo>
                  <a:lnTo>
                    <a:pt x="1073" y="787"/>
                  </a:lnTo>
                  <a:lnTo>
                    <a:pt x="1070" y="787"/>
                  </a:lnTo>
                  <a:lnTo>
                    <a:pt x="1068" y="789"/>
                  </a:lnTo>
                  <a:lnTo>
                    <a:pt x="1066" y="789"/>
                  </a:lnTo>
                  <a:lnTo>
                    <a:pt x="1063" y="787"/>
                  </a:lnTo>
                  <a:lnTo>
                    <a:pt x="1064" y="785"/>
                  </a:lnTo>
                  <a:lnTo>
                    <a:pt x="1067" y="784"/>
                  </a:lnTo>
                  <a:lnTo>
                    <a:pt x="1070" y="786"/>
                  </a:lnTo>
                  <a:lnTo>
                    <a:pt x="1072" y="785"/>
                  </a:lnTo>
                  <a:lnTo>
                    <a:pt x="1074" y="786"/>
                  </a:lnTo>
                  <a:lnTo>
                    <a:pt x="1074" y="787"/>
                  </a:lnTo>
                  <a:lnTo>
                    <a:pt x="1077" y="785"/>
                  </a:lnTo>
                  <a:lnTo>
                    <a:pt x="1077" y="784"/>
                  </a:lnTo>
                  <a:lnTo>
                    <a:pt x="1084" y="784"/>
                  </a:lnTo>
                  <a:lnTo>
                    <a:pt x="1084" y="783"/>
                  </a:lnTo>
                  <a:lnTo>
                    <a:pt x="1083" y="783"/>
                  </a:lnTo>
                  <a:lnTo>
                    <a:pt x="1086" y="784"/>
                  </a:lnTo>
                  <a:lnTo>
                    <a:pt x="1093" y="784"/>
                  </a:lnTo>
                  <a:lnTo>
                    <a:pt x="1094" y="781"/>
                  </a:lnTo>
                  <a:lnTo>
                    <a:pt x="1095" y="778"/>
                  </a:lnTo>
                  <a:lnTo>
                    <a:pt x="1096" y="780"/>
                  </a:lnTo>
                  <a:lnTo>
                    <a:pt x="1096" y="782"/>
                  </a:lnTo>
                  <a:lnTo>
                    <a:pt x="1099" y="784"/>
                  </a:lnTo>
                  <a:lnTo>
                    <a:pt x="1095" y="785"/>
                  </a:lnTo>
                  <a:lnTo>
                    <a:pt x="1099" y="786"/>
                  </a:lnTo>
                  <a:lnTo>
                    <a:pt x="1101" y="785"/>
                  </a:lnTo>
                  <a:lnTo>
                    <a:pt x="1103" y="783"/>
                  </a:lnTo>
                  <a:lnTo>
                    <a:pt x="1103" y="782"/>
                  </a:lnTo>
                  <a:lnTo>
                    <a:pt x="1104" y="783"/>
                  </a:lnTo>
                  <a:lnTo>
                    <a:pt x="1107" y="783"/>
                  </a:lnTo>
                  <a:lnTo>
                    <a:pt x="1107" y="782"/>
                  </a:lnTo>
                  <a:lnTo>
                    <a:pt x="1109" y="781"/>
                  </a:lnTo>
                  <a:lnTo>
                    <a:pt x="1109" y="783"/>
                  </a:lnTo>
                  <a:lnTo>
                    <a:pt x="1108" y="784"/>
                  </a:lnTo>
                  <a:lnTo>
                    <a:pt x="1115" y="783"/>
                  </a:lnTo>
                  <a:lnTo>
                    <a:pt x="1120" y="782"/>
                  </a:lnTo>
                  <a:lnTo>
                    <a:pt x="1121" y="783"/>
                  </a:lnTo>
                  <a:lnTo>
                    <a:pt x="1121" y="784"/>
                  </a:lnTo>
                  <a:lnTo>
                    <a:pt x="1120" y="783"/>
                  </a:lnTo>
                  <a:lnTo>
                    <a:pt x="1116" y="783"/>
                  </a:lnTo>
                  <a:lnTo>
                    <a:pt x="1121" y="784"/>
                  </a:lnTo>
                  <a:lnTo>
                    <a:pt x="1127" y="787"/>
                  </a:lnTo>
                  <a:lnTo>
                    <a:pt x="1125" y="785"/>
                  </a:lnTo>
                  <a:lnTo>
                    <a:pt x="1128" y="785"/>
                  </a:lnTo>
                  <a:lnTo>
                    <a:pt x="1127" y="786"/>
                  </a:lnTo>
                  <a:lnTo>
                    <a:pt x="1132" y="789"/>
                  </a:lnTo>
                  <a:lnTo>
                    <a:pt x="1128" y="787"/>
                  </a:lnTo>
                  <a:lnTo>
                    <a:pt x="1129" y="790"/>
                  </a:lnTo>
                  <a:lnTo>
                    <a:pt x="1132" y="791"/>
                  </a:lnTo>
                  <a:lnTo>
                    <a:pt x="1133" y="794"/>
                  </a:lnTo>
                  <a:lnTo>
                    <a:pt x="1134" y="793"/>
                  </a:lnTo>
                  <a:lnTo>
                    <a:pt x="1137" y="793"/>
                  </a:lnTo>
                  <a:lnTo>
                    <a:pt x="1144" y="791"/>
                  </a:lnTo>
                  <a:lnTo>
                    <a:pt x="1144" y="790"/>
                  </a:lnTo>
                  <a:lnTo>
                    <a:pt x="1145" y="790"/>
                  </a:lnTo>
                  <a:lnTo>
                    <a:pt x="1147" y="787"/>
                  </a:lnTo>
                  <a:lnTo>
                    <a:pt x="1151" y="789"/>
                  </a:lnTo>
                  <a:lnTo>
                    <a:pt x="1155" y="791"/>
                  </a:lnTo>
                  <a:lnTo>
                    <a:pt x="1159" y="797"/>
                  </a:lnTo>
                  <a:lnTo>
                    <a:pt x="1161" y="799"/>
                  </a:lnTo>
                  <a:lnTo>
                    <a:pt x="1162" y="800"/>
                  </a:lnTo>
                  <a:lnTo>
                    <a:pt x="1168" y="803"/>
                  </a:lnTo>
                  <a:lnTo>
                    <a:pt x="1169" y="806"/>
                  </a:lnTo>
                  <a:lnTo>
                    <a:pt x="1169" y="811"/>
                  </a:lnTo>
                  <a:lnTo>
                    <a:pt x="1167" y="817"/>
                  </a:lnTo>
                  <a:lnTo>
                    <a:pt x="1167" y="819"/>
                  </a:lnTo>
                  <a:lnTo>
                    <a:pt x="1166" y="821"/>
                  </a:lnTo>
                  <a:lnTo>
                    <a:pt x="1168" y="824"/>
                  </a:lnTo>
                  <a:lnTo>
                    <a:pt x="1169" y="821"/>
                  </a:lnTo>
                  <a:lnTo>
                    <a:pt x="1168" y="819"/>
                  </a:lnTo>
                  <a:lnTo>
                    <a:pt x="1170" y="821"/>
                  </a:lnTo>
                  <a:lnTo>
                    <a:pt x="1171" y="824"/>
                  </a:lnTo>
                  <a:lnTo>
                    <a:pt x="1170" y="825"/>
                  </a:lnTo>
                  <a:lnTo>
                    <a:pt x="1169" y="828"/>
                  </a:lnTo>
                  <a:lnTo>
                    <a:pt x="1171" y="831"/>
                  </a:lnTo>
                  <a:lnTo>
                    <a:pt x="1172" y="835"/>
                  </a:lnTo>
                  <a:lnTo>
                    <a:pt x="1176" y="836"/>
                  </a:lnTo>
                  <a:lnTo>
                    <a:pt x="1174" y="834"/>
                  </a:lnTo>
                  <a:lnTo>
                    <a:pt x="1177" y="835"/>
                  </a:lnTo>
                  <a:lnTo>
                    <a:pt x="1177" y="840"/>
                  </a:lnTo>
                  <a:lnTo>
                    <a:pt x="1180" y="838"/>
                  </a:lnTo>
                  <a:lnTo>
                    <a:pt x="1179" y="841"/>
                  </a:lnTo>
                  <a:lnTo>
                    <a:pt x="1180" y="846"/>
                  </a:lnTo>
                  <a:lnTo>
                    <a:pt x="1181" y="849"/>
                  </a:lnTo>
                  <a:lnTo>
                    <a:pt x="1181" y="850"/>
                  </a:lnTo>
                  <a:lnTo>
                    <a:pt x="1187" y="851"/>
                  </a:lnTo>
                  <a:lnTo>
                    <a:pt x="1189" y="857"/>
                  </a:lnTo>
                  <a:lnTo>
                    <a:pt x="1192" y="859"/>
                  </a:lnTo>
                  <a:lnTo>
                    <a:pt x="1189" y="859"/>
                  </a:lnTo>
                  <a:lnTo>
                    <a:pt x="1192" y="861"/>
                  </a:lnTo>
                  <a:lnTo>
                    <a:pt x="1195" y="861"/>
                  </a:lnTo>
                  <a:lnTo>
                    <a:pt x="1200" y="859"/>
                  </a:lnTo>
                  <a:lnTo>
                    <a:pt x="1202" y="853"/>
                  </a:lnTo>
                  <a:lnTo>
                    <a:pt x="1203" y="852"/>
                  </a:lnTo>
                  <a:lnTo>
                    <a:pt x="1203" y="850"/>
                  </a:lnTo>
                  <a:lnTo>
                    <a:pt x="1204" y="838"/>
                  </a:lnTo>
                  <a:lnTo>
                    <a:pt x="1204" y="836"/>
                  </a:lnTo>
                  <a:lnTo>
                    <a:pt x="1204" y="835"/>
                  </a:lnTo>
                  <a:lnTo>
                    <a:pt x="1203" y="832"/>
                  </a:lnTo>
                  <a:lnTo>
                    <a:pt x="1202" y="831"/>
                  </a:lnTo>
                  <a:lnTo>
                    <a:pt x="1202" y="831"/>
                  </a:lnTo>
                  <a:lnTo>
                    <a:pt x="1201" y="825"/>
                  </a:lnTo>
                  <a:lnTo>
                    <a:pt x="1195" y="814"/>
                  </a:lnTo>
                  <a:lnTo>
                    <a:pt x="1194" y="811"/>
                  </a:lnTo>
                  <a:lnTo>
                    <a:pt x="1194" y="808"/>
                  </a:lnTo>
                  <a:lnTo>
                    <a:pt x="1196" y="810"/>
                  </a:lnTo>
                  <a:lnTo>
                    <a:pt x="1197" y="812"/>
                  </a:lnTo>
                  <a:lnTo>
                    <a:pt x="1196" y="816"/>
                  </a:lnTo>
                  <a:lnTo>
                    <a:pt x="1197" y="818"/>
                  </a:lnTo>
                  <a:lnTo>
                    <a:pt x="1198" y="821"/>
                  </a:lnTo>
                  <a:lnTo>
                    <a:pt x="1197" y="816"/>
                  </a:lnTo>
                  <a:lnTo>
                    <a:pt x="1197" y="810"/>
                  </a:lnTo>
                  <a:lnTo>
                    <a:pt x="1193" y="803"/>
                  </a:lnTo>
                  <a:lnTo>
                    <a:pt x="1191" y="799"/>
                  </a:lnTo>
                  <a:lnTo>
                    <a:pt x="1188" y="793"/>
                  </a:lnTo>
                  <a:lnTo>
                    <a:pt x="1186" y="784"/>
                  </a:lnTo>
                  <a:lnTo>
                    <a:pt x="1185" y="781"/>
                  </a:lnTo>
                  <a:lnTo>
                    <a:pt x="1185" y="773"/>
                  </a:lnTo>
                  <a:lnTo>
                    <a:pt x="1187" y="772"/>
                  </a:lnTo>
                  <a:lnTo>
                    <a:pt x="1185" y="768"/>
                  </a:lnTo>
                  <a:lnTo>
                    <a:pt x="1187" y="769"/>
                  </a:lnTo>
                  <a:lnTo>
                    <a:pt x="1188" y="768"/>
                  </a:lnTo>
                  <a:lnTo>
                    <a:pt x="1187" y="766"/>
                  </a:lnTo>
                  <a:lnTo>
                    <a:pt x="1189" y="764"/>
                  </a:lnTo>
                  <a:lnTo>
                    <a:pt x="1189" y="761"/>
                  </a:lnTo>
                  <a:lnTo>
                    <a:pt x="1193" y="760"/>
                  </a:lnTo>
                  <a:lnTo>
                    <a:pt x="1193" y="759"/>
                  </a:lnTo>
                  <a:lnTo>
                    <a:pt x="1195" y="756"/>
                  </a:lnTo>
                  <a:lnTo>
                    <a:pt x="1194" y="752"/>
                  </a:lnTo>
                  <a:lnTo>
                    <a:pt x="1196" y="755"/>
                  </a:lnTo>
                  <a:lnTo>
                    <a:pt x="1198" y="755"/>
                  </a:lnTo>
                  <a:lnTo>
                    <a:pt x="1198" y="751"/>
                  </a:lnTo>
                  <a:lnTo>
                    <a:pt x="1201" y="751"/>
                  </a:lnTo>
                  <a:lnTo>
                    <a:pt x="1203" y="750"/>
                  </a:lnTo>
                  <a:lnTo>
                    <a:pt x="1205" y="750"/>
                  </a:lnTo>
                  <a:lnTo>
                    <a:pt x="1206" y="746"/>
                  </a:lnTo>
                  <a:lnTo>
                    <a:pt x="1209" y="747"/>
                  </a:lnTo>
                  <a:lnTo>
                    <a:pt x="1211" y="744"/>
                  </a:lnTo>
                  <a:lnTo>
                    <a:pt x="1213" y="743"/>
                  </a:lnTo>
                  <a:lnTo>
                    <a:pt x="1215" y="739"/>
                  </a:lnTo>
                  <a:lnTo>
                    <a:pt x="1222" y="732"/>
                  </a:lnTo>
                  <a:lnTo>
                    <a:pt x="1224" y="731"/>
                  </a:lnTo>
                  <a:lnTo>
                    <a:pt x="1224" y="731"/>
                  </a:lnTo>
                  <a:lnTo>
                    <a:pt x="1230" y="730"/>
                  </a:lnTo>
                  <a:lnTo>
                    <a:pt x="1234" y="729"/>
                  </a:lnTo>
                  <a:lnTo>
                    <a:pt x="1234" y="726"/>
                  </a:lnTo>
                  <a:lnTo>
                    <a:pt x="1234" y="729"/>
                  </a:lnTo>
                  <a:lnTo>
                    <a:pt x="1235" y="726"/>
                  </a:lnTo>
                  <a:lnTo>
                    <a:pt x="1236" y="724"/>
                  </a:lnTo>
                  <a:lnTo>
                    <a:pt x="1239" y="722"/>
                  </a:lnTo>
                  <a:lnTo>
                    <a:pt x="1241" y="720"/>
                  </a:lnTo>
                  <a:lnTo>
                    <a:pt x="1249" y="717"/>
                  </a:lnTo>
                  <a:lnTo>
                    <a:pt x="1252" y="717"/>
                  </a:lnTo>
                  <a:lnTo>
                    <a:pt x="1255" y="715"/>
                  </a:lnTo>
                  <a:lnTo>
                    <a:pt x="1255" y="713"/>
                  </a:lnTo>
                  <a:lnTo>
                    <a:pt x="1253" y="713"/>
                  </a:lnTo>
                  <a:lnTo>
                    <a:pt x="1249" y="715"/>
                  </a:lnTo>
                  <a:lnTo>
                    <a:pt x="1247" y="714"/>
                  </a:lnTo>
                  <a:lnTo>
                    <a:pt x="1246" y="713"/>
                  </a:lnTo>
                  <a:lnTo>
                    <a:pt x="1251" y="713"/>
                  </a:lnTo>
                  <a:lnTo>
                    <a:pt x="1252" y="710"/>
                  </a:lnTo>
                  <a:lnTo>
                    <a:pt x="1251" y="708"/>
                  </a:lnTo>
                  <a:lnTo>
                    <a:pt x="1248" y="706"/>
                  </a:lnTo>
                  <a:lnTo>
                    <a:pt x="1251" y="706"/>
                  </a:lnTo>
                  <a:lnTo>
                    <a:pt x="1254" y="705"/>
                  </a:lnTo>
                  <a:lnTo>
                    <a:pt x="1254" y="707"/>
                  </a:lnTo>
                  <a:lnTo>
                    <a:pt x="1257" y="708"/>
                  </a:lnTo>
                  <a:lnTo>
                    <a:pt x="1260" y="705"/>
                  </a:lnTo>
                  <a:lnTo>
                    <a:pt x="1263" y="704"/>
                  </a:lnTo>
                  <a:lnTo>
                    <a:pt x="1264" y="701"/>
                  </a:lnTo>
                  <a:lnTo>
                    <a:pt x="1263" y="699"/>
                  </a:lnTo>
                  <a:lnTo>
                    <a:pt x="1260" y="699"/>
                  </a:lnTo>
                  <a:lnTo>
                    <a:pt x="1260" y="701"/>
                  </a:lnTo>
                  <a:lnTo>
                    <a:pt x="1260" y="699"/>
                  </a:lnTo>
                  <a:lnTo>
                    <a:pt x="1256" y="698"/>
                  </a:lnTo>
                  <a:lnTo>
                    <a:pt x="1251" y="698"/>
                  </a:lnTo>
                  <a:lnTo>
                    <a:pt x="1249" y="696"/>
                  </a:lnTo>
                  <a:lnTo>
                    <a:pt x="1251" y="693"/>
                  </a:lnTo>
                  <a:lnTo>
                    <a:pt x="1251" y="696"/>
                  </a:lnTo>
                  <a:lnTo>
                    <a:pt x="1253" y="698"/>
                  </a:lnTo>
                  <a:lnTo>
                    <a:pt x="1255" y="696"/>
                  </a:lnTo>
                  <a:lnTo>
                    <a:pt x="1258" y="696"/>
                  </a:lnTo>
                  <a:lnTo>
                    <a:pt x="1257" y="693"/>
                  </a:lnTo>
                  <a:lnTo>
                    <a:pt x="1262" y="696"/>
                  </a:lnTo>
                  <a:lnTo>
                    <a:pt x="1262" y="693"/>
                  </a:lnTo>
                  <a:lnTo>
                    <a:pt x="1260" y="691"/>
                  </a:lnTo>
                  <a:lnTo>
                    <a:pt x="1260" y="689"/>
                  </a:lnTo>
                  <a:lnTo>
                    <a:pt x="1262" y="689"/>
                  </a:lnTo>
                  <a:lnTo>
                    <a:pt x="1263" y="695"/>
                  </a:lnTo>
                  <a:lnTo>
                    <a:pt x="1265" y="700"/>
                  </a:lnTo>
                  <a:lnTo>
                    <a:pt x="1263" y="695"/>
                  </a:lnTo>
                  <a:lnTo>
                    <a:pt x="1260" y="683"/>
                  </a:lnTo>
                  <a:lnTo>
                    <a:pt x="1257" y="683"/>
                  </a:lnTo>
                  <a:lnTo>
                    <a:pt x="1255" y="683"/>
                  </a:lnTo>
                  <a:lnTo>
                    <a:pt x="1256" y="684"/>
                  </a:lnTo>
                  <a:lnTo>
                    <a:pt x="1252" y="681"/>
                  </a:lnTo>
                  <a:lnTo>
                    <a:pt x="1248" y="679"/>
                  </a:lnTo>
                  <a:lnTo>
                    <a:pt x="1246" y="678"/>
                  </a:lnTo>
                  <a:lnTo>
                    <a:pt x="1244" y="678"/>
                  </a:lnTo>
                  <a:lnTo>
                    <a:pt x="1243" y="677"/>
                  </a:lnTo>
                  <a:lnTo>
                    <a:pt x="1246" y="678"/>
                  </a:lnTo>
                  <a:lnTo>
                    <a:pt x="1248" y="677"/>
                  </a:lnTo>
                  <a:lnTo>
                    <a:pt x="1251" y="679"/>
                  </a:lnTo>
                  <a:lnTo>
                    <a:pt x="1253" y="681"/>
                  </a:lnTo>
                  <a:lnTo>
                    <a:pt x="1255" y="682"/>
                  </a:lnTo>
                  <a:lnTo>
                    <a:pt x="1255" y="679"/>
                  </a:lnTo>
                  <a:lnTo>
                    <a:pt x="1253" y="678"/>
                  </a:lnTo>
                  <a:lnTo>
                    <a:pt x="1251" y="675"/>
                  </a:lnTo>
                  <a:lnTo>
                    <a:pt x="1252" y="677"/>
                  </a:lnTo>
                  <a:lnTo>
                    <a:pt x="1255" y="678"/>
                  </a:lnTo>
                  <a:lnTo>
                    <a:pt x="1256" y="675"/>
                  </a:lnTo>
                  <a:lnTo>
                    <a:pt x="1248" y="667"/>
                  </a:lnTo>
                  <a:lnTo>
                    <a:pt x="1247" y="665"/>
                  </a:lnTo>
                  <a:lnTo>
                    <a:pt x="1245" y="663"/>
                  </a:lnTo>
                  <a:lnTo>
                    <a:pt x="1247" y="664"/>
                  </a:lnTo>
                  <a:lnTo>
                    <a:pt x="1249" y="667"/>
                  </a:lnTo>
                  <a:lnTo>
                    <a:pt x="1254" y="671"/>
                  </a:lnTo>
                  <a:lnTo>
                    <a:pt x="1255" y="669"/>
                  </a:lnTo>
                  <a:lnTo>
                    <a:pt x="1256" y="667"/>
                  </a:lnTo>
                  <a:lnTo>
                    <a:pt x="1254" y="666"/>
                  </a:lnTo>
                  <a:lnTo>
                    <a:pt x="1252" y="664"/>
                  </a:lnTo>
                  <a:lnTo>
                    <a:pt x="1247" y="663"/>
                  </a:lnTo>
                  <a:lnTo>
                    <a:pt x="1244" y="661"/>
                  </a:lnTo>
                  <a:lnTo>
                    <a:pt x="1243" y="661"/>
                  </a:lnTo>
                  <a:lnTo>
                    <a:pt x="1243" y="660"/>
                  </a:lnTo>
                  <a:lnTo>
                    <a:pt x="1243" y="657"/>
                  </a:lnTo>
                  <a:lnTo>
                    <a:pt x="1245" y="656"/>
                  </a:lnTo>
                  <a:lnTo>
                    <a:pt x="1245" y="655"/>
                  </a:lnTo>
                  <a:lnTo>
                    <a:pt x="1246" y="654"/>
                  </a:lnTo>
                  <a:lnTo>
                    <a:pt x="1246" y="654"/>
                  </a:lnTo>
                  <a:lnTo>
                    <a:pt x="1245" y="652"/>
                  </a:lnTo>
                  <a:lnTo>
                    <a:pt x="1246" y="653"/>
                  </a:lnTo>
                  <a:lnTo>
                    <a:pt x="1246" y="654"/>
                  </a:lnTo>
                  <a:lnTo>
                    <a:pt x="1246" y="654"/>
                  </a:lnTo>
                  <a:lnTo>
                    <a:pt x="1246" y="654"/>
                  </a:lnTo>
                  <a:lnTo>
                    <a:pt x="1245" y="656"/>
                  </a:lnTo>
                  <a:lnTo>
                    <a:pt x="1243" y="658"/>
                  </a:lnTo>
                  <a:lnTo>
                    <a:pt x="1245" y="660"/>
                  </a:lnTo>
                  <a:lnTo>
                    <a:pt x="1248" y="662"/>
                  </a:lnTo>
                  <a:lnTo>
                    <a:pt x="1248" y="661"/>
                  </a:lnTo>
                  <a:lnTo>
                    <a:pt x="1252" y="663"/>
                  </a:lnTo>
                  <a:lnTo>
                    <a:pt x="1254" y="663"/>
                  </a:lnTo>
                  <a:lnTo>
                    <a:pt x="1253" y="661"/>
                  </a:lnTo>
                  <a:lnTo>
                    <a:pt x="1252" y="658"/>
                  </a:lnTo>
                  <a:lnTo>
                    <a:pt x="1251" y="658"/>
                  </a:lnTo>
                  <a:lnTo>
                    <a:pt x="1251" y="655"/>
                  </a:lnTo>
                  <a:lnTo>
                    <a:pt x="1252" y="658"/>
                  </a:lnTo>
                  <a:lnTo>
                    <a:pt x="1254" y="661"/>
                  </a:lnTo>
                  <a:lnTo>
                    <a:pt x="1253" y="655"/>
                  </a:lnTo>
                  <a:lnTo>
                    <a:pt x="1253" y="647"/>
                  </a:lnTo>
                  <a:lnTo>
                    <a:pt x="1255" y="645"/>
                  </a:lnTo>
                  <a:lnTo>
                    <a:pt x="1255" y="645"/>
                  </a:lnTo>
                  <a:lnTo>
                    <a:pt x="1257" y="643"/>
                  </a:lnTo>
                  <a:lnTo>
                    <a:pt x="1258" y="641"/>
                  </a:lnTo>
                  <a:lnTo>
                    <a:pt x="1261" y="641"/>
                  </a:lnTo>
                  <a:lnTo>
                    <a:pt x="1260" y="644"/>
                  </a:lnTo>
                  <a:lnTo>
                    <a:pt x="1257" y="646"/>
                  </a:lnTo>
                  <a:lnTo>
                    <a:pt x="1257" y="649"/>
                  </a:lnTo>
                  <a:lnTo>
                    <a:pt x="1257" y="649"/>
                  </a:lnTo>
                  <a:lnTo>
                    <a:pt x="1255" y="650"/>
                  </a:lnTo>
                  <a:lnTo>
                    <a:pt x="1256" y="652"/>
                  </a:lnTo>
                  <a:lnTo>
                    <a:pt x="1258" y="654"/>
                  </a:lnTo>
                  <a:lnTo>
                    <a:pt x="1255" y="654"/>
                  </a:lnTo>
                  <a:lnTo>
                    <a:pt x="1258" y="655"/>
                  </a:lnTo>
                  <a:lnTo>
                    <a:pt x="1260" y="657"/>
                  </a:lnTo>
                  <a:lnTo>
                    <a:pt x="1256" y="656"/>
                  </a:lnTo>
                  <a:lnTo>
                    <a:pt x="1256" y="658"/>
                  </a:lnTo>
                  <a:lnTo>
                    <a:pt x="1258" y="662"/>
                  </a:lnTo>
                  <a:lnTo>
                    <a:pt x="1261" y="662"/>
                  </a:lnTo>
                  <a:lnTo>
                    <a:pt x="1262" y="664"/>
                  </a:lnTo>
                  <a:lnTo>
                    <a:pt x="1262" y="667"/>
                  </a:lnTo>
                  <a:lnTo>
                    <a:pt x="1264" y="666"/>
                  </a:lnTo>
                  <a:lnTo>
                    <a:pt x="1264" y="670"/>
                  </a:lnTo>
                  <a:lnTo>
                    <a:pt x="1261" y="675"/>
                  </a:lnTo>
                  <a:lnTo>
                    <a:pt x="1260" y="678"/>
                  </a:lnTo>
                  <a:lnTo>
                    <a:pt x="1261" y="680"/>
                  </a:lnTo>
                  <a:lnTo>
                    <a:pt x="1263" y="674"/>
                  </a:lnTo>
                  <a:lnTo>
                    <a:pt x="1265" y="671"/>
                  </a:lnTo>
                  <a:lnTo>
                    <a:pt x="1272" y="658"/>
                  </a:lnTo>
                  <a:lnTo>
                    <a:pt x="1273" y="658"/>
                  </a:lnTo>
                  <a:lnTo>
                    <a:pt x="1272" y="656"/>
                  </a:lnTo>
                  <a:lnTo>
                    <a:pt x="1271" y="654"/>
                  </a:lnTo>
                  <a:lnTo>
                    <a:pt x="1269" y="648"/>
                  </a:lnTo>
                  <a:lnTo>
                    <a:pt x="1268" y="645"/>
                  </a:lnTo>
                  <a:lnTo>
                    <a:pt x="1265" y="643"/>
                  </a:lnTo>
                  <a:lnTo>
                    <a:pt x="1265" y="640"/>
                  </a:lnTo>
                  <a:lnTo>
                    <a:pt x="1268" y="637"/>
                  </a:lnTo>
                  <a:lnTo>
                    <a:pt x="1271" y="637"/>
                  </a:lnTo>
                  <a:lnTo>
                    <a:pt x="1270" y="637"/>
                  </a:lnTo>
                  <a:lnTo>
                    <a:pt x="1269" y="637"/>
                  </a:lnTo>
                  <a:lnTo>
                    <a:pt x="1266" y="640"/>
                  </a:lnTo>
                  <a:lnTo>
                    <a:pt x="1266" y="643"/>
                  </a:lnTo>
                  <a:lnTo>
                    <a:pt x="1269" y="645"/>
                  </a:lnTo>
                  <a:lnTo>
                    <a:pt x="1271" y="646"/>
                  </a:lnTo>
                  <a:lnTo>
                    <a:pt x="1274" y="647"/>
                  </a:lnTo>
                  <a:lnTo>
                    <a:pt x="1274" y="649"/>
                  </a:lnTo>
                  <a:lnTo>
                    <a:pt x="1277" y="650"/>
                  </a:lnTo>
                  <a:lnTo>
                    <a:pt x="1278" y="648"/>
                  </a:lnTo>
                  <a:lnTo>
                    <a:pt x="1279" y="645"/>
                  </a:lnTo>
                  <a:lnTo>
                    <a:pt x="1281" y="645"/>
                  </a:lnTo>
                  <a:lnTo>
                    <a:pt x="1281" y="641"/>
                  </a:lnTo>
                  <a:lnTo>
                    <a:pt x="1283" y="640"/>
                  </a:lnTo>
                  <a:lnTo>
                    <a:pt x="1285" y="638"/>
                  </a:lnTo>
                  <a:lnTo>
                    <a:pt x="1286" y="636"/>
                  </a:lnTo>
                  <a:lnTo>
                    <a:pt x="1286" y="635"/>
                  </a:lnTo>
                  <a:lnTo>
                    <a:pt x="1287" y="635"/>
                  </a:lnTo>
                  <a:lnTo>
                    <a:pt x="1288" y="629"/>
                  </a:lnTo>
                  <a:lnTo>
                    <a:pt x="1283" y="626"/>
                  </a:lnTo>
                  <a:lnTo>
                    <a:pt x="1286" y="623"/>
                  </a:lnTo>
                  <a:lnTo>
                    <a:pt x="1286" y="623"/>
                  </a:lnTo>
                  <a:lnTo>
                    <a:pt x="1287" y="622"/>
                  </a:lnTo>
                  <a:lnTo>
                    <a:pt x="1288" y="619"/>
                  </a:lnTo>
                  <a:lnTo>
                    <a:pt x="1289" y="615"/>
                  </a:lnTo>
                  <a:lnTo>
                    <a:pt x="1288" y="613"/>
                  </a:lnTo>
                  <a:lnTo>
                    <a:pt x="1289" y="615"/>
                  </a:lnTo>
                  <a:lnTo>
                    <a:pt x="1289" y="619"/>
                  </a:lnTo>
                  <a:lnTo>
                    <a:pt x="1287" y="622"/>
                  </a:lnTo>
                  <a:lnTo>
                    <a:pt x="1290" y="621"/>
                  </a:lnTo>
                  <a:lnTo>
                    <a:pt x="1292" y="618"/>
                  </a:lnTo>
                  <a:lnTo>
                    <a:pt x="1303" y="614"/>
                  </a:lnTo>
                  <a:lnTo>
                    <a:pt x="1309" y="613"/>
                  </a:lnTo>
                  <a:lnTo>
                    <a:pt x="1315" y="612"/>
                  </a:lnTo>
                  <a:lnTo>
                    <a:pt x="1316" y="613"/>
                  </a:lnTo>
                  <a:lnTo>
                    <a:pt x="1320" y="612"/>
                  </a:lnTo>
                  <a:lnTo>
                    <a:pt x="1322" y="611"/>
                  </a:lnTo>
                  <a:lnTo>
                    <a:pt x="1323" y="605"/>
                  </a:lnTo>
                  <a:lnTo>
                    <a:pt x="1325" y="606"/>
                  </a:lnTo>
                  <a:lnTo>
                    <a:pt x="1325" y="610"/>
                  </a:lnTo>
                  <a:lnTo>
                    <a:pt x="1329" y="609"/>
                  </a:lnTo>
                  <a:lnTo>
                    <a:pt x="1333" y="606"/>
                  </a:lnTo>
                  <a:lnTo>
                    <a:pt x="1333" y="609"/>
                  </a:lnTo>
                  <a:lnTo>
                    <a:pt x="1335" y="609"/>
                  </a:lnTo>
                  <a:lnTo>
                    <a:pt x="1339" y="607"/>
                  </a:lnTo>
                  <a:lnTo>
                    <a:pt x="1341" y="606"/>
                  </a:lnTo>
                  <a:lnTo>
                    <a:pt x="1342" y="607"/>
                  </a:lnTo>
                  <a:lnTo>
                    <a:pt x="1342" y="604"/>
                  </a:lnTo>
                  <a:lnTo>
                    <a:pt x="1342" y="602"/>
                  </a:lnTo>
                  <a:lnTo>
                    <a:pt x="1339" y="601"/>
                  </a:lnTo>
                  <a:lnTo>
                    <a:pt x="1341" y="603"/>
                  </a:lnTo>
                  <a:lnTo>
                    <a:pt x="1342" y="603"/>
                  </a:lnTo>
                  <a:lnTo>
                    <a:pt x="1342" y="605"/>
                  </a:lnTo>
                  <a:lnTo>
                    <a:pt x="1339" y="606"/>
                  </a:lnTo>
                  <a:lnTo>
                    <a:pt x="1337" y="606"/>
                  </a:lnTo>
                  <a:lnTo>
                    <a:pt x="1335" y="605"/>
                  </a:lnTo>
                  <a:lnTo>
                    <a:pt x="1333" y="600"/>
                  </a:lnTo>
                  <a:lnTo>
                    <a:pt x="1331" y="597"/>
                  </a:lnTo>
                  <a:lnTo>
                    <a:pt x="1328" y="597"/>
                  </a:lnTo>
                  <a:lnTo>
                    <a:pt x="1330" y="594"/>
                  </a:lnTo>
                  <a:lnTo>
                    <a:pt x="1332" y="592"/>
                  </a:lnTo>
                  <a:lnTo>
                    <a:pt x="1330" y="588"/>
                  </a:lnTo>
                  <a:lnTo>
                    <a:pt x="1332" y="584"/>
                  </a:lnTo>
                  <a:lnTo>
                    <a:pt x="1332" y="584"/>
                  </a:lnTo>
                  <a:lnTo>
                    <a:pt x="1337" y="578"/>
                  </a:lnTo>
                  <a:lnTo>
                    <a:pt x="1339" y="573"/>
                  </a:lnTo>
                  <a:lnTo>
                    <a:pt x="1342" y="570"/>
                  </a:lnTo>
                  <a:lnTo>
                    <a:pt x="1342" y="572"/>
                  </a:lnTo>
                  <a:lnTo>
                    <a:pt x="1345" y="573"/>
                  </a:lnTo>
                  <a:lnTo>
                    <a:pt x="1345" y="570"/>
                  </a:lnTo>
                  <a:lnTo>
                    <a:pt x="1343" y="569"/>
                  </a:lnTo>
                  <a:lnTo>
                    <a:pt x="1346" y="567"/>
                  </a:lnTo>
                  <a:lnTo>
                    <a:pt x="1345" y="570"/>
                  </a:lnTo>
                  <a:lnTo>
                    <a:pt x="1348" y="571"/>
                  </a:lnTo>
                  <a:lnTo>
                    <a:pt x="1348" y="568"/>
                  </a:lnTo>
                  <a:lnTo>
                    <a:pt x="1348" y="571"/>
                  </a:lnTo>
                  <a:lnTo>
                    <a:pt x="1349" y="571"/>
                  </a:lnTo>
                  <a:lnTo>
                    <a:pt x="1350" y="568"/>
                  </a:lnTo>
                  <a:lnTo>
                    <a:pt x="1352" y="569"/>
                  </a:lnTo>
                  <a:lnTo>
                    <a:pt x="1355" y="567"/>
                  </a:lnTo>
                  <a:lnTo>
                    <a:pt x="1356" y="563"/>
                  </a:lnTo>
                  <a:lnTo>
                    <a:pt x="1356" y="561"/>
                  </a:lnTo>
                  <a:lnTo>
                    <a:pt x="1358" y="559"/>
                  </a:lnTo>
                  <a:lnTo>
                    <a:pt x="1358" y="561"/>
                  </a:lnTo>
                  <a:lnTo>
                    <a:pt x="1363" y="564"/>
                  </a:lnTo>
                  <a:lnTo>
                    <a:pt x="1362" y="561"/>
                  </a:lnTo>
                  <a:lnTo>
                    <a:pt x="1367" y="560"/>
                  </a:lnTo>
                  <a:lnTo>
                    <a:pt x="1368" y="561"/>
                  </a:lnTo>
                  <a:lnTo>
                    <a:pt x="1371" y="560"/>
                  </a:lnTo>
                  <a:lnTo>
                    <a:pt x="1373" y="560"/>
                  </a:lnTo>
                  <a:lnTo>
                    <a:pt x="1376" y="558"/>
                  </a:lnTo>
                  <a:lnTo>
                    <a:pt x="1379" y="556"/>
                  </a:lnTo>
                  <a:lnTo>
                    <a:pt x="1382" y="556"/>
                  </a:lnTo>
                  <a:lnTo>
                    <a:pt x="1383" y="553"/>
                  </a:lnTo>
                  <a:lnTo>
                    <a:pt x="1382" y="550"/>
                  </a:lnTo>
                  <a:lnTo>
                    <a:pt x="1381" y="549"/>
                  </a:lnTo>
                  <a:lnTo>
                    <a:pt x="1381" y="549"/>
                  </a:lnTo>
                  <a:lnTo>
                    <a:pt x="1382" y="550"/>
                  </a:lnTo>
                  <a:lnTo>
                    <a:pt x="1384" y="551"/>
                  </a:lnTo>
                  <a:lnTo>
                    <a:pt x="1388" y="550"/>
                  </a:lnTo>
                  <a:lnTo>
                    <a:pt x="1390" y="549"/>
                  </a:lnTo>
                  <a:lnTo>
                    <a:pt x="1393" y="550"/>
                  </a:lnTo>
                  <a:lnTo>
                    <a:pt x="1394" y="549"/>
                  </a:lnTo>
                  <a:lnTo>
                    <a:pt x="1394" y="546"/>
                  </a:lnTo>
                  <a:lnTo>
                    <a:pt x="1397" y="544"/>
                  </a:lnTo>
                  <a:lnTo>
                    <a:pt x="1396" y="546"/>
                  </a:lnTo>
                  <a:lnTo>
                    <a:pt x="1398" y="547"/>
                  </a:lnTo>
                  <a:lnTo>
                    <a:pt x="1400" y="547"/>
                  </a:lnTo>
                  <a:lnTo>
                    <a:pt x="1408" y="543"/>
                  </a:lnTo>
                  <a:lnTo>
                    <a:pt x="1414" y="541"/>
                  </a:lnTo>
                  <a:lnTo>
                    <a:pt x="1416" y="538"/>
                  </a:lnTo>
                  <a:lnTo>
                    <a:pt x="1416" y="536"/>
                  </a:lnTo>
                  <a:lnTo>
                    <a:pt x="1414" y="533"/>
                  </a:lnTo>
                  <a:lnTo>
                    <a:pt x="1418" y="538"/>
                  </a:lnTo>
                  <a:lnTo>
                    <a:pt x="1420" y="537"/>
                  </a:lnTo>
                  <a:lnTo>
                    <a:pt x="1420" y="538"/>
                  </a:lnTo>
                  <a:lnTo>
                    <a:pt x="1413" y="544"/>
                  </a:lnTo>
                  <a:lnTo>
                    <a:pt x="1414" y="546"/>
                  </a:lnTo>
                  <a:lnTo>
                    <a:pt x="1417" y="545"/>
                  </a:lnTo>
                  <a:lnTo>
                    <a:pt x="1419" y="545"/>
                  </a:lnTo>
                  <a:lnTo>
                    <a:pt x="1422" y="545"/>
                  </a:lnTo>
                  <a:lnTo>
                    <a:pt x="1427" y="545"/>
                  </a:lnTo>
                  <a:lnTo>
                    <a:pt x="1433" y="545"/>
                  </a:lnTo>
                  <a:lnTo>
                    <a:pt x="1430" y="546"/>
                  </a:lnTo>
                  <a:lnTo>
                    <a:pt x="1427" y="546"/>
                  </a:lnTo>
                  <a:lnTo>
                    <a:pt x="1422" y="549"/>
                  </a:lnTo>
                  <a:lnTo>
                    <a:pt x="1423" y="552"/>
                  </a:lnTo>
                  <a:lnTo>
                    <a:pt x="1422" y="552"/>
                  </a:lnTo>
                  <a:lnTo>
                    <a:pt x="1422" y="551"/>
                  </a:lnTo>
                  <a:lnTo>
                    <a:pt x="1419" y="549"/>
                  </a:lnTo>
                  <a:lnTo>
                    <a:pt x="1419" y="546"/>
                  </a:lnTo>
                  <a:lnTo>
                    <a:pt x="1416" y="547"/>
                  </a:lnTo>
                  <a:lnTo>
                    <a:pt x="1414" y="549"/>
                  </a:lnTo>
                  <a:lnTo>
                    <a:pt x="1403" y="554"/>
                  </a:lnTo>
                  <a:lnTo>
                    <a:pt x="1400" y="558"/>
                  </a:lnTo>
                  <a:lnTo>
                    <a:pt x="1403" y="556"/>
                  </a:lnTo>
                  <a:lnTo>
                    <a:pt x="1400" y="558"/>
                  </a:lnTo>
                  <a:lnTo>
                    <a:pt x="1400" y="556"/>
                  </a:lnTo>
                  <a:lnTo>
                    <a:pt x="1397" y="559"/>
                  </a:lnTo>
                  <a:lnTo>
                    <a:pt x="1394" y="561"/>
                  </a:lnTo>
                  <a:lnTo>
                    <a:pt x="1398" y="560"/>
                  </a:lnTo>
                  <a:lnTo>
                    <a:pt x="1396" y="562"/>
                  </a:lnTo>
                  <a:lnTo>
                    <a:pt x="1394" y="566"/>
                  </a:lnTo>
                  <a:lnTo>
                    <a:pt x="1394" y="571"/>
                  </a:lnTo>
                  <a:lnTo>
                    <a:pt x="1397" y="573"/>
                  </a:lnTo>
                  <a:lnTo>
                    <a:pt x="1397" y="571"/>
                  </a:lnTo>
                  <a:lnTo>
                    <a:pt x="1402" y="576"/>
                  </a:lnTo>
                  <a:lnTo>
                    <a:pt x="1405" y="576"/>
                  </a:lnTo>
                  <a:lnTo>
                    <a:pt x="1406" y="573"/>
                  </a:lnTo>
                  <a:lnTo>
                    <a:pt x="1409" y="573"/>
                  </a:lnTo>
                  <a:lnTo>
                    <a:pt x="1410" y="573"/>
                  </a:lnTo>
                  <a:lnTo>
                    <a:pt x="1411" y="570"/>
                  </a:lnTo>
                  <a:lnTo>
                    <a:pt x="1415" y="569"/>
                  </a:lnTo>
                  <a:lnTo>
                    <a:pt x="1416" y="567"/>
                  </a:lnTo>
                  <a:lnTo>
                    <a:pt x="1418" y="564"/>
                  </a:lnTo>
                  <a:lnTo>
                    <a:pt x="1420" y="562"/>
                  </a:lnTo>
                  <a:lnTo>
                    <a:pt x="1420" y="562"/>
                  </a:lnTo>
                  <a:lnTo>
                    <a:pt x="1422" y="559"/>
                  </a:lnTo>
                  <a:lnTo>
                    <a:pt x="1424" y="560"/>
                  </a:lnTo>
                  <a:lnTo>
                    <a:pt x="1426" y="556"/>
                  </a:lnTo>
                  <a:lnTo>
                    <a:pt x="1425" y="560"/>
                  </a:lnTo>
                  <a:lnTo>
                    <a:pt x="1428" y="561"/>
                  </a:lnTo>
                  <a:lnTo>
                    <a:pt x="1431" y="559"/>
                  </a:lnTo>
                  <a:lnTo>
                    <a:pt x="1430" y="556"/>
                  </a:lnTo>
                  <a:lnTo>
                    <a:pt x="1432" y="558"/>
                  </a:lnTo>
                  <a:lnTo>
                    <a:pt x="1434" y="558"/>
                  </a:lnTo>
                  <a:lnTo>
                    <a:pt x="1435" y="556"/>
                  </a:lnTo>
                  <a:lnTo>
                    <a:pt x="1439" y="556"/>
                  </a:lnTo>
                  <a:lnTo>
                    <a:pt x="1447" y="553"/>
                  </a:lnTo>
                  <a:lnTo>
                    <a:pt x="1451" y="552"/>
                  </a:lnTo>
                  <a:lnTo>
                    <a:pt x="1457" y="549"/>
                  </a:lnTo>
                  <a:lnTo>
                    <a:pt x="1459" y="550"/>
                  </a:lnTo>
                  <a:lnTo>
                    <a:pt x="1465" y="545"/>
                  </a:lnTo>
                  <a:lnTo>
                    <a:pt x="1461" y="546"/>
                  </a:lnTo>
                  <a:lnTo>
                    <a:pt x="1459" y="545"/>
                  </a:lnTo>
                  <a:lnTo>
                    <a:pt x="1462" y="544"/>
                  </a:lnTo>
                  <a:lnTo>
                    <a:pt x="1460" y="542"/>
                  </a:lnTo>
                  <a:lnTo>
                    <a:pt x="1460" y="541"/>
                  </a:lnTo>
                  <a:lnTo>
                    <a:pt x="1459" y="539"/>
                  </a:lnTo>
                  <a:lnTo>
                    <a:pt x="1456" y="541"/>
                  </a:lnTo>
                  <a:lnTo>
                    <a:pt x="1453" y="539"/>
                  </a:lnTo>
                  <a:lnTo>
                    <a:pt x="1452" y="536"/>
                  </a:lnTo>
                  <a:lnTo>
                    <a:pt x="1450" y="538"/>
                  </a:lnTo>
                  <a:lnTo>
                    <a:pt x="1447" y="541"/>
                  </a:lnTo>
                  <a:lnTo>
                    <a:pt x="1444" y="541"/>
                  </a:lnTo>
                  <a:lnTo>
                    <a:pt x="1441" y="541"/>
                  </a:lnTo>
                  <a:lnTo>
                    <a:pt x="1443" y="539"/>
                  </a:lnTo>
                  <a:lnTo>
                    <a:pt x="1440" y="538"/>
                  </a:lnTo>
                  <a:lnTo>
                    <a:pt x="1434" y="537"/>
                  </a:lnTo>
                  <a:lnTo>
                    <a:pt x="1432" y="536"/>
                  </a:lnTo>
                  <a:lnTo>
                    <a:pt x="1430" y="537"/>
                  </a:lnTo>
                  <a:lnTo>
                    <a:pt x="1426" y="536"/>
                  </a:lnTo>
                  <a:lnTo>
                    <a:pt x="1424" y="535"/>
                  </a:lnTo>
                  <a:lnTo>
                    <a:pt x="1424" y="534"/>
                  </a:lnTo>
                  <a:lnTo>
                    <a:pt x="1427" y="532"/>
                  </a:lnTo>
                  <a:lnTo>
                    <a:pt x="1425" y="532"/>
                  </a:lnTo>
                  <a:lnTo>
                    <a:pt x="1419" y="530"/>
                  </a:lnTo>
                  <a:lnTo>
                    <a:pt x="1416" y="529"/>
                  </a:lnTo>
                  <a:lnTo>
                    <a:pt x="1415" y="524"/>
                  </a:lnTo>
                  <a:lnTo>
                    <a:pt x="1413" y="521"/>
                  </a:lnTo>
                  <a:lnTo>
                    <a:pt x="1413" y="519"/>
                  </a:lnTo>
                  <a:lnTo>
                    <a:pt x="1413" y="516"/>
                  </a:lnTo>
                  <a:lnTo>
                    <a:pt x="1410" y="516"/>
                  </a:lnTo>
                  <a:lnTo>
                    <a:pt x="1408" y="517"/>
                  </a:lnTo>
                  <a:lnTo>
                    <a:pt x="1406" y="516"/>
                  </a:lnTo>
                  <a:lnTo>
                    <a:pt x="1409" y="515"/>
                  </a:lnTo>
                  <a:lnTo>
                    <a:pt x="1411" y="511"/>
                  </a:lnTo>
                  <a:lnTo>
                    <a:pt x="1414" y="506"/>
                  </a:lnTo>
                  <a:lnTo>
                    <a:pt x="1413" y="503"/>
                  </a:lnTo>
                  <a:lnTo>
                    <a:pt x="1410" y="502"/>
                  </a:lnTo>
                  <a:lnTo>
                    <a:pt x="1408" y="503"/>
                  </a:lnTo>
                  <a:lnTo>
                    <a:pt x="1402" y="507"/>
                  </a:lnTo>
                  <a:lnTo>
                    <a:pt x="1401" y="504"/>
                  </a:lnTo>
                  <a:lnTo>
                    <a:pt x="1399" y="501"/>
                  </a:lnTo>
                  <a:lnTo>
                    <a:pt x="1397" y="501"/>
                  </a:lnTo>
                  <a:lnTo>
                    <a:pt x="1391" y="499"/>
                  </a:lnTo>
                  <a:lnTo>
                    <a:pt x="1388" y="500"/>
                  </a:lnTo>
                  <a:lnTo>
                    <a:pt x="1386" y="500"/>
                  </a:lnTo>
                  <a:lnTo>
                    <a:pt x="1385" y="500"/>
                  </a:lnTo>
                  <a:lnTo>
                    <a:pt x="1391" y="498"/>
                  </a:lnTo>
                  <a:lnTo>
                    <a:pt x="1393" y="498"/>
                  </a:lnTo>
                  <a:lnTo>
                    <a:pt x="1399" y="498"/>
                  </a:lnTo>
                  <a:lnTo>
                    <a:pt x="1401" y="499"/>
                  </a:lnTo>
                  <a:lnTo>
                    <a:pt x="1407" y="500"/>
                  </a:lnTo>
                  <a:lnTo>
                    <a:pt x="1413" y="496"/>
                  </a:lnTo>
                  <a:lnTo>
                    <a:pt x="1415" y="494"/>
                  </a:lnTo>
                  <a:lnTo>
                    <a:pt x="1418" y="493"/>
                  </a:lnTo>
                  <a:lnTo>
                    <a:pt x="1422" y="491"/>
                  </a:lnTo>
                  <a:lnTo>
                    <a:pt x="1422" y="489"/>
                  </a:lnTo>
                  <a:lnTo>
                    <a:pt x="1419" y="486"/>
                  </a:lnTo>
                  <a:lnTo>
                    <a:pt x="1418" y="486"/>
                  </a:lnTo>
                  <a:lnTo>
                    <a:pt x="1419" y="486"/>
                  </a:lnTo>
                  <a:lnTo>
                    <a:pt x="1417" y="485"/>
                  </a:lnTo>
                  <a:lnTo>
                    <a:pt x="1418" y="485"/>
                  </a:lnTo>
                  <a:lnTo>
                    <a:pt x="1422" y="484"/>
                  </a:lnTo>
                  <a:lnTo>
                    <a:pt x="1418" y="482"/>
                  </a:lnTo>
                  <a:lnTo>
                    <a:pt x="1413" y="479"/>
                  </a:lnTo>
                  <a:lnTo>
                    <a:pt x="1408" y="478"/>
                  </a:lnTo>
                  <a:lnTo>
                    <a:pt x="1405" y="477"/>
                  </a:lnTo>
                  <a:lnTo>
                    <a:pt x="1394" y="478"/>
                  </a:lnTo>
                  <a:lnTo>
                    <a:pt x="1386" y="481"/>
                  </a:lnTo>
                  <a:lnTo>
                    <a:pt x="1382" y="483"/>
                  </a:lnTo>
                  <a:lnTo>
                    <a:pt x="1373" y="486"/>
                  </a:lnTo>
                  <a:lnTo>
                    <a:pt x="1367" y="489"/>
                  </a:lnTo>
                  <a:lnTo>
                    <a:pt x="1363" y="492"/>
                  </a:lnTo>
                  <a:lnTo>
                    <a:pt x="1357" y="494"/>
                  </a:lnTo>
                  <a:lnTo>
                    <a:pt x="1349" y="501"/>
                  </a:lnTo>
                  <a:lnTo>
                    <a:pt x="1347" y="504"/>
                  </a:lnTo>
                  <a:lnTo>
                    <a:pt x="1345" y="507"/>
                  </a:lnTo>
                  <a:lnTo>
                    <a:pt x="1341" y="509"/>
                  </a:lnTo>
                  <a:lnTo>
                    <a:pt x="1338" y="515"/>
                  </a:lnTo>
                  <a:lnTo>
                    <a:pt x="1335" y="517"/>
                  </a:lnTo>
                  <a:lnTo>
                    <a:pt x="1329" y="519"/>
                  </a:lnTo>
                  <a:lnTo>
                    <a:pt x="1326" y="520"/>
                  </a:lnTo>
                  <a:lnTo>
                    <a:pt x="1324" y="521"/>
                  </a:lnTo>
                  <a:lnTo>
                    <a:pt x="1328" y="519"/>
                  </a:lnTo>
                  <a:lnTo>
                    <a:pt x="1330" y="517"/>
                  </a:lnTo>
                  <a:lnTo>
                    <a:pt x="1333" y="515"/>
                  </a:lnTo>
                  <a:lnTo>
                    <a:pt x="1334" y="512"/>
                  </a:lnTo>
                  <a:lnTo>
                    <a:pt x="1337" y="510"/>
                  </a:lnTo>
                  <a:lnTo>
                    <a:pt x="1339" y="507"/>
                  </a:lnTo>
                  <a:lnTo>
                    <a:pt x="1342" y="506"/>
                  </a:lnTo>
                  <a:lnTo>
                    <a:pt x="1343" y="503"/>
                  </a:lnTo>
                  <a:lnTo>
                    <a:pt x="1345" y="500"/>
                  </a:lnTo>
                  <a:lnTo>
                    <a:pt x="1345" y="498"/>
                  </a:lnTo>
                  <a:lnTo>
                    <a:pt x="1342" y="495"/>
                  </a:lnTo>
                  <a:lnTo>
                    <a:pt x="1341" y="495"/>
                  </a:lnTo>
                  <a:lnTo>
                    <a:pt x="1335" y="494"/>
                  </a:lnTo>
                  <a:lnTo>
                    <a:pt x="1333" y="494"/>
                  </a:lnTo>
                  <a:lnTo>
                    <a:pt x="1330" y="493"/>
                  </a:lnTo>
                  <a:lnTo>
                    <a:pt x="1328" y="492"/>
                  </a:lnTo>
                  <a:lnTo>
                    <a:pt x="1329" y="492"/>
                  </a:lnTo>
                  <a:lnTo>
                    <a:pt x="1337" y="493"/>
                  </a:lnTo>
                  <a:lnTo>
                    <a:pt x="1339" y="494"/>
                  </a:lnTo>
                  <a:lnTo>
                    <a:pt x="1342" y="495"/>
                  </a:lnTo>
                  <a:lnTo>
                    <a:pt x="1347" y="498"/>
                  </a:lnTo>
                  <a:lnTo>
                    <a:pt x="1349" y="495"/>
                  </a:lnTo>
                  <a:lnTo>
                    <a:pt x="1354" y="490"/>
                  </a:lnTo>
                  <a:lnTo>
                    <a:pt x="1355" y="487"/>
                  </a:lnTo>
                  <a:lnTo>
                    <a:pt x="1358" y="484"/>
                  </a:lnTo>
                  <a:lnTo>
                    <a:pt x="1364" y="479"/>
                  </a:lnTo>
                  <a:lnTo>
                    <a:pt x="1365" y="479"/>
                  </a:lnTo>
                  <a:lnTo>
                    <a:pt x="1368" y="477"/>
                  </a:lnTo>
                  <a:lnTo>
                    <a:pt x="1376" y="476"/>
                  </a:lnTo>
                  <a:lnTo>
                    <a:pt x="1379" y="475"/>
                  </a:lnTo>
                  <a:lnTo>
                    <a:pt x="1381" y="470"/>
                  </a:lnTo>
                  <a:lnTo>
                    <a:pt x="1383" y="467"/>
                  </a:lnTo>
                  <a:lnTo>
                    <a:pt x="1384" y="465"/>
                  </a:lnTo>
                  <a:lnTo>
                    <a:pt x="1386" y="464"/>
                  </a:lnTo>
                  <a:lnTo>
                    <a:pt x="1388" y="461"/>
                  </a:lnTo>
                  <a:lnTo>
                    <a:pt x="1390" y="461"/>
                  </a:lnTo>
                  <a:lnTo>
                    <a:pt x="1394" y="461"/>
                  </a:lnTo>
                  <a:lnTo>
                    <a:pt x="1398" y="459"/>
                  </a:lnTo>
                  <a:lnTo>
                    <a:pt x="1400" y="460"/>
                  </a:lnTo>
                  <a:lnTo>
                    <a:pt x="1406" y="459"/>
                  </a:lnTo>
                  <a:lnTo>
                    <a:pt x="1413" y="460"/>
                  </a:lnTo>
                  <a:lnTo>
                    <a:pt x="1418" y="459"/>
                  </a:lnTo>
                  <a:lnTo>
                    <a:pt x="1422" y="460"/>
                  </a:lnTo>
                  <a:lnTo>
                    <a:pt x="1426" y="459"/>
                  </a:lnTo>
                  <a:lnTo>
                    <a:pt x="1432" y="460"/>
                  </a:lnTo>
                  <a:lnTo>
                    <a:pt x="1433" y="460"/>
                  </a:lnTo>
                  <a:lnTo>
                    <a:pt x="1435" y="460"/>
                  </a:lnTo>
                  <a:lnTo>
                    <a:pt x="1437" y="459"/>
                  </a:lnTo>
                  <a:lnTo>
                    <a:pt x="1453" y="461"/>
                  </a:lnTo>
                  <a:lnTo>
                    <a:pt x="1454" y="462"/>
                  </a:lnTo>
                  <a:lnTo>
                    <a:pt x="1458" y="461"/>
                  </a:lnTo>
                  <a:lnTo>
                    <a:pt x="1458" y="461"/>
                  </a:lnTo>
                  <a:lnTo>
                    <a:pt x="1454" y="462"/>
                  </a:lnTo>
                  <a:lnTo>
                    <a:pt x="1460" y="461"/>
                  </a:lnTo>
                  <a:lnTo>
                    <a:pt x="1466" y="461"/>
                  </a:lnTo>
                  <a:lnTo>
                    <a:pt x="1471" y="461"/>
                  </a:lnTo>
                  <a:lnTo>
                    <a:pt x="1476" y="460"/>
                  </a:lnTo>
                  <a:lnTo>
                    <a:pt x="1479" y="460"/>
                  </a:lnTo>
                  <a:lnTo>
                    <a:pt x="1480" y="459"/>
                  </a:lnTo>
                  <a:lnTo>
                    <a:pt x="1482" y="457"/>
                  </a:lnTo>
                  <a:lnTo>
                    <a:pt x="1485" y="456"/>
                  </a:lnTo>
                  <a:lnTo>
                    <a:pt x="1487" y="452"/>
                  </a:lnTo>
                  <a:lnTo>
                    <a:pt x="1490" y="451"/>
                  </a:lnTo>
                  <a:lnTo>
                    <a:pt x="1492" y="451"/>
                  </a:lnTo>
                  <a:lnTo>
                    <a:pt x="1494" y="447"/>
                  </a:lnTo>
                  <a:lnTo>
                    <a:pt x="1496" y="444"/>
                  </a:lnTo>
                  <a:lnTo>
                    <a:pt x="1497" y="442"/>
                  </a:lnTo>
                  <a:lnTo>
                    <a:pt x="1503" y="441"/>
                  </a:lnTo>
                  <a:lnTo>
                    <a:pt x="1505" y="441"/>
                  </a:lnTo>
                  <a:lnTo>
                    <a:pt x="1511" y="439"/>
                  </a:lnTo>
                  <a:lnTo>
                    <a:pt x="1513" y="439"/>
                  </a:lnTo>
                  <a:lnTo>
                    <a:pt x="1516" y="438"/>
                  </a:lnTo>
                  <a:lnTo>
                    <a:pt x="1519" y="439"/>
                  </a:lnTo>
                  <a:lnTo>
                    <a:pt x="1521" y="438"/>
                  </a:lnTo>
                  <a:lnTo>
                    <a:pt x="1527" y="434"/>
                  </a:lnTo>
                  <a:lnTo>
                    <a:pt x="1533" y="431"/>
                  </a:lnTo>
                  <a:lnTo>
                    <a:pt x="1538" y="426"/>
                  </a:lnTo>
                  <a:lnTo>
                    <a:pt x="1537" y="423"/>
                  </a:lnTo>
                  <a:lnTo>
                    <a:pt x="1531" y="421"/>
                  </a:lnTo>
                  <a:close/>
                  <a:moveTo>
                    <a:pt x="688" y="144"/>
                  </a:moveTo>
                  <a:lnTo>
                    <a:pt x="685" y="143"/>
                  </a:lnTo>
                  <a:lnTo>
                    <a:pt x="682" y="147"/>
                  </a:lnTo>
                  <a:lnTo>
                    <a:pt x="682" y="149"/>
                  </a:lnTo>
                  <a:lnTo>
                    <a:pt x="685" y="149"/>
                  </a:lnTo>
                  <a:lnTo>
                    <a:pt x="688" y="148"/>
                  </a:lnTo>
                  <a:lnTo>
                    <a:pt x="685" y="150"/>
                  </a:lnTo>
                  <a:lnTo>
                    <a:pt x="688" y="151"/>
                  </a:lnTo>
                  <a:lnTo>
                    <a:pt x="685" y="151"/>
                  </a:lnTo>
                  <a:lnTo>
                    <a:pt x="683" y="152"/>
                  </a:lnTo>
                  <a:lnTo>
                    <a:pt x="681" y="152"/>
                  </a:lnTo>
                  <a:lnTo>
                    <a:pt x="677" y="152"/>
                  </a:lnTo>
                  <a:lnTo>
                    <a:pt x="675" y="152"/>
                  </a:lnTo>
                  <a:lnTo>
                    <a:pt x="673" y="150"/>
                  </a:lnTo>
                  <a:lnTo>
                    <a:pt x="669" y="149"/>
                  </a:lnTo>
                  <a:lnTo>
                    <a:pt x="667" y="150"/>
                  </a:lnTo>
                  <a:lnTo>
                    <a:pt x="664" y="150"/>
                  </a:lnTo>
                  <a:lnTo>
                    <a:pt x="662" y="149"/>
                  </a:lnTo>
                  <a:lnTo>
                    <a:pt x="660" y="152"/>
                  </a:lnTo>
                  <a:lnTo>
                    <a:pt x="657" y="153"/>
                  </a:lnTo>
                  <a:lnTo>
                    <a:pt x="657" y="154"/>
                  </a:lnTo>
                  <a:lnTo>
                    <a:pt x="660" y="157"/>
                  </a:lnTo>
                  <a:lnTo>
                    <a:pt x="663" y="157"/>
                  </a:lnTo>
                  <a:lnTo>
                    <a:pt x="665" y="160"/>
                  </a:lnTo>
                  <a:lnTo>
                    <a:pt x="662" y="160"/>
                  </a:lnTo>
                  <a:lnTo>
                    <a:pt x="659" y="160"/>
                  </a:lnTo>
                  <a:lnTo>
                    <a:pt x="657" y="161"/>
                  </a:lnTo>
                  <a:lnTo>
                    <a:pt x="655" y="164"/>
                  </a:lnTo>
                  <a:lnTo>
                    <a:pt x="651" y="165"/>
                  </a:lnTo>
                  <a:lnTo>
                    <a:pt x="649" y="167"/>
                  </a:lnTo>
                  <a:lnTo>
                    <a:pt x="647" y="168"/>
                  </a:lnTo>
                  <a:lnTo>
                    <a:pt x="643" y="169"/>
                  </a:lnTo>
                  <a:lnTo>
                    <a:pt x="641" y="171"/>
                  </a:lnTo>
                  <a:lnTo>
                    <a:pt x="639" y="171"/>
                  </a:lnTo>
                  <a:lnTo>
                    <a:pt x="637" y="169"/>
                  </a:lnTo>
                  <a:lnTo>
                    <a:pt x="640" y="168"/>
                  </a:lnTo>
                  <a:lnTo>
                    <a:pt x="642" y="168"/>
                  </a:lnTo>
                  <a:lnTo>
                    <a:pt x="643" y="165"/>
                  </a:lnTo>
                  <a:lnTo>
                    <a:pt x="647" y="164"/>
                  </a:lnTo>
                  <a:lnTo>
                    <a:pt x="649" y="161"/>
                  </a:lnTo>
                  <a:lnTo>
                    <a:pt x="651" y="159"/>
                  </a:lnTo>
                  <a:lnTo>
                    <a:pt x="652" y="157"/>
                  </a:lnTo>
                  <a:lnTo>
                    <a:pt x="650" y="153"/>
                  </a:lnTo>
                  <a:lnTo>
                    <a:pt x="647" y="153"/>
                  </a:lnTo>
                  <a:lnTo>
                    <a:pt x="645" y="154"/>
                  </a:lnTo>
                  <a:lnTo>
                    <a:pt x="641" y="156"/>
                  </a:lnTo>
                  <a:lnTo>
                    <a:pt x="639" y="158"/>
                  </a:lnTo>
                  <a:lnTo>
                    <a:pt x="637" y="159"/>
                  </a:lnTo>
                  <a:lnTo>
                    <a:pt x="635" y="161"/>
                  </a:lnTo>
                  <a:lnTo>
                    <a:pt x="635" y="164"/>
                  </a:lnTo>
                  <a:lnTo>
                    <a:pt x="633" y="167"/>
                  </a:lnTo>
                  <a:lnTo>
                    <a:pt x="630" y="168"/>
                  </a:lnTo>
                  <a:lnTo>
                    <a:pt x="628" y="168"/>
                  </a:lnTo>
                  <a:lnTo>
                    <a:pt x="624" y="167"/>
                  </a:lnTo>
                  <a:lnTo>
                    <a:pt x="620" y="166"/>
                  </a:lnTo>
                  <a:lnTo>
                    <a:pt x="616" y="166"/>
                  </a:lnTo>
                  <a:lnTo>
                    <a:pt x="614" y="166"/>
                  </a:lnTo>
                  <a:lnTo>
                    <a:pt x="611" y="165"/>
                  </a:lnTo>
                  <a:lnTo>
                    <a:pt x="609" y="164"/>
                  </a:lnTo>
                  <a:lnTo>
                    <a:pt x="613" y="162"/>
                  </a:lnTo>
                  <a:lnTo>
                    <a:pt x="615" y="162"/>
                  </a:lnTo>
                  <a:lnTo>
                    <a:pt x="618" y="161"/>
                  </a:lnTo>
                  <a:lnTo>
                    <a:pt x="620" y="159"/>
                  </a:lnTo>
                  <a:lnTo>
                    <a:pt x="620" y="156"/>
                  </a:lnTo>
                  <a:lnTo>
                    <a:pt x="622" y="154"/>
                  </a:lnTo>
                  <a:lnTo>
                    <a:pt x="624" y="153"/>
                  </a:lnTo>
                  <a:lnTo>
                    <a:pt x="628" y="151"/>
                  </a:lnTo>
                  <a:lnTo>
                    <a:pt x="626" y="148"/>
                  </a:lnTo>
                  <a:lnTo>
                    <a:pt x="624" y="148"/>
                  </a:lnTo>
                  <a:lnTo>
                    <a:pt x="621" y="145"/>
                  </a:lnTo>
                  <a:lnTo>
                    <a:pt x="624" y="144"/>
                  </a:lnTo>
                  <a:lnTo>
                    <a:pt x="626" y="144"/>
                  </a:lnTo>
                  <a:lnTo>
                    <a:pt x="629" y="145"/>
                  </a:lnTo>
                  <a:lnTo>
                    <a:pt x="632" y="147"/>
                  </a:lnTo>
                  <a:lnTo>
                    <a:pt x="638" y="147"/>
                  </a:lnTo>
                  <a:lnTo>
                    <a:pt x="640" y="144"/>
                  </a:lnTo>
                  <a:lnTo>
                    <a:pt x="638" y="142"/>
                  </a:lnTo>
                  <a:lnTo>
                    <a:pt x="634" y="141"/>
                  </a:lnTo>
                  <a:lnTo>
                    <a:pt x="632" y="140"/>
                  </a:lnTo>
                  <a:lnTo>
                    <a:pt x="629" y="139"/>
                  </a:lnTo>
                  <a:lnTo>
                    <a:pt x="617" y="139"/>
                  </a:lnTo>
                  <a:lnTo>
                    <a:pt x="616" y="142"/>
                  </a:lnTo>
                  <a:lnTo>
                    <a:pt x="614" y="142"/>
                  </a:lnTo>
                  <a:lnTo>
                    <a:pt x="611" y="141"/>
                  </a:lnTo>
                  <a:lnTo>
                    <a:pt x="608" y="142"/>
                  </a:lnTo>
                  <a:lnTo>
                    <a:pt x="605" y="142"/>
                  </a:lnTo>
                  <a:lnTo>
                    <a:pt x="603" y="142"/>
                  </a:lnTo>
                  <a:lnTo>
                    <a:pt x="599" y="141"/>
                  </a:lnTo>
                  <a:lnTo>
                    <a:pt x="597" y="141"/>
                  </a:lnTo>
                  <a:lnTo>
                    <a:pt x="595" y="141"/>
                  </a:lnTo>
                  <a:lnTo>
                    <a:pt x="595" y="144"/>
                  </a:lnTo>
                  <a:lnTo>
                    <a:pt x="592" y="144"/>
                  </a:lnTo>
                  <a:lnTo>
                    <a:pt x="591" y="147"/>
                  </a:lnTo>
                  <a:lnTo>
                    <a:pt x="589" y="144"/>
                  </a:lnTo>
                  <a:lnTo>
                    <a:pt x="587" y="142"/>
                  </a:lnTo>
                  <a:lnTo>
                    <a:pt x="588" y="139"/>
                  </a:lnTo>
                  <a:lnTo>
                    <a:pt x="590" y="139"/>
                  </a:lnTo>
                  <a:lnTo>
                    <a:pt x="594" y="139"/>
                  </a:lnTo>
                  <a:lnTo>
                    <a:pt x="596" y="140"/>
                  </a:lnTo>
                  <a:lnTo>
                    <a:pt x="598" y="136"/>
                  </a:lnTo>
                  <a:lnTo>
                    <a:pt x="601" y="137"/>
                  </a:lnTo>
                  <a:lnTo>
                    <a:pt x="604" y="137"/>
                  </a:lnTo>
                  <a:lnTo>
                    <a:pt x="609" y="135"/>
                  </a:lnTo>
                  <a:lnTo>
                    <a:pt x="612" y="134"/>
                  </a:lnTo>
                  <a:lnTo>
                    <a:pt x="615" y="134"/>
                  </a:lnTo>
                  <a:lnTo>
                    <a:pt x="617" y="132"/>
                  </a:lnTo>
                  <a:lnTo>
                    <a:pt x="623" y="132"/>
                  </a:lnTo>
                  <a:lnTo>
                    <a:pt x="625" y="132"/>
                  </a:lnTo>
                  <a:lnTo>
                    <a:pt x="631" y="131"/>
                  </a:lnTo>
                  <a:lnTo>
                    <a:pt x="634" y="128"/>
                  </a:lnTo>
                  <a:lnTo>
                    <a:pt x="637" y="128"/>
                  </a:lnTo>
                  <a:lnTo>
                    <a:pt x="639" y="127"/>
                  </a:lnTo>
                  <a:lnTo>
                    <a:pt x="642" y="125"/>
                  </a:lnTo>
                  <a:lnTo>
                    <a:pt x="645" y="125"/>
                  </a:lnTo>
                  <a:lnTo>
                    <a:pt x="648" y="124"/>
                  </a:lnTo>
                  <a:lnTo>
                    <a:pt x="650" y="123"/>
                  </a:lnTo>
                  <a:lnTo>
                    <a:pt x="654" y="123"/>
                  </a:lnTo>
                  <a:lnTo>
                    <a:pt x="657" y="122"/>
                  </a:lnTo>
                  <a:lnTo>
                    <a:pt x="660" y="120"/>
                  </a:lnTo>
                  <a:lnTo>
                    <a:pt x="663" y="123"/>
                  </a:lnTo>
                  <a:lnTo>
                    <a:pt x="666" y="124"/>
                  </a:lnTo>
                  <a:lnTo>
                    <a:pt x="668" y="124"/>
                  </a:lnTo>
                  <a:lnTo>
                    <a:pt x="672" y="124"/>
                  </a:lnTo>
                  <a:lnTo>
                    <a:pt x="668" y="126"/>
                  </a:lnTo>
                  <a:lnTo>
                    <a:pt x="666" y="127"/>
                  </a:lnTo>
                  <a:lnTo>
                    <a:pt x="660" y="130"/>
                  </a:lnTo>
                  <a:lnTo>
                    <a:pt x="658" y="130"/>
                  </a:lnTo>
                  <a:lnTo>
                    <a:pt x="657" y="130"/>
                  </a:lnTo>
                  <a:lnTo>
                    <a:pt x="655" y="132"/>
                  </a:lnTo>
                  <a:lnTo>
                    <a:pt x="651" y="134"/>
                  </a:lnTo>
                  <a:lnTo>
                    <a:pt x="655" y="136"/>
                  </a:lnTo>
                  <a:lnTo>
                    <a:pt x="657" y="136"/>
                  </a:lnTo>
                  <a:lnTo>
                    <a:pt x="657" y="136"/>
                  </a:lnTo>
                  <a:lnTo>
                    <a:pt x="660" y="137"/>
                  </a:lnTo>
                  <a:lnTo>
                    <a:pt x="663" y="137"/>
                  </a:lnTo>
                  <a:lnTo>
                    <a:pt x="666" y="137"/>
                  </a:lnTo>
                  <a:lnTo>
                    <a:pt x="668" y="137"/>
                  </a:lnTo>
                  <a:lnTo>
                    <a:pt x="674" y="137"/>
                  </a:lnTo>
                  <a:lnTo>
                    <a:pt x="676" y="137"/>
                  </a:lnTo>
                  <a:lnTo>
                    <a:pt x="680" y="136"/>
                  </a:lnTo>
                  <a:lnTo>
                    <a:pt x="682" y="135"/>
                  </a:lnTo>
                  <a:lnTo>
                    <a:pt x="683" y="132"/>
                  </a:lnTo>
                  <a:lnTo>
                    <a:pt x="686" y="131"/>
                  </a:lnTo>
                  <a:lnTo>
                    <a:pt x="689" y="130"/>
                  </a:lnTo>
                  <a:lnTo>
                    <a:pt x="689" y="132"/>
                  </a:lnTo>
                  <a:lnTo>
                    <a:pt x="686" y="135"/>
                  </a:lnTo>
                  <a:lnTo>
                    <a:pt x="689" y="135"/>
                  </a:lnTo>
                  <a:lnTo>
                    <a:pt x="692" y="134"/>
                  </a:lnTo>
                  <a:lnTo>
                    <a:pt x="690" y="137"/>
                  </a:lnTo>
                  <a:lnTo>
                    <a:pt x="689" y="140"/>
                  </a:lnTo>
                  <a:lnTo>
                    <a:pt x="685" y="141"/>
                  </a:lnTo>
                  <a:lnTo>
                    <a:pt x="688" y="144"/>
                  </a:lnTo>
                  <a:close/>
                  <a:moveTo>
                    <a:pt x="805" y="218"/>
                  </a:moveTo>
                  <a:lnTo>
                    <a:pt x="803" y="217"/>
                  </a:lnTo>
                  <a:lnTo>
                    <a:pt x="800" y="217"/>
                  </a:lnTo>
                  <a:lnTo>
                    <a:pt x="797" y="216"/>
                  </a:lnTo>
                  <a:lnTo>
                    <a:pt x="793" y="214"/>
                  </a:lnTo>
                  <a:lnTo>
                    <a:pt x="787" y="214"/>
                  </a:lnTo>
                  <a:lnTo>
                    <a:pt x="785" y="216"/>
                  </a:lnTo>
                  <a:lnTo>
                    <a:pt x="782" y="217"/>
                  </a:lnTo>
                  <a:lnTo>
                    <a:pt x="777" y="218"/>
                  </a:lnTo>
                  <a:lnTo>
                    <a:pt x="774" y="220"/>
                  </a:lnTo>
                  <a:lnTo>
                    <a:pt x="773" y="224"/>
                  </a:lnTo>
                  <a:lnTo>
                    <a:pt x="778" y="219"/>
                  </a:lnTo>
                  <a:lnTo>
                    <a:pt x="780" y="219"/>
                  </a:lnTo>
                  <a:lnTo>
                    <a:pt x="784" y="218"/>
                  </a:lnTo>
                  <a:lnTo>
                    <a:pt x="786" y="218"/>
                  </a:lnTo>
                  <a:lnTo>
                    <a:pt x="790" y="216"/>
                  </a:lnTo>
                  <a:lnTo>
                    <a:pt x="794" y="216"/>
                  </a:lnTo>
                  <a:lnTo>
                    <a:pt x="797" y="217"/>
                  </a:lnTo>
                  <a:lnTo>
                    <a:pt x="792" y="217"/>
                  </a:lnTo>
                  <a:lnTo>
                    <a:pt x="788" y="218"/>
                  </a:lnTo>
                  <a:lnTo>
                    <a:pt x="794" y="218"/>
                  </a:lnTo>
                  <a:lnTo>
                    <a:pt x="797" y="219"/>
                  </a:lnTo>
                  <a:lnTo>
                    <a:pt x="794" y="220"/>
                  </a:lnTo>
                  <a:lnTo>
                    <a:pt x="788" y="220"/>
                  </a:lnTo>
                  <a:lnTo>
                    <a:pt x="786" y="221"/>
                  </a:lnTo>
                  <a:lnTo>
                    <a:pt x="788" y="221"/>
                  </a:lnTo>
                  <a:lnTo>
                    <a:pt x="786" y="222"/>
                  </a:lnTo>
                  <a:lnTo>
                    <a:pt x="790" y="221"/>
                  </a:lnTo>
                  <a:lnTo>
                    <a:pt x="792" y="222"/>
                  </a:lnTo>
                  <a:lnTo>
                    <a:pt x="794" y="221"/>
                  </a:lnTo>
                  <a:lnTo>
                    <a:pt x="794" y="221"/>
                  </a:lnTo>
                  <a:lnTo>
                    <a:pt x="790" y="225"/>
                  </a:lnTo>
                  <a:lnTo>
                    <a:pt x="786" y="225"/>
                  </a:lnTo>
                  <a:lnTo>
                    <a:pt x="782" y="224"/>
                  </a:lnTo>
                  <a:lnTo>
                    <a:pt x="776" y="228"/>
                  </a:lnTo>
                  <a:lnTo>
                    <a:pt x="773" y="229"/>
                  </a:lnTo>
                  <a:lnTo>
                    <a:pt x="773" y="231"/>
                  </a:lnTo>
                  <a:lnTo>
                    <a:pt x="765" y="238"/>
                  </a:lnTo>
                  <a:lnTo>
                    <a:pt x="762" y="241"/>
                  </a:lnTo>
                  <a:lnTo>
                    <a:pt x="760" y="243"/>
                  </a:lnTo>
                  <a:lnTo>
                    <a:pt x="757" y="244"/>
                  </a:lnTo>
                  <a:lnTo>
                    <a:pt x="753" y="245"/>
                  </a:lnTo>
                  <a:lnTo>
                    <a:pt x="753" y="244"/>
                  </a:lnTo>
                  <a:lnTo>
                    <a:pt x="750" y="244"/>
                  </a:lnTo>
                  <a:lnTo>
                    <a:pt x="745" y="246"/>
                  </a:lnTo>
                  <a:lnTo>
                    <a:pt x="744" y="247"/>
                  </a:lnTo>
                  <a:lnTo>
                    <a:pt x="743" y="248"/>
                  </a:lnTo>
                  <a:lnTo>
                    <a:pt x="744" y="251"/>
                  </a:lnTo>
                  <a:lnTo>
                    <a:pt x="742" y="253"/>
                  </a:lnTo>
                  <a:lnTo>
                    <a:pt x="740" y="254"/>
                  </a:lnTo>
                  <a:lnTo>
                    <a:pt x="736" y="253"/>
                  </a:lnTo>
                  <a:lnTo>
                    <a:pt x="731" y="255"/>
                  </a:lnTo>
                  <a:lnTo>
                    <a:pt x="728" y="255"/>
                  </a:lnTo>
                  <a:lnTo>
                    <a:pt x="720" y="256"/>
                  </a:lnTo>
                  <a:lnTo>
                    <a:pt x="715" y="256"/>
                  </a:lnTo>
                  <a:lnTo>
                    <a:pt x="712" y="256"/>
                  </a:lnTo>
                  <a:lnTo>
                    <a:pt x="707" y="254"/>
                  </a:lnTo>
                  <a:lnTo>
                    <a:pt x="705" y="253"/>
                  </a:lnTo>
                  <a:lnTo>
                    <a:pt x="697" y="252"/>
                  </a:lnTo>
                  <a:lnTo>
                    <a:pt x="694" y="251"/>
                  </a:lnTo>
                  <a:lnTo>
                    <a:pt x="692" y="248"/>
                  </a:lnTo>
                  <a:lnTo>
                    <a:pt x="689" y="247"/>
                  </a:lnTo>
                  <a:lnTo>
                    <a:pt x="692" y="247"/>
                  </a:lnTo>
                  <a:lnTo>
                    <a:pt x="695" y="250"/>
                  </a:lnTo>
                  <a:lnTo>
                    <a:pt x="698" y="250"/>
                  </a:lnTo>
                  <a:lnTo>
                    <a:pt x="701" y="248"/>
                  </a:lnTo>
                  <a:lnTo>
                    <a:pt x="703" y="246"/>
                  </a:lnTo>
                  <a:lnTo>
                    <a:pt x="706" y="247"/>
                  </a:lnTo>
                  <a:lnTo>
                    <a:pt x="709" y="247"/>
                  </a:lnTo>
                  <a:lnTo>
                    <a:pt x="711" y="248"/>
                  </a:lnTo>
                  <a:lnTo>
                    <a:pt x="715" y="247"/>
                  </a:lnTo>
                  <a:lnTo>
                    <a:pt x="714" y="244"/>
                  </a:lnTo>
                  <a:lnTo>
                    <a:pt x="716" y="243"/>
                  </a:lnTo>
                  <a:lnTo>
                    <a:pt x="717" y="241"/>
                  </a:lnTo>
                  <a:lnTo>
                    <a:pt x="719" y="237"/>
                  </a:lnTo>
                  <a:lnTo>
                    <a:pt x="722" y="237"/>
                  </a:lnTo>
                  <a:lnTo>
                    <a:pt x="725" y="238"/>
                  </a:lnTo>
                  <a:lnTo>
                    <a:pt x="727" y="237"/>
                  </a:lnTo>
                  <a:lnTo>
                    <a:pt x="731" y="235"/>
                  </a:lnTo>
                  <a:lnTo>
                    <a:pt x="728" y="231"/>
                  </a:lnTo>
                  <a:lnTo>
                    <a:pt x="726" y="230"/>
                  </a:lnTo>
                  <a:lnTo>
                    <a:pt x="724" y="228"/>
                  </a:lnTo>
                  <a:lnTo>
                    <a:pt x="722" y="227"/>
                  </a:lnTo>
                  <a:lnTo>
                    <a:pt x="722" y="225"/>
                  </a:lnTo>
                  <a:lnTo>
                    <a:pt x="722" y="222"/>
                  </a:lnTo>
                  <a:lnTo>
                    <a:pt x="718" y="222"/>
                  </a:lnTo>
                  <a:lnTo>
                    <a:pt x="712" y="219"/>
                  </a:lnTo>
                  <a:lnTo>
                    <a:pt x="712" y="216"/>
                  </a:lnTo>
                  <a:lnTo>
                    <a:pt x="714" y="216"/>
                  </a:lnTo>
                  <a:lnTo>
                    <a:pt x="716" y="218"/>
                  </a:lnTo>
                  <a:lnTo>
                    <a:pt x="722" y="219"/>
                  </a:lnTo>
                  <a:lnTo>
                    <a:pt x="724" y="221"/>
                  </a:lnTo>
                  <a:lnTo>
                    <a:pt x="727" y="222"/>
                  </a:lnTo>
                  <a:lnTo>
                    <a:pt x="729" y="225"/>
                  </a:lnTo>
                  <a:lnTo>
                    <a:pt x="733" y="225"/>
                  </a:lnTo>
                  <a:lnTo>
                    <a:pt x="735" y="224"/>
                  </a:lnTo>
                  <a:lnTo>
                    <a:pt x="736" y="224"/>
                  </a:lnTo>
                  <a:lnTo>
                    <a:pt x="737" y="227"/>
                  </a:lnTo>
                  <a:lnTo>
                    <a:pt x="741" y="228"/>
                  </a:lnTo>
                  <a:lnTo>
                    <a:pt x="743" y="230"/>
                  </a:lnTo>
                  <a:lnTo>
                    <a:pt x="745" y="231"/>
                  </a:lnTo>
                  <a:lnTo>
                    <a:pt x="749" y="233"/>
                  </a:lnTo>
                  <a:lnTo>
                    <a:pt x="751" y="231"/>
                  </a:lnTo>
                  <a:lnTo>
                    <a:pt x="752" y="231"/>
                  </a:lnTo>
                  <a:lnTo>
                    <a:pt x="760" y="231"/>
                  </a:lnTo>
                  <a:lnTo>
                    <a:pt x="762" y="229"/>
                  </a:lnTo>
                  <a:lnTo>
                    <a:pt x="768" y="226"/>
                  </a:lnTo>
                  <a:lnTo>
                    <a:pt x="770" y="225"/>
                  </a:lnTo>
                  <a:lnTo>
                    <a:pt x="776" y="217"/>
                  </a:lnTo>
                  <a:lnTo>
                    <a:pt x="778" y="214"/>
                  </a:lnTo>
                  <a:lnTo>
                    <a:pt x="784" y="212"/>
                  </a:lnTo>
                  <a:lnTo>
                    <a:pt x="787" y="212"/>
                  </a:lnTo>
                  <a:lnTo>
                    <a:pt x="794" y="212"/>
                  </a:lnTo>
                  <a:lnTo>
                    <a:pt x="800" y="213"/>
                  </a:lnTo>
                  <a:lnTo>
                    <a:pt x="808" y="214"/>
                  </a:lnTo>
                  <a:lnTo>
                    <a:pt x="808" y="218"/>
                  </a:lnTo>
                  <a:lnTo>
                    <a:pt x="805" y="218"/>
                  </a:lnTo>
                  <a:close/>
                  <a:moveTo>
                    <a:pt x="981" y="448"/>
                  </a:moveTo>
                  <a:lnTo>
                    <a:pt x="981" y="451"/>
                  </a:lnTo>
                  <a:lnTo>
                    <a:pt x="982" y="453"/>
                  </a:lnTo>
                  <a:lnTo>
                    <a:pt x="981" y="453"/>
                  </a:lnTo>
                  <a:lnTo>
                    <a:pt x="979" y="451"/>
                  </a:lnTo>
                  <a:lnTo>
                    <a:pt x="978" y="455"/>
                  </a:lnTo>
                  <a:lnTo>
                    <a:pt x="978" y="457"/>
                  </a:lnTo>
                  <a:lnTo>
                    <a:pt x="975" y="458"/>
                  </a:lnTo>
                  <a:lnTo>
                    <a:pt x="973" y="456"/>
                  </a:lnTo>
                  <a:lnTo>
                    <a:pt x="973" y="453"/>
                  </a:lnTo>
                  <a:lnTo>
                    <a:pt x="973" y="451"/>
                  </a:lnTo>
                  <a:lnTo>
                    <a:pt x="973" y="448"/>
                  </a:lnTo>
                  <a:lnTo>
                    <a:pt x="973" y="445"/>
                  </a:lnTo>
                  <a:lnTo>
                    <a:pt x="975" y="442"/>
                  </a:lnTo>
                  <a:lnTo>
                    <a:pt x="976" y="440"/>
                  </a:lnTo>
                  <a:lnTo>
                    <a:pt x="973" y="441"/>
                  </a:lnTo>
                  <a:lnTo>
                    <a:pt x="975" y="439"/>
                  </a:lnTo>
                  <a:lnTo>
                    <a:pt x="976" y="435"/>
                  </a:lnTo>
                  <a:lnTo>
                    <a:pt x="973" y="434"/>
                  </a:lnTo>
                  <a:lnTo>
                    <a:pt x="971" y="436"/>
                  </a:lnTo>
                  <a:lnTo>
                    <a:pt x="968" y="439"/>
                  </a:lnTo>
                  <a:lnTo>
                    <a:pt x="968" y="436"/>
                  </a:lnTo>
                  <a:lnTo>
                    <a:pt x="968" y="433"/>
                  </a:lnTo>
                  <a:lnTo>
                    <a:pt x="968" y="431"/>
                  </a:lnTo>
                  <a:lnTo>
                    <a:pt x="966" y="427"/>
                  </a:lnTo>
                  <a:lnTo>
                    <a:pt x="964" y="429"/>
                  </a:lnTo>
                  <a:lnTo>
                    <a:pt x="965" y="426"/>
                  </a:lnTo>
                  <a:lnTo>
                    <a:pt x="962" y="427"/>
                  </a:lnTo>
                  <a:lnTo>
                    <a:pt x="961" y="431"/>
                  </a:lnTo>
                  <a:lnTo>
                    <a:pt x="958" y="430"/>
                  </a:lnTo>
                  <a:lnTo>
                    <a:pt x="958" y="429"/>
                  </a:lnTo>
                  <a:lnTo>
                    <a:pt x="957" y="425"/>
                  </a:lnTo>
                  <a:lnTo>
                    <a:pt x="955" y="423"/>
                  </a:lnTo>
                  <a:lnTo>
                    <a:pt x="953" y="421"/>
                  </a:lnTo>
                  <a:lnTo>
                    <a:pt x="950" y="418"/>
                  </a:lnTo>
                  <a:lnTo>
                    <a:pt x="948" y="416"/>
                  </a:lnTo>
                  <a:lnTo>
                    <a:pt x="947" y="413"/>
                  </a:lnTo>
                  <a:lnTo>
                    <a:pt x="949" y="410"/>
                  </a:lnTo>
                  <a:lnTo>
                    <a:pt x="951" y="409"/>
                  </a:lnTo>
                  <a:lnTo>
                    <a:pt x="950" y="409"/>
                  </a:lnTo>
                  <a:lnTo>
                    <a:pt x="947" y="409"/>
                  </a:lnTo>
                  <a:lnTo>
                    <a:pt x="945" y="409"/>
                  </a:lnTo>
                  <a:lnTo>
                    <a:pt x="941" y="407"/>
                  </a:lnTo>
                  <a:lnTo>
                    <a:pt x="942" y="405"/>
                  </a:lnTo>
                  <a:lnTo>
                    <a:pt x="944" y="401"/>
                  </a:lnTo>
                  <a:lnTo>
                    <a:pt x="945" y="399"/>
                  </a:lnTo>
                  <a:lnTo>
                    <a:pt x="945" y="397"/>
                  </a:lnTo>
                  <a:lnTo>
                    <a:pt x="946" y="393"/>
                  </a:lnTo>
                  <a:lnTo>
                    <a:pt x="947" y="393"/>
                  </a:lnTo>
                  <a:lnTo>
                    <a:pt x="950" y="395"/>
                  </a:lnTo>
                  <a:lnTo>
                    <a:pt x="953" y="393"/>
                  </a:lnTo>
                  <a:lnTo>
                    <a:pt x="955" y="395"/>
                  </a:lnTo>
                  <a:lnTo>
                    <a:pt x="958" y="396"/>
                  </a:lnTo>
                  <a:lnTo>
                    <a:pt x="959" y="396"/>
                  </a:lnTo>
                  <a:lnTo>
                    <a:pt x="957" y="395"/>
                  </a:lnTo>
                  <a:lnTo>
                    <a:pt x="955" y="392"/>
                  </a:lnTo>
                  <a:lnTo>
                    <a:pt x="956" y="389"/>
                  </a:lnTo>
                  <a:lnTo>
                    <a:pt x="957" y="387"/>
                  </a:lnTo>
                  <a:lnTo>
                    <a:pt x="958" y="383"/>
                  </a:lnTo>
                  <a:lnTo>
                    <a:pt x="959" y="384"/>
                  </a:lnTo>
                  <a:lnTo>
                    <a:pt x="959" y="387"/>
                  </a:lnTo>
                  <a:lnTo>
                    <a:pt x="956" y="389"/>
                  </a:lnTo>
                  <a:lnTo>
                    <a:pt x="957" y="392"/>
                  </a:lnTo>
                  <a:lnTo>
                    <a:pt x="959" y="391"/>
                  </a:lnTo>
                  <a:lnTo>
                    <a:pt x="963" y="390"/>
                  </a:lnTo>
                  <a:lnTo>
                    <a:pt x="962" y="391"/>
                  </a:lnTo>
                  <a:lnTo>
                    <a:pt x="959" y="392"/>
                  </a:lnTo>
                  <a:lnTo>
                    <a:pt x="959" y="393"/>
                  </a:lnTo>
                  <a:lnTo>
                    <a:pt x="961" y="396"/>
                  </a:lnTo>
                  <a:lnTo>
                    <a:pt x="961" y="397"/>
                  </a:lnTo>
                  <a:lnTo>
                    <a:pt x="962" y="399"/>
                  </a:lnTo>
                  <a:lnTo>
                    <a:pt x="963" y="401"/>
                  </a:lnTo>
                  <a:lnTo>
                    <a:pt x="964" y="405"/>
                  </a:lnTo>
                  <a:lnTo>
                    <a:pt x="966" y="407"/>
                  </a:lnTo>
                  <a:lnTo>
                    <a:pt x="968" y="410"/>
                  </a:lnTo>
                  <a:lnTo>
                    <a:pt x="966" y="410"/>
                  </a:lnTo>
                  <a:lnTo>
                    <a:pt x="967" y="414"/>
                  </a:lnTo>
                  <a:lnTo>
                    <a:pt x="970" y="416"/>
                  </a:lnTo>
                  <a:lnTo>
                    <a:pt x="971" y="419"/>
                  </a:lnTo>
                  <a:lnTo>
                    <a:pt x="972" y="422"/>
                  </a:lnTo>
                  <a:lnTo>
                    <a:pt x="972" y="424"/>
                  </a:lnTo>
                  <a:lnTo>
                    <a:pt x="973" y="427"/>
                  </a:lnTo>
                  <a:lnTo>
                    <a:pt x="974" y="430"/>
                  </a:lnTo>
                  <a:lnTo>
                    <a:pt x="976" y="432"/>
                  </a:lnTo>
                  <a:lnTo>
                    <a:pt x="976" y="434"/>
                  </a:lnTo>
                  <a:lnTo>
                    <a:pt x="979" y="438"/>
                  </a:lnTo>
                  <a:lnTo>
                    <a:pt x="980" y="440"/>
                  </a:lnTo>
                  <a:lnTo>
                    <a:pt x="982" y="442"/>
                  </a:lnTo>
                  <a:lnTo>
                    <a:pt x="981" y="445"/>
                  </a:lnTo>
                  <a:lnTo>
                    <a:pt x="981" y="448"/>
                  </a:lnTo>
                  <a:close/>
                  <a:moveTo>
                    <a:pt x="1152" y="575"/>
                  </a:moveTo>
                  <a:lnTo>
                    <a:pt x="1152" y="573"/>
                  </a:lnTo>
                  <a:lnTo>
                    <a:pt x="1151" y="571"/>
                  </a:lnTo>
                  <a:lnTo>
                    <a:pt x="1153" y="569"/>
                  </a:lnTo>
                  <a:lnTo>
                    <a:pt x="1157" y="567"/>
                  </a:lnTo>
                  <a:lnTo>
                    <a:pt x="1158" y="564"/>
                  </a:lnTo>
                  <a:lnTo>
                    <a:pt x="1160" y="561"/>
                  </a:lnTo>
                  <a:lnTo>
                    <a:pt x="1160" y="560"/>
                  </a:lnTo>
                  <a:lnTo>
                    <a:pt x="1160" y="556"/>
                  </a:lnTo>
                  <a:lnTo>
                    <a:pt x="1160" y="554"/>
                  </a:lnTo>
                  <a:lnTo>
                    <a:pt x="1158" y="552"/>
                  </a:lnTo>
                  <a:lnTo>
                    <a:pt x="1160" y="551"/>
                  </a:lnTo>
                  <a:lnTo>
                    <a:pt x="1159" y="549"/>
                  </a:lnTo>
                  <a:lnTo>
                    <a:pt x="1157" y="545"/>
                  </a:lnTo>
                  <a:lnTo>
                    <a:pt x="1154" y="544"/>
                  </a:lnTo>
                  <a:lnTo>
                    <a:pt x="1151" y="543"/>
                  </a:lnTo>
                  <a:lnTo>
                    <a:pt x="1149" y="542"/>
                  </a:lnTo>
                  <a:lnTo>
                    <a:pt x="1146" y="541"/>
                  </a:lnTo>
                  <a:lnTo>
                    <a:pt x="1145" y="541"/>
                  </a:lnTo>
                  <a:lnTo>
                    <a:pt x="1142" y="539"/>
                  </a:lnTo>
                  <a:lnTo>
                    <a:pt x="1140" y="538"/>
                  </a:lnTo>
                  <a:lnTo>
                    <a:pt x="1137" y="541"/>
                  </a:lnTo>
                  <a:lnTo>
                    <a:pt x="1135" y="542"/>
                  </a:lnTo>
                  <a:lnTo>
                    <a:pt x="1137" y="544"/>
                  </a:lnTo>
                  <a:lnTo>
                    <a:pt x="1137" y="545"/>
                  </a:lnTo>
                  <a:lnTo>
                    <a:pt x="1135" y="545"/>
                  </a:lnTo>
                  <a:lnTo>
                    <a:pt x="1133" y="546"/>
                  </a:lnTo>
                  <a:lnTo>
                    <a:pt x="1132" y="549"/>
                  </a:lnTo>
                  <a:lnTo>
                    <a:pt x="1132" y="552"/>
                  </a:lnTo>
                  <a:lnTo>
                    <a:pt x="1129" y="554"/>
                  </a:lnTo>
                  <a:lnTo>
                    <a:pt x="1129" y="552"/>
                  </a:lnTo>
                  <a:lnTo>
                    <a:pt x="1128" y="554"/>
                  </a:lnTo>
                  <a:lnTo>
                    <a:pt x="1128" y="552"/>
                  </a:lnTo>
                  <a:lnTo>
                    <a:pt x="1128" y="549"/>
                  </a:lnTo>
                  <a:lnTo>
                    <a:pt x="1126" y="552"/>
                  </a:lnTo>
                  <a:lnTo>
                    <a:pt x="1125" y="552"/>
                  </a:lnTo>
                  <a:lnTo>
                    <a:pt x="1121" y="554"/>
                  </a:lnTo>
                  <a:lnTo>
                    <a:pt x="1119" y="556"/>
                  </a:lnTo>
                  <a:lnTo>
                    <a:pt x="1120" y="559"/>
                  </a:lnTo>
                  <a:lnTo>
                    <a:pt x="1119" y="562"/>
                  </a:lnTo>
                  <a:lnTo>
                    <a:pt x="1118" y="564"/>
                  </a:lnTo>
                  <a:lnTo>
                    <a:pt x="1116" y="567"/>
                  </a:lnTo>
                  <a:lnTo>
                    <a:pt x="1117" y="570"/>
                  </a:lnTo>
                  <a:lnTo>
                    <a:pt x="1116" y="572"/>
                  </a:lnTo>
                  <a:lnTo>
                    <a:pt x="1116" y="576"/>
                  </a:lnTo>
                  <a:lnTo>
                    <a:pt x="1117" y="578"/>
                  </a:lnTo>
                  <a:lnTo>
                    <a:pt x="1119" y="580"/>
                  </a:lnTo>
                  <a:lnTo>
                    <a:pt x="1119" y="581"/>
                  </a:lnTo>
                  <a:lnTo>
                    <a:pt x="1119" y="584"/>
                  </a:lnTo>
                  <a:lnTo>
                    <a:pt x="1120" y="585"/>
                  </a:lnTo>
                  <a:lnTo>
                    <a:pt x="1120" y="588"/>
                  </a:lnTo>
                  <a:lnTo>
                    <a:pt x="1120" y="590"/>
                  </a:lnTo>
                  <a:lnTo>
                    <a:pt x="1119" y="593"/>
                  </a:lnTo>
                  <a:lnTo>
                    <a:pt x="1118" y="596"/>
                  </a:lnTo>
                  <a:lnTo>
                    <a:pt x="1117" y="598"/>
                  </a:lnTo>
                  <a:lnTo>
                    <a:pt x="1116" y="602"/>
                  </a:lnTo>
                  <a:lnTo>
                    <a:pt x="1113" y="604"/>
                  </a:lnTo>
                  <a:lnTo>
                    <a:pt x="1111" y="605"/>
                  </a:lnTo>
                  <a:lnTo>
                    <a:pt x="1109" y="606"/>
                  </a:lnTo>
                  <a:lnTo>
                    <a:pt x="1107" y="607"/>
                  </a:lnTo>
                  <a:lnTo>
                    <a:pt x="1103" y="607"/>
                  </a:lnTo>
                  <a:lnTo>
                    <a:pt x="1102" y="606"/>
                  </a:lnTo>
                  <a:lnTo>
                    <a:pt x="1102" y="606"/>
                  </a:lnTo>
                  <a:lnTo>
                    <a:pt x="1101" y="603"/>
                  </a:lnTo>
                  <a:lnTo>
                    <a:pt x="1100" y="602"/>
                  </a:lnTo>
                  <a:lnTo>
                    <a:pt x="1099" y="598"/>
                  </a:lnTo>
                  <a:lnTo>
                    <a:pt x="1098" y="596"/>
                  </a:lnTo>
                  <a:lnTo>
                    <a:pt x="1099" y="594"/>
                  </a:lnTo>
                  <a:lnTo>
                    <a:pt x="1099" y="592"/>
                  </a:lnTo>
                  <a:lnTo>
                    <a:pt x="1099" y="589"/>
                  </a:lnTo>
                  <a:lnTo>
                    <a:pt x="1098" y="586"/>
                  </a:lnTo>
                  <a:lnTo>
                    <a:pt x="1096" y="581"/>
                  </a:lnTo>
                  <a:lnTo>
                    <a:pt x="1098" y="578"/>
                  </a:lnTo>
                  <a:lnTo>
                    <a:pt x="1099" y="576"/>
                  </a:lnTo>
                  <a:lnTo>
                    <a:pt x="1100" y="572"/>
                  </a:lnTo>
                  <a:lnTo>
                    <a:pt x="1099" y="570"/>
                  </a:lnTo>
                  <a:lnTo>
                    <a:pt x="1100" y="567"/>
                  </a:lnTo>
                  <a:lnTo>
                    <a:pt x="1102" y="564"/>
                  </a:lnTo>
                  <a:lnTo>
                    <a:pt x="1102" y="562"/>
                  </a:lnTo>
                  <a:lnTo>
                    <a:pt x="1103" y="559"/>
                  </a:lnTo>
                  <a:lnTo>
                    <a:pt x="1104" y="556"/>
                  </a:lnTo>
                  <a:lnTo>
                    <a:pt x="1103" y="554"/>
                  </a:lnTo>
                  <a:lnTo>
                    <a:pt x="1100" y="555"/>
                  </a:lnTo>
                  <a:lnTo>
                    <a:pt x="1098" y="558"/>
                  </a:lnTo>
                  <a:lnTo>
                    <a:pt x="1095" y="558"/>
                  </a:lnTo>
                  <a:lnTo>
                    <a:pt x="1096" y="555"/>
                  </a:lnTo>
                  <a:lnTo>
                    <a:pt x="1098" y="552"/>
                  </a:lnTo>
                  <a:lnTo>
                    <a:pt x="1101" y="552"/>
                  </a:lnTo>
                  <a:lnTo>
                    <a:pt x="1101" y="550"/>
                  </a:lnTo>
                  <a:lnTo>
                    <a:pt x="1102" y="547"/>
                  </a:lnTo>
                  <a:lnTo>
                    <a:pt x="1104" y="545"/>
                  </a:lnTo>
                  <a:lnTo>
                    <a:pt x="1106" y="542"/>
                  </a:lnTo>
                  <a:lnTo>
                    <a:pt x="1108" y="539"/>
                  </a:lnTo>
                  <a:lnTo>
                    <a:pt x="1110" y="536"/>
                  </a:lnTo>
                  <a:lnTo>
                    <a:pt x="1110" y="539"/>
                  </a:lnTo>
                  <a:lnTo>
                    <a:pt x="1112" y="537"/>
                  </a:lnTo>
                  <a:lnTo>
                    <a:pt x="1116" y="536"/>
                  </a:lnTo>
                  <a:lnTo>
                    <a:pt x="1116" y="539"/>
                  </a:lnTo>
                  <a:lnTo>
                    <a:pt x="1118" y="537"/>
                  </a:lnTo>
                  <a:lnTo>
                    <a:pt x="1120" y="535"/>
                  </a:lnTo>
                  <a:lnTo>
                    <a:pt x="1123" y="535"/>
                  </a:lnTo>
                  <a:lnTo>
                    <a:pt x="1126" y="535"/>
                  </a:lnTo>
                  <a:lnTo>
                    <a:pt x="1128" y="534"/>
                  </a:lnTo>
                  <a:lnTo>
                    <a:pt x="1132" y="533"/>
                  </a:lnTo>
                  <a:lnTo>
                    <a:pt x="1134" y="533"/>
                  </a:lnTo>
                  <a:lnTo>
                    <a:pt x="1137" y="534"/>
                  </a:lnTo>
                  <a:lnTo>
                    <a:pt x="1138" y="536"/>
                  </a:lnTo>
                  <a:lnTo>
                    <a:pt x="1141" y="535"/>
                  </a:lnTo>
                  <a:lnTo>
                    <a:pt x="1144" y="535"/>
                  </a:lnTo>
                  <a:lnTo>
                    <a:pt x="1146" y="535"/>
                  </a:lnTo>
                  <a:lnTo>
                    <a:pt x="1149" y="535"/>
                  </a:lnTo>
                  <a:lnTo>
                    <a:pt x="1152" y="535"/>
                  </a:lnTo>
                  <a:lnTo>
                    <a:pt x="1150" y="532"/>
                  </a:lnTo>
                  <a:lnTo>
                    <a:pt x="1147" y="532"/>
                  </a:lnTo>
                  <a:lnTo>
                    <a:pt x="1147" y="528"/>
                  </a:lnTo>
                  <a:lnTo>
                    <a:pt x="1145" y="526"/>
                  </a:lnTo>
                  <a:lnTo>
                    <a:pt x="1145" y="526"/>
                  </a:lnTo>
                  <a:lnTo>
                    <a:pt x="1145" y="526"/>
                  </a:lnTo>
                  <a:lnTo>
                    <a:pt x="1140" y="527"/>
                  </a:lnTo>
                  <a:lnTo>
                    <a:pt x="1137" y="526"/>
                  </a:lnTo>
                  <a:lnTo>
                    <a:pt x="1136" y="525"/>
                  </a:lnTo>
                  <a:lnTo>
                    <a:pt x="1137" y="521"/>
                  </a:lnTo>
                  <a:lnTo>
                    <a:pt x="1137" y="521"/>
                  </a:lnTo>
                  <a:lnTo>
                    <a:pt x="1134" y="521"/>
                  </a:lnTo>
                  <a:lnTo>
                    <a:pt x="1130" y="522"/>
                  </a:lnTo>
                  <a:lnTo>
                    <a:pt x="1128" y="522"/>
                  </a:lnTo>
                  <a:lnTo>
                    <a:pt x="1126" y="522"/>
                  </a:lnTo>
                  <a:lnTo>
                    <a:pt x="1120" y="522"/>
                  </a:lnTo>
                  <a:lnTo>
                    <a:pt x="1118" y="525"/>
                  </a:lnTo>
                  <a:lnTo>
                    <a:pt x="1115" y="527"/>
                  </a:lnTo>
                  <a:lnTo>
                    <a:pt x="1112" y="526"/>
                  </a:lnTo>
                  <a:lnTo>
                    <a:pt x="1109" y="525"/>
                  </a:lnTo>
                  <a:lnTo>
                    <a:pt x="1107" y="526"/>
                  </a:lnTo>
                  <a:lnTo>
                    <a:pt x="1104" y="526"/>
                  </a:lnTo>
                  <a:lnTo>
                    <a:pt x="1102" y="522"/>
                  </a:lnTo>
                  <a:lnTo>
                    <a:pt x="1100" y="520"/>
                  </a:lnTo>
                  <a:lnTo>
                    <a:pt x="1098" y="519"/>
                  </a:lnTo>
                  <a:lnTo>
                    <a:pt x="1094" y="519"/>
                  </a:lnTo>
                  <a:lnTo>
                    <a:pt x="1092" y="519"/>
                  </a:lnTo>
                  <a:lnTo>
                    <a:pt x="1090" y="519"/>
                  </a:lnTo>
                  <a:lnTo>
                    <a:pt x="1089" y="516"/>
                  </a:lnTo>
                  <a:lnTo>
                    <a:pt x="1087" y="513"/>
                  </a:lnTo>
                  <a:lnTo>
                    <a:pt x="1084" y="515"/>
                  </a:lnTo>
                  <a:lnTo>
                    <a:pt x="1082" y="517"/>
                  </a:lnTo>
                  <a:lnTo>
                    <a:pt x="1079" y="518"/>
                  </a:lnTo>
                  <a:lnTo>
                    <a:pt x="1076" y="520"/>
                  </a:lnTo>
                  <a:lnTo>
                    <a:pt x="1074" y="520"/>
                  </a:lnTo>
                  <a:lnTo>
                    <a:pt x="1070" y="520"/>
                  </a:lnTo>
                  <a:lnTo>
                    <a:pt x="1068" y="522"/>
                  </a:lnTo>
                  <a:lnTo>
                    <a:pt x="1068" y="522"/>
                  </a:lnTo>
                  <a:lnTo>
                    <a:pt x="1065" y="524"/>
                  </a:lnTo>
                  <a:lnTo>
                    <a:pt x="1063" y="525"/>
                  </a:lnTo>
                  <a:lnTo>
                    <a:pt x="1060" y="524"/>
                  </a:lnTo>
                  <a:lnTo>
                    <a:pt x="1058" y="522"/>
                  </a:lnTo>
                  <a:lnTo>
                    <a:pt x="1056" y="524"/>
                  </a:lnTo>
                  <a:lnTo>
                    <a:pt x="1057" y="521"/>
                  </a:lnTo>
                  <a:lnTo>
                    <a:pt x="1056" y="518"/>
                  </a:lnTo>
                  <a:lnTo>
                    <a:pt x="1052" y="519"/>
                  </a:lnTo>
                  <a:lnTo>
                    <a:pt x="1050" y="520"/>
                  </a:lnTo>
                  <a:lnTo>
                    <a:pt x="1048" y="521"/>
                  </a:lnTo>
                  <a:lnTo>
                    <a:pt x="1042" y="522"/>
                  </a:lnTo>
                  <a:lnTo>
                    <a:pt x="1039" y="521"/>
                  </a:lnTo>
                  <a:lnTo>
                    <a:pt x="1041" y="519"/>
                  </a:lnTo>
                  <a:lnTo>
                    <a:pt x="1044" y="518"/>
                  </a:lnTo>
                  <a:lnTo>
                    <a:pt x="1047" y="516"/>
                  </a:lnTo>
                  <a:lnTo>
                    <a:pt x="1050" y="513"/>
                  </a:lnTo>
                  <a:lnTo>
                    <a:pt x="1052" y="511"/>
                  </a:lnTo>
                  <a:lnTo>
                    <a:pt x="1055" y="509"/>
                  </a:lnTo>
                  <a:lnTo>
                    <a:pt x="1057" y="507"/>
                  </a:lnTo>
                  <a:lnTo>
                    <a:pt x="1060" y="506"/>
                  </a:lnTo>
                  <a:lnTo>
                    <a:pt x="1063" y="504"/>
                  </a:lnTo>
                  <a:lnTo>
                    <a:pt x="1068" y="503"/>
                  </a:lnTo>
                  <a:lnTo>
                    <a:pt x="1068" y="502"/>
                  </a:lnTo>
                  <a:lnTo>
                    <a:pt x="1072" y="501"/>
                  </a:lnTo>
                  <a:lnTo>
                    <a:pt x="1074" y="500"/>
                  </a:lnTo>
                  <a:lnTo>
                    <a:pt x="1076" y="498"/>
                  </a:lnTo>
                  <a:lnTo>
                    <a:pt x="1078" y="495"/>
                  </a:lnTo>
                  <a:lnTo>
                    <a:pt x="1078" y="493"/>
                  </a:lnTo>
                  <a:lnTo>
                    <a:pt x="1082" y="491"/>
                  </a:lnTo>
                  <a:lnTo>
                    <a:pt x="1084" y="492"/>
                  </a:lnTo>
                  <a:lnTo>
                    <a:pt x="1084" y="494"/>
                  </a:lnTo>
                  <a:lnTo>
                    <a:pt x="1086" y="492"/>
                  </a:lnTo>
                  <a:lnTo>
                    <a:pt x="1089" y="489"/>
                  </a:lnTo>
                  <a:lnTo>
                    <a:pt x="1089" y="486"/>
                  </a:lnTo>
                  <a:lnTo>
                    <a:pt x="1091" y="486"/>
                  </a:lnTo>
                  <a:lnTo>
                    <a:pt x="1090" y="489"/>
                  </a:lnTo>
                  <a:lnTo>
                    <a:pt x="1089" y="491"/>
                  </a:lnTo>
                  <a:lnTo>
                    <a:pt x="1091" y="489"/>
                  </a:lnTo>
                  <a:lnTo>
                    <a:pt x="1094" y="487"/>
                  </a:lnTo>
                  <a:lnTo>
                    <a:pt x="1093" y="485"/>
                  </a:lnTo>
                  <a:lnTo>
                    <a:pt x="1092" y="483"/>
                  </a:lnTo>
                  <a:lnTo>
                    <a:pt x="1093" y="483"/>
                  </a:lnTo>
                  <a:lnTo>
                    <a:pt x="1096" y="483"/>
                  </a:lnTo>
                  <a:lnTo>
                    <a:pt x="1099" y="484"/>
                  </a:lnTo>
                  <a:lnTo>
                    <a:pt x="1102" y="485"/>
                  </a:lnTo>
                  <a:lnTo>
                    <a:pt x="1104" y="486"/>
                  </a:lnTo>
                  <a:lnTo>
                    <a:pt x="1107" y="486"/>
                  </a:lnTo>
                  <a:lnTo>
                    <a:pt x="1110" y="485"/>
                  </a:lnTo>
                  <a:lnTo>
                    <a:pt x="1112" y="486"/>
                  </a:lnTo>
                  <a:lnTo>
                    <a:pt x="1116" y="487"/>
                  </a:lnTo>
                  <a:lnTo>
                    <a:pt x="1118" y="487"/>
                  </a:lnTo>
                  <a:lnTo>
                    <a:pt x="1119" y="491"/>
                  </a:lnTo>
                  <a:lnTo>
                    <a:pt x="1120" y="493"/>
                  </a:lnTo>
                  <a:lnTo>
                    <a:pt x="1121" y="495"/>
                  </a:lnTo>
                  <a:lnTo>
                    <a:pt x="1124" y="499"/>
                  </a:lnTo>
                  <a:lnTo>
                    <a:pt x="1126" y="501"/>
                  </a:lnTo>
                  <a:lnTo>
                    <a:pt x="1132" y="501"/>
                  </a:lnTo>
                  <a:lnTo>
                    <a:pt x="1134" y="501"/>
                  </a:lnTo>
                  <a:lnTo>
                    <a:pt x="1137" y="501"/>
                  </a:lnTo>
                  <a:lnTo>
                    <a:pt x="1137" y="503"/>
                  </a:lnTo>
                  <a:lnTo>
                    <a:pt x="1137" y="506"/>
                  </a:lnTo>
                  <a:lnTo>
                    <a:pt x="1137" y="507"/>
                  </a:lnTo>
                  <a:lnTo>
                    <a:pt x="1140" y="509"/>
                  </a:lnTo>
                  <a:lnTo>
                    <a:pt x="1142" y="511"/>
                  </a:lnTo>
                  <a:lnTo>
                    <a:pt x="1141" y="515"/>
                  </a:lnTo>
                  <a:lnTo>
                    <a:pt x="1140" y="517"/>
                  </a:lnTo>
                  <a:lnTo>
                    <a:pt x="1142" y="518"/>
                  </a:lnTo>
                  <a:lnTo>
                    <a:pt x="1145" y="519"/>
                  </a:lnTo>
                  <a:lnTo>
                    <a:pt x="1143" y="521"/>
                  </a:lnTo>
                  <a:lnTo>
                    <a:pt x="1143" y="525"/>
                  </a:lnTo>
                  <a:lnTo>
                    <a:pt x="1145" y="526"/>
                  </a:lnTo>
                  <a:lnTo>
                    <a:pt x="1145" y="526"/>
                  </a:lnTo>
                  <a:lnTo>
                    <a:pt x="1149" y="525"/>
                  </a:lnTo>
                  <a:lnTo>
                    <a:pt x="1149" y="528"/>
                  </a:lnTo>
                  <a:lnTo>
                    <a:pt x="1154" y="529"/>
                  </a:lnTo>
                  <a:lnTo>
                    <a:pt x="1155" y="529"/>
                  </a:lnTo>
                  <a:lnTo>
                    <a:pt x="1159" y="530"/>
                  </a:lnTo>
                  <a:lnTo>
                    <a:pt x="1161" y="532"/>
                  </a:lnTo>
                  <a:lnTo>
                    <a:pt x="1164" y="532"/>
                  </a:lnTo>
                  <a:lnTo>
                    <a:pt x="1167" y="532"/>
                  </a:lnTo>
                  <a:lnTo>
                    <a:pt x="1169" y="532"/>
                  </a:lnTo>
                  <a:lnTo>
                    <a:pt x="1172" y="532"/>
                  </a:lnTo>
                  <a:lnTo>
                    <a:pt x="1175" y="532"/>
                  </a:lnTo>
                  <a:lnTo>
                    <a:pt x="1180" y="533"/>
                  </a:lnTo>
                  <a:lnTo>
                    <a:pt x="1183" y="533"/>
                  </a:lnTo>
                  <a:lnTo>
                    <a:pt x="1184" y="535"/>
                  </a:lnTo>
                  <a:lnTo>
                    <a:pt x="1186" y="535"/>
                  </a:lnTo>
                  <a:lnTo>
                    <a:pt x="1189" y="535"/>
                  </a:lnTo>
                  <a:lnTo>
                    <a:pt x="1192" y="535"/>
                  </a:lnTo>
                  <a:lnTo>
                    <a:pt x="1195" y="536"/>
                  </a:lnTo>
                  <a:lnTo>
                    <a:pt x="1196" y="538"/>
                  </a:lnTo>
                  <a:lnTo>
                    <a:pt x="1198" y="541"/>
                  </a:lnTo>
                  <a:lnTo>
                    <a:pt x="1200" y="544"/>
                  </a:lnTo>
                  <a:lnTo>
                    <a:pt x="1203" y="545"/>
                  </a:lnTo>
                  <a:lnTo>
                    <a:pt x="1203" y="545"/>
                  </a:lnTo>
                  <a:lnTo>
                    <a:pt x="1205" y="549"/>
                  </a:lnTo>
                  <a:lnTo>
                    <a:pt x="1205" y="549"/>
                  </a:lnTo>
                  <a:lnTo>
                    <a:pt x="1205" y="551"/>
                  </a:lnTo>
                  <a:lnTo>
                    <a:pt x="1206" y="552"/>
                  </a:lnTo>
                  <a:lnTo>
                    <a:pt x="1209" y="554"/>
                  </a:lnTo>
                  <a:lnTo>
                    <a:pt x="1210" y="554"/>
                  </a:lnTo>
                  <a:lnTo>
                    <a:pt x="1209" y="554"/>
                  </a:lnTo>
                  <a:lnTo>
                    <a:pt x="1209" y="554"/>
                  </a:lnTo>
                  <a:lnTo>
                    <a:pt x="1206" y="554"/>
                  </a:lnTo>
                  <a:lnTo>
                    <a:pt x="1205" y="554"/>
                  </a:lnTo>
                  <a:lnTo>
                    <a:pt x="1205" y="559"/>
                  </a:lnTo>
                  <a:lnTo>
                    <a:pt x="1203" y="560"/>
                  </a:lnTo>
                  <a:lnTo>
                    <a:pt x="1200" y="559"/>
                  </a:lnTo>
                  <a:lnTo>
                    <a:pt x="1197" y="558"/>
                  </a:lnTo>
                  <a:lnTo>
                    <a:pt x="1195" y="556"/>
                  </a:lnTo>
                  <a:lnTo>
                    <a:pt x="1192" y="554"/>
                  </a:lnTo>
                  <a:lnTo>
                    <a:pt x="1192" y="552"/>
                  </a:lnTo>
                  <a:lnTo>
                    <a:pt x="1189" y="552"/>
                  </a:lnTo>
                  <a:lnTo>
                    <a:pt x="1189" y="552"/>
                  </a:lnTo>
                  <a:lnTo>
                    <a:pt x="1188" y="552"/>
                  </a:lnTo>
                  <a:lnTo>
                    <a:pt x="1187" y="549"/>
                  </a:lnTo>
                  <a:lnTo>
                    <a:pt x="1184" y="547"/>
                  </a:lnTo>
                  <a:lnTo>
                    <a:pt x="1181" y="547"/>
                  </a:lnTo>
                  <a:lnTo>
                    <a:pt x="1185" y="550"/>
                  </a:lnTo>
                  <a:lnTo>
                    <a:pt x="1186" y="552"/>
                  </a:lnTo>
                  <a:lnTo>
                    <a:pt x="1186" y="553"/>
                  </a:lnTo>
                  <a:lnTo>
                    <a:pt x="1187" y="555"/>
                  </a:lnTo>
                  <a:lnTo>
                    <a:pt x="1187" y="559"/>
                  </a:lnTo>
                  <a:lnTo>
                    <a:pt x="1185" y="561"/>
                  </a:lnTo>
                  <a:lnTo>
                    <a:pt x="1184" y="563"/>
                  </a:lnTo>
                  <a:lnTo>
                    <a:pt x="1181" y="567"/>
                  </a:lnTo>
                  <a:lnTo>
                    <a:pt x="1181" y="569"/>
                  </a:lnTo>
                  <a:lnTo>
                    <a:pt x="1181" y="577"/>
                  </a:lnTo>
                  <a:lnTo>
                    <a:pt x="1180" y="580"/>
                  </a:lnTo>
                  <a:lnTo>
                    <a:pt x="1177" y="581"/>
                  </a:lnTo>
                  <a:lnTo>
                    <a:pt x="1175" y="584"/>
                  </a:lnTo>
                  <a:lnTo>
                    <a:pt x="1172" y="585"/>
                  </a:lnTo>
                  <a:lnTo>
                    <a:pt x="1171" y="584"/>
                  </a:lnTo>
                  <a:lnTo>
                    <a:pt x="1171" y="581"/>
                  </a:lnTo>
                  <a:lnTo>
                    <a:pt x="1170" y="579"/>
                  </a:lnTo>
                  <a:lnTo>
                    <a:pt x="1169" y="573"/>
                  </a:lnTo>
                  <a:lnTo>
                    <a:pt x="1169" y="571"/>
                  </a:lnTo>
                  <a:lnTo>
                    <a:pt x="1167" y="568"/>
                  </a:lnTo>
                  <a:lnTo>
                    <a:pt x="1164" y="568"/>
                  </a:lnTo>
                  <a:lnTo>
                    <a:pt x="1161" y="569"/>
                  </a:lnTo>
                  <a:lnTo>
                    <a:pt x="1159" y="570"/>
                  </a:lnTo>
                  <a:lnTo>
                    <a:pt x="1158" y="572"/>
                  </a:lnTo>
                  <a:lnTo>
                    <a:pt x="1155" y="575"/>
                  </a:lnTo>
                  <a:lnTo>
                    <a:pt x="1152" y="575"/>
                  </a:lnTo>
                  <a:close/>
                  <a:moveTo>
                    <a:pt x="1218" y="589"/>
                  </a:moveTo>
                  <a:lnTo>
                    <a:pt x="1215" y="593"/>
                  </a:lnTo>
                  <a:lnTo>
                    <a:pt x="1213" y="594"/>
                  </a:lnTo>
                  <a:lnTo>
                    <a:pt x="1210" y="596"/>
                  </a:lnTo>
                  <a:lnTo>
                    <a:pt x="1209" y="597"/>
                  </a:lnTo>
                  <a:lnTo>
                    <a:pt x="1205" y="598"/>
                  </a:lnTo>
                  <a:lnTo>
                    <a:pt x="1205" y="598"/>
                  </a:lnTo>
                  <a:lnTo>
                    <a:pt x="1204" y="600"/>
                  </a:lnTo>
                  <a:lnTo>
                    <a:pt x="1201" y="601"/>
                  </a:lnTo>
                  <a:lnTo>
                    <a:pt x="1198" y="602"/>
                  </a:lnTo>
                  <a:lnTo>
                    <a:pt x="1198" y="602"/>
                  </a:lnTo>
                  <a:lnTo>
                    <a:pt x="1193" y="604"/>
                  </a:lnTo>
                  <a:lnTo>
                    <a:pt x="1191" y="605"/>
                  </a:lnTo>
                  <a:lnTo>
                    <a:pt x="1187" y="606"/>
                  </a:lnTo>
                  <a:lnTo>
                    <a:pt x="1185" y="607"/>
                  </a:lnTo>
                  <a:lnTo>
                    <a:pt x="1181" y="610"/>
                  </a:lnTo>
                  <a:lnTo>
                    <a:pt x="1177" y="610"/>
                  </a:lnTo>
                  <a:lnTo>
                    <a:pt x="1174" y="611"/>
                  </a:lnTo>
                  <a:lnTo>
                    <a:pt x="1171" y="611"/>
                  </a:lnTo>
                  <a:lnTo>
                    <a:pt x="1168" y="610"/>
                  </a:lnTo>
                  <a:lnTo>
                    <a:pt x="1166" y="611"/>
                  </a:lnTo>
                  <a:lnTo>
                    <a:pt x="1168" y="610"/>
                  </a:lnTo>
                  <a:lnTo>
                    <a:pt x="1166" y="610"/>
                  </a:lnTo>
                  <a:lnTo>
                    <a:pt x="1160" y="606"/>
                  </a:lnTo>
                  <a:lnTo>
                    <a:pt x="1158" y="606"/>
                  </a:lnTo>
                  <a:lnTo>
                    <a:pt x="1158" y="606"/>
                  </a:lnTo>
                  <a:lnTo>
                    <a:pt x="1160" y="603"/>
                  </a:lnTo>
                  <a:lnTo>
                    <a:pt x="1161" y="601"/>
                  </a:lnTo>
                  <a:lnTo>
                    <a:pt x="1162" y="597"/>
                  </a:lnTo>
                  <a:lnTo>
                    <a:pt x="1163" y="596"/>
                  </a:lnTo>
                  <a:lnTo>
                    <a:pt x="1166" y="594"/>
                  </a:lnTo>
                  <a:lnTo>
                    <a:pt x="1167" y="592"/>
                  </a:lnTo>
                  <a:lnTo>
                    <a:pt x="1169" y="592"/>
                  </a:lnTo>
                  <a:lnTo>
                    <a:pt x="1169" y="593"/>
                  </a:lnTo>
                  <a:lnTo>
                    <a:pt x="1170" y="593"/>
                  </a:lnTo>
                  <a:lnTo>
                    <a:pt x="1172" y="596"/>
                  </a:lnTo>
                  <a:lnTo>
                    <a:pt x="1169" y="596"/>
                  </a:lnTo>
                  <a:lnTo>
                    <a:pt x="1167" y="596"/>
                  </a:lnTo>
                  <a:lnTo>
                    <a:pt x="1163" y="596"/>
                  </a:lnTo>
                  <a:lnTo>
                    <a:pt x="1163" y="596"/>
                  </a:lnTo>
                  <a:lnTo>
                    <a:pt x="1162" y="600"/>
                  </a:lnTo>
                  <a:lnTo>
                    <a:pt x="1166" y="602"/>
                  </a:lnTo>
                  <a:lnTo>
                    <a:pt x="1168" y="601"/>
                  </a:lnTo>
                  <a:lnTo>
                    <a:pt x="1170" y="602"/>
                  </a:lnTo>
                  <a:lnTo>
                    <a:pt x="1172" y="600"/>
                  </a:lnTo>
                  <a:lnTo>
                    <a:pt x="1175" y="598"/>
                  </a:lnTo>
                  <a:lnTo>
                    <a:pt x="1178" y="597"/>
                  </a:lnTo>
                  <a:lnTo>
                    <a:pt x="1180" y="595"/>
                  </a:lnTo>
                  <a:lnTo>
                    <a:pt x="1183" y="593"/>
                  </a:lnTo>
                  <a:lnTo>
                    <a:pt x="1186" y="592"/>
                  </a:lnTo>
                  <a:lnTo>
                    <a:pt x="1188" y="590"/>
                  </a:lnTo>
                  <a:lnTo>
                    <a:pt x="1191" y="590"/>
                  </a:lnTo>
                  <a:lnTo>
                    <a:pt x="1194" y="590"/>
                  </a:lnTo>
                  <a:lnTo>
                    <a:pt x="1196" y="592"/>
                  </a:lnTo>
                  <a:lnTo>
                    <a:pt x="1200" y="592"/>
                  </a:lnTo>
                  <a:lnTo>
                    <a:pt x="1202" y="593"/>
                  </a:lnTo>
                  <a:lnTo>
                    <a:pt x="1200" y="592"/>
                  </a:lnTo>
                  <a:lnTo>
                    <a:pt x="1202" y="589"/>
                  </a:lnTo>
                  <a:lnTo>
                    <a:pt x="1204" y="588"/>
                  </a:lnTo>
                  <a:lnTo>
                    <a:pt x="1205" y="588"/>
                  </a:lnTo>
                  <a:lnTo>
                    <a:pt x="1207" y="588"/>
                  </a:lnTo>
                  <a:lnTo>
                    <a:pt x="1211" y="587"/>
                  </a:lnTo>
                  <a:lnTo>
                    <a:pt x="1211" y="587"/>
                  </a:lnTo>
                  <a:lnTo>
                    <a:pt x="1213" y="587"/>
                  </a:lnTo>
                  <a:lnTo>
                    <a:pt x="1215" y="587"/>
                  </a:lnTo>
                  <a:lnTo>
                    <a:pt x="1218" y="587"/>
                  </a:lnTo>
                  <a:lnTo>
                    <a:pt x="1220" y="586"/>
                  </a:lnTo>
                  <a:lnTo>
                    <a:pt x="1218" y="584"/>
                  </a:lnTo>
                  <a:lnTo>
                    <a:pt x="1218" y="584"/>
                  </a:lnTo>
                  <a:lnTo>
                    <a:pt x="1220" y="585"/>
                  </a:lnTo>
                  <a:lnTo>
                    <a:pt x="1220" y="587"/>
                  </a:lnTo>
                  <a:lnTo>
                    <a:pt x="1218" y="589"/>
                  </a:lnTo>
                  <a:close/>
                  <a:moveTo>
                    <a:pt x="1261" y="563"/>
                  </a:moveTo>
                  <a:lnTo>
                    <a:pt x="1255" y="567"/>
                  </a:lnTo>
                  <a:lnTo>
                    <a:pt x="1256" y="569"/>
                  </a:lnTo>
                  <a:lnTo>
                    <a:pt x="1258" y="568"/>
                  </a:lnTo>
                  <a:lnTo>
                    <a:pt x="1260" y="568"/>
                  </a:lnTo>
                  <a:lnTo>
                    <a:pt x="1256" y="570"/>
                  </a:lnTo>
                  <a:lnTo>
                    <a:pt x="1257" y="573"/>
                  </a:lnTo>
                  <a:lnTo>
                    <a:pt x="1256" y="576"/>
                  </a:lnTo>
                  <a:lnTo>
                    <a:pt x="1254" y="576"/>
                  </a:lnTo>
                  <a:lnTo>
                    <a:pt x="1253" y="577"/>
                  </a:lnTo>
                  <a:lnTo>
                    <a:pt x="1251" y="579"/>
                  </a:lnTo>
                  <a:lnTo>
                    <a:pt x="1247" y="580"/>
                  </a:lnTo>
                  <a:lnTo>
                    <a:pt x="1245" y="580"/>
                  </a:lnTo>
                  <a:lnTo>
                    <a:pt x="1243" y="580"/>
                  </a:lnTo>
                  <a:lnTo>
                    <a:pt x="1239" y="580"/>
                  </a:lnTo>
                  <a:lnTo>
                    <a:pt x="1237" y="580"/>
                  </a:lnTo>
                  <a:lnTo>
                    <a:pt x="1231" y="579"/>
                  </a:lnTo>
                  <a:lnTo>
                    <a:pt x="1226" y="579"/>
                  </a:lnTo>
                  <a:lnTo>
                    <a:pt x="1223" y="579"/>
                  </a:lnTo>
                  <a:lnTo>
                    <a:pt x="1220" y="580"/>
                  </a:lnTo>
                  <a:lnTo>
                    <a:pt x="1218" y="580"/>
                  </a:lnTo>
                  <a:lnTo>
                    <a:pt x="1215" y="581"/>
                  </a:lnTo>
                  <a:lnTo>
                    <a:pt x="1212" y="581"/>
                  </a:lnTo>
                  <a:lnTo>
                    <a:pt x="1210" y="581"/>
                  </a:lnTo>
                  <a:lnTo>
                    <a:pt x="1210" y="578"/>
                  </a:lnTo>
                  <a:lnTo>
                    <a:pt x="1211" y="576"/>
                  </a:lnTo>
                  <a:lnTo>
                    <a:pt x="1219" y="571"/>
                  </a:lnTo>
                  <a:lnTo>
                    <a:pt x="1221" y="570"/>
                  </a:lnTo>
                  <a:lnTo>
                    <a:pt x="1224" y="570"/>
                  </a:lnTo>
                  <a:lnTo>
                    <a:pt x="1227" y="570"/>
                  </a:lnTo>
                  <a:lnTo>
                    <a:pt x="1229" y="569"/>
                  </a:lnTo>
                  <a:lnTo>
                    <a:pt x="1232" y="569"/>
                  </a:lnTo>
                  <a:lnTo>
                    <a:pt x="1235" y="568"/>
                  </a:lnTo>
                  <a:lnTo>
                    <a:pt x="1238" y="568"/>
                  </a:lnTo>
                  <a:lnTo>
                    <a:pt x="1240" y="569"/>
                  </a:lnTo>
                  <a:lnTo>
                    <a:pt x="1243" y="570"/>
                  </a:lnTo>
                  <a:lnTo>
                    <a:pt x="1246" y="570"/>
                  </a:lnTo>
                  <a:lnTo>
                    <a:pt x="1247" y="568"/>
                  </a:lnTo>
                  <a:lnTo>
                    <a:pt x="1245" y="568"/>
                  </a:lnTo>
                  <a:lnTo>
                    <a:pt x="1243" y="567"/>
                  </a:lnTo>
                  <a:lnTo>
                    <a:pt x="1238" y="567"/>
                  </a:lnTo>
                  <a:lnTo>
                    <a:pt x="1241" y="566"/>
                  </a:lnTo>
                  <a:lnTo>
                    <a:pt x="1246" y="566"/>
                  </a:lnTo>
                  <a:lnTo>
                    <a:pt x="1249" y="566"/>
                  </a:lnTo>
                  <a:lnTo>
                    <a:pt x="1252" y="564"/>
                  </a:lnTo>
                  <a:lnTo>
                    <a:pt x="1255" y="563"/>
                  </a:lnTo>
                  <a:lnTo>
                    <a:pt x="1257" y="563"/>
                  </a:lnTo>
                  <a:lnTo>
                    <a:pt x="1260" y="562"/>
                  </a:lnTo>
                  <a:lnTo>
                    <a:pt x="1263" y="560"/>
                  </a:lnTo>
                  <a:lnTo>
                    <a:pt x="1263" y="560"/>
                  </a:lnTo>
                  <a:lnTo>
                    <a:pt x="1261" y="5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 name="Freeform 220">
              <a:extLst>
                <a:ext uri="{FF2B5EF4-FFF2-40B4-BE49-F238E27FC236}">
                  <a16:creationId xmlns:a16="http://schemas.microsoft.com/office/drawing/2014/main" id="{9642CEA9-EB30-4925-84F8-17AACF9CF19E}"/>
                </a:ext>
              </a:extLst>
            </p:cNvPr>
            <p:cNvSpPr>
              <a:spLocks noEditPoints="1"/>
            </p:cNvSpPr>
            <p:nvPr/>
          </p:nvSpPr>
          <p:spPr bwMode="auto">
            <a:xfrm>
              <a:off x="3746500" y="2101850"/>
              <a:ext cx="4141787" cy="160338"/>
            </a:xfrm>
            <a:custGeom>
              <a:avLst/>
              <a:gdLst>
                <a:gd name="T0" fmla="*/ 103 w 2609"/>
                <a:gd name="T1" fmla="*/ 28 h 101"/>
                <a:gd name="T2" fmla="*/ 111 w 2609"/>
                <a:gd name="T3" fmla="*/ 41 h 101"/>
                <a:gd name="T4" fmla="*/ 110 w 2609"/>
                <a:gd name="T5" fmla="*/ 32 h 101"/>
                <a:gd name="T6" fmla="*/ 125 w 2609"/>
                <a:gd name="T7" fmla="*/ 36 h 101"/>
                <a:gd name="T8" fmla="*/ 128 w 2609"/>
                <a:gd name="T9" fmla="*/ 42 h 101"/>
                <a:gd name="T10" fmla="*/ 134 w 2609"/>
                <a:gd name="T11" fmla="*/ 49 h 101"/>
                <a:gd name="T12" fmla="*/ 133 w 2609"/>
                <a:gd name="T13" fmla="*/ 57 h 101"/>
                <a:gd name="T14" fmla="*/ 147 w 2609"/>
                <a:gd name="T15" fmla="*/ 61 h 101"/>
                <a:gd name="T16" fmla="*/ 160 w 2609"/>
                <a:gd name="T17" fmla="*/ 64 h 101"/>
                <a:gd name="T18" fmla="*/ 143 w 2609"/>
                <a:gd name="T19" fmla="*/ 72 h 101"/>
                <a:gd name="T20" fmla="*/ 132 w 2609"/>
                <a:gd name="T21" fmla="*/ 79 h 101"/>
                <a:gd name="T22" fmla="*/ 120 w 2609"/>
                <a:gd name="T23" fmla="*/ 78 h 101"/>
                <a:gd name="T24" fmla="*/ 117 w 2609"/>
                <a:gd name="T25" fmla="*/ 83 h 101"/>
                <a:gd name="T26" fmla="*/ 113 w 2609"/>
                <a:gd name="T27" fmla="*/ 87 h 101"/>
                <a:gd name="T28" fmla="*/ 105 w 2609"/>
                <a:gd name="T29" fmla="*/ 100 h 101"/>
                <a:gd name="T30" fmla="*/ 93 w 2609"/>
                <a:gd name="T31" fmla="*/ 93 h 101"/>
                <a:gd name="T32" fmla="*/ 88 w 2609"/>
                <a:gd name="T33" fmla="*/ 95 h 101"/>
                <a:gd name="T34" fmla="*/ 85 w 2609"/>
                <a:gd name="T35" fmla="*/ 101 h 101"/>
                <a:gd name="T36" fmla="*/ 66 w 2609"/>
                <a:gd name="T37" fmla="*/ 98 h 101"/>
                <a:gd name="T38" fmla="*/ 53 w 2609"/>
                <a:gd name="T39" fmla="*/ 91 h 101"/>
                <a:gd name="T40" fmla="*/ 70 w 2609"/>
                <a:gd name="T41" fmla="*/ 88 h 101"/>
                <a:gd name="T42" fmla="*/ 53 w 2609"/>
                <a:gd name="T43" fmla="*/ 86 h 101"/>
                <a:gd name="T44" fmla="*/ 45 w 2609"/>
                <a:gd name="T45" fmla="*/ 83 h 101"/>
                <a:gd name="T46" fmla="*/ 39 w 2609"/>
                <a:gd name="T47" fmla="*/ 80 h 101"/>
                <a:gd name="T48" fmla="*/ 46 w 2609"/>
                <a:gd name="T49" fmla="*/ 70 h 101"/>
                <a:gd name="T50" fmla="*/ 63 w 2609"/>
                <a:gd name="T51" fmla="*/ 70 h 101"/>
                <a:gd name="T52" fmla="*/ 79 w 2609"/>
                <a:gd name="T53" fmla="*/ 69 h 101"/>
                <a:gd name="T54" fmla="*/ 71 w 2609"/>
                <a:gd name="T55" fmla="*/ 68 h 101"/>
                <a:gd name="T56" fmla="*/ 59 w 2609"/>
                <a:gd name="T57" fmla="*/ 66 h 101"/>
                <a:gd name="T58" fmla="*/ 76 w 2609"/>
                <a:gd name="T59" fmla="*/ 63 h 101"/>
                <a:gd name="T60" fmla="*/ 58 w 2609"/>
                <a:gd name="T61" fmla="*/ 62 h 101"/>
                <a:gd name="T62" fmla="*/ 49 w 2609"/>
                <a:gd name="T63" fmla="*/ 64 h 101"/>
                <a:gd name="T64" fmla="*/ 36 w 2609"/>
                <a:gd name="T65" fmla="*/ 66 h 101"/>
                <a:gd name="T66" fmla="*/ 23 w 2609"/>
                <a:gd name="T67" fmla="*/ 67 h 101"/>
                <a:gd name="T68" fmla="*/ 17 w 2609"/>
                <a:gd name="T69" fmla="*/ 58 h 101"/>
                <a:gd name="T70" fmla="*/ 30 w 2609"/>
                <a:gd name="T71" fmla="*/ 52 h 101"/>
                <a:gd name="T72" fmla="*/ 13 w 2609"/>
                <a:gd name="T73" fmla="*/ 55 h 101"/>
                <a:gd name="T74" fmla="*/ 4 w 2609"/>
                <a:gd name="T75" fmla="*/ 46 h 101"/>
                <a:gd name="T76" fmla="*/ 6 w 2609"/>
                <a:gd name="T77" fmla="*/ 41 h 101"/>
                <a:gd name="T78" fmla="*/ 23 w 2609"/>
                <a:gd name="T79" fmla="*/ 43 h 101"/>
                <a:gd name="T80" fmla="*/ 29 w 2609"/>
                <a:gd name="T81" fmla="*/ 40 h 101"/>
                <a:gd name="T82" fmla="*/ 23 w 2609"/>
                <a:gd name="T83" fmla="*/ 40 h 101"/>
                <a:gd name="T84" fmla="*/ 17 w 2609"/>
                <a:gd name="T85" fmla="*/ 37 h 101"/>
                <a:gd name="T86" fmla="*/ 0 w 2609"/>
                <a:gd name="T87" fmla="*/ 34 h 101"/>
                <a:gd name="T88" fmla="*/ 17 w 2609"/>
                <a:gd name="T89" fmla="*/ 33 h 101"/>
                <a:gd name="T90" fmla="*/ 19 w 2609"/>
                <a:gd name="T91" fmla="*/ 26 h 101"/>
                <a:gd name="T92" fmla="*/ 38 w 2609"/>
                <a:gd name="T93" fmla="*/ 26 h 101"/>
                <a:gd name="T94" fmla="*/ 37 w 2609"/>
                <a:gd name="T95" fmla="*/ 21 h 101"/>
                <a:gd name="T96" fmla="*/ 21 w 2609"/>
                <a:gd name="T97" fmla="*/ 19 h 101"/>
                <a:gd name="T98" fmla="*/ 31 w 2609"/>
                <a:gd name="T99" fmla="*/ 14 h 101"/>
                <a:gd name="T100" fmla="*/ 41 w 2609"/>
                <a:gd name="T101" fmla="*/ 9 h 101"/>
                <a:gd name="T102" fmla="*/ 43 w 2609"/>
                <a:gd name="T103" fmla="*/ 6 h 101"/>
                <a:gd name="T104" fmla="*/ 36 w 2609"/>
                <a:gd name="T105" fmla="*/ 1 h 101"/>
                <a:gd name="T106" fmla="*/ 56 w 2609"/>
                <a:gd name="T107" fmla="*/ 3 h 101"/>
                <a:gd name="T108" fmla="*/ 71 w 2609"/>
                <a:gd name="T109" fmla="*/ 14 h 101"/>
                <a:gd name="T110" fmla="*/ 83 w 2609"/>
                <a:gd name="T111" fmla="*/ 26 h 101"/>
                <a:gd name="T112" fmla="*/ 2573 w 2609"/>
                <a:gd name="T113" fmla="*/ 43 h 101"/>
                <a:gd name="T114" fmla="*/ 2584 w 2609"/>
                <a:gd name="T115" fmla="*/ 43 h 101"/>
                <a:gd name="T116" fmla="*/ 2601 w 2609"/>
                <a:gd name="T117" fmla="*/ 44 h 101"/>
                <a:gd name="T118" fmla="*/ 2601 w 2609"/>
                <a:gd name="T119" fmla="*/ 52 h 101"/>
                <a:gd name="T120" fmla="*/ 2583 w 2609"/>
                <a:gd name="T121" fmla="*/ 53 h 101"/>
                <a:gd name="T122" fmla="*/ 2577 w 2609"/>
                <a:gd name="T123"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9" h="101">
                  <a:moveTo>
                    <a:pt x="92" y="27"/>
                  </a:moveTo>
                  <a:lnTo>
                    <a:pt x="92" y="27"/>
                  </a:lnTo>
                  <a:lnTo>
                    <a:pt x="96" y="27"/>
                  </a:lnTo>
                  <a:lnTo>
                    <a:pt x="98" y="27"/>
                  </a:lnTo>
                  <a:lnTo>
                    <a:pt x="101" y="27"/>
                  </a:lnTo>
                  <a:lnTo>
                    <a:pt x="103" y="28"/>
                  </a:lnTo>
                  <a:lnTo>
                    <a:pt x="102" y="32"/>
                  </a:lnTo>
                  <a:lnTo>
                    <a:pt x="103" y="34"/>
                  </a:lnTo>
                  <a:lnTo>
                    <a:pt x="103" y="37"/>
                  </a:lnTo>
                  <a:lnTo>
                    <a:pt x="106" y="38"/>
                  </a:lnTo>
                  <a:lnTo>
                    <a:pt x="109" y="40"/>
                  </a:lnTo>
                  <a:lnTo>
                    <a:pt x="111" y="41"/>
                  </a:lnTo>
                  <a:lnTo>
                    <a:pt x="115" y="40"/>
                  </a:lnTo>
                  <a:lnTo>
                    <a:pt x="117" y="41"/>
                  </a:lnTo>
                  <a:lnTo>
                    <a:pt x="116" y="38"/>
                  </a:lnTo>
                  <a:lnTo>
                    <a:pt x="113" y="37"/>
                  </a:lnTo>
                  <a:lnTo>
                    <a:pt x="110" y="35"/>
                  </a:lnTo>
                  <a:lnTo>
                    <a:pt x="110" y="32"/>
                  </a:lnTo>
                  <a:lnTo>
                    <a:pt x="114" y="31"/>
                  </a:lnTo>
                  <a:lnTo>
                    <a:pt x="116" y="31"/>
                  </a:lnTo>
                  <a:lnTo>
                    <a:pt x="119" y="31"/>
                  </a:lnTo>
                  <a:lnTo>
                    <a:pt x="122" y="32"/>
                  </a:lnTo>
                  <a:lnTo>
                    <a:pt x="125" y="33"/>
                  </a:lnTo>
                  <a:lnTo>
                    <a:pt x="125" y="36"/>
                  </a:lnTo>
                  <a:lnTo>
                    <a:pt x="125" y="38"/>
                  </a:lnTo>
                  <a:lnTo>
                    <a:pt x="123" y="40"/>
                  </a:lnTo>
                  <a:lnTo>
                    <a:pt x="119" y="41"/>
                  </a:lnTo>
                  <a:lnTo>
                    <a:pt x="123" y="42"/>
                  </a:lnTo>
                  <a:lnTo>
                    <a:pt x="125" y="42"/>
                  </a:lnTo>
                  <a:lnTo>
                    <a:pt x="128" y="42"/>
                  </a:lnTo>
                  <a:lnTo>
                    <a:pt x="131" y="44"/>
                  </a:lnTo>
                  <a:lnTo>
                    <a:pt x="133" y="46"/>
                  </a:lnTo>
                  <a:lnTo>
                    <a:pt x="131" y="46"/>
                  </a:lnTo>
                  <a:lnTo>
                    <a:pt x="127" y="50"/>
                  </a:lnTo>
                  <a:lnTo>
                    <a:pt x="131" y="49"/>
                  </a:lnTo>
                  <a:lnTo>
                    <a:pt x="134" y="49"/>
                  </a:lnTo>
                  <a:lnTo>
                    <a:pt x="132" y="51"/>
                  </a:lnTo>
                  <a:lnTo>
                    <a:pt x="132" y="53"/>
                  </a:lnTo>
                  <a:lnTo>
                    <a:pt x="130" y="57"/>
                  </a:lnTo>
                  <a:lnTo>
                    <a:pt x="127" y="59"/>
                  </a:lnTo>
                  <a:lnTo>
                    <a:pt x="131" y="59"/>
                  </a:lnTo>
                  <a:lnTo>
                    <a:pt x="133" y="57"/>
                  </a:lnTo>
                  <a:lnTo>
                    <a:pt x="136" y="57"/>
                  </a:lnTo>
                  <a:lnTo>
                    <a:pt x="139" y="55"/>
                  </a:lnTo>
                  <a:lnTo>
                    <a:pt x="142" y="55"/>
                  </a:lnTo>
                  <a:lnTo>
                    <a:pt x="144" y="57"/>
                  </a:lnTo>
                  <a:lnTo>
                    <a:pt x="145" y="59"/>
                  </a:lnTo>
                  <a:lnTo>
                    <a:pt x="147" y="61"/>
                  </a:lnTo>
                  <a:lnTo>
                    <a:pt x="149" y="59"/>
                  </a:lnTo>
                  <a:lnTo>
                    <a:pt x="150" y="57"/>
                  </a:lnTo>
                  <a:lnTo>
                    <a:pt x="153" y="58"/>
                  </a:lnTo>
                  <a:lnTo>
                    <a:pt x="154" y="60"/>
                  </a:lnTo>
                  <a:lnTo>
                    <a:pt x="158" y="63"/>
                  </a:lnTo>
                  <a:lnTo>
                    <a:pt x="160" y="64"/>
                  </a:lnTo>
                  <a:lnTo>
                    <a:pt x="161" y="67"/>
                  </a:lnTo>
                  <a:lnTo>
                    <a:pt x="158" y="68"/>
                  </a:lnTo>
                  <a:lnTo>
                    <a:pt x="156" y="69"/>
                  </a:lnTo>
                  <a:lnTo>
                    <a:pt x="152" y="70"/>
                  </a:lnTo>
                  <a:lnTo>
                    <a:pt x="150" y="71"/>
                  </a:lnTo>
                  <a:lnTo>
                    <a:pt x="143" y="72"/>
                  </a:lnTo>
                  <a:lnTo>
                    <a:pt x="141" y="74"/>
                  </a:lnTo>
                  <a:lnTo>
                    <a:pt x="139" y="76"/>
                  </a:lnTo>
                  <a:lnTo>
                    <a:pt x="136" y="76"/>
                  </a:lnTo>
                  <a:lnTo>
                    <a:pt x="133" y="74"/>
                  </a:lnTo>
                  <a:lnTo>
                    <a:pt x="134" y="77"/>
                  </a:lnTo>
                  <a:lnTo>
                    <a:pt x="132" y="79"/>
                  </a:lnTo>
                  <a:lnTo>
                    <a:pt x="128" y="81"/>
                  </a:lnTo>
                  <a:lnTo>
                    <a:pt x="126" y="84"/>
                  </a:lnTo>
                  <a:lnTo>
                    <a:pt x="124" y="86"/>
                  </a:lnTo>
                  <a:lnTo>
                    <a:pt x="122" y="84"/>
                  </a:lnTo>
                  <a:lnTo>
                    <a:pt x="119" y="81"/>
                  </a:lnTo>
                  <a:lnTo>
                    <a:pt x="120" y="78"/>
                  </a:lnTo>
                  <a:lnTo>
                    <a:pt x="120" y="76"/>
                  </a:lnTo>
                  <a:lnTo>
                    <a:pt x="123" y="74"/>
                  </a:lnTo>
                  <a:lnTo>
                    <a:pt x="119" y="75"/>
                  </a:lnTo>
                  <a:lnTo>
                    <a:pt x="117" y="77"/>
                  </a:lnTo>
                  <a:lnTo>
                    <a:pt x="116" y="80"/>
                  </a:lnTo>
                  <a:lnTo>
                    <a:pt x="117" y="83"/>
                  </a:lnTo>
                  <a:lnTo>
                    <a:pt x="117" y="85"/>
                  </a:lnTo>
                  <a:lnTo>
                    <a:pt x="120" y="86"/>
                  </a:lnTo>
                  <a:lnTo>
                    <a:pt x="120" y="89"/>
                  </a:lnTo>
                  <a:lnTo>
                    <a:pt x="118" y="91"/>
                  </a:lnTo>
                  <a:lnTo>
                    <a:pt x="115" y="91"/>
                  </a:lnTo>
                  <a:lnTo>
                    <a:pt x="113" y="87"/>
                  </a:lnTo>
                  <a:lnTo>
                    <a:pt x="109" y="89"/>
                  </a:lnTo>
                  <a:lnTo>
                    <a:pt x="113" y="92"/>
                  </a:lnTo>
                  <a:lnTo>
                    <a:pt x="111" y="95"/>
                  </a:lnTo>
                  <a:lnTo>
                    <a:pt x="110" y="97"/>
                  </a:lnTo>
                  <a:lnTo>
                    <a:pt x="108" y="101"/>
                  </a:lnTo>
                  <a:lnTo>
                    <a:pt x="105" y="100"/>
                  </a:lnTo>
                  <a:lnTo>
                    <a:pt x="100" y="94"/>
                  </a:lnTo>
                  <a:lnTo>
                    <a:pt x="97" y="92"/>
                  </a:lnTo>
                  <a:lnTo>
                    <a:pt x="92" y="87"/>
                  </a:lnTo>
                  <a:lnTo>
                    <a:pt x="91" y="88"/>
                  </a:lnTo>
                  <a:lnTo>
                    <a:pt x="92" y="91"/>
                  </a:lnTo>
                  <a:lnTo>
                    <a:pt x="93" y="93"/>
                  </a:lnTo>
                  <a:lnTo>
                    <a:pt x="97" y="95"/>
                  </a:lnTo>
                  <a:lnTo>
                    <a:pt x="98" y="97"/>
                  </a:lnTo>
                  <a:lnTo>
                    <a:pt x="98" y="101"/>
                  </a:lnTo>
                  <a:lnTo>
                    <a:pt x="92" y="96"/>
                  </a:lnTo>
                  <a:lnTo>
                    <a:pt x="90" y="95"/>
                  </a:lnTo>
                  <a:lnTo>
                    <a:pt x="88" y="95"/>
                  </a:lnTo>
                  <a:lnTo>
                    <a:pt x="84" y="95"/>
                  </a:lnTo>
                  <a:lnTo>
                    <a:pt x="82" y="95"/>
                  </a:lnTo>
                  <a:lnTo>
                    <a:pt x="84" y="96"/>
                  </a:lnTo>
                  <a:lnTo>
                    <a:pt x="88" y="97"/>
                  </a:lnTo>
                  <a:lnTo>
                    <a:pt x="89" y="100"/>
                  </a:lnTo>
                  <a:lnTo>
                    <a:pt x="85" y="101"/>
                  </a:lnTo>
                  <a:lnTo>
                    <a:pt x="80" y="101"/>
                  </a:lnTo>
                  <a:lnTo>
                    <a:pt x="77" y="100"/>
                  </a:lnTo>
                  <a:lnTo>
                    <a:pt x="74" y="100"/>
                  </a:lnTo>
                  <a:lnTo>
                    <a:pt x="72" y="100"/>
                  </a:lnTo>
                  <a:lnTo>
                    <a:pt x="68" y="98"/>
                  </a:lnTo>
                  <a:lnTo>
                    <a:pt x="66" y="98"/>
                  </a:lnTo>
                  <a:lnTo>
                    <a:pt x="63" y="98"/>
                  </a:lnTo>
                  <a:lnTo>
                    <a:pt x="62" y="95"/>
                  </a:lnTo>
                  <a:lnTo>
                    <a:pt x="59" y="96"/>
                  </a:lnTo>
                  <a:lnTo>
                    <a:pt x="56" y="94"/>
                  </a:lnTo>
                  <a:lnTo>
                    <a:pt x="54" y="93"/>
                  </a:lnTo>
                  <a:lnTo>
                    <a:pt x="53" y="91"/>
                  </a:lnTo>
                  <a:lnTo>
                    <a:pt x="55" y="91"/>
                  </a:lnTo>
                  <a:lnTo>
                    <a:pt x="58" y="89"/>
                  </a:lnTo>
                  <a:lnTo>
                    <a:pt x="62" y="89"/>
                  </a:lnTo>
                  <a:lnTo>
                    <a:pt x="64" y="89"/>
                  </a:lnTo>
                  <a:lnTo>
                    <a:pt x="67" y="88"/>
                  </a:lnTo>
                  <a:lnTo>
                    <a:pt x="70" y="88"/>
                  </a:lnTo>
                  <a:lnTo>
                    <a:pt x="67" y="88"/>
                  </a:lnTo>
                  <a:lnTo>
                    <a:pt x="64" y="87"/>
                  </a:lnTo>
                  <a:lnTo>
                    <a:pt x="62" y="87"/>
                  </a:lnTo>
                  <a:lnTo>
                    <a:pt x="58" y="87"/>
                  </a:lnTo>
                  <a:lnTo>
                    <a:pt x="56" y="87"/>
                  </a:lnTo>
                  <a:lnTo>
                    <a:pt x="53" y="86"/>
                  </a:lnTo>
                  <a:lnTo>
                    <a:pt x="50" y="87"/>
                  </a:lnTo>
                  <a:lnTo>
                    <a:pt x="47" y="87"/>
                  </a:lnTo>
                  <a:lnTo>
                    <a:pt x="46" y="85"/>
                  </a:lnTo>
                  <a:lnTo>
                    <a:pt x="43" y="85"/>
                  </a:lnTo>
                  <a:lnTo>
                    <a:pt x="41" y="81"/>
                  </a:lnTo>
                  <a:lnTo>
                    <a:pt x="45" y="83"/>
                  </a:lnTo>
                  <a:lnTo>
                    <a:pt x="48" y="83"/>
                  </a:lnTo>
                  <a:lnTo>
                    <a:pt x="50" y="83"/>
                  </a:lnTo>
                  <a:lnTo>
                    <a:pt x="48" y="81"/>
                  </a:lnTo>
                  <a:lnTo>
                    <a:pt x="45" y="80"/>
                  </a:lnTo>
                  <a:lnTo>
                    <a:pt x="42" y="80"/>
                  </a:lnTo>
                  <a:lnTo>
                    <a:pt x="39" y="80"/>
                  </a:lnTo>
                  <a:lnTo>
                    <a:pt x="37" y="78"/>
                  </a:lnTo>
                  <a:lnTo>
                    <a:pt x="34" y="75"/>
                  </a:lnTo>
                  <a:lnTo>
                    <a:pt x="37" y="75"/>
                  </a:lnTo>
                  <a:lnTo>
                    <a:pt x="40" y="74"/>
                  </a:lnTo>
                  <a:lnTo>
                    <a:pt x="43" y="74"/>
                  </a:lnTo>
                  <a:lnTo>
                    <a:pt x="46" y="70"/>
                  </a:lnTo>
                  <a:lnTo>
                    <a:pt x="48" y="70"/>
                  </a:lnTo>
                  <a:lnTo>
                    <a:pt x="51" y="70"/>
                  </a:lnTo>
                  <a:lnTo>
                    <a:pt x="54" y="70"/>
                  </a:lnTo>
                  <a:lnTo>
                    <a:pt x="57" y="70"/>
                  </a:lnTo>
                  <a:lnTo>
                    <a:pt x="59" y="70"/>
                  </a:lnTo>
                  <a:lnTo>
                    <a:pt x="63" y="70"/>
                  </a:lnTo>
                  <a:lnTo>
                    <a:pt x="65" y="70"/>
                  </a:lnTo>
                  <a:lnTo>
                    <a:pt x="68" y="70"/>
                  </a:lnTo>
                  <a:lnTo>
                    <a:pt x="71" y="69"/>
                  </a:lnTo>
                  <a:lnTo>
                    <a:pt x="73" y="69"/>
                  </a:lnTo>
                  <a:lnTo>
                    <a:pt x="76" y="69"/>
                  </a:lnTo>
                  <a:lnTo>
                    <a:pt x="79" y="69"/>
                  </a:lnTo>
                  <a:lnTo>
                    <a:pt x="82" y="69"/>
                  </a:lnTo>
                  <a:lnTo>
                    <a:pt x="84" y="68"/>
                  </a:lnTo>
                  <a:lnTo>
                    <a:pt x="82" y="68"/>
                  </a:lnTo>
                  <a:lnTo>
                    <a:pt x="76" y="68"/>
                  </a:lnTo>
                  <a:lnTo>
                    <a:pt x="73" y="68"/>
                  </a:lnTo>
                  <a:lnTo>
                    <a:pt x="71" y="68"/>
                  </a:lnTo>
                  <a:lnTo>
                    <a:pt x="67" y="69"/>
                  </a:lnTo>
                  <a:lnTo>
                    <a:pt x="65" y="69"/>
                  </a:lnTo>
                  <a:lnTo>
                    <a:pt x="62" y="69"/>
                  </a:lnTo>
                  <a:lnTo>
                    <a:pt x="59" y="68"/>
                  </a:lnTo>
                  <a:lnTo>
                    <a:pt x="56" y="66"/>
                  </a:lnTo>
                  <a:lnTo>
                    <a:pt x="59" y="66"/>
                  </a:lnTo>
                  <a:lnTo>
                    <a:pt x="62" y="66"/>
                  </a:lnTo>
                  <a:lnTo>
                    <a:pt x="65" y="66"/>
                  </a:lnTo>
                  <a:lnTo>
                    <a:pt x="67" y="66"/>
                  </a:lnTo>
                  <a:lnTo>
                    <a:pt x="70" y="66"/>
                  </a:lnTo>
                  <a:lnTo>
                    <a:pt x="73" y="64"/>
                  </a:lnTo>
                  <a:lnTo>
                    <a:pt x="76" y="63"/>
                  </a:lnTo>
                  <a:lnTo>
                    <a:pt x="73" y="63"/>
                  </a:lnTo>
                  <a:lnTo>
                    <a:pt x="71" y="63"/>
                  </a:lnTo>
                  <a:lnTo>
                    <a:pt x="67" y="64"/>
                  </a:lnTo>
                  <a:lnTo>
                    <a:pt x="64" y="64"/>
                  </a:lnTo>
                  <a:lnTo>
                    <a:pt x="62" y="64"/>
                  </a:lnTo>
                  <a:lnTo>
                    <a:pt x="58" y="62"/>
                  </a:lnTo>
                  <a:lnTo>
                    <a:pt x="60" y="61"/>
                  </a:lnTo>
                  <a:lnTo>
                    <a:pt x="58" y="61"/>
                  </a:lnTo>
                  <a:lnTo>
                    <a:pt x="55" y="62"/>
                  </a:lnTo>
                  <a:lnTo>
                    <a:pt x="53" y="62"/>
                  </a:lnTo>
                  <a:lnTo>
                    <a:pt x="49" y="61"/>
                  </a:lnTo>
                  <a:lnTo>
                    <a:pt x="49" y="64"/>
                  </a:lnTo>
                  <a:lnTo>
                    <a:pt x="46" y="64"/>
                  </a:lnTo>
                  <a:lnTo>
                    <a:pt x="46" y="61"/>
                  </a:lnTo>
                  <a:lnTo>
                    <a:pt x="45" y="64"/>
                  </a:lnTo>
                  <a:lnTo>
                    <a:pt x="41" y="66"/>
                  </a:lnTo>
                  <a:lnTo>
                    <a:pt x="38" y="67"/>
                  </a:lnTo>
                  <a:lnTo>
                    <a:pt x="36" y="66"/>
                  </a:lnTo>
                  <a:lnTo>
                    <a:pt x="38" y="63"/>
                  </a:lnTo>
                  <a:lnTo>
                    <a:pt x="34" y="63"/>
                  </a:lnTo>
                  <a:lnTo>
                    <a:pt x="32" y="64"/>
                  </a:lnTo>
                  <a:lnTo>
                    <a:pt x="29" y="66"/>
                  </a:lnTo>
                  <a:lnTo>
                    <a:pt x="26" y="66"/>
                  </a:lnTo>
                  <a:lnTo>
                    <a:pt x="23" y="67"/>
                  </a:lnTo>
                  <a:lnTo>
                    <a:pt x="21" y="66"/>
                  </a:lnTo>
                  <a:lnTo>
                    <a:pt x="20" y="62"/>
                  </a:lnTo>
                  <a:lnTo>
                    <a:pt x="17" y="63"/>
                  </a:lnTo>
                  <a:lnTo>
                    <a:pt x="14" y="61"/>
                  </a:lnTo>
                  <a:lnTo>
                    <a:pt x="15" y="58"/>
                  </a:lnTo>
                  <a:lnTo>
                    <a:pt x="17" y="58"/>
                  </a:lnTo>
                  <a:lnTo>
                    <a:pt x="21" y="58"/>
                  </a:lnTo>
                  <a:lnTo>
                    <a:pt x="23" y="57"/>
                  </a:lnTo>
                  <a:lnTo>
                    <a:pt x="26" y="57"/>
                  </a:lnTo>
                  <a:lnTo>
                    <a:pt x="32" y="54"/>
                  </a:lnTo>
                  <a:lnTo>
                    <a:pt x="32" y="52"/>
                  </a:lnTo>
                  <a:lnTo>
                    <a:pt x="30" y="52"/>
                  </a:lnTo>
                  <a:lnTo>
                    <a:pt x="26" y="54"/>
                  </a:lnTo>
                  <a:lnTo>
                    <a:pt x="24" y="54"/>
                  </a:lnTo>
                  <a:lnTo>
                    <a:pt x="21" y="55"/>
                  </a:lnTo>
                  <a:lnTo>
                    <a:pt x="19" y="55"/>
                  </a:lnTo>
                  <a:lnTo>
                    <a:pt x="15" y="55"/>
                  </a:lnTo>
                  <a:lnTo>
                    <a:pt x="13" y="55"/>
                  </a:lnTo>
                  <a:lnTo>
                    <a:pt x="9" y="53"/>
                  </a:lnTo>
                  <a:lnTo>
                    <a:pt x="7" y="52"/>
                  </a:lnTo>
                  <a:lnTo>
                    <a:pt x="5" y="50"/>
                  </a:lnTo>
                  <a:lnTo>
                    <a:pt x="4" y="47"/>
                  </a:lnTo>
                  <a:lnTo>
                    <a:pt x="7" y="46"/>
                  </a:lnTo>
                  <a:lnTo>
                    <a:pt x="4" y="46"/>
                  </a:lnTo>
                  <a:lnTo>
                    <a:pt x="2" y="44"/>
                  </a:lnTo>
                  <a:lnTo>
                    <a:pt x="3" y="43"/>
                  </a:lnTo>
                  <a:lnTo>
                    <a:pt x="0" y="43"/>
                  </a:lnTo>
                  <a:lnTo>
                    <a:pt x="0" y="40"/>
                  </a:lnTo>
                  <a:lnTo>
                    <a:pt x="4" y="40"/>
                  </a:lnTo>
                  <a:lnTo>
                    <a:pt x="6" y="41"/>
                  </a:lnTo>
                  <a:lnTo>
                    <a:pt x="9" y="42"/>
                  </a:lnTo>
                  <a:lnTo>
                    <a:pt x="12" y="43"/>
                  </a:lnTo>
                  <a:lnTo>
                    <a:pt x="15" y="43"/>
                  </a:lnTo>
                  <a:lnTo>
                    <a:pt x="17" y="43"/>
                  </a:lnTo>
                  <a:lnTo>
                    <a:pt x="21" y="43"/>
                  </a:lnTo>
                  <a:lnTo>
                    <a:pt x="23" y="43"/>
                  </a:lnTo>
                  <a:lnTo>
                    <a:pt x="26" y="43"/>
                  </a:lnTo>
                  <a:lnTo>
                    <a:pt x="30" y="44"/>
                  </a:lnTo>
                  <a:lnTo>
                    <a:pt x="31" y="44"/>
                  </a:lnTo>
                  <a:lnTo>
                    <a:pt x="31" y="44"/>
                  </a:lnTo>
                  <a:lnTo>
                    <a:pt x="29" y="43"/>
                  </a:lnTo>
                  <a:lnTo>
                    <a:pt x="29" y="40"/>
                  </a:lnTo>
                  <a:lnTo>
                    <a:pt x="32" y="38"/>
                  </a:lnTo>
                  <a:lnTo>
                    <a:pt x="34" y="38"/>
                  </a:lnTo>
                  <a:lnTo>
                    <a:pt x="31" y="38"/>
                  </a:lnTo>
                  <a:lnTo>
                    <a:pt x="29" y="37"/>
                  </a:lnTo>
                  <a:lnTo>
                    <a:pt x="26" y="40"/>
                  </a:lnTo>
                  <a:lnTo>
                    <a:pt x="23" y="40"/>
                  </a:lnTo>
                  <a:lnTo>
                    <a:pt x="21" y="41"/>
                  </a:lnTo>
                  <a:lnTo>
                    <a:pt x="17" y="41"/>
                  </a:lnTo>
                  <a:lnTo>
                    <a:pt x="15" y="38"/>
                  </a:lnTo>
                  <a:lnTo>
                    <a:pt x="17" y="38"/>
                  </a:lnTo>
                  <a:lnTo>
                    <a:pt x="21" y="36"/>
                  </a:lnTo>
                  <a:lnTo>
                    <a:pt x="17" y="37"/>
                  </a:lnTo>
                  <a:lnTo>
                    <a:pt x="15" y="36"/>
                  </a:lnTo>
                  <a:lnTo>
                    <a:pt x="12" y="38"/>
                  </a:lnTo>
                  <a:lnTo>
                    <a:pt x="9" y="37"/>
                  </a:lnTo>
                  <a:lnTo>
                    <a:pt x="6" y="36"/>
                  </a:lnTo>
                  <a:lnTo>
                    <a:pt x="4" y="34"/>
                  </a:lnTo>
                  <a:lnTo>
                    <a:pt x="0" y="34"/>
                  </a:lnTo>
                  <a:lnTo>
                    <a:pt x="4" y="34"/>
                  </a:lnTo>
                  <a:lnTo>
                    <a:pt x="6" y="33"/>
                  </a:lnTo>
                  <a:lnTo>
                    <a:pt x="9" y="32"/>
                  </a:lnTo>
                  <a:lnTo>
                    <a:pt x="12" y="33"/>
                  </a:lnTo>
                  <a:lnTo>
                    <a:pt x="14" y="33"/>
                  </a:lnTo>
                  <a:lnTo>
                    <a:pt x="17" y="33"/>
                  </a:lnTo>
                  <a:lnTo>
                    <a:pt x="15" y="32"/>
                  </a:lnTo>
                  <a:lnTo>
                    <a:pt x="12" y="31"/>
                  </a:lnTo>
                  <a:lnTo>
                    <a:pt x="9" y="28"/>
                  </a:lnTo>
                  <a:lnTo>
                    <a:pt x="12" y="26"/>
                  </a:lnTo>
                  <a:lnTo>
                    <a:pt x="15" y="26"/>
                  </a:lnTo>
                  <a:lnTo>
                    <a:pt x="19" y="26"/>
                  </a:lnTo>
                  <a:lnTo>
                    <a:pt x="21" y="26"/>
                  </a:lnTo>
                  <a:lnTo>
                    <a:pt x="24" y="25"/>
                  </a:lnTo>
                  <a:lnTo>
                    <a:pt x="26" y="26"/>
                  </a:lnTo>
                  <a:lnTo>
                    <a:pt x="30" y="27"/>
                  </a:lnTo>
                  <a:lnTo>
                    <a:pt x="36" y="27"/>
                  </a:lnTo>
                  <a:lnTo>
                    <a:pt x="38" y="26"/>
                  </a:lnTo>
                  <a:lnTo>
                    <a:pt x="36" y="26"/>
                  </a:lnTo>
                  <a:lnTo>
                    <a:pt x="32" y="25"/>
                  </a:lnTo>
                  <a:lnTo>
                    <a:pt x="30" y="25"/>
                  </a:lnTo>
                  <a:lnTo>
                    <a:pt x="31" y="23"/>
                  </a:lnTo>
                  <a:lnTo>
                    <a:pt x="33" y="23"/>
                  </a:lnTo>
                  <a:lnTo>
                    <a:pt x="37" y="21"/>
                  </a:lnTo>
                  <a:lnTo>
                    <a:pt x="33" y="21"/>
                  </a:lnTo>
                  <a:lnTo>
                    <a:pt x="31" y="21"/>
                  </a:lnTo>
                  <a:lnTo>
                    <a:pt x="30" y="21"/>
                  </a:lnTo>
                  <a:lnTo>
                    <a:pt x="26" y="21"/>
                  </a:lnTo>
                  <a:lnTo>
                    <a:pt x="24" y="18"/>
                  </a:lnTo>
                  <a:lnTo>
                    <a:pt x="21" y="19"/>
                  </a:lnTo>
                  <a:lnTo>
                    <a:pt x="19" y="17"/>
                  </a:lnTo>
                  <a:lnTo>
                    <a:pt x="20" y="15"/>
                  </a:lnTo>
                  <a:lnTo>
                    <a:pt x="22" y="11"/>
                  </a:lnTo>
                  <a:lnTo>
                    <a:pt x="25" y="11"/>
                  </a:lnTo>
                  <a:lnTo>
                    <a:pt x="28" y="11"/>
                  </a:lnTo>
                  <a:lnTo>
                    <a:pt x="31" y="14"/>
                  </a:lnTo>
                  <a:lnTo>
                    <a:pt x="33" y="12"/>
                  </a:lnTo>
                  <a:lnTo>
                    <a:pt x="39" y="11"/>
                  </a:lnTo>
                  <a:lnTo>
                    <a:pt x="36" y="11"/>
                  </a:lnTo>
                  <a:lnTo>
                    <a:pt x="32" y="9"/>
                  </a:lnTo>
                  <a:lnTo>
                    <a:pt x="36" y="9"/>
                  </a:lnTo>
                  <a:lnTo>
                    <a:pt x="41" y="9"/>
                  </a:lnTo>
                  <a:lnTo>
                    <a:pt x="43" y="10"/>
                  </a:lnTo>
                  <a:lnTo>
                    <a:pt x="46" y="10"/>
                  </a:lnTo>
                  <a:lnTo>
                    <a:pt x="49" y="9"/>
                  </a:lnTo>
                  <a:lnTo>
                    <a:pt x="49" y="7"/>
                  </a:lnTo>
                  <a:lnTo>
                    <a:pt x="47" y="6"/>
                  </a:lnTo>
                  <a:lnTo>
                    <a:pt x="43" y="6"/>
                  </a:lnTo>
                  <a:lnTo>
                    <a:pt x="40" y="6"/>
                  </a:lnTo>
                  <a:lnTo>
                    <a:pt x="38" y="6"/>
                  </a:lnTo>
                  <a:lnTo>
                    <a:pt x="36" y="6"/>
                  </a:lnTo>
                  <a:lnTo>
                    <a:pt x="32" y="4"/>
                  </a:lnTo>
                  <a:lnTo>
                    <a:pt x="33" y="1"/>
                  </a:lnTo>
                  <a:lnTo>
                    <a:pt x="36" y="1"/>
                  </a:lnTo>
                  <a:lnTo>
                    <a:pt x="39" y="1"/>
                  </a:lnTo>
                  <a:lnTo>
                    <a:pt x="41" y="1"/>
                  </a:lnTo>
                  <a:lnTo>
                    <a:pt x="45" y="0"/>
                  </a:lnTo>
                  <a:lnTo>
                    <a:pt x="50" y="1"/>
                  </a:lnTo>
                  <a:lnTo>
                    <a:pt x="54" y="2"/>
                  </a:lnTo>
                  <a:lnTo>
                    <a:pt x="56" y="3"/>
                  </a:lnTo>
                  <a:lnTo>
                    <a:pt x="58" y="3"/>
                  </a:lnTo>
                  <a:lnTo>
                    <a:pt x="62" y="4"/>
                  </a:lnTo>
                  <a:lnTo>
                    <a:pt x="64" y="6"/>
                  </a:lnTo>
                  <a:lnTo>
                    <a:pt x="67" y="8"/>
                  </a:lnTo>
                  <a:lnTo>
                    <a:pt x="68" y="11"/>
                  </a:lnTo>
                  <a:lnTo>
                    <a:pt x="71" y="14"/>
                  </a:lnTo>
                  <a:lnTo>
                    <a:pt x="74" y="16"/>
                  </a:lnTo>
                  <a:lnTo>
                    <a:pt x="76" y="18"/>
                  </a:lnTo>
                  <a:lnTo>
                    <a:pt x="79" y="21"/>
                  </a:lnTo>
                  <a:lnTo>
                    <a:pt x="81" y="21"/>
                  </a:lnTo>
                  <a:lnTo>
                    <a:pt x="84" y="24"/>
                  </a:lnTo>
                  <a:lnTo>
                    <a:pt x="83" y="26"/>
                  </a:lnTo>
                  <a:lnTo>
                    <a:pt x="87" y="27"/>
                  </a:lnTo>
                  <a:lnTo>
                    <a:pt x="90" y="27"/>
                  </a:lnTo>
                  <a:lnTo>
                    <a:pt x="92" y="27"/>
                  </a:lnTo>
                  <a:lnTo>
                    <a:pt x="92" y="27"/>
                  </a:lnTo>
                  <a:close/>
                  <a:moveTo>
                    <a:pt x="2573" y="44"/>
                  </a:moveTo>
                  <a:lnTo>
                    <a:pt x="2573" y="43"/>
                  </a:lnTo>
                  <a:lnTo>
                    <a:pt x="2571" y="42"/>
                  </a:lnTo>
                  <a:lnTo>
                    <a:pt x="2573" y="43"/>
                  </a:lnTo>
                  <a:lnTo>
                    <a:pt x="2576" y="43"/>
                  </a:lnTo>
                  <a:lnTo>
                    <a:pt x="2579" y="43"/>
                  </a:lnTo>
                  <a:lnTo>
                    <a:pt x="2582" y="43"/>
                  </a:lnTo>
                  <a:lnTo>
                    <a:pt x="2584" y="43"/>
                  </a:lnTo>
                  <a:lnTo>
                    <a:pt x="2588" y="43"/>
                  </a:lnTo>
                  <a:lnTo>
                    <a:pt x="2591" y="43"/>
                  </a:lnTo>
                  <a:lnTo>
                    <a:pt x="2593" y="44"/>
                  </a:lnTo>
                  <a:lnTo>
                    <a:pt x="2597" y="43"/>
                  </a:lnTo>
                  <a:lnTo>
                    <a:pt x="2599" y="44"/>
                  </a:lnTo>
                  <a:lnTo>
                    <a:pt x="2601" y="44"/>
                  </a:lnTo>
                  <a:lnTo>
                    <a:pt x="2603" y="45"/>
                  </a:lnTo>
                  <a:lnTo>
                    <a:pt x="2607" y="46"/>
                  </a:lnTo>
                  <a:lnTo>
                    <a:pt x="2609" y="47"/>
                  </a:lnTo>
                  <a:lnTo>
                    <a:pt x="2607" y="50"/>
                  </a:lnTo>
                  <a:lnTo>
                    <a:pt x="2603" y="51"/>
                  </a:lnTo>
                  <a:lnTo>
                    <a:pt x="2601" y="52"/>
                  </a:lnTo>
                  <a:lnTo>
                    <a:pt x="2598" y="53"/>
                  </a:lnTo>
                  <a:lnTo>
                    <a:pt x="2596" y="54"/>
                  </a:lnTo>
                  <a:lnTo>
                    <a:pt x="2592" y="54"/>
                  </a:lnTo>
                  <a:lnTo>
                    <a:pt x="2590" y="55"/>
                  </a:lnTo>
                  <a:lnTo>
                    <a:pt x="2586" y="54"/>
                  </a:lnTo>
                  <a:lnTo>
                    <a:pt x="2583" y="53"/>
                  </a:lnTo>
                  <a:lnTo>
                    <a:pt x="2586" y="52"/>
                  </a:lnTo>
                  <a:lnTo>
                    <a:pt x="2589" y="52"/>
                  </a:lnTo>
                  <a:lnTo>
                    <a:pt x="2586" y="51"/>
                  </a:lnTo>
                  <a:lnTo>
                    <a:pt x="2583" y="51"/>
                  </a:lnTo>
                  <a:lnTo>
                    <a:pt x="2581" y="50"/>
                  </a:lnTo>
                  <a:lnTo>
                    <a:pt x="2577" y="50"/>
                  </a:lnTo>
                  <a:lnTo>
                    <a:pt x="2575" y="50"/>
                  </a:lnTo>
                  <a:lnTo>
                    <a:pt x="2572" y="47"/>
                  </a:lnTo>
                  <a:lnTo>
                    <a:pt x="2575" y="47"/>
                  </a:lnTo>
                  <a:lnTo>
                    <a:pt x="2573" y="44"/>
                  </a:lnTo>
                  <a:lnTo>
                    <a:pt x="25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 name="Freeform 221">
              <a:extLst>
                <a:ext uri="{FF2B5EF4-FFF2-40B4-BE49-F238E27FC236}">
                  <a16:creationId xmlns:a16="http://schemas.microsoft.com/office/drawing/2014/main" id="{1BEEBBBB-95A0-42CF-AFD2-3943A36B2FD9}"/>
                </a:ext>
              </a:extLst>
            </p:cNvPr>
            <p:cNvSpPr>
              <a:spLocks/>
            </p:cNvSpPr>
            <p:nvPr/>
          </p:nvSpPr>
          <p:spPr bwMode="auto">
            <a:xfrm>
              <a:off x="8994775" y="5389563"/>
              <a:ext cx="79375" cy="77788"/>
            </a:xfrm>
            <a:custGeom>
              <a:avLst/>
              <a:gdLst>
                <a:gd name="T0" fmla="*/ 26 w 50"/>
                <a:gd name="T1" fmla="*/ 8 h 49"/>
                <a:gd name="T2" fmla="*/ 31 w 50"/>
                <a:gd name="T3" fmla="*/ 8 h 49"/>
                <a:gd name="T4" fmla="*/ 33 w 50"/>
                <a:gd name="T5" fmla="*/ 6 h 49"/>
                <a:gd name="T6" fmla="*/ 38 w 50"/>
                <a:gd name="T7" fmla="*/ 5 h 49"/>
                <a:gd name="T8" fmla="*/ 44 w 50"/>
                <a:gd name="T9" fmla="*/ 4 h 49"/>
                <a:gd name="T10" fmla="*/ 50 w 50"/>
                <a:gd name="T11" fmla="*/ 4 h 49"/>
                <a:gd name="T12" fmla="*/ 50 w 50"/>
                <a:gd name="T13" fmla="*/ 9 h 49"/>
                <a:gd name="T14" fmla="*/ 50 w 50"/>
                <a:gd name="T15" fmla="*/ 15 h 49"/>
                <a:gd name="T16" fmla="*/ 50 w 50"/>
                <a:gd name="T17" fmla="*/ 21 h 49"/>
                <a:gd name="T18" fmla="*/ 50 w 50"/>
                <a:gd name="T19" fmla="*/ 25 h 49"/>
                <a:gd name="T20" fmla="*/ 46 w 50"/>
                <a:gd name="T21" fmla="*/ 25 h 49"/>
                <a:gd name="T22" fmla="*/ 44 w 50"/>
                <a:gd name="T23" fmla="*/ 31 h 49"/>
                <a:gd name="T24" fmla="*/ 45 w 50"/>
                <a:gd name="T25" fmla="*/ 36 h 49"/>
                <a:gd name="T26" fmla="*/ 45 w 50"/>
                <a:gd name="T27" fmla="*/ 42 h 49"/>
                <a:gd name="T28" fmla="*/ 41 w 50"/>
                <a:gd name="T29" fmla="*/ 38 h 49"/>
                <a:gd name="T30" fmla="*/ 41 w 50"/>
                <a:gd name="T31" fmla="*/ 36 h 49"/>
                <a:gd name="T32" fmla="*/ 36 w 50"/>
                <a:gd name="T33" fmla="*/ 34 h 49"/>
                <a:gd name="T34" fmla="*/ 36 w 50"/>
                <a:gd name="T35" fmla="*/ 38 h 49"/>
                <a:gd name="T36" fmla="*/ 34 w 50"/>
                <a:gd name="T37" fmla="*/ 43 h 49"/>
                <a:gd name="T38" fmla="*/ 31 w 50"/>
                <a:gd name="T39" fmla="*/ 44 h 49"/>
                <a:gd name="T40" fmla="*/ 29 w 50"/>
                <a:gd name="T41" fmla="*/ 49 h 49"/>
                <a:gd name="T42" fmla="*/ 24 w 50"/>
                <a:gd name="T43" fmla="*/ 48 h 49"/>
                <a:gd name="T44" fmla="*/ 19 w 50"/>
                <a:gd name="T45" fmla="*/ 47 h 49"/>
                <a:gd name="T46" fmla="*/ 21 w 50"/>
                <a:gd name="T47" fmla="*/ 43 h 49"/>
                <a:gd name="T48" fmla="*/ 16 w 50"/>
                <a:gd name="T49" fmla="*/ 43 h 49"/>
                <a:gd name="T50" fmla="*/ 11 w 50"/>
                <a:gd name="T51" fmla="*/ 38 h 49"/>
                <a:gd name="T52" fmla="*/ 9 w 50"/>
                <a:gd name="T53" fmla="*/ 32 h 49"/>
                <a:gd name="T54" fmla="*/ 9 w 50"/>
                <a:gd name="T55" fmla="*/ 27 h 49"/>
                <a:gd name="T56" fmla="*/ 10 w 50"/>
                <a:gd name="T57" fmla="*/ 27 h 49"/>
                <a:gd name="T58" fmla="*/ 8 w 50"/>
                <a:gd name="T59" fmla="*/ 23 h 49"/>
                <a:gd name="T60" fmla="*/ 3 w 50"/>
                <a:gd name="T61" fmla="*/ 17 h 49"/>
                <a:gd name="T62" fmla="*/ 1 w 50"/>
                <a:gd name="T63" fmla="*/ 11 h 49"/>
                <a:gd name="T64" fmla="*/ 0 w 50"/>
                <a:gd name="T65" fmla="*/ 6 h 49"/>
                <a:gd name="T66" fmla="*/ 0 w 50"/>
                <a:gd name="T67" fmla="*/ 0 h 49"/>
                <a:gd name="T68" fmla="*/ 5 w 50"/>
                <a:gd name="T69" fmla="*/ 2 h 49"/>
                <a:gd name="T70" fmla="*/ 11 w 50"/>
                <a:gd name="T71" fmla="*/ 4 h 49"/>
                <a:gd name="T72" fmla="*/ 16 w 50"/>
                <a:gd name="T73" fmla="*/ 6 h 49"/>
                <a:gd name="T74" fmla="*/ 21 w 50"/>
                <a:gd name="T75" fmla="*/ 8 h 49"/>
                <a:gd name="T76" fmla="*/ 25 w 50"/>
                <a:gd name="T77"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49">
                  <a:moveTo>
                    <a:pt x="25" y="8"/>
                  </a:moveTo>
                  <a:lnTo>
                    <a:pt x="26" y="8"/>
                  </a:lnTo>
                  <a:lnTo>
                    <a:pt x="28" y="7"/>
                  </a:lnTo>
                  <a:lnTo>
                    <a:pt x="31" y="8"/>
                  </a:lnTo>
                  <a:lnTo>
                    <a:pt x="30" y="6"/>
                  </a:lnTo>
                  <a:lnTo>
                    <a:pt x="33" y="6"/>
                  </a:lnTo>
                  <a:lnTo>
                    <a:pt x="36" y="5"/>
                  </a:lnTo>
                  <a:lnTo>
                    <a:pt x="38" y="5"/>
                  </a:lnTo>
                  <a:lnTo>
                    <a:pt x="42" y="4"/>
                  </a:lnTo>
                  <a:lnTo>
                    <a:pt x="44" y="4"/>
                  </a:lnTo>
                  <a:lnTo>
                    <a:pt x="46" y="1"/>
                  </a:lnTo>
                  <a:lnTo>
                    <a:pt x="50" y="4"/>
                  </a:lnTo>
                  <a:lnTo>
                    <a:pt x="50" y="7"/>
                  </a:lnTo>
                  <a:lnTo>
                    <a:pt x="50" y="9"/>
                  </a:lnTo>
                  <a:lnTo>
                    <a:pt x="50" y="13"/>
                  </a:lnTo>
                  <a:lnTo>
                    <a:pt x="50" y="15"/>
                  </a:lnTo>
                  <a:lnTo>
                    <a:pt x="50" y="17"/>
                  </a:lnTo>
                  <a:lnTo>
                    <a:pt x="50" y="21"/>
                  </a:lnTo>
                  <a:lnTo>
                    <a:pt x="50" y="23"/>
                  </a:lnTo>
                  <a:lnTo>
                    <a:pt x="50" y="25"/>
                  </a:lnTo>
                  <a:lnTo>
                    <a:pt x="47" y="23"/>
                  </a:lnTo>
                  <a:lnTo>
                    <a:pt x="46" y="25"/>
                  </a:lnTo>
                  <a:lnTo>
                    <a:pt x="45" y="28"/>
                  </a:lnTo>
                  <a:lnTo>
                    <a:pt x="44" y="31"/>
                  </a:lnTo>
                  <a:lnTo>
                    <a:pt x="45" y="34"/>
                  </a:lnTo>
                  <a:lnTo>
                    <a:pt x="45" y="36"/>
                  </a:lnTo>
                  <a:lnTo>
                    <a:pt x="45" y="39"/>
                  </a:lnTo>
                  <a:lnTo>
                    <a:pt x="45" y="42"/>
                  </a:lnTo>
                  <a:lnTo>
                    <a:pt x="42" y="40"/>
                  </a:lnTo>
                  <a:lnTo>
                    <a:pt x="41" y="38"/>
                  </a:lnTo>
                  <a:lnTo>
                    <a:pt x="44" y="39"/>
                  </a:lnTo>
                  <a:lnTo>
                    <a:pt x="41" y="36"/>
                  </a:lnTo>
                  <a:lnTo>
                    <a:pt x="38" y="36"/>
                  </a:lnTo>
                  <a:lnTo>
                    <a:pt x="36" y="34"/>
                  </a:lnTo>
                  <a:lnTo>
                    <a:pt x="35" y="35"/>
                  </a:lnTo>
                  <a:lnTo>
                    <a:pt x="36" y="38"/>
                  </a:lnTo>
                  <a:lnTo>
                    <a:pt x="35" y="40"/>
                  </a:lnTo>
                  <a:lnTo>
                    <a:pt x="34" y="43"/>
                  </a:lnTo>
                  <a:lnTo>
                    <a:pt x="31" y="41"/>
                  </a:lnTo>
                  <a:lnTo>
                    <a:pt x="31" y="44"/>
                  </a:lnTo>
                  <a:lnTo>
                    <a:pt x="30" y="47"/>
                  </a:lnTo>
                  <a:lnTo>
                    <a:pt x="29" y="49"/>
                  </a:lnTo>
                  <a:lnTo>
                    <a:pt x="27" y="48"/>
                  </a:lnTo>
                  <a:lnTo>
                    <a:pt x="24" y="48"/>
                  </a:lnTo>
                  <a:lnTo>
                    <a:pt x="21" y="47"/>
                  </a:lnTo>
                  <a:lnTo>
                    <a:pt x="19" y="47"/>
                  </a:lnTo>
                  <a:lnTo>
                    <a:pt x="18" y="44"/>
                  </a:lnTo>
                  <a:lnTo>
                    <a:pt x="21" y="43"/>
                  </a:lnTo>
                  <a:lnTo>
                    <a:pt x="18" y="44"/>
                  </a:lnTo>
                  <a:lnTo>
                    <a:pt x="16" y="43"/>
                  </a:lnTo>
                  <a:lnTo>
                    <a:pt x="13" y="40"/>
                  </a:lnTo>
                  <a:lnTo>
                    <a:pt x="11" y="38"/>
                  </a:lnTo>
                  <a:lnTo>
                    <a:pt x="10" y="35"/>
                  </a:lnTo>
                  <a:lnTo>
                    <a:pt x="9" y="32"/>
                  </a:lnTo>
                  <a:lnTo>
                    <a:pt x="8" y="30"/>
                  </a:lnTo>
                  <a:lnTo>
                    <a:pt x="9" y="27"/>
                  </a:lnTo>
                  <a:lnTo>
                    <a:pt x="11" y="30"/>
                  </a:lnTo>
                  <a:lnTo>
                    <a:pt x="10" y="27"/>
                  </a:lnTo>
                  <a:lnTo>
                    <a:pt x="8" y="25"/>
                  </a:lnTo>
                  <a:lnTo>
                    <a:pt x="8" y="23"/>
                  </a:lnTo>
                  <a:lnTo>
                    <a:pt x="5" y="19"/>
                  </a:lnTo>
                  <a:lnTo>
                    <a:pt x="3" y="17"/>
                  </a:lnTo>
                  <a:lnTo>
                    <a:pt x="2" y="14"/>
                  </a:lnTo>
                  <a:lnTo>
                    <a:pt x="1" y="11"/>
                  </a:lnTo>
                  <a:lnTo>
                    <a:pt x="0" y="9"/>
                  </a:lnTo>
                  <a:lnTo>
                    <a:pt x="0" y="6"/>
                  </a:lnTo>
                  <a:lnTo>
                    <a:pt x="0" y="4"/>
                  </a:lnTo>
                  <a:lnTo>
                    <a:pt x="0" y="0"/>
                  </a:lnTo>
                  <a:lnTo>
                    <a:pt x="2" y="1"/>
                  </a:lnTo>
                  <a:lnTo>
                    <a:pt x="5" y="2"/>
                  </a:lnTo>
                  <a:lnTo>
                    <a:pt x="8" y="2"/>
                  </a:lnTo>
                  <a:lnTo>
                    <a:pt x="11" y="4"/>
                  </a:lnTo>
                  <a:lnTo>
                    <a:pt x="13" y="5"/>
                  </a:lnTo>
                  <a:lnTo>
                    <a:pt x="16" y="6"/>
                  </a:lnTo>
                  <a:lnTo>
                    <a:pt x="19" y="7"/>
                  </a:lnTo>
                  <a:lnTo>
                    <a:pt x="21" y="8"/>
                  </a:lnTo>
                  <a:lnTo>
                    <a:pt x="24" y="8"/>
                  </a:lnTo>
                  <a:lnTo>
                    <a:pt x="25" y="8"/>
                  </a:lnTo>
                  <a:lnTo>
                    <a:pt x="2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 name="Freeform 222">
              <a:extLst>
                <a:ext uri="{FF2B5EF4-FFF2-40B4-BE49-F238E27FC236}">
                  <a16:creationId xmlns:a16="http://schemas.microsoft.com/office/drawing/2014/main" id="{5DB93F65-E033-4CD4-8218-CAE338C5CA03}"/>
                </a:ext>
              </a:extLst>
            </p:cNvPr>
            <p:cNvSpPr>
              <a:spLocks/>
            </p:cNvSpPr>
            <p:nvPr/>
          </p:nvSpPr>
          <p:spPr bwMode="auto">
            <a:xfrm>
              <a:off x="8697913" y="4462463"/>
              <a:ext cx="431800" cy="223838"/>
            </a:xfrm>
            <a:custGeom>
              <a:avLst/>
              <a:gdLst>
                <a:gd name="T0" fmla="*/ 254 w 272"/>
                <a:gd name="T1" fmla="*/ 137 h 141"/>
                <a:gd name="T2" fmla="*/ 234 w 272"/>
                <a:gd name="T3" fmla="*/ 133 h 141"/>
                <a:gd name="T4" fmla="*/ 223 w 272"/>
                <a:gd name="T5" fmla="*/ 126 h 141"/>
                <a:gd name="T6" fmla="*/ 215 w 272"/>
                <a:gd name="T7" fmla="*/ 119 h 141"/>
                <a:gd name="T8" fmla="*/ 207 w 272"/>
                <a:gd name="T9" fmla="*/ 107 h 141"/>
                <a:gd name="T10" fmla="*/ 191 w 272"/>
                <a:gd name="T11" fmla="*/ 102 h 141"/>
                <a:gd name="T12" fmla="*/ 184 w 272"/>
                <a:gd name="T13" fmla="*/ 97 h 141"/>
                <a:gd name="T14" fmla="*/ 180 w 272"/>
                <a:gd name="T15" fmla="*/ 102 h 141"/>
                <a:gd name="T16" fmla="*/ 175 w 272"/>
                <a:gd name="T17" fmla="*/ 102 h 141"/>
                <a:gd name="T18" fmla="*/ 170 w 272"/>
                <a:gd name="T19" fmla="*/ 103 h 141"/>
                <a:gd name="T20" fmla="*/ 163 w 272"/>
                <a:gd name="T21" fmla="*/ 109 h 141"/>
                <a:gd name="T22" fmla="*/ 155 w 272"/>
                <a:gd name="T23" fmla="*/ 107 h 141"/>
                <a:gd name="T24" fmla="*/ 170 w 272"/>
                <a:gd name="T25" fmla="*/ 116 h 141"/>
                <a:gd name="T26" fmla="*/ 156 w 272"/>
                <a:gd name="T27" fmla="*/ 121 h 141"/>
                <a:gd name="T28" fmla="*/ 139 w 272"/>
                <a:gd name="T29" fmla="*/ 121 h 141"/>
                <a:gd name="T30" fmla="*/ 126 w 272"/>
                <a:gd name="T31" fmla="*/ 110 h 141"/>
                <a:gd name="T32" fmla="*/ 120 w 272"/>
                <a:gd name="T33" fmla="*/ 106 h 141"/>
                <a:gd name="T34" fmla="*/ 107 w 272"/>
                <a:gd name="T35" fmla="*/ 104 h 141"/>
                <a:gd name="T36" fmla="*/ 111 w 272"/>
                <a:gd name="T37" fmla="*/ 94 h 141"/>
                <a:gd name="T38" fmla="*/ 110 w 272"/>
                <a:gd name="T39" fmla="*/ 89 h 141"/>
                <a:gd name="T40" fmla="*/ 101 w 272"/>
                <a:gd name="T41" fmla="*/ 80 h 141"/>
                <a:gd name="T42" fmla="*/ 97 w 272"/>
                <a:gd name="T43" fmla="*/ 73 h 141"/>
                <a:gd name="T44" fmla="*/ 88 w 272"/>
                <a:gd name="T45" fmla="*/ 64 h 141"/>
                <a:gd name="T46" fmla="*/ 78 w 272"/>
                <a:gd name="T47" fmla="*/ 62 h 141"/>
                <a:gd name="T48" fmla="*/ 64 w 272"/>
                <a:gd name="T49" fmla="*/ 56 h 141"/>
                <a:gd name="T50" fmla="*/ 52 w 272"/>
                <a:gd name="T51" fmla="*/ 53 h 141"/>
                <a:gd name="T52" fmla="*/ 45 w 272"/>
                <a:gd name="T53" fmla="*/ 50 h 141"/>
                <a:gd name="T54" fmla="*/ 36 w 272"/>
                <a:gd name="T55" fmla="*/ 39 h 141"/>
                <a:gd name="T56" fmla="*/ 33 w 272"/>
                <a:gd name="T57" fmla="*/ 47 h 141"/>
                <a:gd name="T58" fmla="*/ 25 w 272"/>
                <a:gd name="T59" fmla="*/ 42 h 141"/>
                <a:gd name="T60" fmla="*/ 17 w 272"/>
                <a:gd name="T61" fmla="*/ 32 h 141"/>
                <a:gd name="T62" fmla="*/ 33 w 272"/>
                <a:gd name="T63" fmla="*/ 29 h 141"/>
                <a:gd name="T64" fmla="*/ 35 w 272"/>
                <a:gd name="T65" fmla="*/ 25 h 141"/>
                <a:gd name="T66" fmla="*/ 19 w 272"/>
                <a:gd name="T67" fmla="*/ 25 h 141"/>
                <a:gd name="T68" fmla="*/ 11 w 272"/>
                <a:gd name="T69" fmla="*/ 17 h 141"/>
                <a:gd name="T70" fmla="*/ 3 w 272"/>
                <a:gd name="T71" fmla="*/ 10 h 141"/>
                <a:gd name="T72" fmla="*/ 15 w 272"/>
                <a:gd name="T73" fmla="*/ 2 h 141"/>
                <a:gd name="T74" fmla="*/ 29 w 272"/>
                <a:gd name="T75" fmla="*/ 2 h 141"/>
                <a:gd name="T76" fmla="*/ 42 w 272"/>
                <a:gd name="T77" fmla="*/ 8 h 141"/>
                <a:gd name="T78" fmla="*/ 43 w 272"/>
                <a:gd name="T79" fmla="*/ 25 h 141"/>
                <a:gd name="T80" fmla="*/ 51 w 272"/>
                <a:gd name="T81" fmla="*/ 35 h 141"/>
                <a:gd name="T82" fmla="*/ 64 w 272"/>
                <a:gd name="T83" fmla="*/ 38 h 141"/>
                <a:gd name="T84" fmla="*/ 76 w 272"/>
                <a:gd name="T85" fmla="*/ 25 h 141"/>
                <a:gd name="T86" fmla="*/ 87 w 272"/>
                <a:gd name="T87" fmla="*/ 18 h 141"/>
                <a:gd name="T88" fmla="*/ 102 w 272"/>
                <a:gd name="T89" fmla="*/ 19 h 141"/>
                <a:gd name="T90" fmla="*/ 121 w 272"/>
                <a:gd name="T91" fmla="*/ 27 h 141"/>
                <a:gd name="T92" fmla="*/ 136 w 272"/>
                <a:gd name="T93" fmla="*/ 30 h 141"/>
                <a:gd name="T94" fmla="*/ 154 w 272"/>
                <a:gd name="T95" fmla="*/ 37 h 141"/>
                <a:gd name="T96" fmla="*/ 171 w 272"/>
                <a:gd name="T97" fmla="*/ 42 h 141"/>
                <a:gd name="T98" fmla="*/ 186 w 272"/>
                <a:gd name="T99" fmla="*/ 50 h 141"/>
                <a:gd name="T100" fmla="*/ 195 w 272"/>
                <a:gd name="T101" fmla="*/ 54 h 141"/>
                <a:gd name="T102" fmla="*/ 203 w 272"/>
                <a:gd name="T103" fmla="*/ 70 h 141"/>
                <a:gd name="T104" fmla="*/ 217 w 272"/>
                <a:gd name="T105" fmla="*/ 75 h 141"/>
                <a:gd name="T106" fmla="*/ 230 w 272"/>
                <a:gd name="T107" fmla="*/ 85 h 141"/>
                <a:gd name="T108" fmla="*/ 218 w 272"/>
                <a:gd name="T109" fmla="*/ 89 h 141"/>
                <a:gd name="T110" fmla="*/ 230 w 272"/>
                <a:gd name="T111" fmla="*/ 104 h 141"/>
                <a:gd name="T112" fmla="*/ 239 w 272"/>
                <a:gd name="T113" fmla="*/ 114 h 141"/>
                <a:gd name="T114" fmla="*/ 249 w 272"/>
                <a:gd name="T115" fmla="*/ 122 h 141"/>
                <a:gd name="T116" fmla="*/ 259 w 272"/>
                <a:gd name="T117" fmla="*/ 128 h 141"/>
                <a:gd name="T118" fmla="*/ 264 w 272"/>
                <a:gd name="T119" fmla="*/ 135 h 141"/>
                <a:gd name="T120" fmla="*/ 268 w 272"/>
                <a:gd name="T121" fmla="*/ 14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2" h="141">
                  <a:moveTo>
                    <a:pt x="259" y="139"/>
                  </a:moveTo>
                  <a:lnTo>
                    <a:pt x="260" y="138"/>
                  </a:lnTo>
                  <a:lnTo>
                    <a:pt x="259" y="138"/>
                  </a:lnTo>
                  <a:lnTo>
                    <a:pt x="258" y="138"/>
                  </a:lnTo>
                  <a:lnTo>
                    <a:pt x="256" y="137"/>
                  </a:lnTo>
                  <a:lnTo>
                    <a:pt x="254" y="137"/>
                  </a:lnTo>
                  <a:lnTo>
                    <a:pt x="248" y="136"/>
                  </a:lnTo>
                  <a:lnTo>
                    <a:pt x="246" y="136"/>
                  </a:lnTo>
                  <a:lnTo>
                    <a:pt x="242" y="133"/>
                  </a:lnTo>
                  <a:lnTo>
                    <a:pt x="240" y="135"/>
                  </a:lnTo>
                  <a:lnTo>
                    <a:pt x="237" y="135"/>
                  </a:lnTo>
                  <a:lnTo>
                    <a:pt x="234" y="133"/>
                  </a:lnTo>
                  <a:lnTo>
                    <a:pt x="232" y="135"/>
                  </a:lnTo>
                  <a:lnTo>
                    <a:pt x="230" y="132"/>
                  </a:lnTo>
                  <a:lnTo>
                    <a:pt x="228" y="132"/>
                  </a:lnTo>
                  <a:lnTo>
                    <a:pt x="226" y="131"/>
                  </a:lnTo>
                  <a:lnTo>
                    <a:pt x="225" y="128"/>
                  </a:lnTo>
                  <a:lnTo>
                    <a:pt x="223" y="126"/>
                  </a:lnTo>
                  <a:lnTo>
                    <a:pt x="220" y="124"/>
                  </a:lnTo>
                  <a:lnTo>
                    <a:pt x="220" y="124"/>
                  </a:lnTo>
                  <a:lnTo>
                    <a:pt x="217" y="122"/>
                  </a:lnTo>
                  <a:lnTo>
                    <a:pt x="218" y="119"/>
                  </a:lnTo>
                  <a:lnTo>
                    <a:pt x="218" y="119"/>
                  </a:lnTo>
                  <a:lnTo>
                    <a:pt x="215" y="119"/>
                  </a:lnTo>
                  <a:lnTo>
                    <a:pt x="213" y="118"/>
                  </a:lnTo>
                  <a:lnTo>
                    <a:pt x="213" y="115"/>
                  </a:lnTo>
                  <a:lnTo>
                    <a:pt x="211" y="113"/>
                  </a:lnTo>
                  <a:lnTo>
                    <a:pt x="211" y="112"/>
                  </a:lnTo>
                  <a:lnTo>
                    <a:pt x="208" y="110"/>
                  </a:lnTo>
                  <a:lnTo>
                    <a:pt x="207" y="107"/>
                  </a:lnTo>
                  <a:lnTo>
                    <a:pt x="205" y="105"/>
                  </a:lnTo>
                  <a:lnTo>
                    <a:pt x="201" y="103"/>
                  </a:lnTo>
                  <a:lnTo>
                    <a:pt x="199" y="104"/>
                  </a:lnTo>
                  <a:lnTo>
                    <a:pt x="196" y="103"/>
                  </a:lnTo>
                  <a:lnTo>
                    <a:pt x="194" y="102"/>
                  </a:lnTo>
                  <a:lnTo>
                    <a:pt x="191" y="102"/>
                  </a:lnTo>
                  <a:lnTo>
                    <a:pt x="189" y="102"/>
                  </a:lnTo>
                  <a:lnTo>
                    <a:pt x="189" y="98"/>
                  </a:lnTo>
                  <a:lnTo>
                    <a:pt x="188" y="99"/>
                  </a:lnTo>
                  <a:lnTo>
                    <a:pt x="187" y="98"/>
                  </a:lnTo>
                  <a:lnTo>
                    <a:pt x="187" y="98"/>
                  </a:lnTo>
                  <a:lnTo>
                    <a:pt x="184" y="97"/>
                  </a:lnTo>
                  <a:lnTo>
                    <a:pt x="183" y="97"/>
                  </a:lnTo>
                  <a:lnTo>
                    <a:pt x="183" y="99"/>
                  </a:lnTo>
                  <a:lnTo>
                    <a:pt x="182" y="99"/>
                  </a:lnTo>
                  <a:lnTo>
                    <a:pt x="181" y="99"/>
                  </a:lnTo>
                  <a:lnTo>
                    <a:pt x="181" y="101"/>
                  </a:lnTo>
                  <a:lnTo>
                    <a:pt x="180" y="102"/>
                  </a:lnTo>
                  <a:lnTo>
                    <a:pt x="179" y="101"/>
                  </a:lnTo>
                  <a:lnTo>
                    <a:pt x="175" y="99"/>
                  </a:lnTo>
                  <a:lnTo>
                    <a:pt x="173" y="97"/>
                  </a:lnTo>
                  <a:lnTo>
                    <a:pt x="173" y="97"/>
                  </a:lnTo>
                  <a:lnTo>
                    <a:pt x="174" y="98"/>
                  </a:lnTo>
                  <a:lnTo>
                    <a:pt x="175" y="102"/>
                  </a:lnTo>
                  <a:lnTo>
                    <a:pt x="177" y="104"/>
                  </a:lnTo>
                  <a:lnTo>
                    <a:pt x="174" y="105"/>
                  </a:lnTo>
                  <a:lnTo>
                    <a:pt x="172" y="104"/>
                  </a:lnTo>
                  <a:lnTo>
                    <a:pt x="169" y="103"/>
                  </a:lnTo>
                  <a:lnTo>
                    <a:pt x="169" y="103"/>
                  </a:lnTo>
                  <a:lnTo>
                    <a:pt x="170" y="103"/>
                  </a:lnTo>
                  <a:lnTo>
                    <a:pt x="170" y="104"/>
                  </a:lnTo>
                  <a:lnTo>
                    <a:pt x="172" y="106"/>
                  </a:lnTo>
                  <a:lnTo>
                    <a:pt x="171" y="107"/>
                  </a:lnTo>
                  <a:lnTo>
                    <a:pt x="169" y="109"/>
                  </a:lnTo>
                  <a:lnTo>
                    <a:pt x="165" y="109"/>
                  </a:lnTo>
                  <a:lnTo>
                    <a:pt x="163" y="109"/>
                  </a:lnTo>
                  <a:lnTo>
                    <a:pt x="161" y="109"/>
                  </a:lnTo>
                  <a:lnTo>
                    <a:pt x="157" y="109"/>
                  </a:lnTo>
                  <a:lnTo>
                    <a:pt x="155" y="106"/>
                  </a:lnTo>
                  <a:lnTo>
                    <a:pt x="152" y="107"/>
                  </a:lnTo>
                  <a:lnTo>
                    <a:pt x="153" y="107"/>
                  </a:lnTo>
                  <a:lnTo>
                    <a:pt x="155" y="107"/>
                  </a:lnTo>
                  <a:lnTo>
                    <a:pt x="157" y="110"/>
                  </a:lnTo>
                  <a:lnTo>
                    <a:pt x="161" y="109"/>
                  </a:lnTo>
                  <a:lnTo>
                    <a:pt x="163" y="111"/>
                  </a:lnTo>
                  <a:lnTo>
                    <a:pt x="165" y="111"/>
                  </a:lnTo>
                  <a:lnTo>
                    <a:pt x="169" y="114"/>
                  </a:lnTo>
                  <a:lnTo>
                    <a:pt x="170" y="116"/>
                  </a:lnTo>
                  <a:lnTo>
                    <a:pt x="167" y="119"/>
                  </a:lnTo>
                  <a:lnTo>
                    <a:pt x="164" y="120"/>
                  </a:lnTo>
                  <a:lnTo>
                    <a:pt x="162" y="121"/>
                  </a:lnTo>
                  <a:lnTo>
                    <a:pt x="158" y="123"/>
                  </a:lnTo>
                  <a:lnTo>
                    <a:pt x="158" y="123"/>
                  </a:lnTo>
                  <a:lnTo>
                    <a:pt x="156" y="121"/>
                  </a:lnTo>
                  <a:lnTo>
                    <a:pt x="153" y="120"/>
                  </a:lnTo>
                  <a:lnTo>
                    <a:pt x="150" y="121"/>
                  </a:lnTo>
                  <a:lnTo>
                    <a:pt x="147" y="121"/>
                  </a:lnTo>
                  <a:lnTo>
                    <a:pt x="145" y="121"/>
                  </a:lnTo>
                  <a:lnTo>
                    <a:pt x="143" y="120"/>
                  </a:lnTo>
                  <a:lnTo>
                    <a:pt x="139" y="121"/>
                  </a:lnTo>
                  <a:lnTo>
                    <a:pt x="137" y="120"/>
                  </a:lnTo>
                  <a:lnTo>
                    <a:pt x="133" y="119"/>
                  </a:lnTo>
                  <a:lnTo>
                    <a:pt x="131" y="115"/>
                  </a:lnTo>
                  <a:lnTo>
                    <a:pt x="129" y="113"/>
                  </a:lnTo>
                  <a:lnTo>
                    <a:pt x="128" y="111"/>
                  </a:lnTo>
                  <a:lnTo>
                    <a:pt x="126" y="110"/>
                  </a:lnTo>
                  <a:lnTo>
                    <a:pt x="123" y="107"/>
                  </a:lnTo>
                  <a:lnTo>
                    <a:pt x="123" y="107"/>
                  </a:lnTo>
                  <a:lnTo>
                    <a:pt x="123" y="106"/>
                  </a:lnTo>
                  <a:lnTo>
                    <a:pt x="124" y="103"/>
                  </a:lnTo>
                  <a:lnTo>
                    <a:pt x="123" y="105"/>
                  </a:lnTo>
                  <a:lnTo>
                    <a:pt x="120" y="106"/>
                  </a:lnTo>
                  <a:lnTo>
                    <a:pt x="118" y="106"/>
                  </a:lnTo>
                  <a:lnTo>
                    <a:pt x="115" y="107"/>
                  </a:lnTo>
                  <a:lnTo>
                    <a:pt x="112" y="104"/>
                  </a:lnTo>
                  <a:lnTo>
                    <a:pt x="110" y="106"/>
                  </a:lnTo>
                  <a:lnTo>
                    <a:pt x="107" y="107"/>
                  </a:lnTo>
                  <a:lnTo>
                    <a:pt x="107" y="104"/>
                  </a:lnTo>
                  <a:lnTo>
                    <a:pt x="110" y="102"/>
                  </a:lnTo>
                  <a:lnTo>
                    <a:pt x="111" y="98"/>
                  </a:lnTo>
                  <a:lnTo>
                    <a:pt x="107" y="96"/>
                  </a:lnTo>
                  <a:lnTo>
                    <a:pt x="105" y="94"/>
                  </a:lnTo>
                  <a:lnTo>
                    <a:pt x="109" y="94"/>
                  </a:lnTo>
                  <a:lnTo>
                    <a:pt x="111" y="94"/>
                  </a:lnTo>
                  <a:lnTo>
                    <a:pt x="112" y="93"/>
                  </a:lnTo>
                  <a:lnTo>
                    <a:pt x="110" y="94"/>
                  </a:lnTo>
                  <a:lnTo>
                    <a:pt x="107" y="93"/>
                  </a:lnTo>
                  <a:lnTo>
                    <a:pt x="104" y="90"/>
                  </a:lnTo>
                  <a:lnTo>
                    <a:pt x="107" y="89"/>
                  </a:lnTo>
                  <a:lnTo>
                    <a:pt x="110" y="89"/>
                  </a:lnTo>
                  <a:lnTo>
                    <a:pt x="112" y="90"/>
                  </a:lnTo>
                  <a:lnTo>
                    <a:pt x="109" y="89"/>
                  </a:lnTo>
                  <a:lnTo>
                    <a:pt x="106" y="88"/>
                  </a:lnTo>
                  <a:lnTo>
                    <a:pt x="105" y="85"/>
                  </a:lnTo>
                  <a:lnTo>
                    <a:pt x="102" y="82"/>
                  </a:lnTo>
                  <a:lnTo>
                    <a:pt x="101" y="80"/>
                  </a:lnTo>
                  <a:lnTo>
                    <a:pt x="100" y="77"/>
                  </a:lnTo>
                  <a:lnTo>
                    <a:pt x="100" y="77"/>
                  </a:lnTo>
                  <a:lnTo>
                    <a:pt x="101" y="75"/>
                  </a:lnTo>
                  <a:lnTo>
                    <a:pt x="98" y="75"/>
                  </a:lnTo>
                  <a:lnTo>
                    <a:pt x="101" y="72"/>
                  </a:lnTo>
                  <a:lnTo>
                    <a:pt x="97" y="73"/>
                  </a:lnTo>
                  <a:lnTo>
                    <a:pt x="97" y="73"/>
                  </a:lnTo>
                  <a:lnTo>
                    <a:pt x="96" y="72"/>
                  </a:lnTo>
                  <a:lnTo>
                    <a:pt x="96" y="69"/>
                  </a:lnTo>
                  <a:lnTo>
                    <a:pt x="94" y="68"/>
                  </a:lnTo>
                  <a:lnTo>
                    <a:pt x="90" y="67"/>
                  </a:lnTo>
                  <a:lnTo>
                    <a:pt x="88" y="64"/>
                  </a:lnTo>
                  <a:lnTo>
                    <a:pt x="88" y="64"/>
                  </a:lnTo>
                  <a:lnTo>
                    <a:pt x="85" y="63"/>
                  </a:lnTo>
                  <a:lnTo>
                    <a:pt x="83" y="62"/>
                  </a:lnTo>
                  <a:lnTo>
                    <a:pt x="80" y="62"/>
                  </a:lnTo>
                  <a:lnTo>
                    <a:pt x="79" y="62"/>
                  </a:lnTo>
                  <a:lnTo>
                    <a:pt x="78" y="62"/>
                  </a:lnTo>
                  <a:lnTo>
                    <a:pt x="78" y="62"/>
                  </a:lnTo>
                  <a:lnTo>
                    <a:pt x="76" y="60"/>
                  </a:lnTo>
                  <a:lnTo>
                    <a:pt x="72" y="59"/>
                  </a:lnTo>
                  <a:lnTo>
                    <a:pt x="70" y="58"/>
                  </a:lnTo>
                  <a:lnTo>
                    <a:pt x="68" y="56"/>
                  </a:lnTo>
                  <a:lnTo>
                    <a:pt x="64" y="56"/>
                  </a:lnTo>
                  <a:lnTo>
                    <a:pt x="63" y="56"/>
                  </a:lnTo>
                  <a:lnTo>
                    <a:pt x="60" y="55"/>
                  </a:lnTo>
                  <a:lnTo>
                    <a:pt x="58" y="55"/>
                  </a:lnTo>
                  <a:lnTo>
                    <a:pt x="54" y="54"/>
                  </a:lnTo>
                  <a:lnTo>
                    <a:pt x="52" y="53"/>
                  </a:lnTo>
                  <a:lnTo>
                    <a:pt x="52" y="53"/>
                  </a:lnTo>
                  <a:lnTo>
                    <a:pt x="51" y="52"/>
                  </a:lnTo>
                  <a:lnTo>
                    <a:pt x="50" y="50"/>
                  </a:lnTo>
                  <a:lnTo>
                    <a:pt x="53" y="48"/>
                  </a:lnTo>
                  <a:lnTo>
                    <a:pt x="50" y="48"/>
                  </a:lnTo>
                  <a:lnTo>
                    <a:pt x="47" y="50"/>
                  </a:lnTo>
                  <a:lnTo>
                    <a:pt x="45" y="50"/>
                  </a:lnTo>
                  <a:lnTo>
                    <a:pt x="43" y="46"/>
                  </a:lnTo>
                  <a:lnTo>
                    <a:pt x="41" y="47"/>
                  </a:lnTo>
                  <a:lnTo>
                    <a:pt x="39" y="46"/>
                  </a:lnTo>
                  <a:lnTo>
                    <a:pt x="37" y="45"/>
                  </a:lnTo>
                  <a:lnTo>
                    <a:pt x="36" y="42"/>
                  </a:lnTo>
                  <a:lnTo>
                    <a:pt x="36" y="39"/>
                  </a:lnTo>
                  <a:lnTo>
                    <a:pt x="38" y="37"/>
                  </a:lnTo>
                  <a:lnTo>
                    <a:pt x="36" y="37"/>
                  </a:lnTo>
                  <a:lnTo>
                    <a:pt x="36" y="41"/>
                  </a:lnTo>
                  <a:lnTo>
                    <a:pt x="35" y="43"/>
                  </a:lnTo>
                  <a:lnTo>
                    <a:pt x="33" y="45"/>
                  </a:lnTo>
                  <a:lnTo>
                    <a:pt x="33" y="47"/>
                  </a:lnTo>
                  <a:lnTo>
                    <a:pt x="30" y="51"/>
                  </a:lnTo>
                  <a:lnTo>
                    <a:pt x="28" y="50"/>
                  </a:lnTo>
                  <a:lnTo>
                    <a:pt x="25" y="50"/>
                  </a:lnTo>
                  <a:lnTo>
                    <a:pt x="24" y="47"/>
                  </a:lnTo>
                  <a:lnTo>
                    <a:pt x="26" y="44"/>
                  </a:lnTo>
                  <a:lnTo>
                    <a:pt x="25" y="42"/>
                  </a:lnTo>
                  <a:lnTo>
                    <a:pt x="22" y="39"/>
                  </a:lnTo>
                  <a:lnTo>
                    <a:pt x="20" y="37"/>
                  </a:lnTo>
                  <a:lnTo>
                    <a:pt x="18" y="35"/>
                  </a:lnTo>
                  <a:lnTo>
                    <a:pt x="15" y="35"/>
                  </a:lnTo>
                  <a:lnTo>
                    <a:pt x="15" y="33"/>
                  </a:lnTo>
                  <a:lnTo>
                    <a:pt x="17" y="32"/>
                  </a:lnTo>
                  <a:lnTo>
                    <a:pt x="20" y="33"/>
                  </a:lnTo>
                  <a:lnTo>
                    <a:pt x="22" y="33"/>
                  </a:lnTo>
                  <a:lnTo>
                    <a:pt x="25" y="33"/>
                  </a:lnTo>
                  <a:lnTo>
                    <a:pt x="27" y="29"/>
                  </a:lnTo>
                  <a:lnTo>
                    <a:pt x="29" y="28"/>
                  </a:lnTo>
                  <a:lnTo>
                    <a:pt x="33" y="29"/>
                  </a:lnTo>
                  <a:lnTo>
                    <a:pt x="37" y="30"/>
                  </a:lnTo>
                  <a:lnTo>
                    <a:pt x="37" y="28"/>
                  </a:lnTo>
                  <a:lnTo>
                    <a:pt x="41" y="28"/>
                  </a:lnTo>
                  <a:lnTo>
                    <a:pt x="41" y="25"/>
                  </a:lnTo>
                  <a:lnTo>
                    <a:pt x="37" y="25"/>
                  </a:lnTo>
                  <a:lnTo>
                    <a:pt x="35" y="25"/>
                  </a:lnTo>
                  <a:lnTo>
                    <a:pt x="29" y="25"/>
                  </a:lnTo>
                  <a:lnTo>
                    <a:pt x="27" y="26"/>
                  </a:lnTo>
                  <a:lnTo>
                    <a:pt x="26" y="26"/>
                  </a:lnTo>
                  <a:lnTo>
                    <a:pt x="24" y="26"/>
                  </a:lnTo>
                  <a:lnTo>
                    <a:pt x="22" y="26"/>
                  </a:lnTo>
                  <a:lnTo>
                    <a:pt x="19" y="25"/>
                  </a:lnTo>
                  <a:lnTo>
                    <a:pt x="17" y="25"/>
                  </a:lnTo>
                  <a:lnTo>
                    <a:pt x="15" y="24"/>
                  </a:lnTo>
                  <a:lnTo>
                    <a:pt x="12" y="20"/>
                  </a:lnTo>
                  <a:lnTo>
                    <a:pt x="13" y="18"/>
                  </a:lnTo>
                  <a:lnTo>
                    <a:pt x="13" y="18"/>
                  </a:lnTo>
                  <a:lnTo>
                    <a:pt x="11" y="17"/>
                  </a:lnTo>
                  <a:lnTo>
                    <a:pt x="8" y="15"/>
                  </a:lnTo>
                  <a:lnTo>
                    <a:pt x="5" y="15"/>
                  </a:lnTo>
                  <a:lnTo>
                    <a:pt x="2" y="16"/>
                  </a:lnTo>
                  <a:lnTo>
                    <a:pt x="0" y="15"/>
                  </a:lnTo>
                  <a:lnTo>
                    <a:pt x="0" y="12"/>
                  </a:lnTo>
                  <a:lnTo>
                    <a:pt x="3" y="10"/>
                  </a:lnTo>
                  <a:lnTo>
                    <a:pt x="3" y="9"/>
                  </a:lnTo>
                  <a:lnTo>
                    <a:pt x="3" y="5"/>
                  </a:lnTo>
                  <a:lnTo>
                    <a:pt x="7" y="4"/>
                  </a:lnTo>
                  <a:lnTo>
                    <a:pt x="9" y="4"/>
                  </a:lnTo>
                  <a:lnTo>
                    <a:pt x="11" y="4"/>
                  </a:lnTo>
                  <a:lnTo>
                    <a:pt x="15" y="2"/>
                  </a:lnTo>
                  <a:lnTo>
                    <a:pt x="17" y="0"/>
                  </a:lnTo>
                  <a:lnTo>
                    <a:pt x="19" y="0"/>
                  </a:lnTo>
                  <a:lnTo>
                    <a:pt x="21" y="0"/>
                  </a:lnTo>
                  <a:lnTo>
                    <a:pt x="24" y="0"/>
                  </a:lnTo>
                  <a:lnTo>
                    <a:pt x="27" y="1"/>
                  </a:lnTo>
                  <a:lnTo>
                    <a:pt x="29" y="2"/>
                  </a:lnTo>
                  <a:lnTo>
                    <a:pt x="33" y="4"/>
                  </a:lnTo>
                  <a:lnTo>
                    <a:pt x="35" y="5"/>
                  </a:lnTo>
                  <a:lnTo>
                    <a:pt x="37" y="4"/>
                  </a:lnTo>
                  <a:lnTo>
                    <a:pt x="38" y="5"/>
                  </a:lnTo>
                  <a:lnTo>
                    <a:pt x="42" y="5"/>
                  </a:lnTo>
                  <a:lnTo>
                    <a:pt x="42" y="8"/>
                  </a:lnTo>
                  <a:lnTo>
                    <a:pt x="43" y="11"/>
                  </a:lnTo>
                  <a:lnTo>
                    <a:pt x="44" y="13"/>
                  </a:lnTo>
                  <a:lnTo>
                    <a:pt x="43" y="16"/>
                  </a:lnTo>
                  <a:lnTo>
                    <a:pt x="42" y="19"/>
                  </a:lnTo>
                  <a:lnTo>
                    <a:pt x="43" y="21"/>
                  </a:lnTo>
                  <a:lnTo>
                    <a:pt x="43" y="25"/>
                  </a:lnTo>
                  <a:lnTo>
                    <a:pt x="43" y="27"/>
                  </a:lnTo>
                  <a:lnTo>
                    <a:pt x="45" y="29"/>
                  </a:lnTo>
                  <a:lnTo>
                    <a:pt x="46" y="33"/>
                  </a:lnTo>
                  <a:lnTo>
                    <a:pt x="47" y="29"/>
                  </a:lnTo>
                  <a:lnTo>
                    <a:pt x="50" y="33"/>
                  </a:lnTo>
                  <a:lnTo>
                    <a:pt x="51" y="35"/>
                  </a:lnTo>
                  <a:lnTo>
                    <a:pt x="52" y="37"/>
                  </a:lnTo>
                  <a:lnTo>
                    <a:pt x="54" y="41"/>
                  </a:lnTo>
                  <a:lnTo>
                    <a:pt x="56" y="41"/>
                  </a:lnTo>
                  <a:lnTo>
                    <a:pt x="59" y="41"/>
                  </a:lnTo>
                  <a:lnTo>
                    <a:pt x="62" y="41"/>
                  </a:lnTo>
                  <a:lnTo>
                    <a:pt x="64" y="38"/>
                  </a:lnTo>
                  <a:lnTo>
                    <a:pt x="67" y="36"/>
                  </a:lnTo>
                  <a:lnTo>
                    <a:pt x="68" y="34"/>
                  </a:lnTo>
                  <a:lnTo>
                    <a:pt x="69" y="32"/>
                  </a:lnTo>
                  <a:lnTo>
                    <a:pt x="71" y="29"/>
                  </a:lnTo>
                  <a:lnTo>
                    <a:pt x="72" y="27"/>
                  </a:lnTo>
                  <a:lnTo>
                    <a:pt x="76" y="25"/>
                  </a:lnTo>
                  <a:lnTo>
                    <a:pt x="78" y="26"/>
                  </a:lnTo>
                  <a:lnTo>
                    <a:pt x="80" y="25"/>
                  </a:lnTo>
                  <a:lnTo>
                    <a:pt x="84" y="24"/>
                  </a:lnTo>
                  <a:lnTo>
                    <a:pt x="85" y="21"/>
                  </a:lnTo>
                  <a:lnTo>
                    <a:pt x="85" y="19"/>
                  </a:lnTo>
                  <a:lnTo>
                    <a:pt x="87" y="18"/>
                  </a:lnTo>
                  <a:lnTo>
                    <a:pt x="90" y="16"/>
                  </a:lnTo>
                  <a:lnTo>
                    <a:pt x="93" y="15"/>
                  </a:lnTo>
                  <a:lnTo>
                    <a:pt x="94" y="15"/>
                  </a:lnTo>
                  <a:lnTo>
                    <a:pt x="97" y="17"/>
                  </a:lnTo>
                  <a:lnTo>
                    <a:pt x="100" y="18"/>
                  </a:lnTo>
                  <a:lnTo>
                    <a:pt x="102" y="19"/>
                  </a:lnTo>
                  <a:lnTo>
                    <a:pt x="105" y="19"/>
                  </a:lnTo>
                  <a:lnTo>
                    <a:pt x="107" y="21"/>
                  </a:lnTo>
                  <a:lnTo>
                    <a:pt x="111" y="22"/>
                  </a:lnTo>
                  <a:lnTo>
                    <a:pt x="113" y="24"/>
                  </a:lnTo>
                  <a:lnTo>
                    <a:pt x="115" y="25"/>
                  </a:lnTo>
                  <a:lnTo>
                    <a:pt x="121" y="27"/>
                  </a:lnTo>
                  <a:lnTo>
                    <a:pt x="123" y="27"/>
                  </a:lnTo>
                  <a:lnTo>
                    <a:pt x="126" y="27"/>
                  </a:lnTo>
                  <a:lnTo>
                    <a:pt x="128" y="28"/>
                  </a:lnTo>
                  <a:lnTo>
                    <a:pt x="131" y="28"/>
                  </a:lnTo>
                  <a:lnTo>
                    <a:pt x="132" y="30"/>
                  </a:lnTo>
                  <a:lnTo>
                    <a:pt x="136" y="30"/>
                  </a:lnTo>
                  <a:lnTo>
                    <a:pt x="137" y="30"/>
                  </a:lnTo>
                  <a:lnTo>
                    <a:pt x="138" y="30"/>
                  </a:lnTo>
                  <a:lnTo>
                    <a:pt x="141" y="32"/>
                  </a:lnTo>
                  <a:lnTo>
                    <a:pt x="144" y="33"/>
                  </a:lnTo>
                  <a:lnTo>
                    <a:pt x="152" y="37"/>
                  </a:lnTo>
                  <a:lnTo>
                    <a:pt x="154" y="37"/>
                  </a:lnTo>
                  <a:lnTo>
                    <a:pt x="157" y="38"/>
                  </a:lnTo>
                  <a:lnTo>
                    <a:pt x="163" y="41"/>
                  </a:lnTo>
                  <a:lnTo>
                    <a:pt x="165" y="41"/>
                  </a:lnTo>
                  <a:lnTo>
                    <a:pt x="167" y="41"/>
                  </a:lnTo>
                  <a:lnTo>
                    <a:pt x="169" y="41"/>
                  </a:lnTo>
                  <a:lnTo>
                    <a:pt x="171" y="42"/>
                  </a:lnTo>
                  <a:lnTo>
                    <a:pt x="173" y="43"/>
                  </a:lnTo>
                  <a:lnTo>
                    <a:pt x="177" y="45"/>
                  </a:lnTo>
                  <a:lnTo>
                    <a:pt x="179" y="46"/>
                  </a:lnTo>
                  <a:lnTo>
                    <a:pt x="182" y="46"/>
                  </a:lnTo>
                  <a:lnTo>
                    <a:pt x="184" y="47"/>
                  </a:lnTo>
                  <a:lnTo>
                    <a:pt x="186" y="50"/>
                  </a:lnTo>
                  <a:lnTo>
                    <a:pt x="187" y="50"/>
                  </a:lnTo>
                  <a:lnTo>
                    <a:pt x="187" y="50"/>
                  </a:lnTo>
                  <a:lnTo>
                    <a:pt x="189" y="51"/>
                  </a:lnTo>
                  <a:lnTo>
                    <a:pt x="191" y="54"/>
                  </a:lnTo>
                  <a:lnTo>
                    <a:pt x="192" y="54"/>
                  </a:lnTo>
                  <a:lnTo>
                    <a:pt x="195" y="54"/>
                  </a:lnTo>
                  <a:lnTo>
                    <a:pt x="198" y="56"/>
                  </a:lnTo>
                  <a:lnTo>
                    <a:pt x="199" y="59"/>
                  </a:lnTo>
                  <a:lnTo>
                    <a:pt x="203" y="62"/>
                  </a:lnTo>
                  <a:lnTo>
                    <a:pt x="203" y="64"/>
                  </a:lnTo>
                  <a:lnTo>
                    <a:pt x="201" y="67"/>
                  </a:lnTo>
                  <a:lnTo>
                    <a:pt x="203" y="70"/>
                  </a:lnTo>
                  <a:lnTo>
                    <a:pt x="205" y="70"/>
                  </a:lnTo>
                  <a:lnTo>
                    <a:pt x="208" y="71"/>
                  </a:lnTo>
                  <a:lnTo>
                    <a:pt x="211" y="71"/>
                  </a:lnTo>
                  <a:lnTo>
                    <a:pt x="213" y="72"/>
                  </a:lnTo>
                  <a:lnTo>
                    <a:pt x="216" y="75"/>
                  </a:lnTo>
                  <a:lnTo>
                    <a:pt x="217" y="75"/>
                  </a:lnTo>
                  <a:lnTo>
                    <a:pt x="220" y="77"/>
                  </a:lnTo>
                  <a:lnTo>
                    <a:pt x="223" y="76"/>
                  </a:lnTo>
                  <a:lnTo>
                    <a:pt x="225" y="77"/>
                  </a:lnTo>
                  <a:lnTo>
                    <a:pt x="228" y="79"/>
                  </a:lnTo>
                  <a:lnTo>
                    <a:pt x="230" y="81"/>
                  </a:lnTo>
                  <a:lnTo>
                    <a:pt x="230" y="85"/>
                  </a:lnTo>
                  <a:lnTo>
                    <a:pt x="229" y="87"/>
                  </a:lnTo>
                  <a:lnTo>
                    <a:pt x="226" y="87"/>
                  </a:lnTo>
                  <a:lnTo>
                    <a:pt x="224" y="87"/>
                  </a:lnTo>
                  <a:lnTo>
                    <a:pt x="221" y="87"/>
                  </a:lnTo>
                  <a:lnTo>
                    <a:pt x="218" y="87"/>
                  </a:lnTo>
                  <a:lnTo>
                    <a:pt x="218" y="89"/>
                  </a:lnTo>
                  <a:lnTo>
                    <a:pt x="220" y="92"/>
                  </a:lnTo>
                  <a:lnTo>
                    <a:pt x="221" y="94"/>
                  </a:lnTo>
                  <a:lnTo>
                    <a:pt x="222" y="97"/>
                  </a:lnTo>
                  <a:lnTo>
                    <a:pt x="224" y="98"/>
                  </a:lnTo>
                  <a:lnTo>
                    <a:pt x="226" y="101"/>
                  </a:lnTo>
                  <a:lnTo>
                    <a:pt x="230" y="104"/>
                  </a:lnTo>
                  <a:lnTo>
                    <a:pt x="232" y="104"/>
                  </a:lnTo>
                  <a:lnTo>
                    <a:pt x="233" y="105"/>
                  </a:lnTo>
                  <a:lnTo>
                    <a:pt x="234" y="106"/>
                  </a:lnTo>
                  <a:lnTo>
                    <a:pt x="234" y="107"/>
                  </a:lnTo>
                  <a:lnTo>
                    <a:pt x="235" y="112"/>
                  </a:lnTo>
                  <a:lnTo>
                    <a:pt x="239" y="114"/>
                  </a:lnTo>
                  <a:lnTo>
                    <a:pt x="240" y="116"/>
                  </a:lnTo>
                  <a:lnTo>
                    <a:pt x="242" y="120"/>
                  </a:lnTo>
                  <a:lnTo>
                    <a:pt x="245" y="119"/>
                  </a:lnTo>
                  <a:lnTo>
                    <a:pt x="248" y="119"/>
                  </a:lnTo>
                  <a:lnTo>
                    <a:pt x="250" y="120"/>
                  </a:lnTo>
                  <a:lnTo>
                    <a:pt x="249" y="122"/>
                  </a:lnTo>
                  <a:lnTo>
                    <a:pt x="250" y="126"/>
                  </a:lnTo>
                  <a:lnTo>
                    <a:pt x="252" y="127"/>
                  </a:lnTo>
                  <a:lnTo>
                    <a:pt x="255" y="127"/>
                  </a:lnTo>
                  <a:lnTo>
                    <a:pt x="257" y="127"/>
                  </a:lnTo>
                  <a:lnTo>
                    <a:pt x="259" y="127"/>
                  </a:lnTo>
                  <a:lnTo>
                    <a:pt x="259" y="128"/>
                  </a:lnTo>
                  <a:lnTo>
                    <a:pt x="259" y="129"/>
                  </a:lnTo>
                  <a:lnTo>
                    <a:pt x="256" y="129"/>
                  </a:lnTo>
                  <a:lnTo>
                    <a:pt x="258" y="132"/>
                  </a:lnTo>
                  <a:lnTo>
                    <a:pt x="259" y="133"/>
                  </a:lnTo>
                  <a:lnTo>
                    <a:pt x="260" y="133"/>
                  </a:lnTo>
                  <a:lnTo>
                    <a:pt x="264" y="135"/>
                  </a:lnTo>
                  <a:lnTo>
                    <a:pt x="266" y="135"/>
                  </a:lnTo>
                  <a:lnTo>
                    <a:pt x="268" y="136"/>
                  </a:lnTo>
                  <a:lnTo>
                    <a:pt x="272" y="136"/>
                  </a:lnTo>
                  <a:lnTo>
                    <a:pt x="268" y="137"/>
                  </a:lnTo>
                  <a:lnTo>
                    <a:pt x="266" y="138"/>
                  </a:lnTo>
                  <a:lnTo>
                    <a:pt x="268" y="140"/>
                  </a:lnTo>
                  <a:lnTo>
                    <a:pt x="265" y="141"/>
                  </a:lnTo>
                  <a:lnTo>
                    <a:pt x="263" y="141"/>
                  </a:lnTo>
                  <a:lnTo>
                    <a:pt x="259" y="140"/>
                  </a:lnTo>
                  <a:lnTo>
                    <a:pt x="259" y="139"/>
                  </a:lnTo>
                  <a:lnTo>
                    <a:pt x="25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 name="Freeform 223">
              <a:extLst>
                <a:ext uri="{FF2B5EF4-FFF2-40B4-BE49-F238E27FC236}">
                  <a16:creationId xmlns:a16="http://schemas.microsoft.com/office/drawing/2014/main" id="{D20B03B4-FFC7-4B25-9897-7A8F1A946B30}"/>
                </a:ext>
              </a:extLst>
            </p:cNvPr>
            <p:cNvSpPr>
              <a:spLocks/>
            </p:cNvSpPr>
            <p:nvPr/>
          </p:nvSpPr>
          <p:spPr bwMode="auto">
            <a:xfrm>
              <a:off x="8216900" y="4302125"/>
              <a:ext cx="225425" cy="241300"/>
            </a:xfrm>
            <a:custGeom>
              <a:avLst/>
              <a:gdLst>
                <a:gd name="T0" fmla="*/ 19 w 142"/>
                <a:gd name="T1" fmla="*/ 135 h 152"/>
                <a:gd name="T2" fmla="*/ 15 w 142"/>
                <a:gd name="T3" fmla="*/ 121 h 152"/>
                <a:gd name="T4" fmla="*/ 14 w 142"/>
                <a:gd name="T5" fmla="*/ 111 h 152"/>
                <a:gd name="T6" fmla="*/ 8 w 142"/>
                <a:gd name="T7" fmla="*/ 105 h 152"/>
                <a:gd name="T8" fmla="*/ 3 w 142"/>
                <a:gd name="T9" fmla="*/ 93 h 152"/>
                <a:gd name="T10" fmla="*/ 0 w 142"/>
                <a:gd name="T11" fmla="*/ 82 h 152"/>
                <a:gd name="T12" fmla="*/ 3 w 142"/>
                <a:gd name="T13" fmla="*/ 76 h 152"/>
                <a:gd name="T14" fmla="*/ 11 w 142"/>
                <a:gd name="T15" fmla="*/ 68 h 152"/>
                <a:gd name="T16" fmla="*/ 22 w 142"/>
                <a:gd name="T17" fmla="*/ 72 h 152"/>
                <a:gd name="T18" fmla="*/ 30 w 142"/>
                <a:gd name="T19" fmla="*/ 77 h 152"/>
                <a:gd name="T20" fmla="*/ 29 w 142"/>
                <a:gd name="T21" fmla="*/ 74 h 152"/>
                <a:gd name="T22" fmla="*/ 34 w 142"/>
                <a:gd name="T23" fmla="*/ 66 h 152"/>
                <a:gd name="T24" fmla="*/ 34 w 142"/>
                <a:gd name="T25" fmla="*/ 61 h 152"/>
                <a:gd name="T26" fmla="*/ 46 w 142"/>
                <a:gd name="T27" fmla="*/ 56 h 152"/>
                <a:gd name="T28" fmla="*/ 57 w 142"/>
                <a:gd name="T29" fmla="*/ 52 h 152"/>
                <a:gd name="T30" fmla="*/ 67 w 142"/>
                <a:gd name="T31" fmla="*/ 40 h 152"/>
                <a:gd name="T32" fmla="*/ 75 w 142"/>
                <a:gd name="T33" fmla="*/ 33 h 152"/>
                <a:gd name="T34" fmla="*/ 84 w 142"/>
                <a:gd name="T35" fmla="*/ 27 h 152"/>
                <a:gd name="T36" fmla="*/ 85 w 142"/>
                <a:gd name="T37" fmla="*/ 28 h 152"/>
                <a:gd name="T38" fmla="*/ 90 w 142"/>
                <a:gd name="T39" fmla="*/ 24 h 152"/>
                <a:gd name="T40" fmla="*/ 96 w 142"/>
                <a:gd name="T41" fmla="*/ 19 h 152"/>
                <a:gd name="T42" fmla="*/ 102 w 142"/>
                <a:gd name="T43" fmla="*/ 8 h 152"/>
                <a:gd name="T44" fmla="*/ 108 w 142"/>
                <a:gd name="T45" fmla="*/ 6 h 152"/>
                <a:gd name="T46" fmla="*/ 118 w 142"/>
                <a:gd name="T47" fmla="*/ 5 h 152"/>
                <a:gd name="T48" fmla="*/ 123 w 142"/>
                <a:gd name="T49" fmla="*/ 15 h 152"/>
                <a:gd name="T50" fmla="*/ 130 w 142"/>
                <a:gd name="T51" fmla="*/ 16 h 152"/>
                <a:gd name="T52" fmla="*/ 140 w 142"/>
                <a:gd name="T53" fmla="*/ 22 h 152"/>
                <a:gd name="T54" fmla="*/ 132 w 142"/>
                <a:gd name="T55" fmla="*/ 28 h 152"/>
                <a:gd name="T56" fmla="*/ 132 w 142"/>
                <a:gd name="T57" fmla="*/ 36 h 152"/>
                <a:gd name="T58" fmla="*/ 119 w 142"/>
                <a:gd name="T59" fmla="*/ 36 h 152"/>
                <a:gd name="T60" fmla="*/ 119 w 142"/>
                <a:gd name="T61" fmla="*/ 46 h 152"/>
                <a:gd name="T62" fmla="*/ 117 w 142"/>
                <a:gd name="T63" fmla="*/ 53 h 152"/>
                <a:gd name="T64" fmla="*/ 119 w 142"/>
                <a:gd name="T65" fmla="*/ 57 h 152"/>
                <a:gd name="T66" fmla="*/ 123 w 142"/>
                <a:gd name="T67" fmla="*/ 68 h 152"/>
                <a:gd name="T68" fmla="*/ 139 w 142"/>
                <a:gd name="T69" fmla="*/ 82 h 152"/>
                <a:gd name="T70" fmla="*/ 130 w 142"/>
                <a:gd name="T71" fmla="*/ 85 h 152"/>
                <a:gd name="T72" fmla="*/ 120 w 142"/>
                <a:gd name="T73" fmla="*/ 87 h 152"/>
                <a:gd name="T74" fmla="*/ 117 w 142"/>
                <a:gd name="T75" fmla="*/ 100 h 152"/>
                <a:gd name="T76" fmla="*/ 116 w 142"/>
                <a:gd name="T77" fmla="*/ 108 h 152"/>
                <a:gd name="T78" fmla="*/ 108 w 142"/>
                <a:gd name="T79" fmla="*/ 112 h 152"/>
                <a:gd name="T80" fmla="*/ 103 w 142"/>
                <a:gd name="T81" fmla="*/ 120 h 152"/>
                <a:gd name="T82" fmla="*/ 105 w 142"/>
                <a:gd name="T83" fmla="*/ 130 h 152"/>
                <a:gd name="T84" fmla="*/ 100 w 142"/>
                <a:gd name="T85" fmla="*/ 139 h 152"/>
                <a:gd name="T86" fmla="*/ 86 w 142"/>
                <a:gd name="T87" fmla="*/ 149 h 152"/>
                <a:gd name="T88" fmla="*/ 79 w 142"/>
                <a:gd name="T89" fmla="*/ 147 h 152"/>
                <a:gd name="T90" fmla="*/ 74 w 142"/>
                <a:gd name="T91" fmla="*/ 143 h 152"/>
                <a:gd name="T92" fmla="*/ 67 w 142"/>
                <a:gd name="T93" fmla="*/ 143 h 152"/>
                <a:gd name="T94" fmla="*/ 57 w 142"/>
                <a:gd name="T95" fmla="*/ 137 h 152"/>
                <a:gd name="T96" fmla="*/ 46 w 142"/>
                <a:gd name="T97" fmla="*/ 142 h 152"/>
                <a:gd name="T98" fmla="*/ 40 w 142"/>
                <a:gd name="T99" fmla="*/ 136 h 152"/>
                <a:gd name="T100" fmla="*/ 30 w 142"/>
                <a:gd name="T10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 h="152">
                  <a:moveTo>
                    <a:pt x="28" y="135"/>
                  </a:moveTo>
                  <a:lnTo>
                    <a:pt x="26" y="136"/>
                  </a:lnTo>
                  <a:lnTo>
                    <a:pt x="23" y="135"/>
                  </a:lnTo>
                  <a:lnTo>
                    <a:pt x="21" y="136"/>
                  </a:lnTo>
                  <a:lnTo>
                    <a:pt x="19" y="135"/>
                  </a:lnTo>
                  <a:lnTo>
                    <a:pt x="19" y="133"/>
                  </a:lnTo>
                  <a:lnTo>
                    <a:pt x="17" y="129"/>
                  </a:lnTo>
                  <a:lnTo>
                    <a:pt x="17" y="127"/>
                  </a:lnTo>
                  <a:lnTo>
                    <a:pt x="16" y="125"/>
                  </a:lnTo>
                  <a:lnTo>
                    <a:pt x="15" y="121"/>
                  </a:lnTo>
                  <a:lnTo>
                    <a:pt x="15" y="119"/>
                  </a:lnTo>
                  <a:lnTo>
                    <a:pt x="15" y="119"/>
                  </a:lnTo>
                  <a:lnTo>
                    <a:pt x="16" y="116"/>
                  </a:lnTo>
                  <a:lnTo>
                    <a:pt x="15" y="113"/>
                  </a:lnTo>
                  <a:lnTo>
                    <a:pt x="14" y="111"/>
                  </a:lnTo>
                  <a:lnTo>
                    <a:pt x="11" y="109"/>
                  </a:lnTo>
                  <a:lnTo>
                    <a:pt x="8" y="108"/>
                  </a:lnTo>
                  <a:lnTo>
                    <a:pt x="6" y="108"/>
                  </a:lnTo>
                  <a:lnTo>
                    <a:pt x="5" y="105"/>
                  </a:lnTo>
                  <a:lnTo>
                    <a:pt x="8" y="105"/>
                  </a:lnTo>
                  <a:lnTo>
                    <a:pt x="3" y="102"/>
                  </a:lnTo>
                  <a:lnTo>
                    <a:pt x="5" y="99"/>
                  </a:lnTo>
                  <a:lnTo>
                    <a:pt x="4" y="99"/>
                  </a:lnTo>
                  <a:lnTo>
                    <a:pt x="4" y="95"/>
                  </a:lnTo>
                  <a:lnTo>
                    <a:pt x="3" y="93"/>
                  </a:lnTo>
                  <a:lnTo>
                    <a:pt x="0" y="92"/>
                  </a:lnTo>
                  <a:lnTo>
                    <a:pt x="0" y="88"/>
                  </a:lnTo>
                  <a:lnTo>
                    <a:pt x="0" y="86"/>
                  </a:lnTo>
                  <a:lnTo>
                    <a:pt x="0" y="84"/>
                  </a:lnTo>
                  <a:lnTo>
                    <a:pt x="0" y="82"/>
                  </a:lnTo>
                  <a:lnTo>
                    <a:pt x="4" y="78"/>
                  </a:lnTo>
                  <a:lnTo>
                    <a:pt x="5" y="77"/>
                  </a:lnTo>
                  <a:lnTo>
                    <a:pt x="5" y="77"/>
                  </a:lnTo>
                  <a:lnTo>
                    <a:pt x="2" y="79"/>
                  </a:lnTo>
                  <a:lnTo>
                    <a:pt x="3" y="76"/>
                  </a:lnTo>
                  <a:lnTo>
                    <a:pt x="4" y="74"/>
                  </a:lnTo>
                  <a:lnTo>
                    <a:pt x="6" y="71"/>
                  </a:lnTo>
                  <a:lnTo>
                    <a:pt x="9" y="68"/>
                  </a:lnTo>
                  <a:lnTo>
                    <a:pt x="11" y="67"/>
                  </a:lnTo>
                  <a:lnTo>
                    <a:pt x="11" y="68"/>
                  </a:lnTo>
                  <a:lnTo>
                    <a:pt x="13" y="71"/>
                  </a:lnTo>
                  <a:lnTo>
                    <a:pt x="15" y="72"/>
                  </a:lnTo>
                  <a:lnTo>
                    <a:pt x="17" y="72"/>
                  </a:lnTo>
                  <a:lnTo>
                    <a:pt x="20" y="72"/>
                  </a:lnTo>
                  <a:lnTo>
                    <a:pt x="22" y="72"/>
                  </a:lnTo>
                  <a:lnTo>
                    <a:pt x="22" y="74"/>
                  </a:lnTo>
                  <a:lnTo>
                    <a:pt x="24" y="74"/>
                  </a:lnTo>
                  <a:lnTo>
                    <a:pt x="24" y="76"/>
                  </a:lnTo>
                  <a:lnTo>
                    <a:pt x="26" y="75"/>
                  </a:lnTo>
                  <a:lnTo>
                    <a:pt x="30" y="77"/>
                  </a:lnTo>
                  <a:lnTo>
                    <a:pt x="32" y="77"/>
                  </a:lnTo>
                  <a:lnTo>
                    <a:pt x="33" y="77"/>
                  </a:lnTo>
                  <a:lnTo>
                    <a:pt x="34" y="77"/>
                  </a:lnTo>
                  <a:lnTo>
                    <a:pt x="31" y="77"/>
                  </a:lnTo>
                  <a:lnTo>
                    <a:pt x="29" y="74"/>
                  </a:lnTo>
                  <a:lnTo>
                    <a:pt x="31" y="74"/>
                  </a:lnTo>
                  <a:lnTo>
                    <a:pt x="30" y="70"/>
                  </a:lnTo>
                  <a:lnTo>
                    <a:pt x="31" y="68"/>
                  </a:lnTo>
                  <a:lnTo>
                    <a:pt x="32" y="67"/>
                  </a:lnTo>
                  <a:lnTo>
                    <a:pt x="34" y="66"/>
                  </a:lnTo>
                  <a:lnTo>
                    <a:pt x="31" y="67"/>
                  </a:lnTo>
                  <a:lnTo>
                    <a:pt x="31" y="63"/>
                  </a:lnTo>
                  <a:lnTo>
                    <a:pt x="34" y="63"/>
                  </a:lnTo>
                  <a:lnTo>
                    <a:pt x="36" y="63"/>
                  </a:lnTo>
                  <a:lnTo>
                    <a:pt x="34" y="61"/>
                  </a:lnTo>
                  <a:lnTo>
                    <a:pt x="36" y="58"/>
                  </a:lnTo>
                  <a:lnTo>
                    <a:pt x="38" y="57"/>
                  </a:lnTo>
                  <a:lnTo>
                    <a:pt x="40" y="57"/>
                  </a:lnTo>
                  <a:lnTo>
                    <a:pt x="43" y="56"/>
                  </a:lnTo>
                  <a:lnTo>
                    <a:pt x="46" y="56"/>
                  </a:lnTo>
                  <a:lnTo>
                    <a:pt x="48" y="54"/>
                  </a:lnTo>
                  <a:lnTo>
                    <a:pt x="50" y="54"/>
                  </a:lnTo>
                  <a:lnTo>
                    <a:pt x="54" y="53"/>
                  </a:lnTo>
                  <a:lnTo>
                    <a:pt x="56" y="52"/>
                  </a:lnTo>
                  <a:lnTo>
                    <a:pt x="57" y="52"/>
                  </a:lnTo>
                  <a:lnTo>
                    <a:pt x="58" y="50"/>
                  </a:lnTo>
                  <a:lnTo>
                    <a:pt x="60" y="46"/>
                  </a:lnTo>
                  <a:lnTo>
                    <a:pt x="63" y="44"/>
                  </a:lnTo>
                  <a:lnTo>
                    <a:pt x="65" y="42"/>
                  </a:lnTo>
                  <a:lnTo>
                    <a:pt x="67" y="40"/>
                  </a:lnTo>
                  <a:lnTo>
                    <a:pt x="69" y="36"/>
                  </a:lnTo>
                  <a:lnTo>
                    <a:pt x="69" y="34"/>
                  </a:lnTo>
                  <a:lnTo>
                    <a:pt x="69" y="33"/>
                  </a:lnTo>
                  <a:lnTo>
                    <a:pt x="72" y="33"/>
                  </a:lnTo>
                  <a:lnTo>
                    <a:pt x="75" y="33"/>
                  </a:lnTo>
                  <a:lnTo>
                    <a:pt x="77" y="31"/>
                  </a:lnTo>
                  <a:lnTo>
                    <a:pt x="79" y="31"/>
                  </a:lnTo>
                  <a:lnTo>
                    <a:pt x="81" y="28"/>
                  </a:lnTo>
                  <a:lnTo>
                    <a:pt x="82" y="27"/>
                  </a:lnTo>
                  <a:lnTo>
                    <a:pt x="84" y="27"/>
                  </a:lnTo>
                  <a:lnTo>
                    <a:pt x="83" y="28"/>
                  </a:lnTo>
                  <a:lnTo>
                    <a:pt x="84" y="29"/>
                  </a:lnTo>
                  <a:lnTo>
                    <a:pt x="84" y="29"/>
                  </a:lnTo>
                  <a:lnTo>
                    <a:pt x="84" y="29"/>
                  </a:lnTo>
                  <a:lnTo>
                    <a:pt x="85" y="28"/>
                  </a:lnTo>
                  <a:lnTo>
                    <a:pt x="86" y="27"/>
                  </a:lnTo>
                  <a:lnTo>
                    <a:pt x="89" y="27"/>
                  </a:lnTo>
                  <a:lnTo>
                    <a:pt x="90" y="27"/>
                  </a:lnTo>
                  <a:lnTo>
                    <a:pt x="91" y="24"/>
                  </a:lnTo>
                  <a:lnTo>
                    <a:pt x="90" y="24"/>
                  </a:lnTo>
                  <a:lnTo>
                    <a:pt x="89" y="23"/>
                  </a:lnTo>
                  <a:lnTo>
                    <a:pt x="89" y="22"/>
                  </a:lnTo>
                  <a:lnTo>
                    <a:pt x="92" y="20"/>
                  </a:lnTo>
                  <a:lnTo>
                    <a:pt x="92" y="20"/>
                  </a:lnTo>
                  <a:lnTo>
                    <a:pt x="96" y="19"/>
                  </a:lnTo>
                  <a:lnTo>
                    <a:pt x="97" y="17"/>
                  </a:lnTo>
                  <a:lnTo>
                    <a:pt x="97" y="16"/>
                  </a:lnTo>
                  <a:lnTo>
                    <a:pt x="99" y="14"/>
                  </a:lnTo>
                  <a:lnTo>
                    <a:pt x="100" y="11"/>
                  </a:lnTo>
                  <a:lnTo>
                    <a:pt x="102" y="8"/>
                  </a:lnTo>
                  <a:lnTo>
                    <a:pt x="105" y="6"/>
                  </a:lnTo>
                  <a:lnTo>
                    <a:pt x="106" y="2"/>
                  </a:lnTo>
                  <a:lnTo>
                    <a:pt x="109" y="0"/>
                  </a:lnTo>
                  <a:lnTo>
                    <a:pt x="109" y="2"/>
                  </a:lnTo>
                  <a:lnTo>
                    <a:pt x="108" y="6"/>
                  </a:lnTo>
                  <a:lnTo>
                    <a:pt x="110" y="3"/>
                  </a:lnTo>
                  <a:lnTo>
                    <a:pt x="111" y="0"/>
                  </a:lnTo>
                  <a:lnTo>
                    <a:pt x="114" y="2"/>
                  </a:lnTo>
                  <a:lnTo>
                    <a:pt x="116" y="5"/>
                  </a:lnTo>
                  <a:lnTo>
                    <a:pt x="118" y="5"/>
                  </a:lnTo>
                  <a:lnTo>
                    <a:pt x="120" y="8"/>
                  </a:lnTo>
                  <a:lnTo>
                    <a:pt x="120" y="9"/>
                  </a:lnTo>
                  <a:lnTo>
                    <a:pt x="120" y="12"/>
                  </a:lnTo>
                  <a:lnTo>
                    <a:pt x="119" y="15"/>
                  </a:lnTo>
                  <a:lnTo>
                    <a:pt x="123" y="15"/>
                  </a:lnTo>
                  <a:lnTo>
                    <a:pt x="125" y="12"/>
                  </a:lnTo>
                  <a:lnTo>
                    <a:pt x="126" y="16"/>
                  </a:lnTo>
                  <a:lnTo>
                    <a:pt x="124" y="18"/>
                  </a:lnTo>
                  <a:lnTo>
                    <a:pt x="126" y="18"/>
                  </a:lnTo>
                  <a:lnTo>
                    <a:pt x="130" y="16"/>
                  </a:lnTo>
                  <a:lnTo>
                    <a:pt x="130" y="16"/>
                  </a:lnTo>
                  <a:lnTo>
                    <a:pt x="133" y="18"/>
                  </a:lnTo>
                  <a:lnTo>
                    <a:pt x="135" y="19"/>
                  </a:lnTo>
                  <a:lnTo>
                    <a:pt x="137" y="22"/>
                  </a:lnTo>
                  <a:lnTo>
                    <a:pt x="140" y="22"/>
                  </a:lnTo>
                  <a:lnTo>
                    <a:pt x="142" y="23"/>
                  </a:lnTo>
                  <a:lnTo>
                    <a:pt x="140" y="26"/>
                  </a:lnTo>
                  <a:lnTo>
                    <a:pt x="137" y="27"/>
                  </a:lnTo>
                  <a:lnTo>
                    <a:pt x="135" y="27"/>
                  </a:lnTo>
                  <a:lnTo>
                    <a:pt x="132" y="28"/>
                  </a:lnTo>
                  <a:lnTo>
                    <a:pt x="130" y="27"/>
                  </a:lnTo>
                  <a:lnTo>
                    <a:pt x="126" y="28"/>
                  </a:lnTo>
                  <a:lnTo>
                    <a:pt x="128" y="32"/>
                  </a:lnTo>
                  <a:lnTo>
                    <a:pt x="131" y="33"/>
                  </a:lnTo>
                  <a:lnTo>
                    <a:pt x="132" y="36"/>
                  </a:lnTo>
                  <a:lnTo>
                    <a:pt x="130" y="36"/>
                  </a:lnTo>
                  <a:lnTo>
                    <a:pt x="127" y="36"/>
                  </a:lnTo>
                  <a:lnTo>
                    <a:pt x="125" y="37"/>
                  </a:lnTo>
                  <a:lnTo>
                    <a:pt x="122" y="36"/>
                  </a:lnTo>
                  <a:lnTo>
                    <a:pt x="119" y="36"/>
                  </a:lnTo>
                  <a:lnTo>
                    <a:pt x="119" y="39"/>
                  </a:lnTo>
                  <a:lnTo>
                    <a:pt x="117" y="40"/>
                  </a:lnTo>
                  <a:lnTo>
                    <a:pt x="119" y="42"/>
                  </a:lnTo>
                  <a:lnTo>
                    <a:pt x="122" y="45"/>
                  </a:lnTo>
                  <a:lnTo>
                    <a:pt x="119" y="46"/>
                  </a:lnTo>
                  <a:lnTo>
                    <a:pt x="117" y="46"/>
                  </a:lnTo>
                  <a:lnTo>
                    <a:pt x="114" y="48"/>
                  </a:lnTo>
                  <a:lnTo>
                    <a:pt x="116" y="50"/>
                  </a:lnTo>
                  <a:lnTo>
                    <a:pt x="117" y="53"/>
                  </a:lnTo>
                  <a:lnTo>
                    <a:pt x="117" y="53"/>
                  </a:lnTo>
                  <a:lnTo>
                    <a:pt x="119" y="53"/>
                  </a:lnTo>
                  <a:lnTo>
                    <a:pt x="119" y="54"/>
                  </a:lnTo>
                  <a:lnTo>
                    <a:pt x="118" y="54"/>
                  </a:lnTo>
                  <a:lnTo>
                    <a:pt x="118" y="56"/>
                  </a:lnTo>
                  <a:lnTo>
                    <a:pt x="119" y="57"/>
                  </a:lnTo>
                  <a:lnTo>
                    <a:pt x="122" y="58"/>
                  </a:lnTo>
                  <a:lnTo>
                    <a:pt x="123" y="60"/>
                  </a:lnTo>
                  <a:lnTo>
                    <a:pt x="125" y="63"/>
                  </a:lnTo>
                  <a:lnTo>
                    <a:pt x="124" y="66"/>
                  </a:lnTo>
                  <a:lnTo>
                    <a:pt x="123" y="68"/>
                  </a:lnTo>
                  <a:lnTo>
                    <a:pt x="125" y="71"/>
                  </a:lnTo>
                  <a:lnTo>
                    <a:pt x="131" y="76"/>
                  </a:lnTo>
                  <a:lnTo>
                    <a:pt x="133" y="77"/>
                  </a:lnTo>
                  <a:lnTo>
                    <a:pt x="135" y="80"/>
                  </a:lnTo>
                  <a:lnTo>
                    <a:pt x="139" y="82"/>
                  </a:lnTo>
                  <a:lnTo>
                    <a:pt x="139" y="82"/>
                  </a:lnTo>
                  <a:lnTo>
                    <a:pt x="137" y="83"/>
                  </a:lnTo>
                  <a:lnTo>
                    <a:pt x="135" y="85"/>
                  </a:lnTo>
                  <a:lnTo>
                    <a:pt x="132" y="85"/>
                  </a:lnTo>
                  <a:lnTo>
                    <a:pt x="130" y="85"/>
                  </a:lnTo>
                  <a:lnTo>
                    <a:pt x="127" y="84"/>
                  </a:lnTo>
                  <a:lnTo>
                    <a:pt x="124" y="82"/>
                  </a:lnTo>
                  <a:lnTo>
                    <a:pt x="124" y="85"/>
                  </a:lnTo>
                  <a:lnTo>
                    <a:pt x="122" y="85"/>
                  </a:lnTo>
                  <a:lnTo>
                    <a:pt x="120" y="87"/>
                  </a:lnTo>
                  <a:lnTo>
                    <a:pt x="118" y="91"/>
                  </a:lnTo>
                  <a:lnTo>
                    <a:pt x="118" y="93"/>
                  </a:lnTo>
                  <a:lnTo>
                    <a:pt x="118" y="95"/>
                  </a:lnTo>
                  <a:lnTo>
                    <a:pt x="117" y="97"/>
                  </a:lnTo>
                  <a:lnTo>
                    <a:pt x="117" y="100"/>
                  </a:lnTo>
                  <a:lnTo>
                    <a:pt x="117" y="103"/>
                  </a:lnTo>
                  <a:lnTo>
                    <a:pt x="119" y="102"/>
                  </a:lnTo>
                  <a:lnTo>
                    <a:pt x="118" y="104"/>
                  </a:lnTo>
                  <a:lnTo>
                    <a:pt x="117" y="106"/>
                  </a:lnTo>
                  <a:lnTo>
                    <a:pt x="116" y="108"/>
                  </a:lnTo>
                  <a:lnTo>
                    <a:pt x="115" y="106"/>
                  </a:lnTo>
                  <a:lnTo>
                    <a:pt x="115" y="108"/>
                  </a:lnTo>
                  <a:lnTo>
                    <a:pt x="113" y="110"/>
                  </a:lnTo>
                  <a:lnTo>
                    <a:pt x="110" y="112"/>
                  </a:lnTo>
                  <a:lnTo>
                    <a:pt x="108" y="112"/>
                  </a:lnTo>
                  <a:lnTo>
                    <a:pt x="107" y="114"/>
                  </a:lnTo>
                  <a:lnTo>
                    <a:pt x="105" y="116"/>
                  </a:lnTo>
                  <a:lnTo>
                    <a:pt x="103" y="119"/>
                  </a:lnTo>
                  <a:lnTo>
                    <a:pt x="100" y="120"/>
                  </a:lnTo>
                  <a:lnTo>
                    <a:pt x="103" y="120"/>
                  </a:lnTo>
                  <a:lnTo>
                    <a:pt x="103" y="123"/>
                  </a:lnTo>
                  <a:lnTo>
                    <a:pt x="102" y="126"/>
                  </a:lnTo>
                  <a:lnTo>
                    <a:pt x="105" y="127"/>
                  </a:lnTo>
                  <a:lnTo>
                    <a:pt x="105" y="127"/>
                  </a:lnTo>
                  <a:lnTo>
                    <a:pt x="105" y="130"/>
                  </a:lnTo>
                  <a:lnTo>
                    <a:pt x="102" y="130"/>
                  </a:lnTo>
                  <a:lnTo>
                    <a:pt x="102" y="133"/>
                  </a:lnTo>
                  <a:lnTo>
                    <a:pt x="102" y="136"/>
                  </a:lnTo>
                  <a:lnTo>
                    <a:pt x="99" y="137"/>
                  </a:lnTo>
                  <a:lnTo>
                    <a:pt x="100" y="139"/>
                  </a:lnTo>
                  <a:lnTo>
                    <a:pt x="98" y="142"/>
                  </a:lnTo>
                  <a:lnTo>
                    <a:pt x="97" y="145"/>
                  </a:lnTo>
                  <a:lnTo>
                    <a:pt x="92" y="147"/>
                  </a:lnTo>
                  <a:lnTo>
                    <a:pt x="89" y="148"/>
                  </a:lnTo>
                  <a:lnTo>
                    <a:pt x="86" y="149"/>
                  </a:lnTo>
                  <a:lnTo>
                    <a:pt x="83" y="151"/>
                  </a:lnTo>
                  <a:lnTo>
                    <a:pt x="81" y="152"/>
                  </a:lnTo>
                  <a:lnTo>
                    <a:pt x="79" y="152"/>
                  </a:lnTo>
                  <a:lnTo>
                    <a:pt x="79" y="149"/>
                  </a:lnTo>
                  <a:lnTo>
                    <a:pt x="79" y="147"/>
                  </a:lnTo>
                  <a:lnTo>
                    <a:pt x="77" y="144"/>
                  </a:lnTo>
                  <a:lnTo>
                    <a:pt x="77" y="142"/>
                  </a:lnTo>
                  <a:lnTo>
                    <a:pt x="76" y="142"/>
                  </a:lnTo>
                  <a:lnTo>
                    <a:pt x="74" y="143"/>
                  </a:lnTo>
                  <a:lnTo>
                    <a:pt x="74" y="143"/>
                  </a:lnTo>
                  <a:lnTo>
                    <a:pt x="75" y="139"/>
                  </a:lnTo>
                  <a:lnTo>
                    <a:pt x="74" y="140"/>
                  </a:lnTo>
                  <a:lnTo>
                    <a:pt x="72" y="139"/>
                  </a:lnTo>
                  <a:lnTo>
                    <a:pt x="71" y="142"/>
                  </a:lnTo>
                  <a:lnTo>
                    <a:pt x="67" y="143"/>
                  </a:lnTo>
                  <a:lnTo>
                    <a:pt x="65" y="142"/>
                  </a:lnTo>
                  <a:lnTo>
                    <a:pt x="65" y="139"/>
                  </a:lnTo>
                  <a:lnTo>
                    <a:pt x="62" y="140"/>
                  </a:lnTo>
                  <a:lnTo>
                    <a:pt x="59" y="139"/>
                  </a:lnTo>
                  <a:lnTo>
                    <a:pt x="57" y="137"/>
                  </a:lnTo>
                  <a:lnTo>
                    <a:pt x="56" y="139"/>
                  </a:lnTo>
                  <a:lnTo>
                    <a:pt x="52" y="142"/>
                  </a:lnTo>
                  <a:lnTo>
                    <a:pt x="50" y="143"/>
                  </a:lnTo>
                  <a:lnTo>
                    <a:pt x="48" y="142"/>
                  </a:lnTo>
                  <a:lnTo>
                    <a:pt x="46" y="142"/>
                  </a:lnTo>
                  <a:lnTo>
                    <a:pt x="42" y="143"/>
                  </a:lnTo>
                  <a:lnTo>
                    <a:pt x="40" y="144"/>
                  </a:lnTo>
                  <a:lnTo>
                    <a:pt x="40" y="142"/>
                  </a:lnTo>
                  <a:lnTo>
                    <a:pt x="40" y="139"/>
                  </a:lnTo>
                  <a:lnTo>
                    <a:pt x="40" y="136"/>
                  </a:lnTo>
                  <a:lnTo>
                    <a:pt x="39" y="134"/>
                  </a:lnTo>
                  <a:lnTo>
                    <a:pt x="38" y="136"/>
                  </a:lnTo>
                  <a:lnTo>
                    <a:pt x="36" y="136"/>
                  </a:lnTo>
                  <a:lnTo>
                    <a:pt x="32" y="136"/>
                  </a:lnTo>
                  <a:lnTo>
                    <a:pt x="30" y="138"/>
                  </a:lnTo>
                  <a:lnTo>
                    <a:pt x="26" y="138"/>
                  </a:lnTo>
                  <a:lnTo>
                    <a:pt x="28" y="135"/>
                  </a:lnTo>
                  <a:lnTo>
                    <a:pt x="28"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4" name="Freeform 224">
              <a:extLst>
                <a:ext uri="{FF2B5EF4-FFF2-40B4-BE49-F238E27FC236}">
                  <a16:creationId xmlns:a16="http://schemas.microsoft.com/office/drawing/2014/main" id="{8DDCECC2-EE63-4AC0-8B07-B5F35D1EACF5}"/>
                </a:ext>
              </a:extLst>
            </p:cNvPr>
            <p:cNvSpPr>
              <a:spLocks noEditPoints="1"/>
            </p:cNvSpPr>
            <p:nvPr/>
          </p:nvSpPr>
          <p:spPr bwMode="auto">
            <a:xfrm>
              <a:off x="7918450" y="4330700"/>
              <a:ext cx="393700" cy="307975"/>
            </a:xfrm>
            <a:custGeom>
              <a:avLst/>
              <a:gdLst>
                <a:gd name="T0" fmla="*/ 120 w 248"/>
                <a:gd name="T1" fmla="*/ 92 h 194"/>
                <a:gd name="T2" fmla="*/ 127 w 248"/>
                <a:gd name="T3" fmla="*/ 96 h 194"/>
                <a:gd name="T4" fmla="*/ 129 w 248"/>
                <a:gd name="T5" fmla="*/ 104 h 194"/>
                <a:gd name="T6" fmla="*/ 131 w 248"/>
                <a:gd name="T7" fmla="*/ 110 h 194"/>
                <a:gd name="T8" fmla="*/ 133 w 248"/>
                <a:gd name="T9" fmla="*/ 110 h 194"/>
                <a:gd name="T10" fmla="*/ 143 w 248"/>
                <a:gd name="T11" fmla="*/ 112 h 194"/>
                <a:gd name="T12" fmla="*/ 149 w 248"/>
                <a:gd name="T13" fmla="*/ 121 h 194"/>
                <a:gd name="T14" fmla="*/ 146 w 248"/>
                <a:gd name="T15" fmla="*/ 131 h 194"/>
                <a:gd name="T16" fmla="*/ 146 w 248"/>
                <a:gd name="T17" fmla="*/ 142 h 194"/>
                <a:gd name="T18" fmla="*/ 145 w 248"/>
                <a:gd name="T19" fmla="*/ 153 h 194"/>
                <a:gd name="T20" fmla="*/ 140 w 248"/>
                <a:gd name="T21" fmla="*/ 154 h 194"/>
                <a:gd name="T22" fmla="*/ 131 w 248"/>
                <a:gd name="T23" fmla="*/ 154 h 194"/>
                <a:gd name="T24" fmla="*/ 128 w 248"/>
                <a:gd name="T25" fmla="*/ 159 h 194"/>
                <a:gd name="T26" fmla="*/ 123 w 248"/>
                <a:gd name="T27" fmla="*/ 152 h 194"/>
                <a:gd name="T28" fmla="*/ 115 w 248"/>
                <a:gd name="T29" fmla="*/ 145 h 194"/>
                <a:gd name="T30" fmla="*/ 105 w 248"/>
                <a:gd name="T31" fmla="*/ 137 h 194"/>
                <a:gd name="T32" fmla="*/ 97 w 248"/>
                <a:gd name="T33" fmla="*/ 128 h 194"/>
                <a:gd name="T34" fmla="*/ 86 w 248"/>
                <a:gd name="T35" fmla="*/ 120 h 194"/>
                <a:gd name="T36" fmla="*/ 80 w 248"/>
                <a:gd name="T37" fmla="*/ 111 h 194"/>
                <a:gd name="T38" fmla="*/ 75 w 248"/>
                <a:gd name="T39" fmla="*/ 100 h 194"/>
                <a:gd name="T40" fmla="*/ 71 w 248"/>
                <a:gd name="T41" fmla="*/ 90 h 194"/>
                <a:gd name="T42" fmla="*/ 63 w 248"/>
                <a:gd name="T43" fmla="*/ 81 h 194"/>
                <a:gd name="T44" fmla="*/ 55 w 248"/>
                <a:gd name="T45" fmla="*/ 74 h 194"/>
                <a:gd name="T46" fmla="*/ 51 w 248"/>
                <a:gd name="T47" fmla="*/ 64 h 194"/>
                <a:gd name="T48" fmla="*/ 45 w 248"/>
                <a:gd name="T49" fmla="*/ 50 h 194"/>
                <a:gd name="T50" fmla="*/ 37 w 248"/>
                <a:gd name="T51" fmla="*/ 47 h 194"/>
                <a:gd name="T52" fmla="*/ 31 w 248"/>
                <a:gd name="T53" fmla="*/ 38 h 194"/>
                <a:gd name="T54" fmla="*/ 23 w 248"/>
                <a:gd name="T55" fmla="*/ 27 h 194"/>
                <a:gd name="T56" fmla="*/ 13 w 248"/>
                <a:gd name="T57" fmla="*/ 21 h 194"/>
                <a:gd name="T58" fmla="*/ 3 w 248"/>
                <a:gd name="T59" fmla="*/ 10 h 194"/>
                <a:gd name="T60" fmla="*/ 6 w 248"/>
                <a:gd name="T61" fmla="*/ 0 h 194"/>
                <a:gd name="T62" fmla="*/ 17 w 248"/>
                <a:gd name="T63" fmla="*/ 6 h 194"/>
                <a:gd name="T64" fmla="*/ 28 w 248"/>
                <a:gd name="T65" fmla="*/ 7 h 194"/>
                <a:gd name="T66" fmla="*/ 37 w 248"/>
                <a:gd name="T67" fmla="*/ 10 h 194"/>
                <a:gd name="T68" fmla="*/ 42 w 248"/>
                <a:gd name="T69" fmla="*/ 19 h 194"/>
                <a:gd name="T70" fmla="*/ 52 w 248"/>
                <a:gd name="T71" fmla="*/ 27 h 194"/>
                <a:gd name="T72" fmla="*/ 63 w 248"/>
                <a:gd name="T73" fmla="*/ 35 h 194"/>
                <a:gd name="T74" fmla="*/ 66 w 248"/>
                <a:gd name="T75" fmla="*/ 41 h 194"/>
                <a:gd name="T76" fmla="*/ 72 w 248"/>
                <a:gd name="T77" fmla="*/ 45 h 194"/>
                <a:gd name="T78" fmla="*/ 79 w 248"/>
                <a:gd name="T79" fmla="*/ 52 h 194"/>
                <a:gd name="T80" fmla="*/ 82 w 248"/>
                <a:gd name="T81" fmla="*/ 49 h 194"/>
                <a:gd name="T82" fmla="*/ 91 w 248"/>
                <a:gd name="T83" fmla="*/ 56 h 194"/>
                <a:gd name="T84" fmla="*/ 97 w 248"/>
                <a:gd name="T85" fmla="*/ 64 h 194"/>
                <a:gd name="T86" fmla="*/ 107 w 248"/>
                <a:gd name="T87" fmla="*/ 68 h 194"/>
                <a:gd name="T88" fmla="*/ 100 w 248"/>
                <a:gd name="T89" fmla="*/ 75 h 194"/>
                <a:gd name="T90" fmla="*/ 107 w 248"/>
                <a:gd name="T91" fmla="*/ 73 h 194"/>
                <a:gd name="T92" fmla="*/ 118 w 248"/>
                <a:gd name="T93" fmla="*/ 76 h 194"/>
                <a:gd name="T94" fmla="*/ 111 w 248"/>
                <a:gd name="T95" fmla="*/ 83 h 194"/>
                <a:gd name="T96" fmla="*/ 112 w 248"/>
                <a:gd name="T97" fmla="*/ 85 h 194"/>
                <a:gd name="T98" fmla="*/ 248 w 248"/>
                <a:gd name="T9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8" h="194">
                  <a:moveTo>
                    <a:pt x="112" y="88"/>
                  </a:moveTo>
                  <a:lnTo>
                    <a:pt x="116" y="90"/>
                  </a:lnTo>
                  <a:lnTo>
                    <a:pt x="118" y="92"/>
                  </a:lnTo>
                  <a:lnTo>
                    <a:pt x="120" y="92"/>
                  </a:lnTo>
                  <a:lnTo>
                    <a:pt x="124" y="92"/>
                  </a:lnTo>
                  <a:lnTo>
                    <a:pt x="124" y="92"/>
                  </a:lnTo>
                  <a:lnTo>
                    <a:pt x="126" y="93"/>
                  </a:lnTo>
                  <a:lnTo>
                    <a:pt x="127" y="96"/>
                  </a:lnTo>
                  <a:lnTo>
                    <a:pt x="127" y="99"/>
                  </a:lnTo>
                  <a:lnTo>
                    <a:pt x="128" y="101"/>
                  </a:lnTo>
                  <a:lnTo>
                    <a:pt x="128" y="102"/>
                  </a:lnTo>
                  <a:lnTo>
                    <a:pt x="129" y="104"/>
                  </a:lnTo>
                  <a:lnTo>
                    <a:pt x="133" y="105"/>
                  </a:lnTo>
                  <a:lnTo>
                    <a:pt x="132" y="108"/>
                  </a:lnTo>
                  <a:lnTo>
                    <a:pt x="129" y="110"/>
                  </a:lnTo>
                  <a:lnTo>
                    <a:pt x="131" y="110"/>
                  </a:lnTo>
                  <a:lnTo>
                    <a:pt x="131" y="113"/>
                  </a:lnTo>
                  <a:lnTo>
                    <a:pt x="128" y="116"/>
                  </a:lnTo>
                  <a:lnTo>
                    <a:pt x="131" y="112"/>
                  </a:lnTo>
                  <a:lnTo>
                    <a:pt x="133" y="110"/>
                  </a:lnTo>
                  <a:lnTo>
                    <a:pt x="135" y="110"/>
                  </a:lnTo>
                  <a:lnTo>
                    <a:pt x="137" y="110"/>
                  </a:lnTo>
                  <a:lnTo>
                    <a:pt x="140" y="110"/>
                  </a:lnTo>
                  <a:lnTo>
                    <a:pt x="143" y="112"/>
                  </a:lnTo>
                  <a:lnTo>
                    <a:pt x="145" y="115"/>
                  </a:lnTo>
                  <a:lnTo>
                    <a:pt x="145" y="118"/>
                  </a:lnTo>
                  <a:lnTo>
                    <a:pt x="149" y="119"/>
                  </a:lnTo>
                  <a:lnTo>
                    <a:pt x="149" y="121"/>
                  </a:lnTo>
                  <a:lnTo>
                    <a:pt x="148" y="124"/>
                  </a:lnTo>
                  <a:lnTo>
                    <a:pt x="146" y="127"/>
                  </a:lnTo>
                  <a:lnTo>
                    <a:pt x="146" y="129"/>
                  </a:lnTo>
                  <a:lnTo>
                    <a:pt x="146" y="131"/>
                  </a:lnTo>
                  <a:lnTo>
                    <a:pt x="145" y="135"/>
                  </a:lnTo>
                  <a:lnTo>
                    <a:pt x="145" y="137"/>
                  </a:lnTo>
                  <a:lnTo>
                    <a:pt x="146" y="139"/>
                  </a:lnTo>
                  <a:lnTo>
                    <a:pt x="146" y="142"/>
                  </a:lnTo>
                  <a:lnTo>
                    <a:pt x="146" y="145"/>
                  </a:lnTo>
                  <a:lnTo>
                    <a:pt x="146" y="147"/>
                  </a:lnTo>
                  <a:lnTo>
                    <a:pt x="146" y="150"/>
                  </a:lnTo>
                  <a:lnTo>
                    <a:pt x="145" y="153"/>
                  </a:lnTo>
                  <a:lnTo>
                    <a:pt x="145" y="155"/>
                  </a:lnTo>
                  <a:lnTo>
                    <a:pt x="144" y="159"/>
                  </a:lnTo>
                  <a:lnTo>
                    <a:pt x="142" y="155"/>
                  </a:lnTo>
                  <a:lnTo>
                    <a:pt x="140" y="154"/>
                  </a:lnTo>
                  <a:lnTo>
                    <a:pt x="137" y="154"/>
                  </a:lnTo>
                  <a:lnTo>
                    <a:pt x="136" y="156"/>
                  </a:lnTo>
                  <a:lnTo>
                    <a:pt x="133" y="155"/>
                  </a:lnTo>
                  <a:lnTo>
                    <a:pt x="131" y="154"/>
                  </a:lnTo>
                  <a:lnTo>
                    <a:pt x="128" y="154"/>
                  </a:lnTo>
                  <a:lnTo>
                    <a:pt x="129" y="156"/>
                  </a:lnTo>
                  <a:lnTo>
                    <a:pt x="128" y="159"/>
                  </a:lnTo>
                  <a:lnTo>
                    <a:pt x="128" y="159"/>
                  </a:lnTo>
                  <a:lnTo>
                    <a:pt x="127" y="158"/>
                  </a:lnTo>
                  <a:lnTo>
                    <a:pt x="125" y="155"/>
                  </a:lnTo>
                  <a:lnTo>
                    <a:pt x="125" y="154"/>
                  </a:lnTo>
                  <a:lnTo>
                    <a:pt x="123" y="152"/>
                  </a:lnTo>
                  <a:lnTo>
                    <a:pt x="120" y="150"/>
                  </a:lnTo>
                  <a:lnTo>
                    <a:pt x="118" y="146"/>
                  </a:lnTo>
                  <a:lnTo>
                    <a:pt x="116" y="145"/>
                  </a:lnTo>
                  <a:lnTo>
                    <a:pt x="115" y="145"/>
                  </a:lnTo>
                  <a:lnTo>
                    <a:pt x="112" y="143"/>
                  </a:lnTo>
                  <a:lnTo>
                    <a:pt x="109" y="142"/>
                  </a:lnTo>
                  <a:lnTo>
                    <a:pt x="107" y="139"/>
                  </a:lnTo>
                  <a:lnTo>
                    <a:pt x="105" y="137"/>
                  </a:lnTo>
                  <a:lnTo>
                    <a:pt x="101" y="135"/>
                  </a:lnTo>
                  <a:lnTo>
                    <a:pt x="99" y="133"/>
                  </a:lnTo>
                  <a:lnTo>
                    <a:pt x="98" y="130"/>
                  </a:lnTo>
                  <a:lnTo>
                    <a:pt x="97" y="128"/>
                  </a:lnTo>
                  <a:lnTo>
                    <a:pt x="94" y="126"/>
                  </a:lnTo>
                  <a:lnTo>
                    <a:pt x="91" y="124"/>
                  </a:lnTo>
                  <a:lnTo>
                    <a:pt x="89" y="122"/>
                  </a:lnTo>
                  <a:lnTo>
                    <a:pt x="86" y="120"/>
                  </a:lnTo>
                  <a:lnTo>
                    <a:pt x="85" y="117"/>
                  </a:lnTo>
                  <a:lnTo>
                    <a:pt x="83" y="115"/>
                  </a:lnTo>
                  <a:lnTo>
                    <a:pt x="80" y="111"/>
                  </a:lnTo>
                  <a:lnTo>
                    <a:pt x="80" y="111"/>
                  </a:lnTo>
                  <a:lnTo>
                    <a:pt x="79" y="108"/>
                  </a:lnTo>
                  <a:lnTo>
                    <a:pt x="79" y="105"/>
                  </a:lnTo>
                  <a:lnTo>
                    <a:pt x="77" y="102"/>
                  </a:lnTo>
                  <a:lnTo>
                    <a:pt x="75" y="100"/>
                  </a:lnTo>
                  <a:lnTo>
                    <a:pt x="74" y="98"/>
                  </a:lnTo>
                  <a:lnTo>
                    <a:pt x="72" y="94"/>
                  </a:lnTo>
                  <a:lnTo>
                    <a:pt x="72" y="92"/>
                  </a:lnTo>
                  <a:lnTo>
                    <a:pt x="71" y="90"/>
                  </a:lnTo>
                  <a:lnTo>
                    <a:pt x="68" y="86"/>
                  </a:lnTo>
                  <a:lnTo>
                    <a:pt x="66" y="84"/>
                  </a:lnTo>
                  <a:lnTo>
                    <a:pt x="65" y="83"/>
                  </a:lnTo>
                  <a:lnTo>
                    <a:pt x="63" y="81"/>
                  </a:lnTo>
                  <a:lnTo>
                    <a:pt x="63" y="77"/>
                  </a:lnTo>
                  <a:lnTo>
                    <a:pt x="59" y="76"/>
                  </a:lnTo>
                  <a:lnTo>
                    <a:pt x="57" y="75"/>
                  </a:lnTo>
                  <a:lnTo>
                    <a:pt x="55" y="74"/>
                  </a:lnTo>
                  <a:lnTo>
                    <a:pt x="54" y="71"/>
                  </a:lnTo>
                  <a:lnTo>
                    <a:pt x="54" y="69"/>
                  </a:lnTo>
                  <a:lnTo>
                    <a:pt x="52" y="66"/>
                  </a:lnTo>
                  <a:lnTo>
                    <a:pt x="51" y="64"/>
                  </a:lnTo>
                  <a:lnTo>
                    <a:pt x="50" y="61"/>
                  </a:lnTo>
                  <a:lnTo>
                    <a:pt x="49" y="58"/>
                  </a:lnTo>
                  <a:lnTo>
                    <a:pt x="50" y="56"/>
                  </a:lnTo>
                  <a:lnTo>
                    <a:pt x="45" y="50"/>
                  </a:lnTo>
                  <a:lnTo>
                    <a:pt x="42" y="49"/>
                  </a:lnTo>
                  <a:lnTo>
                    <a:pt x="39" y="48"/>
                  </a:lnTo>
                  <a:lnTo>
                    <a:pt x="39" y="47"/>
                  </a:lnTo>
                  <a:lnTo>
                    <a:pt x="37" y="47"/>
                  </a:lnTo>
                  <a:lnTo>
                    <a:pt x="34" y="44"/>
                  </a:lnTo>
                  <a:lnTo>
                    <a:pt x="34" y="41"/>
                  </a:lnTo>
                  <a:lnTo>
                    <a:pt x="33" y="39"/>
                  </a:lnTo>
                  <a:lnTo>
                    <a:pt x="31" y="38"/>
                  </a:lnTo>
                  <a:lnTo>
                    <a:pt x="29" y="35"/>
                  </a:lnTo>
                  <a:lnTo>
                    <a:pt x="26" y="32"/>
                  </a:lnTo>
                  <a:lnTo>
                    <a:pt x="25" y="30"/>
                  </a:lnTo>
                  <a:lnTo>
                    <a:pt x="23" y="27"/>
                  </a:lnTo>
                  <a:lnTo>
                    <a:pt x="20" y="26"/>
                  </a:lnTo>
                  <a:lnTo>
                    <a:pt x="17" y="25"/>
                  </a:lnTo>
                  <a:lnTo>
                    <a:pt x="15" y="23"/>
                  </a:lnTo>
                  <a:lnTo>
                    <a:pt x="13" y="21"/>
                  </a:lnTo>
                  <a:lnTo>
                    <a:pt x="9" y="18"/>
                  </a:lnTo>
                  <a:lnTo>
                    <a:pt x="7" y="15"/>
                  </a:lnTo>
                  <a:lnTo>
                    <a:pt x="5" y="13"/>
                  </a:lnTo>
                  <a:lnTo>
                    <a:pt x="3" y="10"/>
                  </a:lnTo>
                  <a:lnTo>
                    <a:pt x="0" y="5"/>
                  </a:lnTo>
                  <a:lnTo>
                    <a:pt x="0" y="2"/>
                  </a:lnTo>
                  <a:lnTo>
                    <a:pt x="4" y="0"/>
                  </a:lnTo>
                  <a:lnTo>
                    <a:pt x="6" y="0"/>
                  </a:lnTo>
                  <a:lnTo>
                    <a:pt x="8" y="1"/>
                  </a:lnTo>
                  <a:lnTo>
                    <a:pt x="12" y="5"/>
                  </a:lnTo>
                  <a:lnTo>
                    <a:pt x="14" y="6"/>
                  </a:lnTo>
                  <a:lnTo>
                    <a:pt x="17" y="6"/>
                  </a:lnTo>
                  <a:lnTo>
                    <a:pt x="20" y="6"/>
                  </a:lnTo>
                  <a:lnTo>
                    <a:pt x="22" y="6"/>
                  </a:lnTo>
                  <a:lnTo>
                    <a:pt x="25" y="6"/>
                  </a:lnTo>
                  <a:lnTo>
                    <a:pt x="28" y="7"/>
                  </a:lnTo>
                  <a:lnTo>
                    <a:pt x="31" y="6"/>
                  </a:lnTo>
                  <a:lnTo>
                    <a:pt x="32" y="6"/>
                  </a:lnTo>
                  <a:lnTo>
                    <a:pt x="34" y="8"/>
                  </a:lnTo>
                  <a:lnTo>
                    <a:pt x="37" y="10"/>
                  </a:lnTo>
                  <a:lnTo>
                    <a:pt x="38" y="13"/>
                  </a:lnTo>
                  <a:lnTo>
                    <a:pt x="41" y="16"/>
                  </a:lnTo>
                  <a:lnTo>
                    <a:pt x="42" y="18"/>
                  </a:lnTo>
                  <a:lnTo>
                    <a:pt x="42" y="19"/>
                  </a:lnTo>
                  <a:lnTo>
                    <a:pt x="45" y="22"/>
                  </a:lnTo>
                  <a:lnTo>
                    <a:pt x="47" y="24"/>
                  </a:lnTo>
                  <a:lnTo>
                    <a:pt x="49" y="26"/>
                  </a:lnTo>
                  <a:lnTo>
                    <a:pt x="52" y="27"/>
                  </a:lnTo>
                  <a:lnTo>
                    <a:pt x="55" y="28"/>
                  </a:lnTo>
                  <a:lnTo>
                    <a:pt x="58" y="31"/>
                  </a:lnTo>
                  <a:lnTo>
                    <a:pt x="60" y="33"/>
                  </a:lnTo>
                  <a:lnTo>
                    <a:pt x="63" y="35"/>
                  </a:lnTo>
                  <a:lnTo>
                    <a:pt x="64" y="36"/>
                  </a:lnTo>
                  <a:lnTo>
                    <a:pt x="66" y="39"/>
                  </a:lnTo>
                  <a:lnTo>
                    <a:pt x="66" y="42"/>
                  </a:lnTo>
                  <a:lnTo>
                    <a:pt x="66" y="41"/>
                  </a:lnTo>
                  <a:lnTo>
                    <a:pt x="67" y="43"/>
                  </a:lnTo>
                  <a:lnTo>
                    <a:pt x="68" y="43"/>
                  </a:lnTo>
                  <a:lnTo>
                    <a:pt x="71" y="43"/>
                  </a:lnTo>
                  <a:lnTo>
                    <a:pt x="72" y="45"/>
                  </a:lnTo>
                  <a:lnTo>
                    <a:pt x="74" y="48"/>
                  </a:lnTo>
                  <a:lnTo>
                    <a:pt x="76" y="50"/>
                  </a:lnTo>
                  <a:lnTo>
                    <a:pt x="79" y="52"/>
                  </a:lnTo>
                  <a:lnTo>
                    <a:pt x="79" y="52"/>
                  </a:lnTo>
                  <a:lnTo>
                    <a:pt x="79" y="50"/>
                  </a:lnTo>
                  <a:lnTo>
                    <a:pt x="77" y="48"/>
                  </a:lnTo>
                  <a:lnTo>
                    <a:pt x="80" y="47"/>
                  </a:lnTo>
                  <a:lnTo>
                    <a:pt x="82" y="49"/>
                  </a:lnTo>
                  <a:lnTo>
                    <a:pt x="84" y="51"/>
                  </a:lnTo>
                  <a:lnTo>
                    <a:pt x="85" y="54"/>
                  </a:lnTo>
                  <a:lnTo>
                    <a:pt x="88" y="54"/>
                  </a:lnTo>
                  <a:lnTo>
                    <a:pt x="91" y="56"/>
                  </a:lnTo>
                  <a:lnTo>
                    <a:pt x="93" y="58"/>
                  </a:lnTo>
                  <a:lnTo>
                    <a:pt x="96" y="60"/>
                  </a:lnTo>
                  <a:lnTo>
                    <a:pt x="96" y="61"/>
                  </a:lnTo>
                  <a:lnTo>
                    <a:pt x="97" y="64"/>
                  </a:lnTo>
                  <a:lnTo>
                    <a:pt x="99" y="66"/>
                  </a:lnTo>
                  <a:lnTo>
                    <a:pt x="101" y="68"/>
                  </a:lnTo>
                  <a:lnTo>
                    <a:pt x="103" y="68"/>
                  </a:lnTo>
                  <a:lnTo>
                    <a:pt x="107" y="68"/>
                  </a:lnTo>
                  <a:lnTo>
                    <a:pt x="108" y="71"/>
                  </a:lnTo>
                  <a:lnTo>
                    <a:pt x="106" y="73"/>
                  </a:lnTo>
                  <a:lnTo>
                    <a:pt x="103" y="74"/>
                  </a:lnTo>
                  <a:lnTo>
                    <a:pt x="100" y="75"/>
                  </a:lnTo>
                  <a:lnTo>
                    <a:pt x="99" y="74"/>
                  </a:lnTo>
                  <a:lnTo>
                    <a:pt x="102" y="75"/>
                  </a:lnTo>
                  <a:lnTo>
                    <a:pt x="105" y="74"/>
                  </a:lnTo>
                  <a:lnTo>
                    <a:pt x="107" y="73"/>
                  </a:lnTo>
                  <a:lnTo>
                    <a:pt x="110" y="71"/>
                  </a:lnTo>
                  <a:lnTo>
                    <a:pt x="112" y="70"/>
                  </a:lnTo>
                  <a:lnTo>
                    <a:pt x="115" y="74"/>
                  </a:lnTo>
                  <a:lnTo>
                    <a:pt x="118" y="76"/>
                  </a:lnTo>
                  <a:lnTo>
                    <a:pt x="118" y="77"/>
                  </a:lnTo>
                  <a:lnTo>
                    <a:pt x="117" y="78"/>
                  </a:lnTo>
                  <a:lnTo>
                    <a:pt x="114" y="81"/>
                  </a:lnTo>
                  <a:lnTo>
                    <a:pt x="111" y="83"/>
                  </a:lnTo>
                  <a:lnTo>
                    <a:pt x="112" y="83"/>
                  </a:lnTo>
                  <a:lnTo>
                    <a:pt x="115" y="84"/>
                  </a:lnTo>
                  <a:lnTo>
                    <a:pt x="112" y="84"/>
                  </a:lnTo>
                  <a:lnTo>
                    <a:pt x="112" y="85"/>
                  </a:lnTo>
                  <a:lnTo>
                    <a:pt x="112" y="88"/>
                  </a:lnTo>
                  <a:lnTo>
                    <a:pt x="112" y="88"/>
                  </a:lnTo>
                  <a:close/>
                  <a:moveTo>
                    <a:pt x="248" y="194"/>
                  </a:moveTo>
                  <a:lnTo>
                    <a:pt x="248" y="194"/>
                  </a:lnTo>
                  <a:lnTo>
                    <a:pt x="248" y="194"/>
                  </a:lnTo>
                  <a:lnTo>
                    <a:pt x="248"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5" name="Freeform 225">
              <a:extLst>
                <a:ext uri="{FF2B5EF4-FFF2-40B4-BE49-F238E27FC236}">
                  <a16:creationId xmlns:a16="http://schemas.microsoft.com/office/drawing/2014/main" id="{71557924-DBDC-4786-AEF5-8000AD39455A}"/>
                </a:ext>
              </a:extLst>
            </p:cNvPr>
            <p:cNvSpPr>
              <a:spLocks noEditPoints="1"/>
            </p:cNvSpPr>
            <p:nvPr/>
          </p:nvSpPr>
          <p:spPr bwMode="auto">
            <a:xfrm>
              <a:off x="4044950" y="2201863"/>
              <a:ext cx="2239962" cy="3606800"/>
            </a:xfrm>
            <a:custGeom>
              <a:avLst/>
              <a:gdLst>
                <a:gd name="T0" fmla="*/ 178 w 1411"/>
                <a:gd name="T1" fmla="*/ 2262 h 2272"/>
                <a:gd name="T2" fmla="*/ 312 w 1411"/>
                <a:gd name="T3" fmla="*/ 2194 h 2272"/>
                <a:gd name="T4" fmla="*/ 230 w 1411"/>
                <a:gd name="T5" fmla="*/ 2250 h 2272"/>
                <a:gd name="T6" fmla="*/ 185 w 1411"/>
                <a:gd name="T7" fmla="*/ 2212 h 2272"/>
                <a:gd name="T8" fmla="*/ 177 w 1411"/>
                <a:gd name="T9" fmla="*/ 2239 h 2272"/>
                <a:gd name="T10" fmla="*/ 161 w 1411"/>
                <a:gd name="T11" fmla="*/ 2248 h 2272"/>
                <a:gd name="T12" fmla="*/ 188 w 1411"/>
                <a:gd name="T13" fmla="*/ 2257 h 2272"/>
                <a:gd name="T14" fmla="*/ 244 w 1411"/>
                <a:gd name="T15" fmla="*/ 2253 h 2272"/>
                <a:gd name="T16" fmla="*/ 587 w 1411"/>
                <a:gd name="T17" fmla="*/ 1458 h 2272"/>
                <a:gd name="T18" fmla="*/ 525 w 1411"/>
                <a:gd name="T19" fmla="*/ 1461 h 2272"/>
                <a:gd name="T20" fmla="*/ 478 w 1411"/>
                <a:gd name="T21" fmla="*/ 1428 h 2272"/>
                <a:gd name="T22" fmla="*/ 441 w 1411"/>
                <a:gd name="T23" fmla="*/ 1439 h 2272"/>
                <a:gd name="T24" fmla="*/ 452 w 1411"/>
                <a:gd name="T25" fmla="*/ 1401 h 2272"/>
                <a:gd name="T26" fmla="*/ 424 w 1411"/>
                <a:gd name="T27" fmla="*/ 1354 h 2272"/>
                <a:gd name="T28" fmla="*/ 356 w 1411"/>
                <a:gd name="T29" fmla="*/ 1337 h 2272"/>
                <a:gd name="T30" fmla="*/ 322 w 1411"/>
                <a:gd name="T31" fmla="*/ 1307 h 2272"/>
                <a:gd name="T32" fmla="*/ 285 w 1411"/>
                <a:gd name="T33" fmla="*/ 1287 h 2272"/>
                <a:gd name="T34" fmla="*/ 261 w 1411"/>
                <a:gd name="T35" fmla="*/ 1272 h 2272"/>
                <a:gd name="T36" fmla="*/ 175 w 1411"/>
                <a:gd name="T37" fmla="*/ 1252 h 2272"/>
                <a:gd name="T38" fmla="*/ 151 w 1411"/>
                <a:gd name="T39" fmla="*/ 1281 h 2272"/>
                <a:gd name="T40" fmla="*/ 119 w 1411"/>
                <a:gd name="T41" fmla="*/ 1269 h 2272"/>
                <a:gd name="T42" fmla="*/ 84 w 1411"/>
                <a:gd name="T43" fmla="*/ 1307 h 2272"/>
                <a:gd name="T44" fmla="*/ 17 w 1411"/>
                <a:gd name="T45" fmla="*/ 1296 h 2272"/>
                <a:gd name="T46" fmla="*/ 12 w 1411"/>
                <a:gd name="T47" fmla="*/ 1306 h 2272"/>
                <a:gd name="T48" fmla="*/ 60 w 1411"/>
                <a:gd name="T49" fmla="*/ 1299 h 2272"/>
                <a:gd name="T50" fmla="*/ 76 w 1411"/>
                <a:gd name="T51" fmla="*/ 1364 h 2272"/>
                <a:gd name="T52" fmla="*/ 43 w 1411"/>
                <a:gd name="T53" fmla="*/ 1407 h 2272"/>
                <a:gd name="T54" fmla="*/ 41 w 1411"/>
                <a:gd name="T55" fmla="*/ 1452 h 2272"/>
                <a:gd name="T56" fmla="*/ 29 w 1411"/>
                <a:gd name="T57" fmla="*/ 1496 h 2272"/>
                <a:gd name="T58" fmla="*/ 85 w 1411"/>
                <a:gd name="T59" fmla="*/ 1590 h 2272"/>
                <a:gd name="T60" fmla="*/ 159 w 1411"/>
                <a:gd name="T61" fmla="*/ 1660 h 2272"/>
                <a:gd name="T62" fmla="*/ 169 w 1411"/>
                <a:gd name="T63" fmla="*/ 1776 h 2272"/>
                <a:gd name="T64" fmla="*/ 155 w 1411"/>
                <a:gd name="T65" fmla="*/ 1888 h 2272"/>
                <a:gd name="T66" fmla="*/ 131 w 1411"/>
                <a:gd name="T67" fmla="*/ 1966 h 2272"/>
                <a:gd name="T68" fmla="*/ 142 w 1411"/>
                <a:gd name="T69" fmla="*/ 2025 h 2272"/>
                <a:gd name="T70" fmla="*/ 141 w 1411"/>
                <a:gd name="T71" fmla="*/ 2075 h 2272"/>
                <a:gd name="T72" fmla="*/ 125 w 1411"/>
                <a:gd name="T73" fmla="*/ 2102 h 2272"/>
                <a:gd name="T74" fmla="*/ 109 w 1411"/>
                <a:gd name="T75" fmla="*/ 2108 h 2272"/>
                <a:gd name="T76" fmla="*/ 131 w 1411"/>
                <a:gd name="T77" fmla="*/ 2134 h 2272"/>
                <a:gd name="T78" fmla="*/ 125 w 1411"/>
                <a:gd name="T79" fmla="*/ 2154 h 2272"/>
                <a:gd name="T80" fmla="*/ 121 w 1411"/>
                <a:gd name="T81" fmla="*/ 2178 h 2272"/>
                <a:gd name="T82" fmla="*/ 133 w 1411"/>
                <a:gd name="T83" fmla="*/ 2203 h 2272"/>
                <a:gd name="T84" fmla="*/ 128 w 1411"/>
                <a:gd name="T85" fmla="*/ 2205 h 2272"/>
                <a:gd name="T86" fmla="*/ 144 w 1411"/>
                <a:gd name="T87" fmla="*/ 2219 h 2272"/>
                <a:gd name="T88" fmla="*/ 153 w 1411"/>
                <a:gd name="T89" fmla="*/ 2230 h 2272"/>
                <a:gd name="T90" fmla="*/ 198 w 1411"/>
                <a:gd name="T91" fmla="*/ 2209 h 2272"/>
                <a:gd name="T92" fmla="*/ 192 w 1411"/>
                <a:gd name="T93" fmla="*/ 2167 h 2272"/>
                <a:gd name="T94" fmla="*/ 230 w 1411"/>
                <a:gd name="T95" fmla="*/ 2128 h 2272"/>
                <a:gd name="T96" fmla="*/ 243 w 1411"/>
                <a:gd name="T97" fmla="*/ 2067 h 2272"/>
                <a:gd name="T98" fmla="*/ 249 w 1411"/>
                <a:gd name="T99" fmla="*/ 2033 h 2272"/>
                <a:gd name="T100" fmla="*/ 288 w 1411"/>
                <a:gd name="T101" fmla="*/ 1981 h 2272"/>
                <a:gd name="T102" fmla="*/ 345 w 1411"/>
                <a:gd name="T103" fmla="*/ 1916 h 2272"/>
                <a:gd name="T104" fmla="*/ 347 w 1411"/>
                <a:gd name="T105" fmla="*/ 1910 h 2272"/>
                <a:gd name="T106" fmla="*/ 427 w 1411"/>
                <a:gd name="T107" fmla="*/ 1861 h 2272"/>
                <a:gd name="T108" fmla="*/ 442 w 1411"/>
                <a:gd name="T109" fmla="*/ 1858 h 2272"/>
                <a:gd name="T110" fmla="*/ 478 w 1411"/>
                <a:gd name="T111" fmla="*/ 1768 h 2272"/>
                <a:gd name="T112" fmla="*/ 545 w 1411"/>
                <a:gd name="T113" fmla="*/ 1739 h 2272"/>
                <a:gd name="T114" fmla="*/ 593 w 1411"/>
                <a:gd name="T115" fmla="*/ 1685 h 2272"/>
                <a:gd name="T116" fmla="*/ 623 w 1411"/>
                <a:gd name="T117" fmla="*/ 1577 h 2272"/>
                <a:gd name="T118" fmla="*/ 195 w 1411"/>
                <a:gd name="T119" fmla="*/ 1646 h 2272"/>
                <a:gd name="T120" fmla="*/ 196 w 1411"/>
                <a:gd name="T121" fmla="*/ 1642 h 2272"/>
                <a:gd name="T122" fmla="*/ 329 w 1411"/>
                <a:gd name="T123" fmla="*/ 2200 h 2272"/>
                <a:gd name="T124" fmla="*/ 472 w 1411"/>
                <a:gd name="T125" fmla="*/ 142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1" h="2272">
                  <a:moveTo>
                    <a:pt x="1407" y="1"/>
                  </a:moveTo>
                  <a:lnTo>
                    <a:pt x="1411" y="1"/>
                  </a:lnTo>
                  <a:lnTo>
                    <a:pt x="1411" y="0"/>
                  </a:lnTo>
                  <a:lnTo>
                    <a:pt x="1407" y="1"/>
                  </a:lnTo>
                  <a:close/>
                  <a:moveTo>
                    <a:pt x="202" y="2266"/>
                  </a:moveTo>
                  <a:lnTo>
                    <a:pt x="200" y="2265"/>
                  </a:lnTo>
                  <a:lnTo>
                    <a:pt x="196" y="2264"/>
                  </a:lnTo>
                  <a:lnTo>
                    <a:pt x="200" y="2264"/>
                  </a:lnTo>
                  <a:lnTo>
                    <a:pt x="202" y="2264"/>
                  </a:lnTo>
                  <a:lnTo>
                    <a:pt x="200" y="2262"/>
                  </a:lnTo>
                  <a:lnTo>
                    <a:pt x="196" y="2262"/>
                  </a:lnTo>
                  <a:lnTo>
                    <a:pt x="194" y="2262"/>
                  </a:lnTo>
                  <a:lnTo>
                    <a:pt x="191" y="2260"/>
                  </a:lnTo>
                  <a:lnTo>
                    <a:pt x="194" y="2261"/>
                  </a:lnTo>
                  <a:lnTo>
                    <a:pt x="196" y="2262"/>
                  </a:lnTo>
                  <a:lnTo>
                    <a:pt x="200" y="2261"/>
                  </a:lnTo>
                  <a:lnTo>
                    <a:pt x="200" y="2258"/>
                  </a:lnTo>
                  <a:lnTo>
                    <a:pt x="198" y="2257"/>
                  </a:lnTo>
                  <a:lnTo>
                    <a:pt x="194" y="2258"/>
                  </a:lnTo>
                  <a:lnTo>
                    <a:pt x="192" y="2258"/>
                  </a:lnTo>
                  <a:lnTo>
                    <a:pt x="188" y="2260"/>
                  </a:lnTo>
                  <a:lnTo>
                    <a:pt x="186" y="2260"/>
                  </a:lnTo>
                  <a:lnTo>
                    <a:pt x="184" y="2260"/>
                  </a:lnTo>
                  <a:lnTo>
                    <a:pt x="181" y="2260"/>
                  </a:lnTo>
                  <a:lnTo>
                    <a:pt x="178" y="2262"/>
                  </a:lnTo>
                  <a:lnTo>
                    <a:pt x="178" y="2262"/>
                  </a:lnTo>
                  <a:lnTo>
                    <a:pt x="178" y="2262"/>
                  </a:lnTo>
                  <a:lnTo>
                    <a:pt x="182" y="2263"/>
                  </a:lnTo>
                  <a:lnTo>
                    <a:pt x="184" y="2263"/>
                  </a:lnTo>
                  <a:lnTo>
                    <a:pt x="182" y="2265"/>
                  </a:lnTo>
                  <a:lnTo>
                    <a:pt x="184" y="2266"/>
                  </a:lnTo>
                  <a:lnTo>
                    <a:pt x="187" y="2267"/>
                  </a:lnTo>
                  <a:lnTo>
                    <a:pt x="190" y="2269"/>
                  </a:lnTo>
                  <a:lnTo>
                    <a:pt x="188" y="2266"/>
                  </a:lnTo>
                  <a:lnTo>
                    <a:pt x="186" y="2264"/>
                  </a:lnTo>
                  <a:lnTo>
                    <a:pt x="187" y="2262"/>
                  </a:lnTo>
                  <a:lnTo>
                    <a:pt x="191" y="2263"/>
                  </a:lnTo>
                  <a:lnTo>
                    <a:pt x="193" y="2264"/>
                  </a:lnTo>
                  <a:lnTo>
                    <a:pt x="194" y="2267"/>
                  </a:lnTo>
                  <a:lnTo>
                    <a:pt x="198" y="2266"/>
                  </a:lnTo>
                  <a:lnTo>
                    <a:pt x="200" y="2269"/>
                  </a:lnTo>
                  <a:lnTo>
                    <a:pt x="202" y="2271"/>
                  </a:lnTo>
                  <a:lnTo>
                    <a:pt x="205" y="2272"/>
                  </a:lnTo>
                  <a:lnTo>
                    <a:pt x="204" y="2270"/>
                  </a:lnTo>
                  <a:lnTo>
                    <a:pt x="202" y="2266"/>
                  </a:lnTo>
                  <a:close/>
                  <a:moveTo>
                    <a:pt x="323" y="2195"/>
                  </a:moveTo>
                  <a:lnTo>
                    <a:pt x="326" y="2193"/>
                  </a:lnTo>
                  <a:lnTo>
                    <a:pt x="323" y="2193"/>
                  </a:lnTo>
                  <a:lnTo>
                    <a:pt x="321" y="2193"/>
                  </a:lnTo>
                  <a:lnTo>
                    <a:pt x="318" y="2193"/>
                  </a:lnTo>
                  <a:lnTo>
                    <a:pt x="315" y="2192"/>
                  </a:lnTo>
                  <a:lnTo>
                    <a:pt x="315" y="2193"/>
                  </a:lnTo>
                  <a:lnTo>
                    <a:pt x="314" y="2193"/>
                  </a:lnTo>
                  <a:lnTo>
                    <a:pt x="312" y="2194"/>
                  </a:lnTo>
                  <a:lnTo>
                    <a:pt x="309" y="2192"/>
                  </a:lnTo>
                  <a:lnTo>
                    <a:pt x="306" y="2192"/>
                  </a:lnTo>
                  <a:lnTo>
                    <a:pt x="309" y="2194"/>
                  </a:lnTo>
                  <a:lnTo>
                    <a:pt x="311" y="2196"/>
                  </a:lnTo>
                  <a:lnTo>
                    <a:pt x="314" y="2197"/>
                  </a:lnTo>
                  <a:lnTo>
                    <a:pt x="312" y="2196"/>
                  </a:lnTo>
                  <a:lnTo>
                    <a:pt x="309" y="2197"/>
                  </a:lnTo>
                  <a:lnTo>
                    <a:pt x="306" y="2197"/>
                  </a:lnTo>
                  <a:lnTo>
                    <a:pt x="309" y="2198"/>
                  </a:lnTo>
                  <a:lnTo>
                    <a:pt x="312" y="2198"/>
                  </a:lnTo>
                  <a:lnTo>
                    <a:pt x="309" y="2200"/>
                  </a:lnTo>
                  <a:lnTo>
                    <a:pt x="307" y="2203"/>
                  </a:lnTo>
                  <a:lnTo>
                    <a:pt x="304" y="2203"/>
                  </a:lnTo>
                  <a:lnTo>
                    <a:pt x="302" y="2204"/>
                  </a:lnTo>
                  <a:lnTo>
                    <a:pt x="304" y="2205"/>
                  </a:lnTo>
                  <a:lnTo>
                    <a:pt x="307" y="2205"/>
                  </a:lnTo>
                  <a:lnTo>
                    <a:pt x="310" y="2205"/>
                  </a:lnTo>
                  <a:lnTo>
                    <a:pt x="312" y="2203"/>
                  </a:lnTo>
                  <a:lnTo>
                    <a:pt x="315" y="2202"/>
                  </a:lnTo>
                  <a:lnTo>
                    <a:pt x="316" y="2202"/>
                  </a:lnTo>
                  <a:lnTo>
                    <a:pt x="319" y="2200"/>
                  </a:lnTo>
                  <a:lnTo>
                    <a:pt x="321" y="2196"/>
                  </a:lnTo>
                  <a:lnTo>
                    <a:pt x="323" y="2195"/>
                  </a:lnTo>
                  <a:close/>
                  <a:moveTo>
                    <a:pt x="239" y="2253"/>
                  </a:moveTo>
                  <a:lnTo>
                    <a:pt x="236" y="2253"/>
                  </a:lnTo>
                  <a:lnTo>
                    <a:pt x="234" y="2252"/>
                  </a:lnTo>
                  <a:lnTo>
                    <a:pt x="230" y="2250"/>
                  </a:lnTo>
                  <a:lnTo>
                    <a:pt x="228" y="2249"/>
                  </a:lnTo>
                  <a:lnTo>
                    <a:pt x="226" y="2248"/>
                  </a:lnTo>
                  <a:lnTo>
                    <a:pt x="222" y="2245"/>
                  </a:lnTo>
                  <a:lnTo>
                    <a:pt x="220" y="2244"/>
                  </a:lnTo>
                  <a:lnTo>
                    <a:pt x="218" y="2243"/>
                  </a:lnTo>
                  <a:lnTo>
                    <a:pt x="215" y="2240"/>
                  </a:lnTo>
                  <a:lnTo>
                    <a:pt x="212" y="2239"/>
                  </a:lnTo>
                  <a:lnTo>
                    <a:pt x="209" y="2236"/>
                  </a:lnTo>
                  <a:lnTo>
                    <a:pt x="209" y="2235"/>
                  </a:lnTo>
                  <a:lnTo>
                    <a:pt x="205" y="2232"/>
                  </a:lnTo>
                  <a:lnTo>
                    <a:pt x="204" y="2230"/>
                  </a:lnTo>
                  <a:lnTo>
                    <a:pt x="203" y="2227"/>
                  </a:lnTo>
                  <a:lnTo>
                    <a:pt x="201" y="2227"/>
                  </a:lnTo>
                  <a:lnTo>
                    <a:pt x="198" y="2226"/>
                  </a:lnTo>
                  <a:lnTo>
                    <a:pt x="200" y="2223"/>
                  </a:lnTo>
                  <a:lnTo>
                    <a:pt x="202" y="2222"/>
                  </a:lnTo>
                  <a:lnTo>
                    <a:pt x="201" y="2219"/>
                  </a:lnTo>
                  <a:lnTo>
                    <a:pt x="199" y="2216"/>
                  </a:lnTo>
                  <a:lnTo>
                    <a:pt x="198" y="2215"/>
                  </a:lnTo>
                  <a:lnTo>
                    <a:pt x="198" y="2214"/>
                  </a:lnTo>
                  <a:lnTo>
                    <a:pt x="196" y="2214"/>
                  </a:lnTo>
                  <a:lnTo>
                    <a:pt x="196" y="2214"/>
                  </a:lnTo>
                  <a:lnTo>
                    <a:pt x="196" y="2214"/>
                  </a:lnTo>
                  <a:lnTo>
                    <a:pt x="193" y="2214"/>
                  </a:lnTo>
                  <a:lnTo>
                    <a:pt x="191" y="2215"/>
                  </a:lnTo>
                  <a:lnTo>
                    <a:pt x="188" y="2214"/>
                  </a:lnTo>
                  <a:lnTo>
                    <a:pt x="185" y="2212"/>
                  </a:lnTo>
                  <a:lnTo>
                    <a:pt x="185" y="2212"/>
                  </a:lnTo>
                  <a:lnTo>
                    <a:pt x="184" y="2214"/>
                  </a:lnTo>
                  <a:lnTo>
                    <a:pt x="182" y="2216"/>
                  </a:lnTo>
                  <a:lnTo>
                    <a:pt x="182" y="2216"/>
                  </a:lnTo>
                  <a:lnTo>
                    <a:pt x="181" y="2218"/>
                  </a:lnTo>
                  <a:lnTo>
                    <a:pt x="178" y="2218"/>
                  </a:lnTo>
                  <a:lnTo>
                    <a:pt x="176" y="2216"/>
                  </a:lnTo>
                  <a:lnTo>
                    <a:pt x="173" y="2216"/>
                  </a:lnTo>
                  <a:lnTo>
                    <a:pt x="174" y="2219"/>
                  </a:lnTo>
                  <a:lnTo>
                    <a:pt x="177" y="2219"/>
                  </a:lnTo>
                  <a:lnTo>
                    <a:pt x="175" y="2222"/>
                  </a:lnTo>
                  <a:lnTo>
                    <a:pt x="171" y="2222"/>
                  </a:lnTo>
                  <a:lnTo>
                    <a:pt x="171" y="2224"/>
                  </a:lnTo>
                  <a:lnTo>
                    <a:pt x="171" y="2227"/>
                  </a:lnTo>
                  <a:lnTo>
                    <a:pt x="173" y="2228"/>
                  </a:lnTo>
                  <a:lnTo>
                    <a:pt x="175" y="2230"/>
                  </a:lnTo>
                  <a:lnTo>
                    <a:pt x="178" y="2229"/>
                  </a:lnTo>
                  <a:lnTo>
                    <a:pt x="178" y="2228"/>
                  </a:lnTo>
                  <a:lnTo>
                    <a:pt x="182" y="2228"/>
                  </a:lnTo>
                  <a:lnTo>
                    <a:pt x="184" y="2227"/>
                  </a:lnTo>
                  <a:lnTo>
                    <a:pt x="187" y="2228"/>
                  </a:lnTo>
                  <a:lnTo>
                    <a:pt x="186" y="2231"/>
                  </a:lnTo>
                  <a:lnTo>
                    <a:pt x="183" y="2232"/>
                  </a:lnTo>
                  <a:lnTo>
                    <a:pt x="181" y="2233"/>
                  </a:lnTo>
                  <a:lnTo>
                    <a:pt x="178" y="2235"/>
                  </a:lnTo>
                  <a:lnTo>
                    <a:pt x="176" y="2237"/>
                  </a:lnTo>
                  <a:lnTo>
                    <a:pt x="177" y="2239"/>
                  </a:lnTo>
                  <a:lnTo>
                    <a:pt x="178" y="2243"/>
                  </a:lnTo>
                  <a:lnTo>
                    <a:pt x="181" y="2244"/>
                  </a:lnTo>
                  <a:lnTo>
                    <a:pt x="184" y="2244"/>
                  </a:lnTo>
                  <a:lnTo>
                    <a:pt x="186" y="2246"/>
                  </a:lnTo>
                  <a:lnTo>
                    <a:pt x="190" y="2247"/>
                  </a:lnTo>
                  <a:lnTo>
                    <a:pt x="192" y="2248"/>
                  </a:lnTo>
                  <a:lnTo>
                    <a:pt x="190" y="2250"/>
                  </a:lnTo>
                  <a:lnTo>
                    <a:pt x="186" y="2250"/>
                  </a:lnTo>
                  <a:lnTo>
                    <a:pt x="188" y="2248"/>
                  </a:lnTo>
                  <a:lnTo>
                    <a:pt x="185" y="2247"/>
                  </a:lnTo>
                  <a:lnTo>
                    <a:pt x="183" y="2246"/>
                  </a:lnTo>
                  <a:lnTo>
                    <a:pt x="181" y="2245"/>
                  </a:lnTo>
                  <a:lnTo>
                    <a:pt x="179" y="2248"/>
                  </a:lnTo>
                  <a:lnTo>
                    <a:pt x="178" y="2245"/>
                  </a:lnTo>
                  <a:lnTo>
                    <a:pt x="177" y="2247"/>
                  </a:lnTo>
                  <a:lnTo>
                    <a:pt x="174" y="2247"/>
                  </a:lnTo>
                  <a:lnTo>
                    <a:pt x="169" y="2244"/>
                  </a:lnTo>
                  <a:lnTo>
                    <a:pt x="166" y="2245"/>
                  </a:lnTo>
                  <a:lnTo>
                    <a:pt x="169" y="2245"/>
                  </a:lnTo>
                  <a:lnTo>
                    <a:pt x="171" y="2247"/>
                  </a:lnTo>
                  <a:lnTo>
                    <a:pt x="174" y="2249"/>
                  </a:lnTo>
                  <a:lnTo>
                    <a:pt x="171" y="2248"/>
                  </a:lnTo>
                  <a:lnTo>
                    <a:pt x="168" y="2249"/>
                  </a:lnTo>
                  <a:lnTo>
                    <a:pt x="169" y="2246"/>
                  </a:lnTo>
                  <a:lnTo>
                    <a:pt x="167" y="2246"/>
                  </a:lnTo>
                  <a:lnTo>
                    <a:pt x="165" y="2248"/>
                  </a:lnTo>
                  <a:lnTo>
                    <a:pt x="161" y="2248"/>
                  </a:lnTo>
                  <a:lnTo>
                    <a:pt x="159" y="2248"/>
                  </a:lnTo>
                  <a:lnTo>
                    <a:pt x="157" y="2249"/>
                  </a:lnTo>
                  <a:lnTo>
                    <a:pt x="153" y="2248"/>
                  </a:lnTo>
                  <a:lnTo>
                    <a:pt x="157" y="2250"/>
                  </a:lnTo>
                  <a:lnTo>
                    <a:pt x="153" y="2250"/>
                  </a:lnTo>
                  <a:lnTo>
                    <a:pt x="151" y="2249"/>
                  </a:lnTo>
                  <a:lnTo>
                    <a:pt x="152" y="2253"/>
                  </a:lnTo>
                  <a:lnTo>
                    <a:pt x="156" y="2253"/>
                  </a:lnTo>
                  <a:lnTo>
                    <a:pt x="158" y="2252"/>
                  </a:lnTo>
                  <a:lnTo>
                    <a:pt x="161" y="2250"/>
                  </a:lnTo>
                  <a:lnTo>
                    <a:pt x="162" y="2253"/>
                  </a:lnTo>
                  <a:lnTo>
                    <a:pt x="165" y="2252"/>
                  </a:lnTo>
                  <a:lnTo>
                    <a:pt x="164" y="2255"/>
                  </a:lnTo>
                  <a:lnTo>
                    <a:pt x="167" y="2254"/>
                  </a:lnTo>
                  <a:lnTo>
                    <a:pt x="169" y="2254"/>
                  </a:lnTo>
                  <a:lnTo>
                    <a:pt x="167" y="2256"/>
                  </a:lnTo>
                  <a:lnTo>
                    <a:pt x="169" y="2255"/>
                  </a:lnTo>
                  <a:lnTo>
                    <a:pt x="173" y="2255"/>
                  </a:lnTo>
                  <a:lnTo>
                    <a:pt x="175" y="2253"/>
                  </a:lnTo>
                  <a:lnTo>
                    <a:pt x="175" y="2256"/>
                  </a:lnTo>
                  <a:lnTo>
                    <a:pt x="178" y="2256"/>
                  </a:lnTo>
                  <a:lnTo>
                    <a:pt x="178" y="2254"/>
                  </a:lnTo>
                  <a:lnTo>
                    <a:pt x="178" y="2253"/>
                  </a:lnTo>
                  <a:lnTo>
                    <a:pt x="181" y="2255"/>
                  </a:lnTo>
                  <a:lnTo>
                    <a:pt x="183" y="2256"/>
                  </a:lnTo>
                  <a:lnTo>
                    <a:pt x="186" y="2256"/>
                  </a:lnTo>
                  <a:lnTo>
                    <a:pt x="188" y="2257"/>
                  </a:lnTo>
                  <a:lnTo>
                    <a:pt x="192" y="2257"/>
                  </a:lnTo>
                  <a:lnTo>
                    <a:pt x="194" y="2255"/>
                  </a:lnTo>
                  <a:lnTo>
                    <a:pt x="196" y="2257"/>
                  </a:lnTo>
                  <a:lnTo>
                    <a:pt x="198" y="2256"/>
                  </a:lnTo>
                  <a:lnTo>
                    <a:pt x="196" y="2255"/>
                  </a:lnTo>
                  <a:lnTo>
                    <a:pt x="196" y="2255"/>
                  </a:lnTo>
                  <a:lnTo>
                    <a:pt x="199" y="2256"/>
                  </a:lnTo>
                  <a:lnTo>
                    <a:pt x="199" y="2256"/>
                  </a:lnTo>
                  <a:lnTo>
                    <a:pt x="201" y="2255"/>
                  </a:lnTo>
                  <a:lnTo>
                    <a:pt x="202" y="2255"/>
                  </a:lnTo>
                  <a:lnTo>
                    <a:pt x="203" y="2256"/>
                  </a:lnTo>
                  <a:lnTo>
                    <a:pt x="207" y="2256"/>
                  </a:lnTo>
                  <a:lnTo>
                    <a:pt x="209" y="2257"/>
                  </a:lnTo>
                  <a:lnTo>
                    <a:pt x="212" y="2256"/>
                  </a:lnTo>
                  <a:lnTo>
                    <a:pt x="215" y="2257"/>
                  </a:lnTo>
                  <a:lnTo>
                    <a:pt x="217" y="2257"/>
                  </a:lnTo>
                  <a:lnTo>
                    <a:pt x="220" y="2257"/>
                  </a:lnTo>
                  <a:lnTo>
                    <a:pt x="222" y="2258"/>
                  </a:lnTo>
                  <a:lnTo>
                    <a:pt x="226" y="2260"/>
                  </a:lnTo>
                  <a:lnTo>
                    <a:pt x="228" y="2258"/>
                  </a:lnTo>
                  <a:lnTo>
                    <a:pt x="230" y="2258"/>
                  </a:lnTo>
                  <a:lnTo>
                    <a:pt x="234" y="2257"/>
                  </a:lnTo>
                  <a:lnTo>
                    <a:pt x="236" y="2257"/>
                  </a:lnTo>
                  <a:lnTo>
                    <a:pt x="239" y="2257"/>
                  </a:lnTo>
                  <a:lnTo>
                    <a:pt x="242" y="2257"/>
                  </a:lnTo>
                  <a:lnTo>
                    <a:pt x="243" y="2255"/>
                  </a:lnTo>
                  <a:lnTo>
                    <a:pt x="244" y="2253"/>
                  </a:lnTo>
                  <a:lnTo>
                    <a:pt x="242" y="2252"/>
                  </a:lnTo>
                  <a:lnTo>
                    <a:pt x="239" y="2253"/>
                  </a:lnTo>
                  <a:close/>
                  <a:moveTo>
                    <a:pt x="659" y="1517"/>
                  </a:moveTo>
                  <a:lnTo>
                    <a:pt x="660" y="1513"/>
                  </a:lnTo>
                  <a:lnTo>
                    <a:pt x="657" y="1510"/>
                  </a:lnTo>
                  <a:lnTo>
                    <a:pt x="657" y="1508"/>
                  </a:lnTo>
                  <a:lnTo>
                    <a:pt x="656" y="1502"/>
                  </a:lnTo>
                  <a:lnTo>
                    <a:pt x="654" y="1495"/>
                  </a:lnTo>
                  <a:lnTo>
                    <a:pt x="653" y="1492"/>
                  </a:lnTo>
                  <a:lnTo>
                    <a:pt x="651" y="1489"/>
                  </a:lnTo>
                  <a:lnTo>
                    <a:pt x="648" y="1488"/>
                  </a:lnTo>
                  <a:lnTo>
                    <a:pt x="645" y="1488"/>
                  </a:lnTo>
                  <a:lnTo>
                    <a:pt x="635" y="1488"/>
                  </a:lnTo>
                  <a:lnTo>
                    <a:pt x="631" y="1487"/>
                  </a:lnTo>
                  <a:lnTo>
                    <a:pt x="628" y="1486"/>
                  </a:lnTo>
                  <a:lnTo>
                    <a:pt x="623" y="1483"/>
                  </a:lnTo>
                  <a:lnTo>
                    <a:pt x="623" y="1483"/>
                  </a:lnTo>
                  <a:lnTo>
                    <a:pt x="621" y="1482"/>
                  </a:lnTo>
                  <a:lnTo>
                    <a:pt x="620" y="1479"/>
                  </a:lnTo>
                  <a:lnTo>
                    <a:pt x="617" y="1477"/>
                  </a:lnTo>
                  <a:lnTo>
                    <a:pt x="614" y="1475"/>
                  </a:lnTo>
                  <a:lnTo>
                    <a:pt x="612" y="1472"/>
                  </a:lnTo>
                  <a:lnTo>
                    <a:pt x="610" y="1469"/>
                  </a:lnTo>
                  <a:lnTo>
                    <a:pt x="608" y="1469"/>
                  </a:lnTo>
                  <a:lnTo>
                    <a:pt x="600" y="1463"/>
                  </a:lnTo>
                  <a:lnTo>
                    <a:pt x="588" y="1458"/>
                  </a:lnTo>
                  <a:lnTo>
                    <a:pt x="587" y="1458"/>
                  </a:lnTo>
                  <a:lnTo>
                    <a:pt x="582" y="1457"/>
                  </a:lnTo>
                  <a:lnTo>
                    <a:pt x="575" y="1458"/>
                  </a:lnTo>
                  <a:lnTo>
                    <a:pt x="572" y="1458"/>
                  </a:lnTo>
                  <a:lnTo>
                    <a:pt x="571" y="1460"/>
                  </a:lnTo>
                  <a:lnTo>
                    <a:pt x="567" y="1458"/>
                  </a:lnTo>
                  <a:lnTo>
                    <a:pt x="563" y="1457"/>
                  </a:lnTo>
                  <a:lnTo>
                    <a:pt x="562" y="1458"/>
                  </a:lnTo>
                  <a:lnTo>
                    <a:pt x="559" y="1457"/>
                  </a:lnTo>
                  <a:lnTo>
                    <a:pt x="558" y="1457"/>
                  </a:lnTo>
                  <a:lnTo>
                    <a:pt x="555" y="1457"/>
                  </a:lnTo>
                  <a:lnTo>
                    <a:pt x="550" y="1453"/>
                  </a:lnTo>
                  <a:lnTo>
                    <a:pt x="544" y="1451"/>
                  </a:lnTo>
                  <a:lnTo>
                    <a:pt x="542" y="1451"/>
                  </a:lnTo>
                  <a:lnTo>
                    <a:pt x="542" y="1452"/>
                  </a:lnTo>
                  <a:lnTo>
                    <a:pt x="536" y="1453"/>
                  </a:lnTo>
                  <a:lnTo>
                    <a:pt x="534" y="1456"/>
                  </a:lnTo>
                  <a:lnTo>
                    <a:pt x="533" y="1457"/>
                  </a:lnTo>
                  <a:lnTo>
                    <a:pt x="532" y="1458"/>
                  </a:lnTo>
                  <a:lnTo>
                    <a:pt x="531" y="1456"/>
                  </a:lnTo>
                  <a:lnTo>
                    <a:pt x="534" y="1452"/>
                  </a:lnTo>
                  <a:lnTo>
                    <a:pt x="531" y="1452"/>
                  </a:lnTo>
                  <a:lnTo>
                    <a:pt x="529" y="1453"/>
                  </a:lnTo>
                  <a:lnTo>
                    <a:pt x="528" y="1459"/>
                  </a:lnTo>
                  <a:lnTo>
                    <a:pt x="526" y="1461"/>
                  </a:lnTo>
                  <a:lnTo>
                    <a:pt x="524" y="1465"/>
                  </a:lnTo>
                  <a:lnTo>
                    <a:pt x="523" y="1463"/>
                  </a:lnTo>
                  <a:lnTo>
                    <a:pt x="525" y="1461"/>
                  </a:lnTo>
                  <a:lnTo>
                    <a:pt x="525" y="1459"/>
                  </a:lnTo>
                  <a:lnTo>
                    <a:pt x="526" y="1453"/>
                  </a:lnTo>
                  <a:lnTo>
                    <a:pt x="529" y="1451"/>
                  </a:lnTo>
                  <a:lnTo>
                    <a:pt x="528" y="1448"/>
                  </a:lnTo>
                  <a:lnTo>
                    <a:pt x="526" y="1450"/>
                  </a:lnTo>
                  <a:lnTo>
                    <a:pt x="523" y="1450"/>
                  </a:lnTo>
                  <a:lnTo>
                    <a:pt x="526" y="1449"/>
                  </a:lnTo>
                  <a:lnTo>
                    <a:pt x="527" y="1446"/>
                  </a:lnTo>
                  <a:lnTo>
                    <a:pt x="523" y="1441"/>
                  </a:lnTo>
                  <a:lnTo>
                    <a:pt x="520" y="1441"/>
                  </a:lnTo>
                  <a:lnTo>
                    <a:pt x="520" y="1439"/>
                  </a:lnTo>
                  <a:lnTo>
                    <a:pt x="518" y="1440"/>
                  </a:lnTo>
                  <a:lnTo>
                    <a:pt x="517" y="1442"/>
                  </a:lnTo>
                  <a:lnTo>
                    <a:pt x="516" y="1440"/>
                  </a:lnTo>
                  <a:lnTo>
                    <a:pt x="516" y="1437"/>
                  </a:lnTo>
                  <a:lnTo>
                    <a:pt x="515" y="1440"/>
                  </a:lnTo>
                  <a:lnTo>
                    <a:pt x="515" y="1437"/>
                  </a:lnTo>
                  <a:lnTo>
                    <a:pt x="506" y="1435"/>
                  </a:lnTo>
                  <a:lnTo>
                    <a:pt x="505" y="1433"/>
                  </a:lnTo>
                  <a:lnTo>
                    <a:pt x="499" y="1433"/>
                  </a:lnTo>
                  <a:lnTo>
                    <a:pt x="493" y="1429"/>
                  </a:lnTo>
                  <a:lnTo>
                    <a:pt x="491" y="1429"/>
                  </a:lnTo>
                  <a:lnTo>
                    <a:pt x="489" y="1427"/>
                  </a:lnTo>
                  <a:lnTo>
                    <a:pt x="488" y="1429"/>
                  </a:lnTo>
                  <a:lnTo>
                    <a:pt x="485" y="1427"/>
                  </a:lnTo>
                  <a:lnTo>
                    <a:pt x="483" y="1428"/>
                  </a:lnTo>
                  <a:lnTo>
                    <a:pt x="478" y="1428"/>
                  </a:lnTo>
                  <a:lnTo>
                    <a:pt x="476" y="1431"/>
                  </a:lnTo>
                  <a:lnTo>
                    <a:pt x="475" y="1435"/>
                  </a:lnTo>
                  <a:lnTo>
                    <a:pt x="473" y="1439"/>
                  </a:lnTo>
                  <a:lnTo>
                    <a:pt x="477" y="1439"/>
                  </a:lnTo>
                  <a:lnTo>
                    <a:pt x="474" y="1440"/>
                  </a:lnTo>
                  <a:lnTo>
                    <a:pt x="474" y="1442"/>
                  </a:lnTo>
                  <a:lnTo>
                    <a:pt x="471" y="1439"/>
                  </a:lnTo>
                  <a:lnTo>
                    <a:pt x="468" y="1441"/>
                  </a:lnTo>
                  <a:lnTo>
                    <a:pt x="466" y="1443"/>
                  </a:lnTo>
                  <a:lnTo>
                    <a:pt x="464" y="1444"/>
                  </a:lnTo>
                  <a:lnTo>
                    <a:pt x="461" y="1448"/>
                  </a:lnTo>
                  <a:lnTo>
                    <a:pt x="459" y="1452"/>
                  </a:lnTo>
                  <a:lnTo>
                    <a:pt x="459" y="1453"/>
                  </a:lnTo>
                  <a:lnTo>
                    <a:pt x="459" y="1451"/>
                  </a:lnTo>
                  <a:lnTo>
                    <a:pt x="461" y="1443"/>
                  </a:lnTo>
                  <a:lnTo>
                    <a:pt x="459" y="1443"/>
                  </a:lnTo>
                  <a:lnTo>
                    <a:pt x="457" y="1444"/>
                  </a:lnTo>
                  <a:lnTo>
                    <a:pt x="455" y="1448"/>
                  </a:lnTo>
                  <a:lnTo>
                    <a:pt x="454" y="1444"/>
                  </a:lnTo>
                  <a:lnTo>
                    <a:pt x="452" y="1443"/>
                  </a:lnTo>
                  <a:lnTo>
                    <a:pt x="449" y="1445"/>
                  </a:lnTo>
                  <a:lnTo>
                    <a:pt x="447" y="1445"/>
                  </a:lnTo>
                  <a:lnTo>
                    <a:pt x="443" y="1443"/>
                  </a:lnTo>
                  <a:lnTo>
                    <a:pt x="442" y="1443"/>
                  </a:lnTo>
                  <a:lnTo>
                    <a:pt x="442" y="1441"/>
                  </a:lnTo>
                  <a:lnTo>
                    <a:pt x="442" y="1440"/>
                  </a:lnTo>
                  <a:lnTo>
                    <a:pt x="441" y="1439"/>
                  </a:lnTo>
                  <a:lnTo>
                    <a:pt x="441" y="1439"/>
                  </a:lnTo>
                  <a:lnTo>
                    <a:pt x="441" y="1437"/>
                  </a:lnTo>
                  <a:lnTo>
                    <a:pt x="441" y="1432"/>
                  </a:lnTo>
                  <a:lnTo>
                    <a:pt x="438" y="1433"/>
                  </a:lnTo>
                  <a:lnTo>
                    <a:pt x="430" y="1437"/>
                  </a:lnTo>
                  <a:lnTo>
                    <a:pt x="429" y="1437"/>
                  </a:lnTo>
                  <a:lnTo>
                    <a:pt x="426" y="1440"/>
                  </a:lnTo>
                  <a:lnTo>
                    <a:pt x="421" y="1442"/>
                  </a:lnTo>
                  <a:lnTo>
                    <a:pt x="421" y="1442"/>
                  </a:lnTo>
                  <a:lnTo>
                    <a:pt x="418" y="1441"/>
                  </a:lnTo>
                  <a:lnTo>
                    <a:pt x="415" y="1441"/>
                  </a:lnTo>
                  <a:lnTo>
                    <a:pt x="415" y="1440"/>
                  </a:lnTo>
                  <a:lnTo>
                    <a:pt x="422" y="1437"/>
                  </a:lnTo>
                  <a:lnTo>
                    <a:pt x="424" y="1439"/>
                  </a:lnTo>
                  <a:lnTo>
                    <a:pt x="426" y="1434"/>
                  </a:lnTo>
                  <a:lnTo>
                    <a:pt x="429" y="1433"/>
                  </a:lnTo>
                  <a:lnTo>
                    <a:pt x="429" y="1431"/>
                  </a:lnTo>
                  <a:lnTo>
                    <a:pt x="434" y="1422"/>
                  </a:lnTo>
                  <a:lnTo>
                    <a:pt x="435" y="1420"/>
                  </a:lnTo>
                  <a:lnTo>
                    <a:pt x="437" y="1419"/>
                  </a:lnTo>
                  <a:lnTo>
                    <a:pt x="440" y="1416"/>
                  </a:lnTo>
                  <a:lnTo>
                    <a:pt x="443" y="1415"/>
                  </a:lnTo>
                  <a:lnTo>
                    <a:pt x="449" y="1406"/>
                  </a:lnTo>
                  <a:lnTo>
                    <a:pt x="452" y="1403"/>
                  </a:lnTo>
                  <a:lnTo>
                    <a:pt x="452" y="1402"/>
                  </a:lnTo>
                  <a:lnTo>
                    <a:pt x="450" y="1402"/>
                  </a:lnTo>
                  <a:lnTo>
                    <a:pt x="452" y="1401"/>
                  </a:lnTo>
                  <a:lnTo>
                    <a:pt x="454" y="1399"/>
                  </a:lnTo>
                  <a:lnTo>
                    <a:pt x="454" y="1395"/>
                  </a:lnTo>
                  <a:lnTo>
                    <a:pt x="452" y="1394"/>
                  </a:lnTo>
                  <a:lnTo>
                    <a:pt x="449" y="1393"/>
                  </a:lnTo>
                  <a:lnTo>
                    <a:pt x="447" y="1393"/>
                  </a:lnTo>
                  <a:lnTo>
                    <a:pt x="444" y="1391"/>
                  </a:lnTo>
                  <a:lnTo>
                    <a:pt x="442" y="1390"/>
                  </a:lnTo>
                  <a:lnTo>
                    <a:pt x="442" y="1386"/>
                  </a:lnTo>
                  <a:lnTo>
                    <a:pt x="440" y="1384"/>
                  </a:lnTo>
                  <a:lnTo>
                    <a:pt x="440" y="1382"/>
                  </a:lnTo>
                  <a:lnTo>
                    <a:pt x="438" y="1376"/>
                  </a:lnTo>
                  <a:lnTo>
                    <a:pt x="438" y="1374"/>
                  </a:lnTo>
                  <a:lnTo>
                    <a:pt x="437" y="1365"/>
                  </a:lnTo>
                  <a:lnTo>
                    <a:pt x="435" y="1368"/>
                  </a:lnTo>
                  <a:lnTo>
                    <a:pt x="435" y="1363"/>
                  </a:lnTo>
                  <a:lnTo>
                    <a:pt x="433" y="1360"/>
                  </a:lnTo>
                  <a:lnTo>
                    <a:pt x="431" y="1359"/>
                  </a:lnTo>
                  <a:lnTo>
                    <a:pt x="431" y="1362"/>
                  </a:lnTo>
                  <a:lnTo>
                    <a:pt x="432" y="1365"/>
                  </a:lnTo>
                  <a:lnTo>
                    <a:pt x="431" y="1362"/>
                  </a:lnTo>
                  <a:lnTo>
                    <a:pt x="429" y="1364"/>
                  </a:lnTo>
                  <a:lnTo>
                    <a:pt x="430" y="1360"/>
                  </a:lnTo>
                  <a:lnTo>
                    <a:pt x="426" y="1356"/>
                  </a:lnTo>
                  <a:lnTo>
                    <a:pt x="425" y="1358"/>
                  </a:lnTo>
                  <a:lnTo>
                    <a:pt x="424" y="1359"/>
                  </a:lnTo>
                  <a:lnTo>
                    <a:pt x="425" y="1356"/>
                  </a:lnTo>
                  <a:lnTo>
                    <a:pt x="424" y="1354"/>
                  </a:lnTo>
                  <a:lnTo>
                    <a:pt x="421" y="1352"/>
                  </a:lnTo>
                  <a:lnTo>
                    <a:pt x="420" y="1354"/>
                  </a:lnTo>
                  <a:lnTo>
                    <a:pt x="421" y="1351"/>
                  </a:lnTo>
                  <a:lnTo>
                    <a:pt x="420" y="1351"/>
                  </a:lnTo>
                  <a:lnTo>
                    <a:pt x="417" y="1349"/>
                  </a:lnTo>
                  <a:lnTo>
                    <a:pt x="412" y="1343"/>
                  </a:lnTo>
                  <a:lnTo>
                    <a:pt x="411" y="1343"/>
                  </a:lnTo>
                  <a:lnTo>
                    <a:pt x="404" y="1342"/>
                  </a:lnTo>
                  <a:lnTo>
                    <a:pt x="401" y="1340"/>
                  </a:lnTo>
                  <a:lnTo>
                    <a:pt x="399" y="1340"/>
                  </a:lnTo>
                  <a:lnTo>
                    <a:pt x="396" y="1345"/>
                  </a:lnTo>
                  <a:lnTo>
                    <a:pt x="395" y="1346"/>
                  </a:lnTo>
                  <a:lnTo>
                    <a:pt x="397" y="1342"/>
                  </a:lnTo>
                  <a:lnTo>
                    <a:pt x="397" y="1340"/>
                  </a:lnTo>
                  <a:lnTo>
                    <a:pt x="395" y="1338"/>
                  </a:lnTo>
                  <a:lnTo>
                    <a:pt x="383" y="1337"/>
                  </a:lnTo>
                  <a:lnTo>
                    <a:pt x="383" y="1339"/>
                  </a:lnTo>
                  <a:lnTo>
                    <a:pt x="382" y="1339"/>
                  </a:lnTo>
                  <a:lnTo>
                    <a:pt x="379" y="1337"/>
                  </a:lnTo>
                  <a:lnTo>
                    <a:pt x="373" y="1337"/>
                  </a:lnTo>
                  <a:lnTo>
                    <a:pt x="371" y="1338"/>
                  </a:lnTo>
                  <a:lnTo>
                    <a:pt x="371" y="1339"/>
                  </a:lnTo>
                  <a:lnTo>
                    <a:pt x="371" y="1341"/>
                  </a:lnTo>
                  <a:lnTo>
                    <a:pt x="369" y="1339"/>
                  </a:lnTo>
                  <a:lnTo>
                    <a:pt x="363" y="1338"/>
                  </a:lnTo>
                  <a:lnTo>
                    <a:pt x="356" y="1337"/>
                  </a:lnTo>
                  <a:lnTo>
                    <a:pt x="356" y="1337"/>
                  </a:lnTo>
                  <a:lnTo>
                    <a:pt x="355" y="1337"/>
                  </a:lnTo>
                  <a:lnTo>
                    <a:pt x="354" y="1341"/>
                  </a:lnTo>
                  <a:lnTo>
                    <a:pt x="353" y="1343"/>
                  </a:lnTo>
                  <a:lnTo>
                    <a:pt x="354" y="1341"/>
                  </a:lnTo>
                  <a:lnTo>
                    <a:pt x="354" y="1335"/>
                  </a:lnTo>
                  <a:lnTo>
                    <a:pt x="352" y="1333"/>
                  </a:lnTo>
                  <a:lnTo>
                    <a:pt x="349" y="1333"/>
                  </a:lnTo>
                  <a:lnTo>
                    <a:pt x="346" y="1329"/>
                  </a:lnTo>
                  <a:lnTo>
                    <a:pt x="343" y="1325"/>
                  </a:lnTo>
                  <a:lnTo>
                    <a:pt x="340" y="1325"/>
                  </a:lnTo>
                  <a:lnTo>
                    <a:pt x="339" y="1324"/>
                  </a:lnTo>
                  <a:lnTo>
                    <a:pt x="337" y="1324"/>
                  </a:lnTo>
                  <a:lnTo>
                    <a:pt x="335" y="1328"/>
                  </a:lnTo>
                  <a:lnTo>
                    <a:pt x="335" y="1331"/>
                  </a:lnTo>
                  <a:lnTo>
                    <a:pt x="333" y="1331"/>
                  </a:lnTo>
                  <a:lnTo>
                    <a:pt x="335" y="1329"/>
                  </a:lnTo>
                  <a:lnTo>
                    <a:pt x="335" y="1325"/>
                  </a:lnTo>
                  <a:lnTo>
                    <a:pt x="336" y="1323"/>
                  </a:lnTo>
                  <a:lnTo>
                    <a:pt x="336" y="1321"/>
                  </a:lnTo>
                  <a:lnTo>
                    <a:pt x="336" y="1318"/>
                  </a:lnTo>
                  <a:lnTo>
                    <a:pt x="335" y="1316"/>
                  </a:lnTo>
                  <a:lnTo>
                    <a:pt x="331" y="1313"/>
                  </a:lnTo>
                  <a:lnTo>
                    <a:pt x="328" y="1309"/>
                  </a:lnTo>
                  <a:lnTo>
                    <a:pt x="326" y="1307"/>
                  </a:lnTo>
                  <a:lnTo>
                    <a:pt x="322" y="1306"/>
                  </a:lnTo>
                  <a:lnTo>
                    <a:pt x="320" y="1305"/>
                  </a:lnTo>
                  <a:lnTo>
                    <a:pt x="322" y="1307"/>
                  </a:lnTo>
                  <a:lnTo>
                    <a:pt x="318" y="1304"/>
                  </a:lnTo>
                  <a:lnTo>
                    <a:pt x="315" y="1302"/>
                  </a:lnTo>
                  <a:lnTo>
                    <a:pt x="312" y="1300"/>
                  </a:lnTo>
                  <a:lnTo>
                    <a:pt x="309" y="1300"/>
                  </a:lnTo>
                  <a:lnTo>
                    <a:pt x="309" y="1302"/>
                  </a:lnTo>
                  <a:lnTo>
                    <a:pt x="305" y="1300"/>
                  </a:lnTo>
                  <a:lnTo>
                    <a:pt x="303" y="1300"/>
                  </a:lnTo>
                  <a:lnTo>
                    <a:pt x="297" y="1304"/>
                  </a:lnTo>
                  <a:lnTo>
                    <a:pt x="293" y="1300"/>
                  </a:lnTo>
                  <a:lnTo>
                    <a:pt x="293" y="1300"/>
                  </a:lnTo>
                  <a:lnTo>
                    <a:pt x="298" y="1300"/>
                  </a:lnTo>
                  <a:lnTo>
                    <a:pt x="301" y="1294"/>
                  </a:lnTo>
                  <a:lnTo>
                    <a:pt x="304" y="1290"/>
                  </a:lnTo>
                  <a:lnTo>
                    <a:pt x="301" y="1287"/>
                  </a:lnTo>
                  <a:lnTo>
                    <a:pt x="298" y="1287"/>
                  </a:lnTo>
                  <a:lnTo>
                    <a:pt x="294" y="1285"/>
                  </a:lnTo>
                  <a:lnTo>
                    <a:pt x="290" y="1285"/>
                  </a:lnTo>
                  <a:lnTo>
                    <a:pt x="290" y="1285"/>
                  </a:lnTo>
                  <a:lnTo>
                    <a:pt x="289" y="1287"/>
                  </a:lnTo>
                  <a:lnTo>
                    <a:pt x="290" y="1285"/>
                  </a:lnTo>
                  <a:lnTo>
                    <a:pt x="288" y="1282"/>
                  </a:lnTo>
                  <a:lnTo>
                    <a:pt x="286" y="1281"/>
                  </a:lnTo>
                  <a:lnTo>
                    <a:pt x="285" y="1281"/>
                  </a:lnTo>
                  <a:lnTo>
                    <a:pt x="285" y="1282"/>
                  </a:lnTo>
                  <a:lnTo>
                    <a:pt x="287" y="1283"/>
                  </a:lnTo>
                  <a:lnTo>
                    <a:pt x="286" y="1283"/>
                  </a:lnTo>
                  <a:lnTo>
                    <a:pt x="285" y="1287"/>
                  </a:lnTo>
                  <a:lnTo>
                    <a:pt x="285" y="1287"/>
                  </a:lnTo>
                  <a:lnTo>
                    <a:pt x="285" y="1286"/>
                  </a:lnTo>
                  <a:lnTo>
                    <a:pt x="285" y="1282"/>
                  </a:lnTo>
                  <a:lnTo>
                    <a:pt x="284" y="1286"/>
                  </a:lnTo>
                  <a:lnTo>
                    <a:pt x="283" y="1286"/>
                  </a:lnTo>
                  <a:lnTo>
                    <a:pt x="281" y="1282"/>
                  </a:lnTo>
                  <a:lnTo>
                    <a:pt x="281" y="1281"/>
                  </a:lnTo>
                  <a:lnTo>
                    <a:pt x="279" y="1279"/>
                  </a:lnTo>
                  <a:lnTo>
                    <a:pt x="277" y="1281"/>
                  </a:lnTo>
                  <a:lnTo>
                    <a:pt x="275" y="1281"/>
                  </a:lnTo>
                  <a:lnTo>
                    <a:pt x="273" y="1280"/>
                  </a:lnTo>
                  <a:lnTo>
                    <a:pt x="276" y="1280"/>
                  </a:lnTo>
                  <a:lnTo>
                    <a:pt x="279" y="1279"/>
                  </a:lnTo>
                  <a:lnTo>
                    <a:pt x="277" y="1275"/>
                  </a:lnTo>
                  <a:lnTo>
                    <a:pt x="275" y="1278"/>
                  </a:lnTo>
                  <a:lnTo>
                    <a:pt x="275" y="1274"/>
                  </a:lnTo>
                  <a:lnTo>
                    <a:pt x="277" y="1273"/>
                  </a:lnTo>
                  <a:lnTo>
                    <a:pt x="283" y="1274"/>
                  </a:lnTo>
                  <a:lnTo>
                    <a:pt x="285" y="1272"/>
                  </a:lnTo>
                  <a:lnTo>
                    <a:pt x="288" y="1271"/>
                  </a:lnTo>
                  <a:lnTo>
                    <a:pt x="286" y="1272"/>
                  </a:lnTo>
                  <a:lnTo>
                    <a:pt x="277" y="1271"/>
                  </a:lnTo>
                  <a:lnTo>
                    <a:pt x="275" y="1272"/>
                  </a:lnTo>
                  <a:lnTo>
                    <a:pt x="272" y="1271"/>
                  </a:lnTo>
                  <a:lnTo>
                    <a:pt x="267" y="1273"/>
                  </a:lnTo>
                  <a:lnTo>
                    <a:pt x="263" y="1272"/>
                  </a:lnTo>
                  <a:lnTo>
                    <a:pt x="261" y="1272"/>
                  </a:lnTo>
                  <a:lnTo>
                    <a:pt x="259" y="1273"/>
                  </a:lnTo>
                  <a:lnTo>
                    <a:pt x="261" y="1273"/>
                  </a:lnTo>
                  <a:lnTo>
                    <a:pt x="263" y="1274"/>
                  </a:lnTo>
                  <a:lnTo>
                    <a:pt x="259" y="1274"/>
                  </a:lnTo>
                  <a:lnTo>
                    <a:pt x="255" y="1275"/>
                  </a:lnTo>
                  <a:lnTo>
                    <a:pt x="251" y="1279"/>
                  </a:lnTo>
                  <a:lnTo>
                    <a:pt x="250" y="1280"/>
                  </a:lnTo>
                  <a:lnTo>
                    <a:pt x="244" y="1280"/>
                  </a:lnTo>
                  <a:lnTo>
                    <a:pt x="238" y="1279"/>
                  </a:lnTo>
                  <a:lnTo>
                    <a:pt x="236" y="1278"/>
                  </a:lnTo>
                  <a:lnTo>
                    <a:pt x="232" y="1274"/>
                  </a:lnTo>
                  <a:lnTo>
                    <a:pt x="232" y="1273"/>
                  </a:lnTo>
                  <a:lnTo>
                    <a:pt x="228" y="1273"/>
                  </a:lnTo>
                  <a:lnTo>
                    <a:pt x="222" y="1273"/>
                  </a:lnTo>
                  <a:lnTo>
                    <a:pt x="210" y="1274"/>
                  </a:lnTo>
                  <a:lnTo>
                    <a:pt x="204" y="1274"/>
                  </a:lnTo>
                  <a:lnTo>
                    <a:pt x="202" y="1273"/>
                  </a:lnTo>
                  <a:lnTo>
                    <a:pt x="201" y="1272"/>
                  </a:lnTo>
                  <a:lnTo>
                    <a:pt x="202" y="1269"/>
                  </a:lnTo>
                  <a:lnTo>
                    <a:pt x="200" y="1264"/>
                  </a:lnTo>
                  <a:lnTo>
                    <a:pt x="194" y="1261"/>
                  </a:lnTo>
                  <a:lnTo>
                    <a:pt x="184" y="1261"/>
                  </a:lnTo>
                  <a:lnTo>
                    <a:pt x="182" y="1258"/>
                  </a:lnTo>
                  <a:lnTo>
                    <a:pt x="181" y="1256"/>
                  </a:lnTo>
                  <a:lnTo>
                    <a:pt x="181" y="1254"/>
                  </a:lnTo>
                  <a:lnTo>
                    <a:pt x="178" y="1251"/>
                  </a:lnTo>
                  <a:lnTo>
                    <a:pt x="175" y="1252"/>
                  </a:lnTo>
                  <a:lnTo>
                    <a:pt x="175" y="1254"/>
                  </a:lnTo>
                  <a:lnTo>
                    <a:pt x="175" y="1256"/>
                  </a:lnTo>
                  <a:lnTo>
                    <a:pt x="175" y="1257"/>
                  </a:lnTo>
                  <a:lnTo>
                    <a:pt x="175" y="1260"/>
                  </a:lnTo>
                  <a:lnTo>
                    <a:pt x="178" y="1258"/>
                  </a:lnTo>
                  <a:lnTo>
                    <a:pt x="181" y="1258"/>
                  </a:lnTo>
                  <a:lnTo>
                    <a:pt x="179" y="1261"/>
                  </a:lnTo>
                  <a:lnTo>
                    <a:pt x="176" y="1260"/>
                  </a:lnTo>
                  <a:lnTo>
                    <a:pt x="176" y="1262"/>
                  </a:lnTo>
                  <a:lnTo>
                    <a:pt x="171" y="1264"/>
                  </a:lnTo>
                  <a:lnTo>
                    <a:pt x="166" y="1264"/>
                  </a:lnTo>
                  <a:lnTo>
                    <a:pt x="159" y="1269"/>
                  </a:lnTo>
                  <a:lnTo>
                    <a:pt x="157" y="1270"/>
                  </a:lnTo>
                  <a:lnTo>
                    <a:pt x="157" y="1271"/>
                  </a:lnTo>
                  <a:lnTo>
                    <a:pt x="157" y="1273"/>
                  </a:lnTo>
                  <a:lnTo>
                    <a:pt x="160" y="1279"/>
                  </a:lnTo>
                  <a:lnTo>
                    <a:pt x="164" y="1283"/>
                  </a:lnTo>
                  <a:lnTo>
                    <a:pt x="164" y="1283"/>
                  </a:lnTo>
                  <a:lnTo>
                    <a:pt x="164" y="1290"/>
                  </a:lnTo>
                  <a:lnTo>
                    <a:pt x="160" y="1294"/>
                  </a:lnTo>
                  <a:lnTo>
                    <a:pt x="157" y="1295"/>
                  </a:lnTo>
                  <a:lnTo>
                    <a:pt x="153" y="1292"/>
                  </a:lnTo>
                  <a:lnTo>
                    <a:pt x="155" y="1290"/>
                  </a:lnTo>
                  <a:lnTo>
                    <a:pt x="151" y="1289"/>
                  </a:lnTo>
                  <a:lnTo>
                    <a:pt x="150" y="1286"/>
                  </a:lnTo>
                  <a:lnTo>
                    <a:pt x="149" y="1285"/>
                  </a:lnTo>
                  <a:lnTo>
                    <a:pt x="151" y="1281"/>
                  </a:lnTo>
                  <a:lnTo>
                    <a:pt x="156" y="1275"/>
                  </a:lnTo>
                  <a:lnTo>
                    <a:pt x="156" y="1273"/>
                  </a:lnTo>
                  <a:lnTo>
                    <a:pt x="156" y="1271"/>
                  </a:lnTo>
                  <a:lnTo>
                    <a:pt x="153" y="1268"/>
                  </a:lnTo>
                  <a:lnTo>
                    <a:pt x="156" y="1266"/>
                  </a:lnTo>
                  <a:lnTo>
                    <a:pt x="152" y="1264"/>
                  </a:lnTo>
                  <a:lnTo>
                    <a:pt x="151" y="1262"/>
                  </a:lnTo>
                  <a:lnTo>
                    <a:pt x="152" y="1260"/>
                  </a:lnTo>
                  <a:lnTo>
                    <a:pt x="155" y="1258"/>
                  </a:lnTo>
                  <a:lnTo>
                    <a:pt x="157" y="1257"/>
                  </a:lnTo>
                  <a:lnTo>
                    <a:pt x="160" y="1256"/>
                  </a:lnTo>
                  <a:lnTo>
                    <a:pt x="160" y="1255"/>
                  </a:lnTo>
                  <a:lnTo>
                    <a:pt x="162" y="1252"/>
                  </a:lnTo>
                  <a:lnTo>
                    <a:pt x="161" y="1249"/>
                  </a:lnTo>
                  <a:lnTo>
                    <a:pt x="157" y="1247"/>
                  </a:lnTo>
                  <a:lnTo>
                    <a:pt x="151" y="1251"/>
                  </a:lnTo>
                  <a:lnTo>
                    <a:pt x="149" y="1253"/>
                  </a:lnTo>
                  <a:lnTo>
                    <a:pt x="148" y="1255"/>
                  </a:lnTo>
                  <a:lnTo>
                    <a:pt x="141" y="1257"/>
                  </a:lnTo>
                  <a:lnTo>
                    <a:pt x="140" y="1258"/>
                  </a:lnTo>
                  <a:lnTo>
                    <a:pt x="139" y="1260"/>
                  </a:lnTo>
                  <a:lnTo>
                    <a:pt x="135" y="1262"/>
                  </a:lnTo>
                  <a:lnTo>
                    <a:pt x="132" y="1264"/>
                  </a:lnTo>
                  <a:lnTo>
                    <a:pt x="125" y="1264"/>
                  </a:lnTo>
                  <a:lnTo>
                    <a:pt x="123" y="1263"/>
                  </a:lnTo>
                  <a:lnTo>
                    <a:pt x="121" y="1264"/>
                  </a:lnTo>
                  <a:lnTo>
                    <a:pt x="119" y="1269"/>
                  </a:lnTo>
                  <a:lnTo>
                    <a:pt x="117" y="1271"/>
                  </a:lnTo>
                  <a:lnTo>
                    <a:pt x="116" y="1271"/>
                  </a:lnTo>
                  <a:lnTo>
                    <a:pt x="116" y="1269"/>
                  </a:lnTo>
                  <a:lnTo>
                    <a:pt x="119" y="1268"/>
                  </a:lnTo>
                  <a:lnTo>
                    <a:pt x="117" y="1268"/>
                  </a:lnTo>
                  <a:lnTo>
                    <a:pt x="111" y="1265"/>
                  </a:lnTo>
                  <a:lnTo>
                    <a:pt x="111" y="1266"/>
                  </a:lnTo>
                  <a:lnTo>
                    <a:pt x="109" y="1269"/>
                  </a:lnTo>
                  <a:lnTo>
                    <a:pt x="106" y="1270"/>
                  </a:lnTo>
                  <a:lnTo>
                    <a:pt x="106" y="1272"/>
                  </a:lnTo>
                  <a:lnTo>
                    <a:pt x="105" y="1272"/>
                  </a:lnTo>
                  <a:lnTo>
                    <a:pt x="102" y="1273"/>
                  </a:lnTo>
                  <a:lnTo>
                    <a:pt x="102" y="1277"/>
                  </a:lnTo>
                  <a:lnTo>
                    <a:pt x="101" y="1278"/>
                  </a:lnTo>
                  <a:lnTo>
                    <a:pt x="101" y="1280"/>
                  </a:lnTo>
                  <a:lnTo>
                    <a:pt x="101" y="1283"/>
                  </a:lnTo>
                  <a:lnTo>
                    <a:pt x="101" y="1287"/>
                  </a:lnTo>
                  <a:lnTo>
                    <a:pt x="100" y="1289"/>
                  </a:lnTo>
                  <a:lnTo>
                    <a:pt x="97" y="1289"/>
                  </a:lnTo>
                  <a:lnTo>
                    <a:pt x="94" y="1291"/>
                  </a:lnTo>
                  <a:lnTo>
                    <a:pt x="92" y="1294"/>
                  </a:lnTo>
                  <a:lnTo>
                    <a:pt x="89" y="1297"/>
                  </a:lnTo>
                  <a:lnTo>
                    <a:pt x="87" y="1299"/>
                  </a:lnTo>
                  <a:lnTo>
                    <a:pt x="84" y="1303"/>
                  </a:lnTo>
                  <a:lnTo>
                    <a:pt x="85" y="1308"/>
                  </a:lnTo>
                  <a:lnTo>
                    <a:pt x="83" y="1309"/>
                  </a:lnTo>
                  <a:lnTo>
                    <a:pt x="84" y="1307"/>
                  </a:lnTo>
                  <a:lnTo>
                    <a:pt x="79" y="1302"/>
                  </a:lnTo>
                  <a:lnTo>
                    <a:pt x="77" y="1299"/>
                  </a:lnTo>
                  <a:lnTo>
                    <a:pt x="75" y="1299"/>
                  </a:lnTo>
                  <a:lnTo>
                    <a:pt x="73" y="1297"/>
                  </a:lnTo>
                  <a:lnTo>
                    <a:pt x="71" y="1295"/>
                  </a:lnTo>
                  <a:lnTo>
                    <a:pt x="68" y="1292"/>
                  </a:lnTo>
                  <a:lnTo>
                    <a:pt x="66" y="1291"/>
                  </a:lnTo>
                  <a:lnTo>
                    <a:pt x="60" y="1289"/>
                  </a:lnTo>
                  <a:lnTo>
                    <a:pt x="56" y="1289"/>
                  </a:lnTo>
                  <a:lnTo>
                    <a:pt x="54" y="1289"/>
                  </a:lnTo>
                  <a:lnTo>
                    <a:pt x="55" y="1288"/>
                  </a:lnTo>
                  <a:lnTo>
                    <a:pt x="54" y="1288"/>
                  </a:lnTo>
                  <a:lnTo>
                    <a:pt x="50" y="1288"/>
                  </a:lnTo>
                  <a:lnTo>
                    <a:pt x="48" y="1287"/>
                  </a:lnTo>
                  <a:lnTo>
                    <a:pt x="46" y="1287"/>
                  </a:lnTo>
                  <a:lnTo>
                    <a:pt x="43" y="1290"/>
                  </a:lnTo>
                  <a:lnTo>
                    <a:pt x="42" y="1290"/>
                  </a:lnTo>
                  <a:lnTo>
                    <a:pt x="42" y="1290"/>
                  </a:lnTo>
                  <a:lnTo>
                    <a:pt x="42" y="1291"/>
                  </a:lnTo>
                  <a:lnTo>
                    <a:pt x="41" y="1291"/>
                  </a:lnTo>
                  <a:lnTo>
                    <a:pt x="39" y="1292"/>
                  </a:lnTo>
                  <a:lnTo>
                    <a:pt x="33" y="1295"/>
                  </a:lnTo>
                  <a:lnTo>
                    <a:pt x="29" y="1297"/>
                  </a:lnTo>
                  <a:lnTo>
                    <a:pt x="24" y="1298"/>
                  </a:lnTo>
                  <a:lnTo>
                    <a:pt x="20" y="1297"/>
                  </a:lnTo>
                  <a:lnTo>
                    <a:pt x="15" y="1294"/>
                  </a:lnTo>
                  <a:lnTo>
                    <a:pt x="17" y="1296"/>
                  </a:lnTo>
                  <a:lnTo>
                    <a:pt x="13" y="1296"/>
                  </a:lnTo>
                  <a:lnTo>
                    <a:pt x="11" y="1295"/>
                  </a:lnTo>
                  <a:lnTo>
                    <a:pt x="11" y="1292"/>
                  </a:lnTo>
                  <a:lnTo>
                    <a:pt x="8" y="1291"/>
                  </a:lnTo>
                  <a:lnTo>
                    <a:pt x="8" y="1289"/>
                  </a:lnTo>
                  <a:lnTo>
                    <a:pt x="6" y="1287"/>
                  </a:lnTo>
                  <a:lnTo>
                    <a:pt x="5" y="1288"/>
                  </a:lnTo>
                  <a:lnTo>
                    <a:pt x="3" y="1287"/>
                  </a:lnTo>
                  <a:lnTo>
                    <a:pt x="2" y="1287"/>
                  </a:lnTo>
                  <a:lnTo>
                    <a:pt x="3" y="1288"/>
                  </a:lnTo>
                  <a:lnTo>
                    <a:pt x="0" y="1291"/>
                  </a:lnTo>
                  <a:lnTo>
                    <a:pt x="0" y="1295"/>
                  </a:lnTo>
                  <a:lnTo>
                    <a:pt x="4" y="1296"/>
                  </a:lnTo>
                  <a:lnTo>
                    <a:pt x="4" y="1296"/>
                  </a:lnTo>
                  <a:lnTo>
                    <a:pt x="3" y="1297"/>
                  </a:lnTo>
                  <a:lnTo>
                    <a:pt x="2" y="1298"/>
                  </a:lnTo>
                  <a:lnTo>
                    <a:pt x="3" y="1302"/>
                  </a:lnTo>
                  <a:lnTo>
                    <a:pt x="3" y="1303"/>
                  </a:lnTo>
                  <a:lnTo>
                    <a:pt x="2" y="1303"/>
                  </a:lnTo>
                  <a:lnTo>
                    <a:pt x="0" y="1304"/>
                  </a:lnTo>
                  <a:lnTo>
                    <a:pt x="0" y="1305"/>
                  </a:lnTo>
                  <a:lnTo>
                    <a:pt x="0" y="1305"/>
                  </a:lnTo>
                  <a:lnTo>
                    <a:pt x="2" y="1308"/>
                  </a:lnTo>
                  <a:lnTo>
                    <a:pt x="3" y="1305"/>
                  </a:lnTo>
                  <a:lnTo>
                    <a:pt x="8" y="1304"/>
                  </a:lnTo>
                  <a:lnTo>
                    <a:pt x="10" y="1304"/>
                  </a:lnTo>
                  <a:lnTo>
                    <a:pt x="12" y="1306"/>
                  </a:lnTo>
                  <a:lnTo>
                    <a:pt x="14" y="1306"/>
                  </a:lnTo>
                  <a:lnTo>
                    <a:pt x="15" y="1307"/>
                  </a:lnTo>
                  <a:lnTo>
                    <a:pt x="19" y="1309"/>
                  </a:lnTo>
                  <a:lnTo>
                    <a:pt x="19" y="1311"/>
                  </a:lnTo>
                  <a:lnTo>
                    <a:pt x="22" y="1313"/>
                  </a:lnTo>
                  <a:lnTo>
                    <a:pt x="24" y="1314"/>
                  </a:lnTo>
                  <a:lnTo>
                    <a:pt x="24" y="1311"/>
                  </a:lnTo>
                  <a:lnTo>
                    <a:pt x="27" y="1311"/>
                  </a:lnTo>
                  <a:lnTo>
                    <a:pt x="28" y="1314"/>
                  </a:lnTo>
                  <a:lnTo>
                    <a:pt x="30" y="1320"/>
                  </a:lnTo>
                  <a:lnTo>
                    <a:pt x="33" y="1320"/>
                  </a:lnTo>
                  <a:lnTo>
                    <a:pt x="36" y="1318"/>
                  </a:lnTo>
                  <a:lnTo>
                    <a:pt x="36" y="1317"/>
                  </a:lnTo>
                  <a:lnTo>
                    <a:pt x="41" y="1316"/>
                  </a:lnTo>
                  <a:lnTo>
                    <a:pt x="40" y="1314"/>
                  </a:lnTo>
                  <a:lnTo>
                    <a:pt x="34" y="1307"/>
                  </a:lnTo>
                  <a:lnTo>
                    <a:pt x="36" y="1305"/>
                  </a:lnTo>
                  <a:lnTo>
                    <a:pt x="38" y="1305"/>
                  </a:lnTo>
                  <a:lnTo>
                    <a:pt x="43" y="1302"/>
                  </a:lnTo>
                  <a:lnTo>
                    <a:pt x="46" y="1297"/>
                  </a:lnTo>
                  <a:lnTo>
                    <a:pt x="47" y="1296"/>
                  </a:lnTo>
                  <a:lnTo>
                    <a:pt x="48" y="1296"/>
                  </a:lnTo>
                  <a:lnTo>
                    <a:pt x="49" y="1295"/>
                  </a:lnTo>
                  <a:lnTo>
                    <a:pt x="51" y="1295"/>
                  </a:lnTo>
                  <a:lnTo>
                    <a:pt x="55" y="1294"/>
                  </a:lnTo>
                  <a:lnTo>
                    <a:pt x="55" y="1296"/>
                  </a:lnTo>
                  <a:lnTo>
                    <a:pt x="60" y="1299"/>
                  </a:lnTo>
                  <a:lnTo>
                    <a:pt x="63" y="1304"/>
                  </a:lnTo>
                  <a:lnTo>
                    <a:pt x="63" y="1302"/>
                  </a:lnTo>
                  <a:lnTo>
                    <a:pt x="64" y="1303"/>
                  </a:lnTo>
                  <a:lnTo>
                    <a:pt x="66" y="1302"/>
                  </a:lnTo>
                  <a:lnTo>
                    <a:pt x="70" y="1305"/>
                  </a:lnTo>
                  <a:lnTo>
                    <a:pt x="67" y="1304"/>
                  </a:lnTo>
                  <a:lnTo>
                    <a:pt x="65" y="1305"/>
                  </a:lnTo>
                  <a:lnTo>
                    <a:pt x="65" y="1308"/>
                  </a:lnTo>
                  <a:lnTo>
                    <a:pt x="64" y="1308"/>
                  </a:lnTo>
                  <a:lnTo>
                    <a:pt x="63" y="1307"/>
                  </a:lnTo>
                  <a:lnTo>
                    <a:pt x="63" y="1311"/>
                  </a:lnTo>
                  <a:lnTo>
                    <a:pt x="66" y="1315"/>
                  </a:lnTo>
                  <a:lnTo>
                    <a:pt x="73" y="1322"/>
                  </a:lnTo>
                  <a:lnTo>
                    <a:pt x="74" y="1325"/>
                  </a:lnTo>
                  <a:lnTo>
                    <a:pt x="76" y="1328"/>
                  </a:lnTo>
                  <a:lnTo>
                    <a:pt x="77" y="1330"/>
                  </a:lnTo>
                  <a:lnTo>
                    <a:pt x="75" y="1333"/>
                  </a:lnTo>
                  <a:lnTo>
                    <a:pt x="79" y="1339"/>
                  </a:lnTo>
                  <a:lnTo>
                    <a:pt x="79" y="1341"/>
                  </a:lnTo>
                  <a:lnTo>
                    <a:pt x="75" y="1342"/>
                  </a:lnTo>
                  <a:lnTo>
                    <a:pt x="76" y="1345"/>
                  </a:lnTo>
                  <a:lnTo>
                    <a:pt x="77" y="1347"/>
                  </a:lnTo>
                  <a:lnTo>
                    <a:pt x="77" y="1355"/>
                  </a:lnTo>
                  <a:lnTo>
                    <a:pt x="77" y="1357"/>
                  </a:lnTo>
                  <a:lnTo>
                    <a:pt x="79" y="1360"/>
                  </a:lnTo>
                  <a:lnTo>
                    <a:pt x="76" y="1362"/>
                  </a:lnTo>
                  <a:lnTo>
                    <a:pt x="76" y="1364"/>
                  </a:lnTo>
                  <a:lnTo>
                    <a:pt x="80" y="1364"/>
                  </a:lnTo>
                  <a:lnTo>
                    <a:pt x="79" y="1366"/>
                  </a:lnTo>
                  <a:lnTo>
                    <a:pt x="81" y="1366"/>
                  </a:lnTo>
                  <a:lnTo>
                    <a:pt x="80" y="1366"/>
                  </a:lnTo>
                  <a:lnTo>
                    <a:pt x="79" y="1369"/>
                  </a:lnTo>
                  <a:lnTo>
                    <a:pt x="77" y="1371"/>
                  </a:lnTo>
                  <a:lnTo>
                    <a:pt x="76" y="1374"/>
                  </a:lnTo>
                  <a:lnTo>
                    <a:pt x="76" y="1374"/>
                  </a:lnTo>
                  <a:lnTo>
                    <a:pt x="74" y="1377"/>
                  </a:lnTo>
                  <a:lnTo>
                    <a:pt x="72" y="1381"/>
                  </a:lnTo>
                  <a:lnTo>
                    <a:pt x="72" y="1383"/>
                  </a:lnTo>
                  <a:lnTo>
                    <a:pt x="70" y="1383"/>
                  </a:lnTo>
                  <a:lnTo>
                    <a:pt x="68" y="1384"/>
                  </a:lnTo>
                  <a:lnTo>
                    <a:pt x="66" y="1384"/>
                  </a:lnTo>
                  <a:lnTo>
                    <a:pt x="60" y="1385"/>
                  </a:lnTo>
                  <a:lnTo>
                    <a:pt x="59" y="1389"/>
                  </a:lnTo>
                  <a:lnTo>
                    <a:pt x="60" y="1392"/>
                  </a:lnTo>
                  <a:lnTo>
                    <a:pt x="58" y="1394"/>
                  </a:lnTo>
                  <a:lnTo>
                    <a:pt x="56" y="1394"/>
                  </a:lnTo>
                  <a:lnTo>
                    <a:pt x="56" y="1397"/>
                  </a:lnTo>
                  <a:lnTo>
                    <a:pt x="57" y="1399"/>
                  </a:lnTo>
                  <a:lnTo>
                    <a:pt x="56" y="1401"/>
                  </a:lnTo>
                  <a:lnTo>
                    <a:pt x="55" y="1403"/>
                  </a:lnTo>
                  <a:lnTo>
                    <a:pt x="49" y="1405"/>
                  </a:lnTo>
                  <a:lnTo>
                    <a:pt x="47" y="1405"/>
                  </a:lnTo>
                  <a:lnTo>
                    <a:pt x="46" y="1407"/>
                  </a:lnTo>
                  <a:lnTo>
                    <a:pt x="43" y="1407"/>
                  </a:lnTo>
                  <a:lnTo>
                    <a:pt x="41" y="1408"/>
                  </a:lnTo>
                  <a:lnTo>
                    <a:pt x="40" y="1410"/>
                  </a:lnTo>
                  <a:lnTo>
                    <a:pt x="41" y="1414"/>
                  </a:lnTo>
                  <a:lnTo>
                    <a:pt x="40" y="1417"/>
                  </a:lnTo>
                  <a:lnTo>
                    <a:pt x="39" y="1418"/>
                  </a:lnTo>
                  <a:lnTo>
                    <a:pt x="34" y="1424"/>
                  </a:lnTo>
                  <a:lnTo>
                    <a:pt x="36" y="1426"/>
                  </a:lnTo>
                  <a:lnTo>
                    <a:pt x="38" y="1427"/>
                  </a:lnTo>
                  <a:lnTo>
                    <a:pt x="34" y="1427"/>
                  </a:lnTo>
                  <a:lnTo>
                    <a:pt x="33" y="1431"/>
                  </a:lnTo>
                  <a:lnTo>
                    <a:pt x="31" y="1432"/>
                  </a:lnTo>
                  <a:lnTo>
                    <a:pt x="29" y="1434"/>
                  </a:lnTo>
                  <a:lnTo>
                    <a:pt x="31" y="1436"/>
                  </a:lnTo>
                  <a:lnTo>
                    <a:pt x="30" y="1440"/>
                  </a:lnTo>
                  <a:lnTo>
                    <a:pt x="30" y="1442"/>
                  </a:lnTo>
                  <a:lnTo>
                    <a:pt x="31" y="1444"/>
                  </a:lnTo>
                  <a:lnTo>
                    <a:pt x="31" y="1448"/>
                  </a:lnTo>
                  <a:lnTo>
                    <a:pt x="29" y="1449"/>
                  </a:lnTo>
                  <a:lnTo>
                    <a:pt x="28" y="1449"/>
                  </a:lnTo>
                  <a:lnTo>
                    <a:pt x="30" y="1451"/>
                  </a:lnTo>
                  <a:lnTo>
                    <a:pt x="33" y="1452"/>
                  </a:lnTo>
                  <a:lnTo>
                    <a:pt x="36" y="1454"/>
                  </a:lnTo>
                  <a:lnTo>
                    <a:pt x="38" y="1454"/>
                  </a:lnTo>
                  <a:lnTo>
                    <a:pt x="41" y="1451"/>
                  </a:lnTo>
                  <a:lnTo>
                    <a:pt x="41" y="1452"/>
                  </a:lnTo>
                  <a:lnTo>
                    <a:pt x="42" y="1452"/>
                  </a:lnTo>
                  <a:lnTo>
                    <a:pt x="41" y="1452"/>
                  </a:lnTo>
                  <a:lnTo>
                    <a:pt x="41" y="1454"/>
                  </a:lnTo>
                  <a:lnTo>
                    <a:pt x="42" y="1454"/>
                  </a:lnTo>
                  <a:lnTo>
                    <a:pt x="43" y="1451"/>
                  </a:lnTo>
                  <a:lnTo>
                    <a:pt x="42" y="1449"/>
                  </a:lnTo>
                  <a:lnTo>
                    <a:pt x="42" y="1448"/>
                  </a:lnTo>
                  <a:lnTo>
                    <a:pt x="45" y="1446"/>
                  </a:lnTo>
                  <a:lnTo>
                    <a:pt x="43" y="1449"/>
                  </a:lnTo>
                  <a:lnTo>
                    <a:pt x="43" y="1451"/>
                  </a:lnTo>
                  <a:lnTo>
                    <a:pt x="45" y="1454"/>
                  </a:lnTo>
                  <a:lnTo>
                    <a:pt x="43" y="1457"/>
                  </a:lnTo>
                  <a:lnTo>
                    <a:pt x="42" y="1461"/>
                  </a:lnTo>
                  <a:lnTo>
                    <a:pt x="41" y="1462"/>
                  </a:lnTo>
                  <a:lnTo>
                    <a:pt x="39" y="1465"/>
                  </a:lnTo>
                  <a:lnTo>
                    <a:pt x="38" y="1465"/>
                  </a:lnTo>
                  <a:lnTo>
                    <a:pt x="37" y="1465"/>
                  </a:lnTo>
                  <a:lnTo>
                    <a:pt x="33" y="1467"/>
                  </a:lnTo>
                  <a:lnTo>
                    <a:pt x="31" y="1469"/>
                  </a:lnTo>
                  <a:lnTo>
                    <a:pt x="29" y="1472"/>
                  </a:lnTo>
                  <a:lnTo>
                    <a:pt x="23" y="1477"/>
                  </a:lnTo>
                  <a:lnTo>
                    <a:pt x="23" y="1479"/>
                  </a:lnTo>
                  <a:lnTo>
                    <a:pt x="23" y="1480"/>
                  </a:lnTo>
                  <a:lnTo>
                    <a:pt x="23" y="1484"/>
                  </a:lnTo>
                  <a:lnTo>
                    <a:pt x="25" y="1486"/>
                  </a:lnTo>
                  <a:lnTo>
                    <a:pt x="25" y="1488"/>
                  </a:lnTo>
                  <a:lnTo>
                    <a:pt x="25" y="1491"/>
                  </a:lnTo>
                  <a:lnTo>
                    <a:pt x="29" y="1494"/>
                  </a:lnTo>
                  <a:lnTo>
                    <a:pt x="29" y="1496"/>
                  </a:lnTo>
                  <a:lnTo>
                    <a:pt x="28" y="1499"/>
                  </a:lnTo>
                  <a:lnTo>
                    <a:pt x="25" y="1499"/>
                  </a:lnTo>
                  <a:lnTo>
                    <a:pt x="25" y="1502"/>
                  </a:lnTo>
                  <a:lnTo>
                    <a:pt x="28" y="1503"/>
                  </a:lnTo>
                  <a:lnTo>
                    <a:pt x="33" y="1505"/>
                  </a:lnTo>
                  <a:lnTo>
                    <a:pt x="41" y="1511"/>
                  </a:lnTo>
                  <a:lnTo>
                    <a:pt x="41" y="1512"/>
                  </a:lnTo>
                  <a:lnTo>
                    <a:pt x="45" y="1517"/>
                  </a:lnTo>
                  <a:lnTo>
                    <a:pt x="45" y="1517"/>
                  </a:lnTo>
                  <a:lnTo>
                    <a:pt x="47" y="1519"/>
                  </a:lnTo>
                  <a:lnTo>
                    <a:pt x="47" y="1520"/>
                  </a:lnTo>
                  <a:lnTo>
                    <a:pt x="49" y="1526"/>
                  </a:lnTo>
                  <a:lnTo>
                    <a:pt x="50" y="1528"/>
                  </a:lnTo>
                  <a:lnTo>
                    <a:pt x="54" y="1530"/>
                  </a:lnTo>
                  <a:lnTo>
                    <a:pt x="57" y="1535"/>
                  </a:lnTo>
                  <a:lnTo>
                    <a:pt x="62" y="1546"/>
                  </a:lnTo>
                  <a:lnTo>
                    <a:pt x="63" y="1548"/>
                  </a:lnTo>
                  <a:lnTo>
                    <a:pt x="66" y="1559"/>
                  </a:lnTo>
                  <a:lnTo>
                    <a:pt x="72" y="1568"/>
                  </a:lnTo>
                  <a:lnTo>
                    <a:pt x="73" y="1571"/>
                  </a:lnTo>
                  <a:lnTo>
                    <a:pt x="73" y="1573"/>
                  </a:lnTo>
                  <a:lnTo>
                    <a:pt x="76" y="1576"/>
                  </a:lnTo>
                  <a:lnTo>
                    <a:pt x="79" y="1578"/>
                  </a:lnTo>
                  <a:lnTo>
                    <a:pt x="80" y="1581"/>
                  </a:lnTo>
                  <a:lnTo>
                    <a:pt x="80" y="1583"/>
                  </a:lnTo>
                  <a:lnTo>
                    <a:pt x="80" y="1585"/>
                  </a:lnTo>
                  <a:lnTo>
                    <a:pt x="85" y="1590"/>
                  </a:lnTo>
                  <a:lnTo>
                    <a:pt x="88" y="1595"/>
                  </a:lnTo>
                  <a:lnTo>
                    <a:pt x="89" y="1598"/>
                  </a:lnTo>
                  <a:lnTo>
                    <a:pt x="92" y="1602"/>
                  </a:lnTo>
                  <a:lnTo>
                    <a:pt x="93" y="1605"/>
                  </a:lnTo>
                  <a:lnTo>
                    <a:pt x="93" y="1607"/>
                  </a:lnTo>
                  <a:lnTo>
                    <a:pt x="91" y="1610"/>
                  </a:lnTo>
                  <a:lnTo>
                    <a:pt x="92" y="1613"/>
                  </a:lnTo>
                  <a:lnTo>
                    <a:pt x="96" y="1617"/>
                  </a:lnTo>
                  <a:lnTo>
                    <a:pt x="97" y="1621"/>
                  </a:lnTo>
                  <a:lnTo>
                    <a:pt x="102" y="1624"/>
                  </a:lnTo>
                  <a:lnTo>
                    <a:pt x="106" y="1629"/>
                  </a:lnTo>
                  <a:lnTo>
                    <a:pt x="107" y="1631"/>
                  </a:lnTo>
                  <a:lnTo>
                    <a:pt x="109" y="1632"/>
                  </a:lnTo>
                  <a:lnTo>
                    <a:pt x="116" y="1636"/>
                  </a:lnTo>
                  <a:lnTo>
                    <a:pt x="118" y="1638"/>
                  </a:lnTo>
                  <a:lnTo>
                    <a:pt x="122" y="1638"/>
                  </a:lnTo>
                  <a:lnTo>
                    <a:pt x="126" y="1642"/>
                  </a:lnTo>
                  <a:lnTo>
                    <a:pt x="139" y="1647"/>
                  </a:lnTo>
                  <a:lnTo>
                    <a:pt x="140" y="1648"/>
                  </a:lnTo>
                  <a:lnTo>
                    <a:pt x="143" y="1649"/>
                  </a:lnTo>
                  <a:lnTo>
                    <a:pt x="145" y="1650"/>
                  </a:lnTo>
                  <a:lnTo>
                    <a:pt x="149" y="1654"/>
                  </a:lnTo>
                  <a:lnTo>
                    <a:pt x="150" y="1654"/>
                  </a:lnTo>
                  <a:lnTo>
                    <a:pt x="152" y="1656"/>
                  </a:lnTo>
                  <a:lnTo>
                    <a:pt x="156" y="1657"/>
                  </a:lnTo>
                  <a:lnTo>
                    <a:pt x="158" y="1658"/>
                  </a:lnTo>
                  <a:lnTo>
                    <a:pt x="159" y="1660"/>
                  </a:lnTo>
                  <a:lnTo>
                    <a:pt x="159" y="1664"/>
                  </a:lnTo>
                  <a:lnTo>
                    <a:pt x="165" y="1666"/>
                  </a:lnTo>
                  <a:lnTo>
                    <a:pt x="173" y="1673"/>
                  </a:lnTo>
                  <a:lnTo>
                    <a:pt x="174" y="1674"/>
                  </a:lnTo>
                  <a:lnTo>
                    <a:pt x="174" y="1676"/>
                  </a:lnTo>
                  <a:lnTo>
                    <a:pt x="174" y="1682"/>
                  </a:lnTo>
                  <a:lnTo>
                    <a:pt x="175" y="1688"/>
                  </a:lnTo>
                  <a:lnTo>
                    <a:pt x="176" y="1696"/>
                  </a:lnTo>
                  <a:lnTo>
                    <a:pt x="175" y="1701"/>
                  </a:lnTo>
                  <a:lnTo>
                    <a:pt x="175" y="1707"/>
                  </a:lnTo>
                  <a:lnTo>
                    <a:pt x="176" y="1709"/>
                  </a:lnTo>
                  <a:lnTo>
                    <a:pt x="177" y="1717"/>
                  </a:lnTo>
                  <a:lnTo>
                    <a:pt x="176" y="1719"/>
                  </a:lnTo>
                  <a:lnTo>
                    <a:pt x="176" y="1722"/>
                  </a:lnTo>
                  <a:lnTo>
                    <a:pt x="175" y="1731"/>
                  </a:lnTo>
                  <a:lnTo>
                    <a:pt x="174" y="1739"/>
                  </a:lnTo>
                  <a:lnTo>
                    <a:pt x="169" y="1743"/>
                  </a:lnTo>
                  <a:lnTo>
                    <a:pt x="169" y="1745"/>
                  </a:lnTo>
                  <a:lnTo>
                    <a:pt x="173" y="1747"/>
                  </a:lnTo>
                  <a:lnTo>
                    <a:pt x="173" y="1749"/>
                  </a:lnTo>
                  <a:lnTo>
                    <a:pt x="171" y="1751"/>
                  </a:lnTo>
                  <a:lnTo>
                    <a:pt x="171" y="1757"/>
                  </a:lnTo>
                  <a:lnTo>
                    <a:pt x="170" y="1762"/>
                  </a:lnTo>
                  <a:lnTo>
                    <a:pt x="171" y="1768"/>
                  </a:lnTo>
                  <a:lnTo>
                    <a:pt x="171" y="1770"/>
                  </a:lnTo>
                  <a:lnTo>
                    <a:pt x="171" y="1773"/>
                  </a:lnTo>
                  <a:lnTo>
                    <a:pt x="169" y="1776"/>
                  </a:lnTo>
                  <a:lnTo>
                    <a:pt x="169" y="1778"/>
                  </a:lnTo>
                  <a:lnTo>
                    <a:pt x="168" y="1781"/>
                  </a:lnTo>
                  <a:lnTo>
                    <a:pt x="169" y="1783"/>
                  </a:lnTo>
                  <a:lnTo>
                    <a:pt x="169" y="1786"/>
                  </a:lnTo>
                  <a:lnTo>
                    <a:pt x="169" y="1787"/>
                  </a:lnTo>
                  <a:lnTo>
                    <a:pt x="165" y="1801"/>
                  </a:lnTo>
                  <a:lnTo>
                    <a:pt x="166" y="1804"/>
                  </a:lnTo>
                  <a:lnTo>
                    <a:pt x="164" y="1808"/>
                  </a:lnTo>
                  <a:lnTo>
                    <a:pt x="162" y="1813"/>
                  </a:lnTo>
                  <a:lnTo>
                    <a:pt x="161" y="1818"/>
                  </a:lnTo>
                  <a:lnTo>
                    <a:pt x="158" y="1827"/>
                  </a:lnTo>
                  <a:lnTo>
                    <a:pt x="158" y="1830"/>
                  </a:lnTo>
                  <a:lnTo>
                    <a:pt x="160" y="1833"/>
                  </a:lnTo>
                  <a:lnTo>
                    <a:pt x="160" y="1838"/>
                  </a:lnTo>
                  <a:lnTo>
                    <a:pt x="160" y="1841"/>
                  </a:lnTo>
                  <a:lnTo>
                    <a:pt x="159" y="1842"/>
                  </a:lnTo>
                  <a:lnTo>
                    <a:pt x="159" y="1845"/>
                  </a:lnTo>
                  <a:lnTo>
                    <a:pt x="157" y="1846"/>
                  </a:lnTo>
                  <a:lnTo>
                    <a:pt x="155" y="1848"/>
                  </a:lnTo>
                  <a:lnTo>
                    <a:pt x="155" y="1852"/>
                  </a:lnTo>
                  <a:lnTo>
                    <a:pt x="157" y="1867"/>
                  </a:lnTo>
                  <a:lnTo>
                    <a:pt x="157" y="1869"/>
                  </a:lnTo>
                  <a:lnTo>
                    <a:pt x="157" y="1875"/>
                  </a:lnTo>
                  <a:lnTo>
                    <a:pt x="159" y="1878"/>
                  </a:lnTo>
                  <a:lnTo>
                    <a:pt x="157" y="1884"/>
                  </a:lnTo>
                  <a:lnTo>
                    <a:pt x="157" y="1886"/>
                  </a:lnTo>
                  <a:lnTo>
                    <a:pt x="155" y="1888"/>
                  </a:lnTo>
                  <a:lnTo>
                    <a:pt x="155" y="1894"/>
                  </a:lnTo>
                  <a:lnTo>
                    <a:pt x="156" y="1897"/>
                  </a:lnTo>
                  <a:lnTo>
                    <a:pt x="153" y="1899"/>
                  </a:lnTo>
                  <a:lnTo>
                    <a:pt x="151" y="1904"/>
                  </a:lnTo>
                  <a:lnTo>
                    <a:pt x="151" y="1907"/>
                  </a:lnTo>
                  <a:lnTo>
                    <a:pt x="150" y="1908"/>
                  </a:lnTo>
                  <a:lnTo>
                    <a:pt x="150" y="1914"/>
                  </a:lnTo>
                  <a:lnTo>
                    <a:pt x="148" y="1918"/>
                  </a:lnTo>
                  <a:lnTo>
                    <a:pt x="148" y="1919"/>
                  </a:lnTo>
                  <a:lnTo>
                    <a:pt x="144" y="1923"/>
                  </a:lnTo>
                  <a:lnTo>
                    <a:pt x="143" y="1927"/>
                  </a:lnTo>
                  <a:lnTo>
                    <a:pt x="142" y="1931"/>
                  </a:lnTo>
                  <a:lnTo>
                    <a:pt x="140" y="1935"/>
                  </a:lnTo>
                  <a:lnTo>
                    <a:pt x="140" y="1937"/>
                  </a:lnTo>
                  <a:lnTo>
                    <a:pt x="139" y="1940"/>
                  </a:lnTo>
                  <a:lnTo>
                    <a:pt x="138" y="1942"/>
                  </a:lnTo>
                  <a:lnTo>
                    <a:pt x="138" y="1945"/>
                  </a:lnTo>
                  <a:lnTo>
                    <a:pt x="134" y="1946"/>
                  </a:lnTo>
                  <a:lnTo>
                    <a:pt x="134" y="1952"/>
                  </a:lnTo>
                  <a:lnTo>
                    <a:pt x="132" y="1953"/>
                  </a:lnTo>
                  <a:lnTo>
                    <a:pt x="130" y="1952"/>
                  </a:lnTo>
                  <a:lnTo>
                    <a:pt x="127" y="1955"/>
                  </a:lnTo>
                  <a:lnTo>
                    <a:pt x="128" y="1957"/>
                  </a:lnTo>
                  <a:lnTo>
                    <a:pt x="127" y="1958"/>
                  </a:lnTo>
                  <a:lnTo>
                    <a:pt x="128" y="1962"/>
                  </a:lnTo>
                  <a:lnTo>
                    <a:pt x="130" y="1964"/>
                  </a:lnTo>
                  <a:lnTo>
                    <a:pt x="131" y="1966"/>
                  </a:lnTo>
                  <a:lnTo>
                    <a:pt x="130" y="1972"/>
                  </a:lnTo>
                  <a:lnTo>
                    <a:pt x="131" y="1975"/>
                  </a:lnTo>
                  <a:lnTo>
                    <a:pt x="134" y="1984"/>
                  </a:lnTo>
                  <a:lnTo>
                    <a:pt x="134" y="1987"/>
                  </a:lnTo>
                  <a:lnTo>
                    <a:pt x="133" y="1990"/>
                  </a:lnTo>
                  <a:lnTo>
                    <a:pt x="132" y="1992"/>
                  </a:lnTo>
                  <a:lnTo>
                    <a:pt x="132" y="1995"/>
                  </a:lnTo>
                  <a:lnTo>
                    <a:pt x="130" y="1996"/>
                  </a:lnTo>
                  <a:lnTo>
                    <a:pt x="127" y="1997"/>
                  </a:lnTo>
                  <a:lnTo>
                    <a:pt x="127" y="2000"/>
                  </a:lnTo>
                  <a:lnTo>
                    <a:pt x="126" y="2004"/>
                  </a:lnTo>
                  <a:lnTo>
                    <a:pt x="126" y="2006"/>
                  </a:lnTo>
                  <a:lnTo>
                    <a:pt x="123" y="2013"/>
                  </a:lnTo>
                  <a:lnTo>
                    <a:pt x="124" y="2016"/>
                  </a:lnTo>
                  <a:lnTo>
                    <a:pt x="125" y="2018"/>
                  </a:lnTo>
                  <a:lnTo>
                    <a:pt x="125" y="2022"/>
                  </a:lnTo>
                  <a:lnTo>
                    <a:pt x="127" y="2023"/>
                  </a:lnTo>
                  <a:lnTo>
                    <a:pt x="130" y="2023"/>
                  </a:lnTo>
                  <a:lnTo>
                    <a:pt x="128" y="2026"/>
                  </a:lnTo>
                  <a:lnTo>
                    <a:pt x="130" y="2026"/>
                  </a:lnTo>
                  <a:lnTo>
                    <a:pt x="135" y="2026"/>
                  </a:lnTo>
                  <a:lnTo>
                    <a:pt x="135" y="2023"/>
                  </a:lnTo>
                  <a:lnTo>
                    <a:pt x="139" y="2022"/>
                  </a:lnTo>
                  <a:lnTo>
                    <a:pt x="143" y="2025"/>
                  </a:lnTo>
                  <a:lnTo>
                    <a:pt x="145" y="2022"/>
                  </a:lnTo>
                  <a:lnTo>
                    <a:pt x="145" y="2025"/>
                  </a:lnTo>
                  <a:lnTo>
                    <a:pt x="142" y="2025"/>
                  </a:lnTo>
                  <a:lnTo>
                    <a:pt x="140" y="2027"/>
                  </a:lnTo>
                  <a:lnTo>
                    <a:pt x="140" y="2030"/>
                  </a:lnTo>
                  <a:lnTo>
                    <a:pt x="143" y="2031"/>
                  </a:lnTo>
                  <a:lnTo>
                    <a:pt x="144" y="2032"/>
                  </a:lnTo>
                  <a:lnTo>
                    <a:pt x="144" y="2038"/>
                  </a:lnTo>
                  <a:lnTo>
                    <a:pt x="143" y="2035"/>
                  </a:lnTo>
                  <a:lnTo>
                    <a:pt x="141" y="2033"/>
                  </a:lnTo>
                  <a:lnTo>
                    <a:pt x="140" y="2036"/>
                  </a:lnTo>
                  <a:lnTo>
                    <a:pt x="143" y="2039"/>
                  </a:lnTo>
                  <a:lnTo>
                    <a:pt x="142" y="2039"/>
                  </a:lnTo>
                  <a:lnTo>
                    <a:pt x="140" y="2038"/>
                  </a:lnTo>
                  <a:lnTo>
                    <a:pt x="140" y="2043"/>
                  </a:lnTo>
                  <a:lnTo>
                    <a:pt x="141" y="2046"/>
                  </a:lnTo>
                  <a:lnTo>
                    <a:pt x="138" y="2048"/>
                  </a:lnTo>
                  <a:lnTo>
                    <a:pt x="138" y="2050"/>
                  </a:lnTo>
                  <a:lnTo>
                    <a:pt x="135" y="2053"/>
                  </a:lnTo>
                  <a:lnTo>
                    <a:pt x="136" y="2056"/>
                  </a:lnTo>
                  <a:lnTo>
                    <a:pt x="138" y="2056"/>
                  </a:lnTo>
                  <a:lnTo>
                    <a:pt x="136" y="2058"/>
                  </a:lnTo>
                  <a:lnTo>
                    <a:pt x="139" y="2058"/>
                  </a:lnTo>
                  <a:lnTo>
                    <a:pt x="133" y="2066"/>
                  </a:lnTo>
                  <a:lnTo>
                    <a:pt x="134" y="2067"/>
                  </a:lnTo>
                  <a:lnTo>
                    <a:pt x="138" y="2068"/>
                  </a:lnTo>
                  <a:lnTo>
                    <a:pt x="140" y="2070"/>
                  </a:lnTo>
                  <a:lnTo>
                    <a:pt x="142" y="2069"/>
                  </a:lnTo>
                  <a:lnTo>
                    <a:pt x="142" y="2072"/>
                  </a:lnTo>
                  <a:lnTo>
                    <a:pt x="141" y="2075"/>
                  </a:lnTo>
                  <a:lnTo>
                    <a:pt x="139" y="2077"/>
                  </a:lnTo>
                  <a:lnTo>
                    <a:pt x="135" y="2079"/>
                  </a:lnTo>
                  <a:lnTo>
                    <a:pt x="133" y="2079"/>
                  </a:lnTo>
                  <a:lnTo>
                    <a:pt x="132" y="2079"/>
                  </a:lnTo>
                  <a:lnTo>
                    <a:pt x="133" y="2083"/>
                  </a:lnTo>
                  <a:lnTo>
                    <a:pt x="135" y="2085"/>
                  </a:lnTo>
                  <a:lnTo>
                    <a:pt x="138" y="2087"/>
                  </a:lnTo>
                  <a:lnTo>
                    <a:pt x="140" y="2087"/>
                  </a:lnTo>
                  <a:lnTo>
                    <a:pt x="139" y="2087"/>
                  </a:lnTo>
                  <a:lnTo>
                    <a:pt x="136" y="2087"/>
                  </a:lnTo>
                  <a:lnTo>
                    <a:pt x="134" y="2085"/>
                  </a:lnTo>
                  <a:lnTo>
                    <a:pt x="131" y="2087"/>
                  </a:lnTo>
                  <a:lnTo>
                    <a:pt x="130" y="2090"/>
                  </a:lnTo>
                  <a:lnTo>
                    <a:pt x="130" y="2092"/>
                  </a:lnTo>
                  <a:lnTo>
                    <a:pt x="132" y="2091"/>
                  </a:lnTo>
                  <a:lnTo>
                    <a:pt x="130" y="2093"/>
                  </a:lnTo>
                  <a:lnTo>
                    <a:pt x="128" y="2096"/>
                  </a:lnTo>
                  <a:lnTo>
                    <a:pt x="128" y="2099"/>
                  </a:lnTo>
                  <a:lnTo>
                    <a:pt x="127" y="2101"/>
                  </a:lnTo>
                  <a:lnTo>
                    <a:pt x="131" y="2099"/>
                  </a:lnTo>
                  <a:lnTo>
                    <a:pt x="130" y="2101"/>
                  </a:lnTo>
                  <a:lnTo>
                    <a:pt x="126" y="2104"/>
                  </a:lnTo>
                  <a:lnTo>
                    <a:pt x="125" y="2107"/>
                  </a:lnTo>
                  <a:lnTo>
                    <a:pt x="125" y="2104"/>
                  </a:lnTo>
                  <a:lnTo>
                    <a:pt x="126" y="2102"/>
                  </a:lnTo>
                  <a:lnTo>
                    <a:pt x="124" y="2100"/>
                  </a:lnTo>
                  <a:lnTo>
                    <a:pt x="125" y="2102"/>
                  </a:lnTo>
                  <a:lnTo>
                    <a:pt x="122" y="2101"/>
                  </a:lnTo>
                  <a:lnTo>
                    <a:pt x="119" y="2101"/>
                  </a:lnTo>
                  <a:lnTo>
                    <a:pt x="117" y="2100"/>
                  </a:lnTo>
                  <a:lnTo>
                    <a:pt x="119" y="2101"/>
                  </a:lnTo>
                  <a:lnTo>
                    <a:pt x="122" y="2100"/>
                  </a:lnTo>
                  <a:lnTo>
                    <a:pt x="124" y="2098"/>
                  </a:lnTo>
                  <a:lnTo>
                    <a:pt x="121" y="2095"/>
                  </a:lnTo>
                  <a:lnTo>
                    <a:pt x="118" y="2093"/>
                  </a:lnTo>
                  <a:lnTo>
                    <a:pt x="117" y="2096"/>
                  </a:lnTo>
                  <a:lnTo>
                    <a:pt x="115" y="2094"/>
                  </a:lnTo>
                  <a:lnTo>
                    <a:pt x="113" y="2094"/>
                  </a:lnTo>
                  <a:lnTo>
                    <a:pt x="109" y="2095"/>
                  </a:lnTo>
                  <a:lnTo>
                    <a:pt x="108" y="2098"/>
                  </a:lnTo>
                  <a:lnTo>
                    <a:pt x="110" y="2099"/>
                  </a:lnTo>
                  <a:lnTo>
                    <a:pt x="113" y="2096"/>
                  </a:lnTo>
                  <a:lnTo>
                    <a:pt x="113" y="2099"/>
                  </a:lnTo>
                  <a:lnTo>
                    <a:pt x="110" y="2101"/>
                  </a:lnTo>
                  <a:lnTo>
                    <a:pt x="108" y="2102"/>
                  </a:lnTo>
                  <a:lnTo>
                    <a:pt x="102" y="2106"/>
                  </a:lnTo>
                  <a:lnTo>
                    <a:pt x="100" y="2109"/>
                  </a:lnTo>
                  <a:lnTo>
                    <a:pt x="100" y="2111"/>
                  </a:lnTo>
                  <a:lnTo>
                    <a:pt x="104" y="2113"/>
                  </a:lnTo>
                  <a:lnTo>
                    <a:pt x="105" y="2110"/>
                  </a:lnTo>
                  <a:lnTo>
                    <a:pt x="101" y="2109"/>
                  </a:lnTo>
                  <a:lnTo>
                    <a:pt x="107" y="2108"/>
                  </a:lnTo>
                  <a:lnTo>
                    <a:pt x="109" y="2106"/>
                  </a:lnTo>
                  <a:lnTo>
                    <a:pt x="109" y="2108"/>
                  </a:lnTo>
                  <a:lnTo>
                    <a:pt x="111" y="2110"/>
                  </a:lnTo>
                  <a:lnTo>
                    <a:pt x="114" y="2112"/>
                  </a:lnTo>
                  <a:lnTo>
                    <a:pt x="117" y="2112"/>
                  </a:lnTo>
                  <a:lnTo>
                    <a:pt x="116" y="2110"/>
                  </a:lnTo>
                  <a:lnTo>
                    <a:pt x="118" y="2110"/>
                  </a:lnTo>
                  <a:lnTo>
                    <a:pt x="122" y="2111"/>
                  </a:lnTo>
                  <a:lnTo>
                    <a:pt x="122" y="2115"/>
                  </a:lnTo>
                  <a:lnTo>
                    <a:pt x="122" y="2115"/>
                  </a:lnTo>
                  <a:lnTo>
                    <a:pt x="124" y="2115"/>
                  </a:lnTo>
                  <a:lnTo>
                    <a:pt x="123" y="2116"/>
                  </a:lnTo>
                  <a:lnTo>
                    <a:pt x="123" y="2117"/>
                  </a:lnTo>
                  <a:lnTo>
                    <a:pt x="122" y="2119"/>
                  </a:lnTo>
                  <a:lnTo>
                    <a:pt x="119" y="2118"/>
                  </a:lnTo>
                  <a:lnTo>
                    <a:pt x="117" y="2120"/>
                  </a:lnTo>
                  <a:lnTo>
                    <a:pt x="118" y="2124"/>
                  </a:lnTo>
                  <a:lnTo>
                    <a:pt x="121" y="2125"/>
                  </a:lnTo>
                  <a:lnTo>
                    <a:pt x="121" y="2127"/>
                  </a:lnTo>
                  <a:lnTo>
                    <a:pt x="115" y="2125"/>
                  </a:lnTo>
                  <a:lnTo>
                    <a:pt x="114" y="2127"/>
                  </a:lnTo>
                  <a:lnTo>
                    <a:pt x="122" y="2127"/>
                  </a:lnTo>
                  <a:lnTo>
                    <a:pt x="125" y="2128"/>
                  </a:lnTo>
                  <a:lnTo>
                    <a:pt x="126" y="2126"/>
                  </a:lnTo>
                  <a:lnTo>
                    <a:pt x="130" y="2128"/>
                  </a:lnTo>
                  <a:lnTo>
                    <a:pt x="131" y="2130"/>
                  </a:lnTo>
                  <a:lnTo>
                    <a:pt x="133" y="2132"/>
                  </a:lnTo>
                  <a:lnTo>
                    <a:pt x="131" y="2132"/>
                  </a:lnTo>
                  <a:lnTo>
                    <a:pt x="131" y="2134"/>
                  </a:lnTo>
                  <a:lnTo>
                    <a:pt x="132" y="2135"/>
                  </a:lnTo>
                  <a:lnTo>
                    <a:pt x="130" y="2136"/>
                  </a:lnTo>
                  <a:lnTo>
                    <a:pt x="126" y="2133"/>
                  </a:lnTo>
                  <a:lnTo>
                    <a:pt x="124" y="2132"/>
                  </a:lnTo>
                  <a:lnTo>
                    <a:pt x="122" y="2132"/>
                  </a:lnTo>
                  <a:lnTo>
                    <a:pt x="121" y="2134"/>
                  </a:lnTo>
                  <a:lnTo>
                    <a:pt x="118" y="2132"/>
                  </a:lnTo>
                  <a:lnTo>
                    <a:pt x="115" y="2132"/>
                  </a:lnTo>
                  <a:lnTo>
                    <a:pt x="117" y="2134"/>
                  </a:lnTo>
                  <a:lnTo>
                    <a:pt x="122" y="2138"/>
                  </a:lnTo>
                  <a:lnTo>
                    <a:pt x="123" y="2141"/>
                  </a:lnTo>
                  <a:lnTo>
                    <a:pt x="121" y="2139"/>
                  </a:lnTo>
                  <a:lnTo>
                    <a:pt x="118" y="2142"/>
                  </a:lnTo>
                  <a:lnTo>
                    <a:pt x="121" y="2144"/>
                  </a:lnTo>
                  <a:lnTo>
                    <a:pt x="123" y="2144"/>
                  </a:lnTo>
                  <a:lnTo>
                    <a:pt x="119" y="2144"/>
                  </a:lnTo>
                  <a:lnTo>
                    <a:pt x="117" y="2147"/>
                  </a:lnTo>
                  <a:lnTo>
                    <a:pt x="117" y="2150"/>
                  </a:lnTo>
                  <a:lnTo>
                    <a:pt x="117" y="2153"/>
                  </a:lnTo>
                  <a:lnTo>
                    <a:pt x="117" y="2155"/>
                  </a:lnTo>
                  <a:lnTo>
                    <a:pt x="119" y="2158"/>
                  </a:lnTo>
                  <a:lnTo>
                    <a:pt x="122" y="2155"/>
                  </a:lnTo>
                  <a:lnTo>
                    <a:pt x="121" y="2153"/>
                  </a:lnTo>
                  <a:lnTo>
                    <a:pt x="123" y="2150"/>
                  </a:lnTo>
                  <a:lnTo>
                    <a:pt x="125" y="2150"/>
                  </a:lnTo>
                  <a:lnTo>
                    <a:pt x="124" y="2152"/>
                  </a:lnTo>
                  <a:lnTo>
                    <a:pt x="125" y="2154"/>
                  </a:lnTo>
                  <a:lnTo>
                    <a:pt x="122" y="2154"/>
                  </a:lnTo>
                  <a:lnTo>
                    <a:pt x="122" y="2156"/>
                  </a:lnTo>
                  <a:lnTo>
                    <a:pt x="125" y="2158"/>
                  </a:lnTo>
                  <a:lnTo>
                    <a:pt x="126" y="2161"/>
                  </a:lnTo>
                  <a:lnTo>
                    <a:pt x="124" y="2159"/>
                  </a:lnTo>
                  <a:lnTo>
                    <a:pt x="122" y="2159"/>
                  </a:lnTo>
                  <a:lnTo>
                    <a:pt x="119" y="2162"/>
                  </a:lnTo>
                  <a:lnTo>
                    <a:pt x="122" y="2162"/>
                  </a:lnTo>
                  <a:lnTo>
                    <a:pt x="119" y="2163"/>
                  </a:lnTo>
                  <a:lnTo>
                    <a:pt x="122" y="2166"/>
                  </a:lnTo>
                  <a:lnTo>
                    <a:pt x="124" y="2164"/>
                  </a:lnTo>
                  <a:lnTo>
                    <a:pt x="123" y="2167"/>
                  </a:lnTo>
                  <a:lnTo>
                    <a:pt x="122" y="2167"/>
                  </a:lnTo>
                  <a:lnTo>
                    <a:pt x="118" y="2166"/>
                  </a:lnTo>
                  <a:lnTo>
                    <a:pt x="118" y="2167"/>
                  </a:lnTo>
                  <a:lnTo>
                    <a:pt x="121" y="2170"/>
                  </a:lnTo>
                  <a:lnTo>
                    <a:pt x="123" y="2170"/>
                  </a:lnTo>
                  <a:lnTo>
                    <a:pt x="121" y="2170"/>
                  </a:lnTo>
                  <a:lnTo>
                    <a:pt x="117" y="2169"/>
                  </a:lnTo>
                  <a:lnTo>
                    <a:pt x="115" y="2169"/>
                  </a:lnTo>
                  <a:lnTo>
                    <a:pt x="117" y="2171"/>
                  </a:lnTo>
                  <a:lnTo>
                    <a:pt x="119" y="2171"/>
                  </a:lnTo>
                  <a:lnTo>
                    <a:pt x="119" y="2175"/>
                  </a:lnTo>
                  <a:lnTo>
                    <a:pt x="122" y="2173"/>
                  </a:lnTo>
                  <a:lnTo>
                    <a:pt x="124" y="2176"/>
                  </a:lnTo>
                  <a:lnTo>
                    <a:pt x="122" y="2176"/>
                  </a:lnTo>
                  <a:lnTo>
                    <a:pt x="121" y="2178"/>
                  </a:lnTo>
                  <a:lnTo>
                    <a:pt x="122" y="2181"/>
                  </a:lnTo>
                  <a:lnTo>
                    <a:pt x="125" y="2181"/>
                  </a:lnTo>
                  <a:lnTo>
                    <a:pt x="127" y="2176"/>
                  </a:lnTo>
                  <a:lnTo>
                    <a:pt x="128" y="2175"/>
                  </a:lnTo>
                  <a:lnTo>
                    <a:pt x="127" y="2177"/>
                  </a:lnTo>
                  <a:lnTo>
                    <a:pt x="131" y="2179"/>
                  </a:lnTo>
                  <a:lnTo>
                    <a:pt x="127" y="2178"/>
                  </a:lnTo>
                  <a:lnTo>
                    <a:pt x="126" y="2181"/>
                  </a:lnTo>
                  <a:lnTo>
                    <a:pt x="126" y="2184"/>
                  </a:lnTo>
                  <a:lnTo>
                    <a:pt x="123" y="2183"/>
                  </a:lnTo>
                  <a:lnTo>
                    <a:pt x="121" y="2183"/>
                  </a:lnTo>
                  <a:lnTo>
                    <a:pt x="121" y="2186"/>
                  </a:lnTo>
                  <a:lnTo>
                    <a:pt x="122" y="2188"/>
                  </a:lnTo>
                  <a:lnTo>
                    <a:pt x="124" y="2188"/>
                  </a:lnTo>
                  <a:lnTo>
                    <a:pt x="127" y="2187"/>
                  </a:lnTo>
                  <a:lnTo>
                    <a:pt x="127" y="2190"/>
                  </a:lnTo>
                  <a:lnTo>
                    <a:pt x="128" y="2196"/>
                  </a:lnTo>
                  <a:lnTo>
                    <a:pt x="126" y="2193"/>
                  </a:lnTo>
                  <a:lnTo>
                    <a:pt x="125" y="2195"/>
                  </a:lnTo>
                  <a:lnTo>
                    <a:pt x="126" y="2198"/>
                  </a:lnTo>
                  <a:lnTo>
                    <a:pt x="130" y="2197"/>
                  </a:lnTo>
                  <a:lnTo>
                    <a:pt x="130" y="2200"/>
                  </a:lnTo>
                  <a:lnTo>
                    <a:pt x="131" y="2203"/>
                  </a:lnTo>
                  <a:lnTo>
                    <a:pt x="128" y="2200"/>
                  </a:lnTo>
                  <a:lnTo>
                    <a:pt x="130" y="2203"/>
                  </a:lnTo>
                  <a:lnTo>
                    <a:pt x="132" y="2205"/>
                  </a:lnTo>
                  <a:lnTo>
                    <a:pt x="133" y="2203"/>
                  </a:lnTo>
                  <a:lnTo>
                    <a:pt x="132" y="2197"/>
                  </a:lnTo>
                  <a:lnTo>
                    <a:pt x="133" y="2203"/>
                  </a:lnTo>
                  <a:lnTo>
                    <a:pt x="136" y="2202"/>
                  </a:lnTo>
                  <a:lnTo>
                    <a:pt x="136" y="2198"/>
                  </a:lnTo>
                  <a:lnTo>
                    <a:pt x="133" y="2196"/>
                  </a:lnTo>
                  <a:lnTo>
                    <a:pt x="142" y="2200"/>
                  </a:lnTo>
                  <a:lnTo>
                    <a:pt x="141" y="2197"/>
                  </a:lnTo>
                  <a:lnTo>
                    <a:pt x="139" y="2195"/>
                  </a:lnTo>
                  <a:lnTo>
                    <a:pt x="135" y="2196"/>
                  </a:lnTo>
                  <a:lnTo>
                    <a:pt x="135" y="2193"/>
                  </a:lnTo>
                  <a:lnTo>
                    <a:pt x="135" y="2193"/>
                  </a:lnTo>
                  <a:lnTo>
                    <a:pt x="139" y="2195"/>
                  </a:lnTo>
                  <a:lnTo>
                    <a:pt x="141" y="2196"/>
                  </a:lnTo>
                  <a:lnTo>
                    <a:pt x="144" y="2198"/>
                  </a:lnTo>
                  <a:lnTo>
                    <a:pt x="144" y="2201"/>
                  </a:lnTo>
                  <a:lnTo>
                    <a:pt x="142" y="2202"/>
                  </a:lnTo>
                  <a:lnTo>
                    <a:pt x="143" y="2205"/>
                  </a:lnTo>
                  <a:lnTo>
                    <a:pt x="144" y="2206"/>
                  </a:lnTo>
                  <a:lnTo>
                    <a:pt x="143" y="2209"/>
                  </a:lnTo>
                  <a:lnTo>
                    <a:pt x="141" y="2210"/>
                  </a:lnTo>
                  <a:lnTo>
                    <a:pt x="139" y="2211"/>
                  </a:lnTo>
                  <a:lnTo>
                    <a:pt x="141" y="2210"/>
                  </a:lnTo>
                  <a:lnTo>
                    <a:pt x="143" y="2206"/>
                  </a:lnTo>
                  <a:lnTo>
                    <a:pt x="141" y="2204"/>
                  </a:lnTo>
                  <a:lnTo>
                    <a:pt x="140" y="2204"/>
                  </a:lnTo>
                  <a:lnTo>
                    <a:pt x="140" y="2206"/>
                  </a:lnTo>
                  <a:lnTo>
                    <a:pt x="128" y="2205"/>
                  </a:lnTo>
                  <a:lnTo>
                    <a:pt x="128" y="2211"/>
                  </a:lnTo>
                  <a:lnTo>
                    <a:pt x="128" y="2214"/>
                  </a:lnTo>
                  <a:lnTo>
                    <a:pt x="128" y="2216"/>
                  </a:lnTo>
                  <a:lnTo>
                    <a:pt x="131" y="2214"/>
                  </a:lnTo>
                  <a:lnTo>
                    <a:pt x="134" y="2214"/>
                  </a:lnTo>
                  <a:lnTo>
                    <a:pt x="134" y="2212"/>
                  </a:lnTo>
                  <a:lnTo>
                    <a:pt x="138" y="2212"/>
                  </a:lnTo>
                  <a:lnTo>
                    <a:pt x="135" y="2214"/>
                  </a:lnTo>
                  <a:lnTo>
                    <a:pt x="134" y="2218"/>
                  </a:lnTo>
                  <a:lnTo>
                    <a:pt x="131" y="2218"/>
                  </a:lnTo>
                  <a:lnTo>
                    <a:pt x="134" y="2219"/>
                  </a:lnTo>
                  <a:lnTo>
                    <a:pt x="131" y="2221"/>
                  </a:lnTo>
                  <a:lnTo>
                    <a:pt x="134" y="2223"/>
                  </a:lnTo>
                  <a:lnTo>
                    <a:pt x="136" y="2222"/>
                  </a:lnTo>
                  <a:lnTo>
                    <a:pt x="138" y="2220"/>
                  </a:lnTo>
                  <a:lnTo>
                    <a:pt x="141" y="2214"/>
                  </a:lnTo>
                  <a:lnTo>
                    <a:pt x="139" y="2215"/>
                  </a:lnTo>
                  <a:lnTo>
                    <a:pt x="139" y="2212"/>
                  </a:lnTo>
                  <a:lnTo>
                    <a:pt x="142" y="2213"/>
                  </a:lnTo>
                  <a:lnTo>
                    <a:pt x="152" y="2213"/>
                  </a:lnTo>
                  <a:lnTo>
                    <a:pt x="156" y="2213"/>
                  </a:lnTo>
                  <a:lnTo>
                    <a:pt x="158" y="2214"/>
                  </a:lnTo>
                  <a:lnTo>
                    <a:pt x="156" y="2215"/>
                  </a:lnTo>
                  <a:lnTo>
                    <a:pt x="152" y="2215"/>
                  </a:lnTo>
                  <a:lnTo>
                    <a:pt x="150" y="2214"/>
                  </a:lnTo>
                  <a:lnTo>
                    <a:pt x="148" y="2215"/>
                  </a:lnTo>
                  <a:lnTo>
                    <a:pt x="144" y="2219"/>
                  </a:lnTo>
                  <a:lnTo>
                    <a:pt x="140" y="2218"/>
                  </a:lnTo>
                  <a:lnTo>
                    <a:pt x="138" y="2220"/>
                  </a:lnTo>
                  <a:lnTo>
                    <a:pt x="139" y="2222"/>
                  </a:lnTo>
                  <a:lnTo>
                    <a:pt x="141" y="2223"/>
                  </a:lnTo>
                  <a:lnTo>
                    <a:pt x="141" y="2227"/>
                  </a:lnTo>
                  <a:lnTo>
                    <a:pt x="139" y="2224"/>
                  </a:lnTo>
                  <a:lnTo>
                    <a:pt x="135" y="2224"/>
                  </a:lnTo>
                  <a:lnTo>
                    <a:pt x="138" y="2227"/>
                  </a:lnTo>
                  <a:lnTo>
                    <a:pt x="140" y="2229"/>
                  </a:lnTo>
                  <a:lnTo>
                    <a:pt x="142" y="2231"/>
                  </a:lnTo>
                  <a:lnTo>
                    <a:pt x="145" y="2231"/>
                  </a:lnTo>
                  <a:lnTo>
                    <a:pt x="143" y="2229"/>
                  </a:lnTo>
                  <a:lnTo>
                    <a:pt x="145" y="2226"/>
                  </a:lnTo>
                  <a:lnTo>
                    <a:pt x="148" y="2226"/>
                  </a:lnTo>
                  <a:lnTo>
                    <a:pt x="145" y="2223"/>
                  </a:lnTo>
                  <a:lnTo>
                    <a:pt x="148" y="2222"/>
                  </a:lnTo>
                  <a:lnTo>
                    <a:pt x="150" y="2223"/>
                  </a:lnTo>
                  <a:lnTo>
                    <a:pt x="152" y="2221"/>
                  </a:lnTo>
                  <a:lnTo>
                    <a:pt x="158" y="2218"/>
                  </a:lnTo>
                  <a:lnTo>
                    <a:pt x="159" y="2216"/>
                  </a:lnTo>
                  <a:lnTo>
                    <a:pt x="161" y="2218"/>
                  </a:lnTo>
                  <a:lnTo>
                    <a:pt x="161" y="2220"/>
                  </a:lnTo>
                  <a:lnTo>
                    <a:pt x="160" y="2223"/>
                  </a:lnTo>
                  <a:lnTo>
                    <a:pt x="155" y="2226"/>
                  </a:lnTo>
                  <a:lnTo>
                    <a:pt x="153" y="2231"/>
                  </a:lnTo>
                  <a:lnTo>
                    <a:pt x="151" y="2232"/>
                  </a:lnTo>
                  <a:lnTo>
                    <a:pt x="153" y="2230"/>
                  </a:lnTo>
                  <a:lnTo>
                    <a:pt x="153" y="2227"/>
                  </a:lnTo>
                  <a:lnTo>
                    <a:pt x="150" y="2226"/>
                  </a:lnTo>
                  <a:lnTo>
                    <a:pt x="150" y="2229"/>
                  </a:lnTo>
                  <a:lnTo>
                    <a:pt x="149" y="2226"/>
                  </a:lnTo>
                  <a:lnTo>
                    <a:pt x="147" y="2227"/>
                  </a:lnTo>
                  <a:lnTo>
                    <a:pt x="144" y="2229"/>
                  </a:lnTo>
                  <a:lnTo>
                    <a:pt x="149" y="2235"/>
                  </a:lnTo>
                  <a:lnTo>
                    <a:pt x="152" y="2235"/>
                  </a:lnTo>
                  <a:lnTo>
                    <a:pt x="155" y="2236"/>
                  </a:lnTo>
                  <a:lnTo>
                    <a:pt x="160" y="2238"/>
                  </a:lnTo>
                  <a:lnTo>
                    <a:pt x="164" y="2237"/>
                  </a:lnTo>
                  <a:lnTo>
                    <a:pt x="165" y="2235"/>
                  </a:lnTo>
                  <a:lnTo>
                    <a:pt x="165" y="2231"/>
                  </a:lnTo>
                  <a:lnTo>
                    <a:pt x="165" y="2229"/>
                  </a:lnTo>
                  <a:lnTo>
                    <a:pt x="165" y="2226"/>
                  </a:lnTo>
                  <a:lnTo>
                    <a:pt x="167" y="2218"/>
                  </a:lnTo>
                  <a:lnTo>
                    <a:pt x="170" y="2215"/>
                  </a:lnTo>
                  <a:lnTo>
                    <a:pt x="173" y="2215"/>
                  </a:lnTo>
                  <a:lnTo>
                    <a:pt x="175" y="2214"/>
                  </a:lnTo>
                  <a:lnTo>
                    <a:pt x="181" y="2212"/>
                  </a:lnTo>
                  <a:lnTo>
                    <a:pt x="183" y="2212"/>
                  </a:lnTo>
                  <a:lnTo>
                    <a:pt x="184" y="2211"/>
                  </a:lnTo>
                  <a:lnTo>
                    <a:pt x="185" y="2209"/>
                  </a:lnTo>
                  <a:lnTo>
                    <a:pt x="187" y="2206"/>
                  </a:lnTo>
                  <a:lnTo>
                    <a:pt x="191" y="2206"/>
                  </a:lnTo>
                  <a:lnTo>
                    <a:pt x="193" y="2209"/>
                  </a:lnTo>
                  <a:lnTo>
                    <a:pt x="198" y="2209"/>
                  </a:lnTo>
                  <a:lnTo>
                    <a:pt x="199" y="2209"/>
                  </a:lnTo>
                  <a:lnTo>
                    <a:pt x="200" y="2210"/>
                  </a:lnTo>
                  <a:lnTo>
                    <a:pt x="200" y="2210"/>
                  </a:lnTo>
                  <a:lnTo>
                    <a:pt x="199" y="2207"/>
                  </a:lnTo>
                  <a:lnTo>
                    <a:pt x="195" y="2202"/>
                  </a:lnTo>
                  <a:lnTo>
                    <a:pt x="192" y="2196"/>
                  </a:lnTo>
                  <a:lnTo>
                    <a:pt x="190" y="2197"/>
                  </a:lnTo>
                  <a:lnTo>
                    <a:pt x="186" y="2195"/>
                  </a:lnTo>
                  <a:lnTo>
                    <a:pt x="183" y="2196"/>
                  </a:lnTo>
                  <a:lnTo>
                    <a:pt x="186" y="2195"/>
                  </a:lnTo>
                  <a:lnTo>
                    <a:pt x="188" y="2195"/>
                  </a:lnTo>
                  <a:lnTo>
                    <a:pt x="192" y="2195"/>
                  </a:lnTo>
                  <a:lnTo>
                    <a:pt x="192" y="2193"/>
                  </a:lnTo>
                  <a:lnTo>
                    <a:pt x="190" y="2184"/>
                  </a:lnTo>
                  <a:lnTo>
                    <a:pt x="187" y="2185"/>
                  </a:lnTo>
                  <a:lnTo>
                    <a:pt x="186" y="2186"/>
                  </a:lnTo>
                  <a:lnTo>
                    <a:pt x="186" y="2186"/>
                  </a:lnTo>
                  <a:lnTo>
                    <a:pt x="187" y="2185"/>
                  </a:lnTo>
                  <a:lnTo>
                    <a:pt x="188" y="2184"/>
                  </a:lnTo>
                  <a:lnTo>
                    <a:pt x="191" y="2178"/>
                  </a:lnTo>
                  <a:lnTo>
                    <a:pt x="192" y="2176"/>
                  </a:lnTo>
                  <a:lnTo>
                    <a:pt x="193" y="2172"/>
                  </a:lnTo>
                  <a:lnTo>
                    <a:pt x="199" y="2170"/>
                  </a:lnTo>
                  <a:lnTo>
                    <a:pt x="198" y="2167"/>
                  </a:lnTo>
                  <a:lnTo>
                    <a:pt x="193" y="2167"/>
                  </a:lnTo>
                  <a:lnTo>
                    <a:pt x="193" y="2167"/>
                  </a:lnTo>
                  <a:lnTo>
                    <a:pt x="192" y="2167"/>
                  </a:lnTo>
                  <a:lnTo>
                    <a:pt x="193" y="2167"/>
                  </a:lnTo>
                  <a:lnTo>
                    <a:pt x="196" y="2166"/>
                  </a:lnTo>
                  <a:lnTo>
                    <a:pt x="196" y="2164"/>
                  </a:lnTo>
                  <a:lnTo>
                    <a:pt x="196" y="2162"/>
                  </a:lnTo>
                  <a:lnTo>
                    <a:pt x="195" y="2162"/>
                  </a:lnTo>
                  <a:lnTo>
                    <a:pt x="196" y="2162"/>
                  </a:lnTo>
                  <a:lnTo>
                    <a:pt x="199" y="2167"/>
                  </a:lnTo>
                  <a:lnTo>
                    <a:pt x="201" y="2169"/>
                  </a:lnTo>
                  <a:lnTo>
                    <a:pt x="204" y="2168"/>
                  </a:lnTo>
                  <a:lnTo>
                    <a:pt x="207" y="2167"/>
                  </a:lnTo>
                  <a:lnTo>
                    <a:pt x="209" y="2164"/>
                  </a:lnTo>
                  <a:lnTo>
                    <a:pt x="210" y="2156"/>
                  </a:lnTo>
                  <a:lnTo>
                    <a:pt x="210" y="2153"/>
                  </a:lnTo>
                  <a:lnTo>
                    <a:pt x="211" y="2151"/>
                  </a:lnTo>
                  <a:lnTo>
                    <a:pt x="212" y="2149"/>
                  </a:lnTo>
                  <a:lnTo>
                    <a:pt x="213" y="2147"/>
                  </a:lnTo>
                  <a:lnTo>
                    <a:pt x="216" y="2146"/>
                  </a:lnTo>
                  <a:lnTo>
                    <a:pt x="218" y="2143"/>
                  </a:lnTo>
                  <a:lnTo>
                    <a:pt x="226" y="2138"/>
                  </a:lnTo>
                  <a:lnTo>
                    <a:pt x="228" y="2137"/>
                  </a:lnTo>
                  <a:lnTo>
                    <a:pt x="230" y="2135"/>
                  </a:lnTo>
                  <a:lnTo>
                    <a:pt x="234" y="2133"/>
                  </a:lnTo>
                  <a:lnTo>
                    <a:pt x="236" y="2130"/>
                  </a:lnTo>
                  <a:lnTo>
                    <a:pt x="234" y="2127"/>
                  </a:lnTo>
                  <a:lnTo>
                    <a:pt x="228" y="2129"/>
                  </a:lnTo>
                  <a:lnTo>
                    <a:pt x="227" y="2129"/>
                  </a:lnTo>
                  <a:lnTo>
                    <a:pt x="230" y="2128"/>
                  </a:lnTo>
                  <a:lnTo>
                    <a:pt x="233" y="2127"/>
                  </a:lnTo>
                  <a:lnTo>
                    <a:pt x="235" y="2125"/>
                  </a:lnTo>
                  <a:lnTo>
                    <a:pt x="236" y="2119"/>
                  </a:lnTo>
                  <a:lnTo>
                    <a:pt x="235" y="2117"/>
                  </a:lnTo>
                  <a:lnTo>
                    <a:pt x="233" y="2115"/>
                  </a:lnTo>
                  <a:lnTo>
                    <a:pt x="230" y="2116"/>
                  </a:lnTo>
                  <a:lnTo>
                    <a:pt x="222" y="2115"/>
                  </a:lnTo>
                  <a:lnTo>
                    <a:pt x="219" y="2111"/>
                  </a:lnTo>
                  <a:lnTo>
                    <a:pt x="213" y="2107"/>
                  </a:lnTo>
                  <a:lnTo>
                    <a:pt x="212" y="2104"/>
                  </a:lnTo>
                  <a:lnTo>
                    <a:pt x="211" y="2101"/>
                  </a:lnTo>
                  <a:lnTo>
                    <a:pt x="211" y="2099"/>
                  </a:lnTo>
                  <a:lnTo>
                    <a:pt x="211" y="2096"/>
                  </a:lnTo>
                  <a:lnTo>
                    <a:pt x="215" y="2092"/>
                  </a:lnTo>
                  <a:lnTo>
                    <a:pt x="218" y="2086"/>
                  </a:lnTo>
                  <a:lnTo>
                    <a:pt x="221" y="2083"/>
                  </a:lnTo>
                  <a:lnTo>
                    <a:pt x="224" y="2083"/>
                  </a:lnTo>
                  <a:lnTo>
                    <a:pt x="226" y="2082"/>
                  </a:lnTo>
                  <a:lnTo>
                    <a:pt x="229" y="2079"/>
                  </a:lnTo>
                  <a:lnTo>
                    <a:pt x="233" y="2079"/>
                  </a:lnTo>
                  <a:lnTo>
                    <a:pt x="238" y="2081"/>
                  </a:lnTo>
                  <a:lnTo>
                    <a:pt x="238" y="2079"/>
                  </a:lnTo>
                  <a:lnTo>
                    <a:pt x="237" y="2077"/>
                  </a:lnTo>
                  <a:lnTo>
                    <a:pt x="237" y="2075"/>
                  </a:lnTo>
                  <a:lnTo>
                    <a:pt x="241" y="2073"/>
                  </a:lnTo>
                  <a:lnTo>
                    <a:pt x="242" y="2070"/>
                  </a:lnTo>
                  <a:lnTo>
                    <a:pt x="243" y="2067"/>
                  </a:lnTo>
                  <a:lnTo>
                    <a:pt x="244" y="2065"/>
                  </a:lnTo>
                  <a:lnTo>
                    <a:pt x="242" y="2059"/>
                  </a:lnTo>
                  <a:lnTo>
                    <a:pt x="243" y="2057"/>
                  </a:lnTo>
                  <a:lnTo>
                    <a:pt x="245" y="2053"/>
                  </a:lnTo>
                  <a:lnTo>
                    <a:pt x="246" y="2051"/>
                  </a:lnTo>
                  <a:lnTo>
                    <a:pt x="249" y="2049"/>
                  </a:lnTo>
                  <a:lnTo>
                    <a:pt x="254" y="2048"/>
                  </a:lnTo>
                  <a:lnTo>
                    <a:pt x="249" y="2043"/>
                  </a:lnTo>
                  <a:lnTo>
                    <a:pt x="247" y="2041"/>
                  </a:lnTo>
                  <a:lnTo>
                    <a:pt x="252" y="2039"/>
                  </a:lnTo>
                  <a:lnTo>
                    <a:pt x="255" y="2039"/>
                  </a:lnTo>
                  <a:lnTo>
                    <a:pt x="258" y="2041"/>
                  </a:lnTo>
                  <a:lnTo>
                    <a:pt x="258" y="2044"/>
                  </a:lnTo>
                  <a:lnTo>
                    <a:pt x="261" y="2044"/>
                  </a:lnTo>
                  <a:lnTo>
                    <a:pt x="263" y="2043"/>
                  </a:lnTo>
                  <a:lnTo>
                    <a:pt x="266" y="2041"/>
                  </a:lnTo>
                  <a:lnTo>
                    <a:pt x="266" y="2038"/>
                  </a:lnTo>
                  <a:lnTo>
                    <a:pt x="266" y="2035"/>
                  </a:lnTo>
                  <a:lnTo>
                    <a:pt x="264" y="2033"/>
                  </a:lnTo>
                  <a:lnTo>
                    <a:pt x="262" y="2032"/>
                  </a:lnTo>
                  <a:lnTo>
                    <a:pt x="259" y="2033"/>
                  </a:lnTo>
                  <a:lnTo>
                    <a:pt x="256" y="2033"/>
                  </a:lnTo>
                  <a:lnTo>
                    <a:pt x="259" y="2034"/>
                  </a:lnTo>
                  <a:lnTo>
                    <a:pt x="259" y="2036"/>
                  </a:lnTo>
                  <a:lnTo>
                    <a:pt x="253" y="2036"/>
                  </a:lnTo>
                  <a:lnTo>
                    <a:pt x="254" y="2034"/>
                  </a:lnTo>
                  <a:lnTo>
                    <a:pt x="249" y="2033"/>
                  </a:lnTo>
                  <a:lnTo>
                    <a:pt x="245" y="2030"/>
                  </a:lnTo>
                  <a:lnTo>
                    <a:pt x="246" y="2022"/>
                  </a:lnTo>
                  <a:lnTo>
                    <a:pt x="244" y="2016"/>
                  </a:lnTo>
                  <a:lnTo>
                    <a:pt x="244" y="2014"/>
                  </a:lnTo>
                  <a:lnTo>
                    <a:pt x="245" y="2012"/>
                  </a:lnTo>
                  <a:lnTo>
                    <a:pt x="247" y="2009"/>
                  </a:lnTo>
                  <a:lnTo>
                    <a:pt x="250" y="2009"/>
                  </a:lnTo>
                  <a:lnTo>
                    <a:pt x="253" y="2012"/>
                  </a:lnTo>
                  <a:lnTo>
                    <a:pt x="261" y="2014"/>
                  </a:lnTo>
                  <a:lnTo>
                    <a:pt x="263" y="2016"/>
                  </a:lnTo>
                  <a:lnTo>
                    <a:pt x="269" y="2016"/>
                  </a:lnTo>
                  <a:lnTo>
                    <a:pt x="275" y="2015"/>
                  </a:lnTo>
                  <a:lnTo>
                    <a:pt x="283" y="2012"/>
                  </a:lnTo>
                  <a:lnTo>
                    <a:pt x="284" y="2009"/>
                  </a:lnTo>
                  <a:lnTo>
                    <a:pt x="284" y="2006"/>
                  </a:lnTo>
                  <a:lnTo>
                    <a:pt x="281" y="2004"/>
                  </a:lnTo>
                  <a:lnTo>
                    <a:pt x="281" y="2001"/>
                  </a:lnTo>
                  <a:lnTo>
                    <a:pt x="284" y="1995"/>
                  </a:lnTo>
                  <a:lnTo>
                    <a:pt x="286" y="1995"/>
                  </a:lnTo>
                  <a:lnTo>
                    <a:pt x="287" y="1989"/>
                  </a:lnTo>
                  <a:lnTo>
                    <a:pt x="284" y="1987"/>
                  </a:lnTo>
                  <a:lnTo>
                    <a:pt x="287" y="1988"/>
                  </a:lnTo>
                  <a:lnTo>
                    <a:pt x="284" y="1985"/>
                  </a:lnTo>
                  <a:lnTo>
                    <a:pt x="283" y="1983"/>
                  </a:lnTo>
                  <a:lnTo>
                    <a:pt x="283" y="1980"/>
                  </a:lnTo>
                  <a:lnTo>
                    <a:pt x="286" y="1979"/>
                  </a:lnTo>
                  <a:lnTo>
                    <a:pt x="288" y="1981"/>
                  </a:lnTo>
                  <a:lnTo>
                    <a:pt x="292" y="1981"/>
                  </a:lnTo>
                  <a:lnTo>
                    <a:pt x="294" y="1981"/>
                  </a:lnTo>
                  <a:lnTo>
                    <a:pt x="296" y="1981"/>
                  </a:lnTo>
                  <a:lnTo>
                    <a:pt x="299" y="1981"/>
                  </a:lnTo>
                  <a:lnTo>
                    <a:pt x="304" y="1981"/>
                  </a:lnTo>
                  <a:lnTo>
                    <a:pt x="315" y="1979"/>
                  </a:lnTo>
                  <a:lnTo>
                    <a:pt x="329" y="1976"/>
                  </a:lnTo>
                  <a:lnTo>
                    <a:pt x="339" y="1972"/>
                  </a:lnTo>
                  <a:lnTo>
                    <a:pt x="346" y="1970"/>
                  </a:lnTo>
                  <a:lnTo>
                    <a:pt x="348" y="1967"/>
                  </a:lnTo>
                  <a:lnTo>
                    <a:pt x="348" y="1964"/>
                  </a:lnTo>
                  <a:lnTo>
                    <a:pt x="350" y="1962"/>
                  </a:lnTo>
                  <a:lnTo>
                    <a:pt x="355" y="1956"/>
                  </a:lnTo>
                  <a:lnTo>
                    <a:pt x="358" y="1950"/>
                  </a:lnTo>
                  <a:lnTo>
                    <a:pt x="361" y="1948"/>
                  </a:lnTo>
                  <a:lnTo>
                    <a:pt x="361" y="1942"/>
                  </a:lnTo>
                  <a:lnTo>
                    <a:pt x="360" y="1939"/>
                  </a:lnTo>
                  <a:lnTo>
                    <a:pt x="360" y="1939"/>
                  </a:lnTo>
                  <a:lnTo>
                    <a:pt x="356" y="1939"/>
                  </a:lnTo>
                  <a:lnTo>
                    <a:pt x="354" y="1938"/>
                  </a:lnTo>
                  <a:lnTo>
                    <a:pt x="352" y="1935"/>
                  </a:lnTo>
                  <a:lnTo>
                    <a:pt x="350" y="1932"/>
                  </a:lnTo>
                  <a:lnTo>
                    <a:pt x="352" y="1930"/>
                  </a:lnTo>
                  <a:lnTo>
                    <a:pt x="354" y="1924"/>
                  </a:lnTo>
                  <a:lnTo>
                    <a:pt x="353" y="1922"/>
                  </a:lnTo>
                  <a:lnTo>
                    <a:pt x="349" y="1919"/>
                  </a:lnTo>
                  <a:lnTo>
                    <a:pt x="345" y="1916"/>
                  </a:lnTo>
                  <a:lnTo>
                    <a:pt x="340" y="1914"/>
                  </a:lnTo>
                  <a:lnTo>
                    <a:pt x="337" y="1912"/>
                  </a:lnTo>
                  <a:lnTo>
                    <a:pt x="335" y="1907"/>
                  </a:lnTo>
                  <a:lnTo>
                    <a:pt x="337" y="1906"/>
                  </a:lnTo>
                  <a:lnTo>
                    <a:pt x="337" y="1906"/>
                  </a:lnTo>
                  <a:lnTo>
                    <a:pt x="336" y="1903"/>
                  </a:lnTo>
                  <a:lnTo>
                    <a:pt x="336" y="1901"/>
                  </a:lnTo>
                  <a:lnTo>
                    <a:pt x="335" y="1897"/>
                  </a:lnTo>
                  <a:lnTo>
                    <a:pt x="335" y="1895"/>
                  </a:lnTo>
                  <a:lnTo>
                    <a:pt x="337" y="1891"/>
                  </a:lnTo>
                  <a:lnTo>
                    <a:pt x="337" y="1889"/>
                  </a:lnTo>
                  <a:lnTo>
                    <a:pt x="339" y="1889"/>
                  </a:lnTo>
                  <a:lnTo>
                    <a:pt x="339" y="1888"/>
                  </a:lnTo>
                  <a:lnTo>
                    <a:pt x="340" y="1886"/>
                  </a:lnTo>
                  <a:lnTo>
                    <a:pt x="339" y="1880"/>
                  </a:lnTo>
                  <a:lnTo>
                    <a:pt x="339" y="1879"/>
                  </a:lnTo>
                  <a:lnTo>
                    <a:pt x="341" y="1887"/>
                  </a:lnTo>
                  <a:lnTo>
                    <a:pt x="339" y="1888"/>
                  </a:lnTo>
                  <a:lnTo>
                    <a:pt x="339" y="1889"/>
                  </a:lnTo>
                  <a:lnTo>
                    <a:pt x="339" y="1889"/>
                  </a:lnTo>
                  <a:lnTo>
                    <a:pt x="337" y="1894"/>
                  </a:lnTo>
                  <a:lnTo>
                    <a:pt x="337" y="1899"/>
                  </a:lnTo>
                  <a:lnTo>
                    <a:pt x="337" y="1901"/>
                  </a:lnTo>
                  <a:lnTo>
                    <a:pt x="339" y="1904"/>
                  </a:lnTo>
                  <a:lnTo>
                    <a:pt x="344" y="1908"/>
                  </a:lnTo>
                  <a:lnTo>
                    <a:pt x="345" y="1911"/>
                  </a:lnTo>
                  <a:lnTo>
                    <a:pt x="347" y="1910"/>
                  </a:lnTo>
                  <a:lnTo>
                    <a:pt x="354" y="1910"/>
                  </a:lnTo>
                  <a:lnTo>
                    <a:pt x="360" y="1914"/>
                  </a:lnTo>
                  <a:lnTo>
                    <a:pt x="365" y="1915"/>
                  </a:lnTo>
                  <a:lnTo>
                    <a:pt x="367" y="1918"/>
                  </a:lnTo>
                  <a:lnTo>
                    <a:pt x="372" y="1915"/>
                  </a:lnTo>
                  <a:lnTo>
                    <a:pt x="374" y="1914"/>
                  </a:lnTo>
                  <a:lnTo>
                    <a:pt x="379" y="1915"/>
                  </a:lnTo>
                  <a:lnTo>
                    <a:pt x="381" y="1916"/>
                  </a:lnTo>
                  <a:lnTo>
                    <a:pt x="383" y="1918"/>
                  </a:lnTo>
                  <a:lnTo>
                    <a:pt x="387" y="1916"/>
                  </a:lnTo>
                  <a:lnTo>
                    <a:pt x="396" y="1913"/>
                  </a:lnTo>
                  <a:lnTo>
                    <a:pt x="398" y="1910"/>
                  </a:lnTo>
                  <a:lnTo>
                    <a:pt x="400" y="1908"/>
                  </a:lnTo>
                  <a:lnTo>
                    <a:pt x="401" y="1906"/>
                  </a:lnTo>
                  <a:lnTo>
                    <a:pt x="404" y="1903"/>
                  </a:lnTo>
                  <a:lnTo>
                    <a:pt x="405" y="1901"/>
                  </a:lnTo>
                  <a:lnTo>
                    <a:pt x="406" y="1898"/>
                  </a:lnTo>
                  <a:lnTo>
                    <a:pt x="414" y="1891"/>
                  </a:lnTo>
                  <a:lnTo>
                    <a:pt x="416" y="1889"/>
                  </a:lnTo>
                  <a:lnTo>
                    <a:pt x="417" y="1886"/>
                  </a:lnTo>
                  <a:lnTo>
                    <a:pt x="418" y="1884"/>
                  </a:lnTo>
                  <a:lnTo>
                    <a:pt x="418" y="1881"/>
                  </a:lnTo>
                  <a:lnTo>
                    <a:pt x="423" y="1873"/>
                  </a:lnTo>
                  <a:lnTo>
                    <a:pt x="422" y="1870"/>
                  </a:lnTo>
                  <a:lnTo>
                    <a:pt x="422" y="1869"/>
                  </a:lnTo>
                  <a:lnTo>
                    <a:pt x="424" y="1863"/>
                  </a:lnTo>
                  <a:lnTo>
                    <a:pt x="427" y="1861"/>
                  </a:lnTo>
                  <a:lnTo>
                    <a:pt x="429" y="1861"/>
                  </a:lnTo>
                  <a:lnTo>
                    <a:pt x="431" y="1859"/>
                  </a:lnTo>
                  <a:lnTo>
                    <a:pt x="432" y="1856"/>
                  </a:lnTo>
                  <a:lnTo>
                    <a:pt x="434" y="1851"/>
                  </a:lnTo>
                  <a:lnTo>
                    <a:pt x="437" y="1847"/>
                  </a:lnTo>
                  <a:lnTo>
                    <a:pt x="434" y="1845"/>
                  </a:lnTo>
                  <a:lnTo>
                    <a:pt x="434" y="1843"/>
                  </a:lnTo>
                  <a:lnTo>
                    <a:pt x="435" y="1843"/>
                  </a:lnTo>
                  <a:lnTo>
                    <a:pt x="435" y="1845"/>
                  </a:lnTo>
                  <a:lnTo>
                    <a:pt x="439" y="1848"/>
                  </a:lnTo>
                  <a:lnTo>
                    <a:pt x="441" y="1846"/>
                  </a:lnTo>
                  <a:lnTo>
                    <a:pt x="444" y="1845"/>
                  </a:lnTo>
                  <a:lnTo>
                    <a:pt x="444" y="1848"/>
                  </a:lnTo>
                  <a:lnTo>
                    <a:pt x="442" y="1852"/>
                  </a:lnTo>
                  <a:lnTo>
                    <a:pt x="442" y="1854"/>
                  </a:lnTo>
                  <a:lnTo>
                    <a:pt x="439" y="1855"/>
                  </a:lnTo>
                  <a:lnTo>
                    <a:pt x="439" y="1858"/>
                  </a:lnTo>
                  <a:lnTo>
                    <a:pt x="435" y="1858"/>
                  </a:lnTo>
                  <a:lnTo>
                    <a:pt x="437" y="1861"/>
                  </a:lnTo>
                  <a:lnTo>
                    <a:pt x="435" y="1863"/>
                  </a:lnTo>
                  <a:lnTo>
                    <a:pt x="432" y="1864"/>
                  </a:lnTo>
                  <a:lnTo>
                    <a:pt x="431" y="1868"/>
                  </a:lnTo>
                  <a:lnTo>
                    <a:pt x="425" y="1870"/>
                  </a:lnTo>
                  <a:lnTo>
                    <a:pt x="424" y="1872"/>
                  </a:lnTo>
                  <a:lnTo>
                    <a:pt x="432" y="1868"/>
                  </a:lnTo>
                  <a:lnTo>
                    <a:pt x="438" y="1863"/>
                  </a:lnTo>
                  <a:lnTo>
                    <a:pt x="442" y="1858"/>
                  </a:lnTo>
                  <a:lnTo>
                    <a:pt x="447" y="1851"/>
                  </a:lnTo>
                  <a:lnTo>
                    <a:pt x="448" y="1847"/>
                  </a:lnTo>
                  <a:lnTo>
                    <a:pt x="451" y="1839"/>
                  </a:lnTo>
                  <a:lnTo>
                    <a:pt x="455" y="1834"/>
                  </a:lnTo>
                  <a:lnTo>
                    <a:pt x="460" y="1826"/>
                  </a:lnTo>
                  <a:lnTo>
                    <a:pt x="468" y="1820"/>
                  </a:lnTo>
                  <a:lnTo>
                    <a:pt x="468" y="1819"/>
                  </a:lnTo>
                  <a:lnTo>
                    <a:pt x="468" y="1818"/>
                  </a:lnTo>
                  <a:lnTo>
                    <a:pt x="469" y="1819"/>
                  </a:lnTo>
                  <a:lnTo>
                    <a:pt x="471" y="1817"/>
                  </a:lnTo>
                  <a:lnTo>
                    <a:pt x="471" y="1813"/>
                  </a:lnTo>
                  <a:lnTo>
                    <a:pt x="471" y="1811"/>
                  </a:lnTo>
                  <a:lnTo>
                    <a:pt x="472" y="1798"/>
                  </a:lnTo>
                  <a:lnTo>
                    <a:pt x="471" y="1792"/>
                  </a:lnTo>
                  <a:lnTo>
                    <a:pt x="471" y="1788"/>
                  </a:lnTo>
                  <a:lnTo>
                    <a:pt x="469" y="1785"/>
                  </a:lnTo>
                  <a:lnTo>
                    <a:pt x="472" y="1783"/>
                  </a:lnTo>
                  <a:lnTo>
                    <a:pt x="472" y="1779"/>
                  </a:lnTo>
                  <a:lnTo>
                    <a:pt x="474" y="1777"/>
                  </a:lnTo>
                  <a:lnTo>
                    <a:pt x="473" y="1777"/>
                  </a:lnTo>
                  <a:lnTo>
                    <a:pt x="472" y="1776"/>
                  </a:lnTo>
                  <a:lnTo>
                    <a:pt x="469" y="1775"/>
                  </a:lnTo>
                  <a:lnTo>
                    <a:pt x="472" y="1775"/>
                  </a:lnTo>
                  <a:lnTo>
                    <a:pt x="473" y="1773"/>
                  </a:lnTo>
                  <a:lnTo>
                    <a:pt x="478" y="1773"/>
                  </a:lnTo>
                  <a:lnTo>
                    <a:pt x="480" y="1771"/>
                  </a:lnTo>
                  <a:lnTo>
                    <a:pt x="478" y="1768"/>
                  </a:lnTo>
                  <a:lnTo>
                    <a:pt x="480" y="1769"/>
                  </a:lnTo>
                  <a:lnTo>
                    <a:pt x="482" y="1766"/>
                  </a:lnTo>
                  <a:lnTo>
                    <a:pt x="485" y="1765"/>
                  </a:lnTo>
                  <a:lnTo>
                    <a:pt x="491" y="1761"/>
                  </a:lnTo>
                  <a:lnTo>
                    <a:pt x="495" y="1757"/>
                  </a:lnTo>
                  <a:lnTo>
                    <a:pt x="499" y="1754"/>
                  </a:lnTo>
                  <a:lnTo>
                    <a:pt x="501" y="1753"/>
                  </a:lnTo>
                  <a:lnTo>
                    <a:pt x="501" y="1752"/>
                  </a:lnTo>
                  <a:lnTo>
                    <a:pt x="502" y="1752"/>
                  </a:lnTo>
                  <a:lnTo>
                    <a:pt x="503" y="1753"/>
                  </a:lnTo>
                  <a:lnTo>
                    <a:pt x="506" y="1751"/>
                  </a:lnTo>
                  <a:lnTo>
                    <a:pt x="508" y="1750"/>
                  </a:lnTo>
                  <a:lnTo>
                    <a:pt x="511" y="1750"/>
                  </a:lnTo>
                  <a:lnTo>
                    <a:pt x="514" y="1751"/>
                  </a:lnTo>
                  <a:lnTo>
                    <a:pt x="515" y="1749"/>
                  </a:lnTo>
                  <a:lnTo>
                    <a:pt x="517" y="1748"/>
                  </a:lnTo>
                  <a:lnTo>
                    <a:pt x="520" y="1745"/>
                  </a:lnTo>
                  <a:lnTo>
                    <a:pt x="520" y="1745"/>
                  </a:lnTo>
                  <a:lnTo>
                    <a:pt x="527" y="1743"/>
                  </a:lnTo>
                  <a:lnTo>
                    <a:pt x="525" y="1741"/>
                  </a:lnTo>
                  <a:lnTo>
                    <a:pt x="529" y="1739"/>
                  </a:lnTo>
                  <a:lnTo>
                    <a:pt x="533" y="1740"/>
                  </a:lnTo>
                  <a:lnTo>
                    <a:pt x="535" y="1737"/>
                  </a:lnTo>
                  <a:lnTo>
                    <a:pt x="538" y="1739"/>
                  </a:lnTo>
                  <a:lnTo>
                    <a:pt x="540" y="1740"/>
                  </a:lnTo>
                  <a:lnTo>
                    <a:pt x="534" y="1741"/>
                  </a:lnTo>
                  <a:lnTo>
                    <a:pt x="545" y="1739"/>
                  </a:lnTo>
                  <a:lnTo>
                    <a:pt x="545" y="1737"/>
                  </a:lnTo>
                  <a:lnTo>
                    <a:pt x="544" y="1737"/>
                  </a:lnTo>
                  <a:lnTo>
                    <a:pt x="546" y="1734"/>
                  </a:lnTo>
                  <a:lnTo>
                    <a:pt x="546" y="1737"/>
                  </a:lnTo>
                  <a:lnTo>
                    <a:pt x="549" y="1739"/>
                  </a:lnTo>
                  <a:lnTo>
                    <a:pt x="555" y="1739"/>
                  </a:lnTo>
                  <a:lnTo>
                    <a:pt x="561" y="1739"/>
                  </a:lnTo>
                  <a:lnTo>
                    <a:pt x="561" y="1739"/>
                  </a:lnTo>
                  <a:lnTo>
                    <a:pt x="562" y="1736"/>
                  </a:lnTo>
                  <a:lnTo>
                    <a:pt x="561" y="1734"/>
                  </a:lnTo>
                  <a:lnTo>
                    <a:pt x="563" y="1731"/>
                  </a:lnTo>
                  <a:lnTo>
                    <a:pt x="567" y="1728"/>
                  </a:lnTo>
                  <a:lnTo>
                    <a:pt x="575" y="1725"/>
                  </a:lnTo>
                  <a:lnTo>
                    <a:pt x="575" y="1723"/>
                  </a:lnTo>
                  <a:lnTo>
                    <a:pt x="575" y="1716"/>
                  </a:lnTo>
                  <a:lnTo>
                    <a:pt x="577" y="1711"/>
                  </a:lnTo>
                  <a:lnTo>
                    <a:pt x="578" y="1709"/>
                  </a:lnTo>
                  <a:lnTo>
                    <a:pt x="580" y="1708"/>
                  </a:lnTo>
                  <a:lnTo>
                    <a:pt x="583" y="1705"/>
                  </a:lnTo>
                  <a:lnTo>
                    <a:pt x="585" y="1702"/>
                  </a:lnTo>
                  <a:lnTo>
                    <a:pt x="584" y="1700"/>
                  </a:lnTo>
                  <a:lnTo>
                    <a:pt x="586" y="1700"/>
                  </a:lnTo>
                  <a:lnTo>
                    <a:pt x="587" y="1696"/>
                  </a:lnTo>
                  <a:lnTo>
                    <a:pt x="588" y="1692"/>
                  </a:lnTo>
                  <a:lnTo>
                    <a:pt x="592" y="1691"/>
                  </a:lnTo>
                  <a:lnTo>
                    <a:pt x="593" y="1689"/>
                  </a:lnTo>
                  <a:lnTo>
                    <a:pt x="593" y="1685"/>
                  </a:lnTo>
                  <a:lnTo>
                    <a:pt x="592" y="1677"/>
                  </a:lnTo>
                  <a:lnTo>
                    <a:pt x="593" y="1672"/>
                  </a:lnTo>
                  <a:lnTo>
                    <a:pt x="595" y="1670"/>
                  </a:lnTo>
                  <a:lnTo>
                    <a:pt x="601" y="1664"/>
                  </a:lnTo>
                  <a:lnTo>
                    <a:pt x="600" y="1656"/>
                  </a:lnTo>
                  <a:lnTo>
                    <a:pt x="602" y="1645"/>
                  </a:lnTo>
                  <a:lnTo>
                    <a:pt x="604" y="1638"/>
                  </a:lnTo>
                  <a:lnTo>
                    <a:pt x="603" y="1634"/>
                  </a:lnTo>
                  <a:lnTo>
                    <a:pt x="602" y="1622"/>
                  </a:lnTo>
                  <a:lnTo>
                    <a:pt x="603" y="1615"/>
                  </a:lnTo>
                  <a:lnTo>
                    <a:pt x="603" y="1613"/>
                  </a:lnTo>
                  <a:lnTo>
                    <a:pt x="602" y="1610"/>
                  </a:lnTo>
                  <a:lnTo>
                    <a:pt x="603" y="1607"/>
                  </a:lnTo>
                  <a:lnTo>
                    <a:pt x="602" y="1604"/>
                  </a:lnTo>
                  <a:lnTo>
                    <a:pt x="601" y="1606"/>
                  </a:lnTo>
                  <a:lnTo>
                    <a:pt x="602" y="1603"/>
                  </a:lnTo>
                  <a:lnTo>
                    <a:pt x="605" y="1598"/>
                  </a:lnTo>
                  <a:lnTo>
                    <a:pt x="604" y="1594"/>
                  </a:lnTo>
                  <a:lnTo>
                    <a:pt x="606" y="1594"/>
                  </a:lnTo>
                  <a:lnTo>
                    <a:pt x="609" y="1594"/>
                  </a:lnTo>
                  <a:lnTo>
                    <a:pt x="610" y="1597"/>
                  </a:lnTo>
                  <a:lnTo>
                    <a:pt x="612" y="1596"/>
                  </a:lnTo>
                  <a:lnTo>
                    <a:pt x="614" y="1594"/>
                  </a:lnTo>
                  <a:lnTo>
                    <a:pt x="620" y="1586"/>
                  </a:lnTo>
                  <a:lnTo>
                    <a:pt x="623" y="1579"/>
                  </a:lnTo>
                  <a:lnTo>
                    <a:pt x="625" y="1578"/>
                  </a:lnTo>
                  <a:lnTo>
                    <a:pt x="623" y="1577"/>
                  </a:lnTo>
                  <a:lnTo>
                    <a:pt x="625" y="1574"/>
                  </a:lnTo>
                  <a:lnTo>
                    <a:pt x="627" y="1573"/>
                  </a:lnTo>
                  <a:lnTo>
                    <a:pt x="626" y="1570"/>
                  </a:lnTo>
                  <a:lnTo>
                    <a:pt x="629" y="1570"/>
                  </a:lnTo>
                  <a:lnTo>
                    <a:pt x="628" y="1566"/>
                  </a:lnTo>
                  <a:lnTo>
                    <a:pt x="631" y="1568"/>
                  </a:lnTo>
                  <a:lnTo>
                    <a:pt x="636" y="1563"/>
                  </a:lnTo>
                  <a:lnTo>
                    <a:pt x="638" y="1563"/>
                  </a:lnTo>
                  <a:lnTo>
                    <a:pt x="639" y="1561"/>
                  </a:lnTo>
                  <a:lnTo>
                    <a:pt x="646" y="1553"/>
                  </a:lnTo>
                  <a:lnTo>
                    <a:pt x="646" y="1552"/>
                  </a:lnTo>
                  <a:lnTo>
                    <a:pt x="647" y="1552"/>
                  </a:lnTo>
                  <a:lnTo>
                    <a:pt x="647" y="1552"/>
                  </a:lnTo>
                  <a:lnTo>
                    <a:pt x="653" y="1546"/>
                  </a:lnTo>
                  <a:lnTo>
                    <a:pt x="655" y="1540"/>
                  </a:lnTo>
                  <a:lnTo>
                    <a:pt x="657" y="1536"/>
                  </a:lnTo>
                  <a:lnTo>
                    <a:pt x="657" y="1534"/>
                  </a:lnTo>
                  <a:lnTo>
                    <a:pt x="659" y="1529"/>
                  </a:lnTo>
                  <a:lnTo>
                    <a:pt x="660" y="1527"/>
                  </a:lnTo>
                  <a:lnTo>
                    <a:pt x="659" y="1526"/>
                  </a:lnTo>
                  <a:lnTo>
                    <a:pt x="660" y="1522"/>
                  </a:lnTo>
                  <a:lnTo>
                    <a:pt x="659" y="1522"/>
                  </a:lnTo>
                  <a:lnTo>
                    <a:pt x="660" y="1521"/>
                  </a:lnTo>
                  <a:lnTo>
                    <a:pt x="660" y="1518"/>
                  </a:lnTo>
                  <a:lnTo>
                    <a:pt x="660" y="1516"/>
                  </a:lnTo>
                  <a:lnTo>
                    <a:pt x="659" y="1517"/>
                  </a:lnTo>
                  <a:close/>
                  <a:moveTo>
                    <a:pt x="195" y="1646"/>
                  </a:moveTo>
                  <a:lnTo>
                    <a:pt x="193" y="1646"/>
                  </a:lnTo>
                  <a:lnTo>
                    <a:pt x="193" y="1646"/>
                  </a:lnTo>
                  <a:lnTo>
                    <a:pt x="194" y="1648"/>
                  </a:lnTo>
                  <a:lnTo>
                    <a:pt x="192" y="1648"/>
                  </a:lnTo>
                  <a:lnTo>
                    <a:pt x="192" y="1645"/>
                  </a:lnTo>
                  <a:lnTo>
                    <a:pt x="192" y="1642"/>
                  </a:lnTo>
                  <a:lnTo>
                    <a:pt x="191" y="1642"/>
                  </a:lnTo>
                  <a:lnTo>
                    <a:pt x="191" y="1642"/>
                  </a:lnTo>
                  <a:lnTo>
                    <a:pt x="187" y="1643"/>
                  </a:lnTo>
                  <a:lnTo>
                    <a:pt x="185" y="1642"/>
                  </a:lnTo>
                  <a:lnTo>
                    <a:pt x="186" y="1640"/>
                  </a:lnTo>
                  <a:lnTo>
                    <a:pt x="183" y="1639"/>
                  </a:lnTo>
                  <a:lnTo>
                    <a:pt x="181" y="1637"/>
                  </a:lnTo>
                  <a:lnTo>
                    <a:pt x="178" y="1638"/>
                  </a:lnTo>
                  <a:lnTo>
                    <a:pt x="178" y="1636"/>
                  </a:lnTo>
                  <a:lnTo>
                    <a:pt x="181" y="1636"/>
                  </a:lnTo>
                  <a:lnTo>
                    <a:pt x="179" y="1633"/>
                  </a:lnTo>
                  <a:lnTo>
                    <a:pt x="181" y="1630"/>
                  </a:lnTo>
                  <a:lnTo>
                    <a:pt x="184" y="1631"/>
                  </a:lnTo>
                  <a:lnTo>
                    <a:pt x="186" y="1632"/>
                  </a:lnTo>
                  <a:lnTo>
                    <a:pt x="187" y="1633"/>
                  </a:lnTo>
                  <a:lnTo>
                    <a:pt x="190" y="1634"/>
                  </a:lnTo>
                  <a:lnTo>
                    <a:pt x="192" y="1638"/>
                  </a:lnTo>
                  <a:lnTo>
                    <a:pt x="194" y="1639"/>
                  </a:lnTo>
                  <a:lnTo>
                    <a:pt x="193" y="1641"/>
                  </a:lnTo>
                  <a:lnTo>
                    <a:pt x="194" y="1642"/>
                  </a:lnTo>
                  <a:lnTo>
                    <a:pt x="196" y="1642"/>
                  </a:lnTo>
                  <a:lnTo>
                    <a:pt x="195" y="1646"/>
                  </a:lnTo>
                  <a:close/>
                  <a:moveTo>
                    <a:pt x="344" y="2192"/>
                  </a:moveTo>
                  <a:lnTo>
                    <a:pt x="340" y="2192"/>
                  </a:lnTo>
                  <a:lnTo>
                    <a:pt x="338" y="2193"/>
                  </a:lnTo>
                  <a:lnTo>
                    <a:pt x="339" y="2196"/>
                  </a:lnTo>
                  <a:lnTo>
                    <a:pt x="337" y="2193"/>
                  </a:lnTo>
                  <a:lnTo>
                    <a:pt x="336" y="2190"/>
                  </a:lnTo>
                  <a:lnTo>
                    <a:pt x="333" y="2190"/>
                  </a:lnTo>
                  <a:lnTo>
                    <a:pt x="331" y="2192"/>
                  </a:lnTo>
                  <a:lnTo>
                    <a:pt x="329" y="2194"/>
                  </a:lnTo>
                  <a:lnTo>
                    <a:pt x="327" y="2194"/>
                  </a:lnTo>
                  <a:lnTo>
                    <a:pt x="329" y="2196"/>
                  </a:lnTo>
                  <a:lnTo>
                    <a:pt x="329" y="2200"/>
                  </a:lnTo>
                  <a:lnTo>
                    <a:pt x="326" y="2197"/>
                  </a:lnTo>
                  <a:lnTo>
                    <a:pt x="323" y="2200"/>
                  </a:lnTo>
                  <a:lnTo>
                    <a:pt x="322" y="2202"/>
                  </a:lnTo>
                  <a:lnTo>
                    <a:pt x="319" y="2205"/>
                  </a:lnTo>
                  <a:lnTo>
                    <a:pt x="321" y="2207"/>
                  </a:lnTo>
                  <a:lnTo>
                    <a:pt x="323" y="2209"/>
                  </a:lnTo>
                  <a:lnTo>
                    <a:pt x="324" y="2205"/>
                  </a:lnTo>
                  <a:lnTo>
                    <a:pt x="327" y="2205"/>
                  </a:lnTo>
                  <a:lnTo>
                    <a:pt x="326" y="2203"/>
                  </a:lnTo>
                  <a:lnTo>
                    <a:pt x="328" y="2203"/>
                  </a:lnTo>
                  <a:lnTo>
                    <a:pt x="331" y="2204"/>
                  </a:lnTo>
                  <a:lnTo>
                    <a:pt x="333" y="2205"/>
                  </a:lnTo>
                  <a:lnTo>
                    <a:pt x="331" y="2202"/>
                  </a:lnTo>
                  <a:lnTo>
                    <a:pt x="329" y="2200"/>
                  </a:lnTo>
                  <a:lnTo>
                    <a:pt x="332" y="2201"/>
                  </a:lnTo>
                  <a:lnTo>
                    <a:pt x="335" y="2201"/>
                  </a:lnTo>
                  <a:lnTo>
                    <a:pt x="337" y="2201"/>
                  </a:lnTo>
                  <a:lnTo>
                    <a:pt x="339" y="2198"/>
                  </a:lnTo>
                  <a:lnTo>
                    <a:pt x="339" y="2198"/>
                  </a:lnTo>
                  <a:lnTo>
                    <a:pt x="343" y="2198"/>
                  </a:lnTo>
                  <a:lnTo>
                    <a:pt x="345" y="2196"/>
                  </a:lnTo>
                  <a:lnTo>
                    <a:pt x="343" y="2194"/>
                  </a:lnTo>
                  <a:lnTo>
                    <a:pt x="345" y="2194"/>
                  </a:lnTo>
                  <a:lnTo>
                    <a:pt x="344" y="2192"/>
                  </a:lnTo>
                  <a:close/>
                  <a:moveTo>
                    <a:pt x="444" y="1443"/>
                  </a:moveTo>
                  <a:lnTo>
                    <a:pt x="447" y="1444"/>
                  </a:lnTo>
                  <a:lnTo>
                    <a:pt x="448" y="1443"/>
                  </a:lnTo>
                  <a:lnTo>
                    <a:pt x="447" y="1443"/>
                  </a:lnTo>
                  <a:lnTo>
                    <a:pt x="449" y="1443"/>
                  </a:lnTo>
                  <a:lnTo>
                    <a:pt x="452" y="1443"/>
                  </a:lnTo>
                  <a:lnTo>
                    <a:pt x="455" y="1443"/>
                  </a:lnTo>
                  <a:lnTo>
                    <a:pt x="457" y="1443"/>
                  </a:lnTo>
                  <a:lnTo>
                    <a:pt x="460" y="1441"/>
                  </a:lnTo>
                  <a:lnTo>
                    <a:pt x="463" y="1441"/>
                  </a:lnTo>
                  <a:lnTo>
                    <a:pt x="465" y="1440"/>
                  </a:lnTo>
                  <a:lnTo>
                    <a:pt x="468" y="1437"/>
                  </a:lnTo>
                  <a:lnTo>
                    <a:pt x="468" y="1435"/>
                  </a:lnTo>
                  <a:lnTo>
                    <a:pt x="471" y="1433"/>
                  </a:lnTo>
                  <a:lnTo>
                    <a:pt x="472" y="1431"/>
                  </a:lnTo>
                  <a:lnTo>
                    <a:pt x="474" y="1425"/>
                  </a:lnTo>
                  <a:lnTo>
                    <a:pt x="472" y="1422"/>
                  </a:lnTo>
                  <a:lnTo>
                    <a:pt x="463" y="1420"/>
                  </a:lnTo>
                  <a:lnTo>
                    <a:pt x="460" y="1422"/>
                  </a:lnTo>
                  <a:lnTo>
                    <a:pt x="448" y="1420"/>
                  </a:lnTo>
                  <a:lnTo>
                    <a:pt x="444" y="1420"/>
                  </a:lnTo>
                  <a:lnTo>
                    <a:pt x="442" y="1424"/>
                  </a:lnTo>
                  <a:lnTo>
                    <a:pt x="442" y="1426"/>
                  </a:lnTo>
                  <a:lnTo>
                    <a:pt x="444" y="1428"/>
                  </a:lnTo>
                  <a:lnTo>
                    <a:pt x="442" y="1427"/>
                  </a:lnTo>
                  <a:lnTo>
                    <a:pt x="441" y="1428"/>
                  </a:lnTo>
                  <a:lnTo>
                    <a:pt x="442" y="1429"/>
                  </a:lnTo>
                  <a:lnTo>
                    <a:pt x="441" y="1431"/>
                  </a:lnTo>
                  <a:lnTo>
                    <a:pt x="442" y="1434"/>
                  </a:lnTo>
                  <a:lnTo>
                    <a:pt x="444" y="1433"/>
                  </a:lnTo>
                  <a:lnTo>
                    <a:pt x="446" y="1433"/>
                  </a:lnTo>
                  <a:lnTo>
                    <a:pt x="444" y="1435"/>
                  </a:lnTo>
                  <a:lnTo>
                    <a:pt x="441" y="1435"/>
                  </a:lnTo>
                  <a:lnTo>
                    <a:pt x="441" y="1439"/>
                  </a:lnTo>
                  <a:lnTo>
                    <a:pt x="442" y="1440"/>
                  </a:lnTo>
                  <a:lnTo>
                    <a:pt x="444" y="14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6" name="Freeform 226">
              <a:extLst>
                <a:ext uri="{FF2B5EF4-FFF2-40B4-BE49-F238E27FC236}">
                  <a16:creationId xmlns:a16="http://schemas.microsoft.com/office/drawing/2014/main" id="{8EC33DB8-5E0D-45EA-9C8D-8B5AD18EBD8B}"/>
                </a:ext>
              </a:extLst>
            </p:cNvPr>
            <p:cNvSpPr>
              <a:spLocks noEditPoints="1"/>
            </p:cNvSpPr>
            <p:nvPr/>
          </p:nvSpPr>
          <p:spPr bwMode="auto">
            <a:xfrm>
              <a:off x="4057650" y="4014788"/>
              <a:ext cx="704850" cy="419100"/>
            </a:xfrm>
            <a:custGeom>
              <a:avLst/>
              <a:gdLst>
                <a:gd name="T0" fmla="*/ 79 w 444"/>
                <a:gd name="T1" fmla="*/ 28 h 264"/>
                <a:gd name="T2" fmla="*/ 80 w 444"/>
                <a:gd name="T3" fmla="*/ 28 h 264"/>
                <a:gd name="T4" fmla="*/ 83 w 444"/>
                <a:gd name="T5" fmla="*/ 26 h 264"/>
                <a:gd name="T6" fmla="*/ 76 w 444"/>
                <a:gd name="T7" fmla="*/ 22 h 264"/>
                <a:gd name="T8" fmla="*/ 68 w 444"/>
                <a:gd name="T9" fmla="*/ 21 h 264"/>
                <a:gd name="T10" fmla="*/ 63 w 444"/>
                <a:gd name="T11" fmla="*/ 20 h 264"/>
                <a:gd name="T12" fmla="*/ 56 w 444"/>
                <a:gd name="T13" fmla="*/ 24 h 264"/>
                <a:gd name="T14" fmla="*/ 58 w 444"/>
                <a:gd name="T15" fmla="*/ 25 h 264"/>
                <a:gd name="T16" fmla="*/ 64 w 444"/>
                <a:gd name="T17" fmla="*/ 29 h 264"/>
                <a:gd name="T18" fmla="*/ 69 w 444"/>
                <a:gd name="T19" fmla="*/ 30 h 264"/>
                <a:gd name="T20" fmla="*/ 76 w 444"/>
                <a:gd name="T21" fmla="*/ 28 h 264"/>
                <a:gd name="T22" fmla="*/ 170 w 444"/>
                <a:gd name="T23" fmla="*/ 21 h 264"/>
                <a:gd name="T24" fmla="*/ 177 w 444"/>
                <a:gd name="T25" fmla="*/ 22 h 264"/>
                <a:gd name="T26" fmla="*/ 184 w 444"/>
                <a:gd name="T27" fmla="*/ 22 h 264"/>
                <a:gd name="T28" fmla="*/ 190 w 444"/>
                <a:gd name="T29" fmla="*/ 22 h 264"/>
                <a:gd name="T30" fmla="*/ 188 w 444"/>
                <a:gd name="T31" fmla="*/ 16 h 264"/>
                <a:gd name="T32" fmla="*/ 180 w 444"/>
                <a:gd name="T33" fmla="*/ 13 h 264"/>
                <a:gd name="T34" fmla="*/ 176 w 444"/>
                <a:gd name="T35" fmla="*/ 10 h 264"/>
                <a:gd name="T36" fmla="*/ 179 w 444"/>
                <a:gd name="T37" fmla="*/ 9 h 264"/>
                <a:gd name="T38" fmla="*/ 171 w 444"/>
                <a:gd name="T39" fmla="*/ 7 h 264"/>
                <a:gd name="T40" fmla="*/ 166 w 444"/>
                <a:gd name="T41" fmla="*/ 4 h 264"/>
                <a:gd name="T42" fmla="*/ 158 w 444"/>
                <a:gd name="T43" fmla="*/ 1 h 264"/>
                <a:gd name="T44" fmla="*/ 150 w 444"/>
                <a:gd name="T45" fmla="*/ 1 h 264"/>
                <a:gd name="T46" fmla="*/ 145 w 444"/>
                <a:gd name="T47" fmla="*/ 3 h 264"/>
                <a:gd name="T48" fmla="*/ 140 w 444"/>
                <a:gd name="T49" fmla="*/ 2 h 264"/>
                <a:gd name="T50" fmla="*/ 132 w 444"/>
                <a:gd name="T51" fmla="*/ 0 h 264"/>
                <a:gd name="T52" fmla="*/ 124 w 444"/>
                <a:gd name="T53" fmla="*/ 2 h 264"/>
                <a:gd name="T54" fmla="*/ 131 w 444"/>
                <a:gd name="T55" fmla="*/ 5 h 264"/>
                <a:gd name="T56" fmla="*/ 132 w 444"/>
                <a:gd name="T57" fmla="*/ 11 h 264"/>
                <a:gd name="T58" fmla="*/ 136 w 444"/>
                <a:gd name="T59" fmla="*/ 17 h 264"/>
                <a:gd name="T60" fmla="*/ 133 w 444"/>
                <a:gd name="T61" fmla="*/ 21 h 264"/>
                <a:gd name="T62" fmla="*/ 125 w 444"/>
                <a:gd name="T63" fmla="*/ 20 h 264"/>
                <a:gd name="T64" fmla="*/ 117 w 444"/>
                <a:gd name="T65" fmla="*/ 19 h 264"/>
                <a:gd name="T66" fmla="*/ 109 w 444"/>
                <a:gd name="T67" fmla="*/ 20 h 264"/>
                <a:gd name="T68" fmla="*/ 115 w 444"/>
                <a:gd name="T69" fmla="*/ 25 h 264"/>
                <a:gd name="T70" fmla="*/ 120 w 444"/>
                <a:gd name="T71" fmla="*/ 25 h 264"/>
                <a:gd name="T72" fmla="*/ 127 w 444"/>
                <a:gd name="T73" fmla="*/ 25 h 264"/>
                <a:gd name="T74" fmla="*/ 135 w 444"/>
                <a:gd name="T75" fmla="*/ 25 h 264"/>
                <a:gd name="T76" fmla="*/ 143 w 444"/>
                <a:gd name="T77" fmla="*/ 25 h 264"/>
                <a:gd name="T78" fmla="*/ 149 w 444"/>
                <a:gd name="T79" fmla="*/ 32 h 264"/>
                <a:gd name="T80" fmla="*/ 153 w 444"/>
                <a:gd name="T81" fmla="*/ 29 h 264"/>
                <a:gd name="T82" fmla="*/ 157 w 444"/>
                <a:gd name="T83" fmla="*/ 24 h 264"/>
                <a:gd name="T84" fmla="*/ 162 w 444"/>
                <a:gd name="T85" fmla="*/ 24 h 264"/>
                <a:gd name="T86" fmla="*/ 170 w 444"/>
                <a:gd name="T87" fmla="*/ 21 h 264"/>
                <a:gd name="T88" fmla="*/ 0 w 444"/>
                <a:gd name="T89" fmla="*/ 164 h 264"/>
                <a:gd name="T90" fmla="*/ 0 w 444"/>
                <a:gd name="T91" fmla="*/ 163 h 264"/>
                <a:gd name="T92" fmla="*/ 444 w 444"/>
                <a:gd name="T93" fmla="*/ 263 h 264"/>
                <a:gd name="T94" fmla="*/ 444 w 444"/>
                <a:gd name="T95" fmla="*/ 26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4" h="264">
                  <a:moveTo>
                    <a:pt x="76" y="28"/>
                  </a:moveTo>
                  <a:lnTo>
                    <a:pt x="77" y="28"/>
                  </a:lnTo>
                  <a:lnTo>
                    <a:pt x="79" y="28"/>
                  </a:lnTo>
                  <a:lnTo>
                    <a:pt x="77" y="28"/>
                  </a:lnTo>
                  <a:lnTo>
                    <a:pt x="79" y="28"/>
                  </a:lnTo>
                  <a:lnTo>
                    <a:pt x="80" y="28"/>
                  </a:lnTo>
                  <a:lnTo>
                    <a:pt x="82" y="29"/>
                  </a:lnTo>
                  <a:lnTo>
                    <a:pt x="84" y="27"/>
                  </a:lnTo>
                  <a:lnTo>
                    <a:pt x="83" y="26"/>
                  </a:lnTo>
                  <a:lnTo>
                    <a:pt x="81" y="25"/>
                  </a:lnTo>
                  <a:lnTo>
                    <a:pt x="79" y="24"/>
                  </a:lnTo>
                  <a:lnTo>
                    <a:pt x="76" y="22"/>
                  </a:lnTo>
                  <a:lnTo>
                    <a:pt x="73" y="21"/>
                  </a:lnTo>
                  <a:lnTo>
                    <a:pt x="71" y="21"/>
                  </a:lnTo>
                  <a:lnTo>
                    <a:pt x="68" y="21"/>
                  </a:lnTo>
                  <a:lnTo>
                    <a:pt x="67" y="20"/>
                  </a:lnTo>
                  <a:lnTo>
                    <a:pt x="64" y="20"/>
                  </a:lnTo>
                  <a:lnTo>
                    <a:pt x="63" y="20"/>
                  </a:lnTo>
                  <a:lnTo>
                    <a:pt x="60" y="21"/>
                  </a:lnTo>
                  <a:lnTo>
                    <a:pt x="58" y="21"/>
                  </a:lnTo>
                  <a:lnTo>
                    <a:pt x="56" y="24"/>
                  </a:lnTo>
                  <a:lnTo>
                    <a:pt x="56" y="24"/>
                  </a:lnTo>
                  <a:lnTo>
                    <a:pt x="56" y="25"/>
                  </a:lnTo>
                  <a:lnTo>
                    <a:pt x="58" y="25"/>
                  </a:lnTo>
                  <a:lnTo>
                    <a:pt x="62" y="27"/>
                  </a:lnTo>
                  <a:lnTo>
                    <a:pt x="62" y="27"/>
                  </a:lnTo>
                  <a:lnTo>
                    <a:pt x="64" y="29"/>
                  </a:lnTo>
                  <a:lnTo>
                    <a:pt x="66" y="29"/>
                  </a:lnTo>
                  <a:lnTo>
                    <a:pt x="68" y="29"/>
                  </a:lnTo>
                  <a:lnTo>
                    <a:pt x="69" y="30"/>
                  </a:lnTo>
                  <a:lnTo>
                    <a:pt x="73" y="29"/>
                  </a:lnTo>
                  <a:lnTo>
                    <a:pt x="74" y="29"/>
                  </a:lnTo>
                  <a:lnTo>
                    <a:pt x="76" y="28"/>
                  </a:lnTo>
                  <a:lnTo>
                    <a:pt x="76" y="28"/>
                  </a:lnTo>
                  <a:lnTo>
                    <a:pt x="76" y="28"/>
                  </a:lnTo>
                  <a:close/>
                  <a:moveTo>
                    <a:pt x="170" y="21"/>
                  </a:moveTo>
                  <a:lnTo>
                    <a:pt x="171" y="21"/>
                  </a:lnTo>
                  <a:lnTo>
                    <a:pt x="174" y="21"/>
                  </a:lnTo>
                  <a:lnTo>
                    <a:pt x="177" y="22"/>
                  </a:lnTo>
                  <a:lnTo>
                    <a:pt x="179" y="21"/>
                  </a:lnTo>
                  <a:lnTo>
                    <a:pt x="182" y="21"/>
                  </a:lnTo>
                  <a:lnTo>
                    <a:pt x="184" y="22"/>
                  </a:lnTo>
                  <a:lnTo>
                    <a:pt x="186" y="24"/>
                  </a:lnTo>
                  <a:lnTo>
                    <a:pt x="190" y="22"/>
                  </a:lnTo>
                  <a:lnTo>
                    <a:pt x="190" y="22"/>
                  </a:lnTo>
                  <a:lnTo>
                    <a:pt x="192" y="20"/>
                  </a:lnTo>
                  <a:lnTo>
                    <a:pt x="192" y="18"/>
                  </a:lnTo>
                  <a:lnTo>
                    <a:pt x="188" y="16"/>
                  </a:lnTo>
                  <a:lnTo>
                    <a:pt x="186" y="13"/>
                  </a:lnTo>
                  <a:lnTo>
                    <a:pt x="184" y="13"/>
                  </a:lnTo>
                  <a:lnTo>
                    <a:pt x="180" y="13"/>
                  </a:lnTo>
                  <a:lnTo>
                    <a:pt x="178" y="12"/>
                  </a:lnTo>
                  <a:lnTo>
                    <a:pt x="175" y="10"/>
                  </a:lnTo>
                  <a:lnTo>
                    <a:pt x="176" y="10"/>
                  </a:lnTo>
                  <a:lnTo>
                    <a:pt x="179" y="10"/>
                  </a:lnTo>
                  <a:lnTo>
                    <a:pt x="182" y="9"/>
                  </a:lnTo>
                  <a:lnTo>
                    <a:pt x="179" y="9"/>
                  </a:lnTo>
                  <a:lnTo>
                    <a:pt x="176" y="9"/>
                  </a:lnTo>
                  <a:lnTo>
                    <a:pt x="174" y="9"/>
                  </a:lnTo>
                  <a:lnTo>
                    <a:pt x="171" y="7"/>
                  </a:lnTo>
                  <a:lnTo>
                    <a:pt x="170" y="4"/>
                  </a:lnTo>
                  <a:lnTo>
                    <a:pt x="169" y="4"/>
                  </a:lnTo>
                  <a:lnTo>
                    <a:pt x="166" y="4"/>
                  </a:lnTo>
                  <a:lnTo>
                    <a:pt x="163" y="2"/>
                  </a:lnTo>
                  <a:lnTo>
                    <a:pt x="160" y="2"/>
                  </a:lnTo>
                  <a:lnTo>
                    <a:pt x="158" y="1"/>
                  </a:lnTo>
                  <a:lnTo>
                    <a:pt x="156" y="1"/>
                  </a:lnTo>
                  <a:lnTo>
                    <a:pt x="152" y="1"/>
                  </a:lnTo>
                  <a:lnTo>
                    <a:pt x="150" y="1"/>
                  </a:lnTo>
                  <a:lnTo>
                    <a:pt x="148" y="1"/>
                  </a:lnTo>
                  <a:lnTo>
                    <a:pt x="147" y="3"/>
                  </a:lnTo>
                  <a:lnTo>
                    <a:pt x="145" y="3"/>
                  </a:lnTo>
                  <a:lnTo>
                    <a:pt x="143" y="3"/>
                  </a:lnTo>
                  <a:lnTo>
                    <a:pt x="142" y="3"/>
                  </a:lnTo>
                  <a:lnTo>
                    <a:pt x="140" y="2"/>
                  </a:lnTo>
                  <a:lnTo>
                    <a:pt x="136" y="2"/>
                  </a:lnTo>
                  <a:lnTo>
                    <a:pt x="134" y="1"/>
                  </a:lnTo>
                  <a:lnTo>
                    <a:pt x="132" y="0"/>
                  </a:lnTo>
                  <a:lnTo>
                    <a:pt x="130" y="1"/>
                  </a:lnTo>
                  <a:lnTo>
                    <a:pt x="127" y="0"/>
                  </a:lnTo>
                  <a:lnTo>
                    <a:pt x="124" y="2"/>
                  </a:lnTo>
                  <a:lnTo>
                    <a:pt x="125" y="4"/>
                  </a:lnTo>
                  <a:lnTo>
                    <a:pt x="127" y="4"/>
                  </a:lnTo>
                  <a:lnTo>
                    <a:pt x="131" y="5"/>
                  </a:lnTo>
                  <a:lnTo>
                    <a:pt x="133" y="7"/>
                  </a:lnTo>
                  <a:lnTo>
                    <a:pt x="132" y="10"/>
                  </a:lnTo>
                  <a:lnTo>
                    <a:pt x="132" y="11"/>
                  </a:lnTo>
                  <a:lnTo>
                    <a:pt x="133" y="12"/>
                  </a:lnTo>
                  <a:lnTo>
                    <a:pt x="134" y="15"/>
                  </a:lnTo>
                  <a:lnTo>
                    <a:pt x="136" y="17"/>
                  </a:lnTo>
                  <a:lnTo>
                    <a:pt x="137" y="20"/>
                  </a:lnTo>
                  <a:lnTo>
                    <a:pt x="135" y="20"/>
                  </a:lnTo>
                  <a:lnTo>
                    <a:pt x="133" y="21"/>
                  </a:lnTo>
                  <a:lnTo>
                    <a:pt x="131" y="21"/>
                  </a:lnTo>
                  <a:lnTo>
                    <a:pt x="127" y="21"/>
                  </a:lnTo>
                  <a:lnTo>
                    <a:pt x="125" y="20"/>
                  </a:lnTo>
                  <a:lnTo>
                    <a:pt x="123" y="20"/>
                  </a:lnTo>
                  <a:lnTo>
                    <a:pt x="119" y="19"/>
                  </a:lnTo>
                  <a:lnTo>
                    <a:pt x="117" y="19"/>
                  </a:lnTo>
                  <a:lnTo>
                    <a:pt x="114" y="18"/>
                  </a:lnTo>
                  <a:lnTo>
                    <a:pt x="113" y="18"/>
                  </a:lnTo>
                  <a:lnTo>
                    <a:pt x="109" y="20"/>
                  </a:lnTo>
                  <a:lnTo>
                    <a:pt x="109" y="22"/>
                  </a:lnTo>
                  <a:lnTo>
                    <a:pt x="111" y="24"/>
                  </a:lnTo>
                  <a:lnTo>
                    <a:pt x="115" y="25"/>
                  </a:lnTo>
                  <a:lnTo>
                    <a:pt x="117" y="27"/>
                  </a:lnTo>
                  <a:lnTo>
                    <a:pt x="118" y="26"/>
                  </a:lnTo>
                  <a:lnTo>
                    <a:pt x="120" y="25"/>
                  </a:lnTo>
                  <a:lnTo>
                    <a:pt x="123" y="24"/>
                  </a:lnTo>
                  <a:lnTo>
                    <a:pt x="124" y="25"/>
                  </a:lnTo>
                  <a:lnTo>
                    <a:pt x="127" y="25"/>
                  </a:lnTo>
                  <a:lnTo>
                    <a:pt x="130" y="25"/>
                  </a:lnTo>
                  <a:lnTo>
                    <a:pt x="132" y="25"/>
                  </a:lnTo>
                  <a:lnTo>
                    <a:pt x="135" y="25"/>
                  </a:lnTo>
                  <a:lnTo>
                    <a:pt x="137" y="25"/>
                  </a:lnTo>
                  <a:lnTo>
                    <a:pt x="141" y="25"/>
                  </a:lnTo>
                  <a:lnTo>
                    <a:pt x="143" y="25"/>
                  </a:lnTo>
                  <a:lnTo>
                    <a:pt x="145" y="27"/>
                  </a:lnTo>
                  <a:lnTo>
                    <a:pt x="148" y="28"/>
                  </a:lnTo>
                  <a:lnTo>
                    <a:pt x="149" y="32"/>
                  </a:lnTo>
                  <a:lnTo>
                    <a:pt x="151" y="32"/>
                  </a:lnTo>
                  <a:lnTo>
                    <a:pt x="152" y="32"/>
                  </a:lnTo>
                  <a:lnTo>
                    <a:pt x="153" y="29"/>
                  </a:lnTo>
                  <a:lnTo>
                    <a:pt x="156" y="26"/>
                  </a:lnTo>
                  <a:lnTo>
                    <a:pt x="156" y="24"/>
                  </a:lnTo>
                  <a:lnTo>
                    <a:pt x="157" y="24"/>
                  </a:lnTo>
                  <a:lnTo>
                    <a:pt x="159" y="22"/>
                  </a:lnTo>
                  <a:lnTo>
                    <a:pt x="162" y="24"/>
                  </a:lnTo>
                  <a:lnTo>
                    <a:pt x="162" y="24"/>
                  </a:lnTo>
                  <a:lnTo>
                    <a:pt x="165" y="25"/>
                  </a:lnTo>
                  <a:lnTo>
                    <a:pt x="168" y="25"/>
                  </a:lnTo>
                  <a:lnTo>
                    <a:pt x="170" y="21"/>
                  </a:lnTo>
                  <a:lnTo>
                    <a:pt x="170" y="21"/>
                  </a:lnTo>
                  <a:close/>
                  <a:moveTo>
                    <a:pt x="0" y="164"/>
                  </a:moveTo>
                  <a:lnTo>
                    <a:pt x="0" y="164"/>
                  </a:lnTo>
                  <a:lnTo>
                    <a:pt x="2" y="163"/>
                  </a:lnTo>
                  <a:lnTo>
                    <a:pt x="0" y="163"/>
                  </a:lnTo>
                  <a:lnTo>
                    <a:pt x="0" y="163"/>
                  </a:lnTo>
                  <a:lnTo>
                    <a:pt x="0" y="164"/>
                  </a:lnTo>
                  <a:lnTo>
                    <a:pt x="0" y="164"/>
                  </a:lnTo>
                  <a:close/>
                  <a:moveTo>
                    <a:pt x="444" y="263"/>
                  </a:moveTo>
                  <a:lnTo>
                    <a:pt x="444" y="264"/>
                  </a:lnTo>
                  <a:lnTo>
                    <a:pt x="444" y="263"/>
                  </a:lnTo>
                  <a:lnTo>
                    <a:pt x="44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7" name="Freeform 227">
              <a:extLst>
                <a:ext uri="{FF2B5EF4-FFF2-40B4-BE49-F238E27FC236}">
                  <a16:creationId xmlns:a16="http://schemas.microsoft.com/office/drawing/2014/main" id="{CB1B5C73-EE79-4E45-9E32-A4234A6CC03E}"/>
                </a:ext>
              </a:extLst>
            </p:cNvPr>
            <p:cNvSpPr>
              <a:spLocks/>
            </p:cNvSpPr>
            <p:nvPr/>
          </p:nvSpPr>
          <p:spPr bwMode="auto">
            <a:xfrm>
              <a:off x="4003675" y="3940175"/>
              <a:ext cx="234950" cy="76200"/>
            </a:xfrm>
            <a:custGeom>
              <a:avLst/>
              <a:gdLst>
                <a:gd name="T0" fmla="*/ 102 w 148"/>
                <a:gd name="T1" fmla="*/ 48 h 48"/>
                <a:gd name="T2" fmla="*/ 108 w 148"/>
                <a:gd name="T3" fmla="*/ 48 h 48"/>
                <a:gd name="T4" fmla="*/ 117 w 148"/>
                <a:gd name="T5" fmla="*/ 47 h 48"/>
                <a:gd name="T6" fmla="*/ 125 w 148"/>
                <a:gd name="T7" fmla="*/ 47 h 48"/>
                <a:gd name="T8" fmla="*/ 133 w 148"/>
                <a:gd name="T9" fmla="*/ 48 h 48"/>
                <a:gd name="T10" fmla="*/ 134 w 148"/>
                <a:gd name="T11" fmla="*/ 46 h 48"/>
                <a:gd name="T12" fmla="*/ 135 w 148"/>
                <a:gd name="T13" fmla="*/ 48 h 48"/>
                <a:gd name="T14" fmla="*/ 140 w 148"/>
                <a:gd name="T15" fmla="*/ 46 h 48"/>
                <a:gd name="T16" fmla="*/ 148 w 148"/>
                <a:gd name="T17" fmla="*/ 42 h 48"/>
                <a:gd name="T18" fmla="*/ 140 w 148"/>
                <a:gd name="T19" fmla="*/ 39 h 48"/>
                <a:gd name="T20" fmla="*/ 134 w 148"/>
                <a:gd name="T21" fmla="*/ 37 h 48"/>
                <a:gd name="T22" fmla="*/ 127 w 148"/>
                <a:gd name="T23" fmla="*/ 37 h 48"/>
                <a:gd name="T24" fmla="*/ 127 w 148"/>
                <a:gd name="T25" fmla="*/ 33 h 48"/>
                <a:gd name="T26" fmla="*/ 123 w 148"/>
                <a:gd name="T27" fmla="*/ 30 h 48"/>
                <a:gd name="T28" fmla="*/ 117 w 148"/>
                <a:gd name="T29" fmla="*/ 28 h 48"/>
                <a:gd name="T30" fmla="*/ 109 w 148"/>
                <a:gd name="T31" fmla="*/ 25 h 48"/>
                <a:gd name="T32" fmla="*/ 105 w 148"/>
                <a:gd name="T33" fmla="*/ 24 h 48"/>
                <a:gd name="T34" fmla="*/ 103 w 148"/>
                <a:gd name="T35" fmla="*/ 21 h 48"/>
                <a:gd name="T36" fmla="*/ 96 w 148"/>
                <a:gd name="T37" fmla="*/ 19 h 48"/>
                <a:gd name="T38" fmla="*/ 90 w 148"/>
                <a:gd name="T39" fmla="*/ 15 h 48"/>
                <a:gd name="T40" fmla="*/ 82 w 148"/>
                <a:gd name="T41" fmla="*/ 12 h 48"/>
                <a:gd name="T42" fmla="*/ 75 w 148"/>
                <a:gd name="T43" fmla="*/ 11 h 48"/>
                <a:gd name="T44" fmla="*/ 69 w 148"/>
                <a:gd name="T45" fmla="*/ 5 h 48"/>
                <a:gd name="T46" fmla="*/ 64 w 148"/>
                <a:gd name="T47" fmla="*/ 4 h 48"/>
                <a:gd name="T48" fmla="*/ 57 w 148"/>
                <a:gd name="T49" fmla="*/ 2 h 48"/>
                <a:gd name="T50" fmla="*/ 48 w 148"/>
                <a:gd name="T51" fmla="*/ 2 h 48"/>
                <a:gd name="T52" fmla="*/ 41 w 148"/>
                <a:gd name="T53" fmla="*/ 0 h 48"/>
                <a:gd name="T54" fmla="*/ 36 w 148"/>
                <a:gd name="T55" fmla="*/ 0 h 48"/>
                <a:gd name="T56" fmla="*/ 26 w 148"/>
                <a:gd name="T57" fmla="*/ 4 h 48"/>
                <a:gd name="T58" fmla="*/ 21 w 148"/>
                <a:gd name="T59" fmla="*/ 5 h 48"/>
                <a:gd name="T60" fmla="*/ 13 w 148"/>
                <a:gd name="T61" fmla="*/ 8 h 48"/>
                <a:gd name="T62" fmla="*/ 6 w 148"/>
                <a:gd name="T63" fmla="*/ 14 h 48"/>
                <a:gd name="T64" fmla="*/ 3 w 148"/>
                <a:gd name="T65" fmla="*/ 19 h 48"/>
                <a:gd name="T66" fmla="*/ 5 w 148"/>
                <a:gd name="T67" fmla="*/ 19 h 48"/>
                <a:gd name="T68" fmla="*/ 13 w 148"/>
                <a:gd name="T69" fmla="*/ 16 h 48"/>
                <a:gd name="T70" fmla="*/ 19 w 148"/>
                <a:gd name="T71" fmla="*/ 15 h 48"/>
                <a:gd name="T72" fmla="*/ 26 w 148"/>
                <a:gd name="T73" fmla="*/ 9 h 48"/>
                <a:gd name="T74" fmla="*/ 33 w 148"/>
                <a:gd name="T75" fmla="*/ 8 h 48"/>
                <a:gd name="T76" fmla="*/ 39 w 148"/>
                <a:gd name="T77" fmla="*/ 8 h 48"/>
                <a:gd name="T78" fmla="*/ 45 w 148"/>
                <a:gd name="T79" fmla="*/ 9 h 48"/>
                <a:gd name="T80" fmla="*/ 40 w 148"/>
                <a:gd name="T81" fmla="*/ 13 h 48"/>
                <a:gd name="T82" fmla="*/ 48 w 148"/>
                <a:gd name="T83" fmla="*/ 15 h 48"/>
                <a:gd name="T84" fmla="*/ 54 w 148"/>
                <a:gd name="T85" fmla="*/ 17 h 48"/>
                <a:gd name="T86" fmla="*/ 60 w 148"/>
                <a:gd name="T87" fmla="*/ 16 h 48"/>
                <a:gd name="T88" fmla="*/ 63 w 148"/>
                <a:gd name="T89" fmla="*/ 19 h 48"/>
                <a:gd name="T90" fmla="*/ 67 w 148"/>
                <a:gd name="T91" fmla="*/ 22 h 48"/>
                <a:gd name="T92" fmla="*/ 71 w 148"/>
                <a:gd name="T93" fmla="*/ 22 h 48"/>
                <a:gd name="T94" fmla="*/ 76 w 148"/>
                <a:gd name="T95" fmla="*/ 23 h 48"/>
                <a:gd name="T96" fmla="*/ 83 w 148"/>
                <a:gd name="T97" fmla="*/ 23 h 48"/>
                <a:gd name="T98" fmla="*/ 86 w 148"/>
                <a:gd name="T99" fmla="*/ 26 h 48"/>
                <a:gd name="T100" fmla="*/ 91 w 148"/>
                <a:gd name="T101" fmla="*/ 34 h 48"/>
                <a:gd name="T102" fmla="*/ 98 w 148"/>
                <a:gd name="T103" fmla="*/ 37 h 48"/>
                <a:gd name="T104" fmla="*/ 105 w 148"/>
                <a:gd name="T105" fmla="*/ 39 h 48"/>
                <a:gd name="T106" fmla="*/ 106 w 148"/>
                <a:gd name="T107" fmla="*/ 42 h 48"/>
                <a:gd name="T108" fmla="*/ 100 w 148"/>
                <a:gd name="T109"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48">
                  <a:moveTo>
                    <a:pt x="100" y="46"/>
                  </a:moveTo>
                  <a:lnTo>
                    <a:pt x="100" y="48"/>
                  </a:lnTo>
                  <a:lnTo>
                    <a:pt x="102" y="48"/>
                  </a:lnTo>
                  <a:lnTo>
                    <a:pt x="105" y="48"/>
                  </a:lnTo>
                  <a:lnTo>
                    <a:pt x="108" y="48"/>
                  </a:lnTo>
                  <a:lnTo>
                    <a:pt x="108" y="48"/>
                  </a:lnTo>
                  <a:lnTo>
                    <a:pt x="111" y="47"/>
                  </a:lnTo>
                  <a:lnTo>
                    <a:pt x="114" y="47"/>
                  </a:lnTo>
                  <a:lnTo>
                    <a:pt x="117" y="47"/>
                  </a:lnTo>
                  <a:lnTo>
                    <a:pt x="119" y="47"/>
                  </a:lnTo>
                  <a:lnTo>
                    <a:pt x="123" y="47"/>
                  </a:lnTo>
                  <a:lnTo>
                    <a:pt x="125" y="47"/>
                  </a:lnTo>
                  <a:lnTo>
                    <a:pt x="127" y="48"/>
                  </a:lnTo>
                  <a:lnTo>
                    <a:pt x="131" y="48"/>
                  </a:lnTo>
                  <a:lnTo>
                    <a:pt x="133" y="48"/>
                  </a:lnTo>
                  <a:lnTo>
                    <a:pt x="133" y="47"/>
                  </a:lnTo>
                  <a:lnTo>
                    <a:pt x="133" y="46"/>
                  </a:lnTo>
                  <a:lnTo>
                    <a:pt x="134" y="46"/>
                  </a:lnTo>
                  <a:lnTo>
                    <a:pt x="134" y="47"/>
                  </a:lnTo>
                  <a:lnTo>
                    <a:pt x="134" y="48"/>
                  </a:lnTo>
                  <a:lnTo>
                    <a:pt x="135" y="48"/>
                  </a:lnTo>
                  <a:lnTo>
                    <a:pt x="137" y="46"/>
                  </a:lnTo>
                  <a:lnTo>
                    <a:pt x="137" y="46"/>
                  </a:lnTo>
                  <a:lnTo>
                    <a:pt x="140" y="46"/>
                  </a:lnTo>
                  <a:lnTo>
                    <a:pt x="143" y="46"/>
                  </a:lnTo>
                  <a:lnTo>
                    <a:pt x="145" y="46"/>
                  </a:lnTo>
                  <a:lnTo>
                    <a:pt x="148" y="42"/>
                  </a:lnTo>
                  <a:lnTo>
                    <a:pt x="144" y="42"/>
                  </a:lnTo>
                  <a:lnTo>
                    <a:pt x="142" y="41"/>
                  </a:lnTo>
                  <a:lnTo>
                    <a:pt x="140" y="39"/>
                  </a:lnTo>
                  <a:lnTo>
                    <a:pt x="140" y="38"/>
                  </a:lnTo>
                  <a:lnTo>
                    <a:pt x="136" y="37"/>
                  </a:lnTo>
                  <a:lnTo>
                    <a:pt x="134" y="37"/>
                  </a:lnTo>
                  <a:lnTo>
                    <a:pt x="133" y="36"/>
                  </a:lnTo>
                  <a:lnTo>
                    <a:pt x="131" y="36"/>
                  </a:lnTo>
                  <a:lnTo>
                    <a:pt x="127" y="37"/>
                  </a:lnTo>
                  <a:lnTo>
                    <a:pt x="125" y="36"/>
                  </a:lnTo>
                  <a:lnTo>
                    <a:pt x="126" y="33"/>
                  </a:lnTo>
                  <a:lnTo>
                    <a:pt x="127" y="33"/>
                  </a:lnTo>
                  <a:lnTo>
                    <a:pt x="126" y="30"/>
                  </a:lnTo>
                  <a:lnTo>
                    <a:pt x="123" y="30"/>
                  </a:lnTo>
                  <a:lnTo>
                    <a:pt x="123" y="30"/>
                  </a:lnTo>
                  <a:lnTo>
                    <a:pt x="120" y="31"/>
                  </a:lnTo>
                  <a:lnTo>
                    <a:pt x="117" y="29"/>
                  </a:lnTo>
                  <a:lnTo>
                    <a:pt x="117" y="28"/>
                  </a:lnTo>
                  <a:lnTo>
                    <a:pt x="115" y="28"/>
                  </a:lnTo>
                  <a:lnTo>
                    <a:pt x="111" y="26"/>
                  </a:lnTo>
                  <a:lnTo>
                    <a:pt x="109" y="25"/>
                  </a:lnTo>
                  <a:lnTo>
                    <a:pt x="108" y="24"/>
                  </a:lnTo>
                  <a:lnTo>
                    <a:pt x="106" y="25"/>
                  </a:lnTo>
                  <a:lnTo>
                    <a:pt x="105" y="24"/>
                  </a:lnTo>
                  <a:lnTo>
                    <a:pt x="103" y="23"/>
                  </a:lnTo>
                  <a:lnTo>
                    <a:pt x="106" y="24"/>
                  </a:lnTo>
                  <a:lnTo>
                    <a:pt x="103" y="21"/>
                  </a:lnTo>
                  <a:lnTo>
                    <a:pt x="101" y="21"/>
                  </a:lnTo>
                  <a:lnTo>
                    <a:pt x="99" y="21"/>
                  </a:lnTo>
                  <a:lnTo>
                    <a:pt x="96" y="19"/>
                  </a:lnTo>
                  <a:lnTo>
                    <a:pt x="93" y="16"/>
                  </a:lnTo>
                  <a:lnTo>
                    <a:pt x="92" y="16"/>
                  </a:lnTo>
                  <a:lnTo>
                    <a:pt x="90" y="15"/>
                  </a:lnTo>
                  <a:lnTo>
                    <a:pt x="86" y="13"/>
                  </a:lnTo>
                  <a:lnTo>
                    <a:pt x="84" y="13"/>
                  </a:lnTo>
                  <a:lnTo>
                    <a:pt x="82" y="12"/>
                  </a:lnTo>
                  <a:lnTo>
                    <a:pt x="81" y="12"/>
                  </a:lnTo>
                  <a:lnTo>
                    <a:pt x="79" y="12"/>
                  </a:lnTo>
                  <a:lnTo>
                    <a:pt x="75" y="11"/>
                  </a:lnTo>
                  <a:lnTo>
                    <a:pt x="74" y="11"/>
                  </a:lnTo>
                  <a:lnTo>
                    <a:pt x="72" y="7"/>
                  </a:lnTo>
                  <a:lnTo>
                    <a:pt x="69" y="5"/>
                  </a:lnTo>
                  <a:lnTo>
                    <a:pt x="67" y="4"/>
                  </a:lnTo>
                  <a:lnTo>
                    <a:pt x="67" y="4"/>
                  </a:lnTo>
                  <a:lnTo>
                    <a:pt x="64" y="4"/>
                  </a:lnTo>
                  <a:lnTo>
                    <a:pt x="62" y="4"/>
                  </a:lnTo>
                  <a:lnTo>
                    <a:pt x="59" y="3"/>
                  </a:lnTo>
                  <a:lnTo>
                    <a:pt x="57" y="2"/>
                  </a:lnTo>
                  <a:lnTo>
                    <a:pt x="54" y="3"/>
                  </a:lnTo>
                  <a:lnTo>
                    <a:pt x="51" y="0"/>
                  </a:lnTo>
                  <a:lnTo>
                    <a:pt x="48" y="2"/>
                  </a:lnTo>
                  <a:lnTo>
                    <a:pt x="47" y="2"/>
                  </a:lnTo>
                  <a:lnTo>
                    <a:pt x="45" y="0"/>
                  </a:lnTo>
                  <a:lnTo>
                    <a:pt x="41" y="0"/>
                  </a:lnTo>
                  <a:lnTo>
                    <a:pt x="39" y="0"/>
                  </a:lnTo>
                  <a:lnTo>
                    <a:pt x="38" y="0"/>
                  </a:lnTo>
                  <a:lnTo>
                    <a:pt x="36" y="0"/>
                  </a:lnTo>
                  <a:lnTo>
                    <a:pt x="32" y="3"/>
                  </a:lnTo>
                  <a:lnTo>
                    <a:pt x="30" y="3"/>
                  </a:lnTo>
                  <a:lnTo>
                    <a:pt x="26" y="4"/>
                  </a:lnTo>
                  <a:lnTo>
                    <a:pt x="25" y="3"/>
                  </a:lnTo>
                  <a:lnTo>
                    <a:pt x="23" y="4"/>
                  </a:lnTo>
                  <a:lnTo>
                    <a:pt x="21" y="5"/>
                  </a:lnTo>
                  <a:lnTo>
                    <a:pt x="17" y="6"/>
                  </a:lnTo>
                  <a:lnTo>
                    <a:pt x="15" y="6"/>
                  </a:lnTo>
                  <a:lnTo>
                    <a:pt x="13" y="8"/>
                  </a:lnTo>
                  <a:lnTo>
                    <a:pt x="9" y="9"/>
                  </a:lnTo>
                  <a:lnTo>
                    <a:pt x="7" y="12"/>
                  </a:lnTo>
                  <a:lnTo>
                    <a:pt x="6" y="14"/>
                  </a:lnTo>
                  <a:lnTo>
                    <a:pt x="8" y="17"/>
                  </a:lnTo>
                  <a:lnTo>
                    <a:pt x="5" y="17"/>
                  </a:lnTo>
                  <a:lnTo>
                    <a:pt x="3" y="19"/>
                  </a:lnTo>
                  <a:lnTo>
                    <a:pt x="0" y="20"/>
                  </a:lnTo>
                  <a:lnTo>
                    <a:pt x="2" y="20"/>
                  </a:lnTo>
                  <a:lnTo>
                    <a:pt x="5" y="19"/>
                  </a:lnTo>
                  <a:lnTo>
                    <a:pt x="7" y="20"/>
                  </a:lnTo>
                  <a:lnTo>
                    <a:pt x="9" y="19"/>
                  </a:lnTo>
                  <a:lnTo>
                    <a:pt x="13" y="16"/>
                  </a:lnTo>
                  <a:lnTo>
                    <a:pt x="15" y="15"/>
                  </a:lnTo>
                  <a:lnTo>
                    <a:pt x="16" y="15"/>
                  </a:lnTo>
                  <a:lnTo>
                    <a:pt x="19" y="15"/>
                  </a:lnTo>
                  <a:lnTo>
                    <a:pt x="22" y="14"/>
                  </a:lnTo>
                  <a:lnTo>
                    <a:pt x="24" y="13"/>
                  </a:lnTo>
                  <a:lnTo>
                    <a:pt x="26" y="9"/>
                  </a:lnTo>
                  <a:lnTo>
                    <a:pt x="29" y="8"/>
                  </a:lnTo>
                  <a:lnTo>
                    <a:pt x="30" y="7"/>
                  </a:lnTo>
                  <a:lnTo>
                    <a:pt x="33" y="8"/>
                  </a:lnTo>
                  <a:lnTo>
                    <a:pt x="36" y="8"/>
                  </a:lnTo>
                  <a:lnTo>
                    <a:pt x="39" y="8"/>
                  </a:lnTo>
                  <a:lnTo>
                    <a:pt x="39" y="8"/>
                  </a:lnTo>
                  <a:lnTo>
                    <a:pt x="42" y="8"/>
                  </a:lnTo>
                  <a:lnTo>
                    <a:pt x="45" y="9"/>
                  </a:lnTo>
                  <a:lnTo>
                    <a:pt x="45" y="9"/>
                  </a:lnTo>
                  <a:lnTo>
                    <a:pt x="43" y="11"/>
                  </a:lnTo>
                  <a:lnTo>
                    <a:pt x="42" y="12"/>
                  </a:lnTo>
                  <a:lnTo>
                    <a:pt x="40" y="13"/>
                  </a:lnTo>
                  <a:lnTo>
                    <a:pt x="42" y="15"/>
                  </a:lnTo>
                  <a:lnTo>
                    <a:pt x="46" y="15"/>
                  </a:lnTo>
                  <a:lnTo>
                    <a:pt x="48" y="15"/>
                  </a:lnTo>
                  <a:lnTo>
                    <a:pt x="50" y="17"/>
                  </a:lnTo>
                  <a:lnTo>
                    <a:pt x="51" y="14"/>
                  </a:lnTo>
                  <a:lnTo>
                    <a:pt x="54" y="17"/>
                  </a:lnTo>
                  <a:lnTo>
                    <a:pt x="59" y="17"/>
                  </a:lnTo>
                  <a:lnTo>
                    <a:pt x="59" y="16"/>
                  </a:lnTo>
                  <a:lnTo>
                    <a:pt x="60" y="16"/>
                  </a:lnTo>
                  <a:lnTo>
                    <a:pt x="60" y="15"/>
                  </a:lnTo>
                  <a:lnTo>
                    <a:pt x="62" y="17"/>
                  </a:lnTo>
                  <a:lnTo>
                    <a:pt x="63" y="19"/>
                  </a:lnTo>
                  <a:lnTo>
                    <a:pt x="66" y="20"/>
                  </a:lnTo>
                  <a:lnTo>
                    <a:pt x="66" y="21"/>
                  </a:lnTo>
                  <a:lnTo>
                    <a:pt x="67" y="22"/>
                  </a:lnTo>
                  <a:lnTo>
                    <a:pt x="67" y="21"/>
                  </a:lnTo>
                  <a:lnTo>
                    <a:pt x="67" y="22"/>
                  </a:lnTo>
                  <a:lnTo>
                    <a:pt x="71" y="22"/>
                  </a:lnTo>
                  <a:lnTo>
                    <a:pt x="73" y="23"/>
                  </a:lnTo>
                  <a:lnTo>
                    <a:pt x="74" y="23"/>
                  </a:lnTo>
                  <a:lnTo>
                    <a:pt x="76" y="23"/>
                  </a:lnTo>
                  <a:lnTo>
                    <a:pt x="79" y="24"/>
                  </a:lnTo>
                  <a:lnTo>
                    <a:pt x="81" y="23"/>
                  </a:lnTo>
                  <a:lnTo>
                    <a:pt x="83" y="23"/>
                  </a:lnTo>
                  <a:lnTo>
                    <a:pt x="85" y="23"/>
                  </a:lnTo>
                  <a:lnTo>
                    <a:pt x="85" y="24"/>
                  </a:lnTo>
                  <a:lnTo>
                    <a:pt x="86" y="26"/>
                  </a:lnTo>
                  <a:lnTo>
                    <a:pt x="88" y="30"/>
                  </a:lnTo>
                  <a:lnTo>
                    <a:pt x="89" y="32"/>
                  </a:lnTo>
                  <a:lnTo>
                    <a:pt x="91" y="34"/>
                  </a:lnTo>
                  <a:lnTo>
                    <a:pt x="94" y="37"/>
                  </a:lnTo>
                  <a:lnTo>
                    <a:pt x="97" y="36"/>
                  </a:lnTo>
                  <a:lnTo>
                    <a:pt x="98" y="37"/>
                  </a:lnTo>
                  <a:lnTo>
                    <a:pt x="101" y="37"/>
                  </a:lnTo>
                  <a:lnTo>
                    <a:pt x="103" y="36"/>
                  </a:lnTo>
                  <a:lnTo>
                    <a:pt x="105" y="39"/>
                  </a:lnTo>
                  <a:lnTo>
                    <a:pt x="107" y="39"/>
                  </a:lnTo>
                  <a:lnTo>
                    <a:pt x="107" y="41"/>
                  </a:lnTo>
                  <a:lnTo>
                    <a:pt x="106" y="42"/>
                  </a:lnTo>
                  <a:lnTo>
                    <a:pt x="103" y="43"/>
                  </a:lnTo>
                  <a:lnTo>
                    <a:pt x="102" y="43"/>
                  </a:lnTo>
                  <a:lnTo>
                    <a:pt x="100" y="46"/>
                  </a:lnTo>
                  <a:lnTo>
                    <a:pt x="10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8" name="Freeform 228">
              <a:extLst>
                <a:ext uri="{FF2B5EF4-FFF2-40B4-BE49-F238E27FC236}">
                  <a16:creationId xmlns:a16="http://schemas.microsoft.com/office/drawing/2014/main" id="{AB921212-7CDB-49F9-9442-71A485A5F60E}"/>
                </a:ext>
              </a:extLst>
            </p:cNvPr>
            <p:cNvSpPr>
              <a:spLocks noEditPoints="1"/>
            </p:cNvSpPr>
            <p:nvPr/>
          </p:nvSpPr>
          <p:spPr bwMode="auto">
            <a:xfrm>
              <a:off x="3236913" y="3219450"/>
              <a:ext cx="1468437" cy="684213"/>
            </a:xfrm>
            <a:custGeom>
              <a:avLst/>
              <a:gdLst>
                <a:gd name="T0" fmla="*/ 913 w 925"/>
                <a:gd name="T1" fmla="*/ 80 h 431"/>
                <a:gd name="T2" fmla="*/ 918 w 925"/>
                <a:gd name="T3" fmla="*/ 87 h 431"/>
                <a:gd name="T4" fmla="*/ 923 w 925"/>
                <a:gd name="T5" fmla="*/ 77 h 431"/>
                <a:gd name="T6" fmla="*/ 918 w 925"/>
                <a:gd name="T7" fmla="*/ 74 h 431"/>
                <a:gd name="T8" fmla="*/ 921 w 925"/>
                <a:gd name="T9" fmla="*/ 63 h 431"/>
                <a:gd name="T10" fmla="*/ 910 w 925"/>
                <a:gd name="T11" fmla="*/ 73 h 431"/>
                <a:gd name="T12" fmla="*/ 910 w 925"/>
                <a:gd name="T13" fmla="*/ 65 h 431"/>
                <a:gd name="T14" fmla="*/ 915 w 925"/>
                <a:gd name="T15" fmla="*/ 59 h 431"/>
                <a:gd name="T16" fmla="*/ 914 w 925"/>
                <a:gd name="T17" fmla="*/ 55 h 431"/>
                <a:gd name="T18" fmla="*/ 905 w 925"/>
                <a:gd name="T19" fmla="*/ 58 h 431"/>
                <a:gd name="T20" fmla="*/ 907 w 925"/>
                <a:gd name="T21" fmla="*/ 54 h 431"/>
                <a:gd name="T22" fmla="*/ 909 w 925"/>
                <a:gd name="T23" fmla="*/ 47 h 431"/>
                <a:gd name="T24" fmla="*/ 906 w 925"/>
                <a:gd name="T25" fmla="*/ 40 h 431"/>
                <a:gd name="T26" fmla="*/ 900 w 925"/>
                <a:gd name="T27" fmla="*/ 38 h 431"/>
                <a:gd name="T28" fmla="*/ 890 w 925"/>
                <a:gd name="T29" fmla="*/ 46 h 431"/>
                <a:gd name="T30" fmla="*/ 888 w 925"/>
                <a:gd name="T31" fmla="*/ 41 h 431"/>
                <a:gd name="T32" fmla="*/ 880 w 925"/>
                <a:gd name="T33" fmla="*/ 39 h 431"/>
                <a:gd name="T34" fmla="*/ 881 w 925"/>
                <a:gd name="T35" fmla="*/ 33 h 431"/>
                <a:gd name="T36" fmla="*/ 881 w 925"/>
                <a:gd name="T37" fmla="*/ 30 h 431"/>
                <a:gd name="T38" fmla="*/ 871 w 925"/>
                <a:gd name="T39" fmla="*/ 32 h 431"/>
                <a:gd name="T40" fmla="*/ 869 w 925"/>
                <a:gd name="T41" fmla="*/ 30 h 431"/>
                <a:gd name="T42" fmla="*/ 876 w 925"/>
                <a:gd name="T43" fmla="*/ 18 h 431"/>
                <a:gd name="T44" fmla="*/ 879 w 925"/>
                <a:gd name="T45" fmla="*/ 7 h 431"/>
                <a:gd name="T46" fmla="*/ 887 w 925"/>
                <a:gd name="T47" fmla="*/ 1 h 431"/>
                <a:gd name="T48" fmla="*/ 873 w 925"/>
                <a:gd name="T49" fmla="*/ 4 h 431"/>
                <a:gd name="T50" fmla="*/ 863 w 925"/>
                <a:gd name="T51" fmla="*/ 16 h 431"/>
                <a:gd name="T52" fmla="*/ 855 w 925"/>
                <a:gd name="T53" fmla="*/ 30 h 431"/>
                <a:gd name="T54" fmla="*/ 852 w 925"/>
                <a:gd name="T55" fmla="*/ 38 h 431"/>
                <a:gd name="T56" fmla="*/ 850 w 925"/>
                <a:gd name="T57" fmla="*/ 47 h 431"/>
                <a:gd name="T58" fmla="*/ 844 w 925"/>
                <a:gd name="T59" fmla="*/ 49 h 431"/>
                <a:gd name="T60" fmla="*/ 837 w 925"/>
                <a:gd name="T61" fmla="*/ 54 h 431"/>
                <a:gd name="T62" fmla="*/ 842 w 925"/>
                <a:gd name="T63" fmla="*/ 56 h 431"/>
                <a:gd name="T64" fmla="*/ 838 w 925"/>
                <a:gd name="T65" fmla="*/ 63 h 431"/>
                <a:gd name="T66" fmla="*/ 837 w 925"/>
                <a:gd name="T67" fmla="*/ 73 h 431"/>
                <a:gd name="T68" fmla="*/ 849 w 925"/>
                <a:gd name="T69" fmla="*/ 71 h 431"/>
                <a:gd name="T70" fmla="*/ 862 w 925"/>
                <a:gd name="T71" fmla="*/ 72 h 431"/>
                <a:gd name="T72" fmla="*/ 873 w 925"/>
                <a:gd name="T73" fmla="*/ 72 h 431"/>
                <a:gd name="T74" fmla="*/ 881 w 925"/>
                <a:gd name="T75" fmla="*/ 69 h 431"/>
                <a:gd name="T76" fmla="*/ 887 w 925"/>
                <a:gd name="T77" fmla="*/ 74 h 431"/>
                <a:gd name="T78" fmla="*/ 896 w 925"/>
                <a:gd name="T79" fmla="*/ 72 h 431"/>
                <a:gd name="T80" fmla="*/ 883 w 925"/>
                <a:gd name="T81" fmla="*/ 81 h 431"/>
                <a:gd name="T82" fmla="*/ 888 w 925"/>
                <a:gd name="T83" fmla="*/ 84 h 431"/>
                <a:gd name="T84" fmla="*/ 898 w 925"/>
                <a:gd name="T85" fmla="*/ 75 h 431"/>
                <a:gd name="T86" fmla="*/ 904 w 925"/>
                <a:gd name="T87" fmla="*/ 67 h 431"/>
                <a:gd name="T88" fmla="*/ 905 w 925"/>
                <a:gd name="T89" fmla="*/ 80 h 431"/>
                <a:gd name="T90" fmla="*/ 827 w 925"/>
                <a:gd name="T91" fmla="*/ 98 h 431"/>
                <a:gd name="T92" fmla="*/ 813 w 925"/>
                <a:gd name="T93" fmla="*/ 107 h 431"/>
                <a:gd name="T94" fmla="*/ 804 w 925"/>
                <a:gd name="T95" fmla="*/ 102 h 431"/>
                <a:gd name="T96" fmla="*/ 810 w 925"/>
                <a:gd name="T97" fmla="*/ 89 h 431"/>
                <a:gd name="T98" fmla="*/ 819 w 925"/>
                <a:gd name="T99" fmla="*/ 87 h 431"/>
                <a:gd name="T100" fmla="*/ 815 w 925"/>
                <a:gd name="T101" fmla="*/ 98 h 431"/>
                <a:gd name="T102" fmla="*/ 808 w 925"/>
                <a:gd name="T103" fmla="*/ 104 h 431"/>
                <a:gd name="T104" fmla="*/ 816 w 925"/>
                <a:gd name="T105" fmla="*/ 101 h 431"/>
                <a:gd name="T106" fmla="*/ 816 w 925"/>
                <a:gd name="T107" fmla="*/ 97 h 431"/>
                <a:gd name="T108" fmla="*/ 2 w 925"/>
                <a:gd name="T109" fmla="*/ 295 h 431"/>
                <a:gd name="T110" fmla="*/ 164 w 925"/>
                <a:gd name="T111" fmla="*/ 42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5" h="431">
                  <a:moveTo>
                    <a:pt x="904" y="85"/>
                  </a:moveTo>
                  <a:lnTo>
                    <a:pt x="905" y="85"/>
                  </a:lnTo>
                  <a:lnTo>
                    <a:pt x="907" y="84"/>
                  </a:lnTo>
                  <a:lnTo>
                    <a:pt x="910" y="82"/>
                  </a:lnTo>
                  <a:lnTo>
                    <a:pt x="913" y="80"/>
                  </a:lnTo>
                  <a:lnTo>
                    <a:pt x="913" y="83"/>
                  </a:lnTo>
                  <a:lnTo>
                    <a:pt x="912" y="85"/>
                  </a:lnTo>
                  <a:lnTo>
                    <a:pt x="914" y="89"/>
                  </a:lnTo>
                  <a:lnTo>
                    <a:pt x="916" y="87"/>
                  </a:lnTo>
                  <a:lnTo>
                    <a:pt x="918" y="87"/>
                  </a:lnTo>
                  <a:lnTo>
                    <a:pt x="921" y="85"/>
                  </a:lnTo>
                  <a:lnTo>
                    <a:pt x="922" y="83"/>
                  </a:lnTo>
                  <a:lnTo>
                    <a:pt x="922" y="80"/>
                  </a:lnTo>
                  <a:lnTo>
                    <a:pt x="923" y="77"/>
                  </a:lnTo>
                  <a:lnTo>
                    <a:pt x="923" y="77"/>
                  </a:lnTo>
                  <a:lnTo>
                    <a:pt x="924" y="75"/>
                  </a:lnTo>
                  <a:lnTo>
                    <a:pt x="925" y="72"/>
                  </a:lnTo>
                  <a:lnTo>
                    <a:pt x="923" y="69"/>
                  </a:lnTo>
                  <a:lnTo>
                    <a:pt x="922" y="72"/>
                  </a:lnTo>
                  <a:lnTo>
                    <a:pt x="918" y="74"/>
                  </a:lnTo>
                  <a:lnTo>
                    <a:pt x="916" y="73"/>
                  </a:lnTo>
                  <a:lnTo>
                    <a:pt x="917" y="71"/>
                  </a:lnTo>
                  <a:lnTo>
                    <a:pt x="918" y="67"/>
                  </a:lnTo>
                  <a:lnTo>
                    <a:pt x="921" y="65"/>
                  </a:lnTo>
                  <a:lnTo>
                    <a:pt x="921" y="63"/>
                  </a:lnTo>
                  <a:lnTo>
                    <a:pt x="918" y="64"/>
                  </a:lnTo>
                  <a:lnTo>
                    <a:pt x="916" y="65"/>
                  </a:lnTo>
                  <a:lnTo>
                    <a:pt x="914" y="68"/>
                  </a:lnTo>
                  <a:lnTo>
                    <a:pt x="914" y="71"/>
                  </a:lnTo>
                  <a:lnTo>
                    <a:pt x="910" y="73"/>
                  </a:lnTo>
                  <a:lnTo>
                    <a:pt x="910" y="73"/>
                  </a:lnTo>
                  <a:lnTo>
                    <a:pt x="908" y="71"/>
                  </a:lnTo>
                  <a:lnTo>
                    <a:pt x="907" y="67"/>
                  </a:lnTo>
                  <a:lnTo>
                    <a:pt x="909" y="67"/>
                  </a:lnTo>
                  <a:lnTo>
                    <a:pt x="910" y="65"/>
                  </a:lnTo>
                  <a:lnTo>
                    <a:pt x="908" y="65"/>
                  </a:lnTo>
                  <a:lnTo>
                    <a:pt x="910" y="64"/>
                  </a:lnTo>
                  <a:lnTo>
                    <a:pt x="909" y="61"/>
                  </a:lnTo>
                  <a:lnTo>
                    <a:pt x="912" y="61"/>
                  </a:lnTo>
                  <a:lnTo>
                    <a:pt x="915" y="59"/>
                  </a:lnTo>
                  <a:lnTo>
                    <a:pt x="917" y="58"/>
                  </a:lnTo>
                  <a:lnTo>
                    <a:pt x="920" y="56"/>
                  </a:lnTo>
                  <a:lnTo>
                    <a:pt x="918" y="54"/>
                  </a:lnTo>
                  <a:lnTo>
                    <a:pt x="916" y="56"/>
                  </a:lnTo>
                  <a:lnTo>
                    <a:pt x="914" y="55"/>
                  </a:lnTo>
                  <a:lnTo>
                    <a:pt x="913" y="57"/>
                  </a:lnTo>
                  <a:lnTo>
                    <a:pt x="909" y="56"/>
                  </a:lnTo>
                  <a:lnTo>
                    <a:pt x="907" y="57"/>
                  </a:lnTo>
                  <a:lnTo>
                    <a:pt x="905" y="59"/>
                  </a:lnTo>
                  <a:lnTo>
                    <a:pt x="905" y="58"/>
                  </a:lnTo>
                  <a:lnTo>
                    <a:pt x="907" y="57"/>
                  </a:lnTo>
                  <a:lnTo>
                    <a:pt x="909" y="55"/>
                  </a:lnTo>
                  <a:lnTo>
                    <a:pt x="907" y="55"/>
                  </a:lnTo>
                  <a:lnTo>
                    <a:pt x="909" y="52"/>
                  </a:lnTo>
                  <a:lnTo>
                    <a:pt x="907" y="54"/>
                  </a:lnTo>
                  <a:lnTo>
                    <a:pt x="907" y="54"/>
                  </a:lnTo>
                  <a:lnTo>
                    <a:pt x="907" y="50"/>
                  </a:lnTo>
                  <a:lnTo>
                    <a:pt x="905" y="50"/>
                  </a:lnTo>
                  <a:lnTo>
                    <a:pt x="907" y="50"/>
                  </a:lnTo>
                  <a:lnTo>
                    <a:pt x="909" y="47"/>
                  </a:lnTo>
                  <a:lnTo>
                    <a:pt x="912" y="46"/>
                  </a:lnTo>
                  <a:lnTo>
                    <a:pt x="914" y="43"/>
                  </a:lnTo>
                  <a:lnTo>
                    <a:pt x="912" y="41"/>
                  </a:lnTo>
                  <a:lnTo>
                    <a:pt x="909" y="40"/>
                  </a:lnTo>
                  <a:lnTo>
                    <a:pt x="906" y="40"/>
                  </a:lnTo>
                  <a:lnTo>
                    <a:pt x="904" y="41"/>
                  </a:lnTo>
                  <a:lnTo>
                    <a:pt x="901" y="40"/>
                  </a:lnTo>
                  <a:lnTo>
                    <a:pt x="899" y="42"/>
                  </a:lnTo>
                  <a:lnTo>
                    <a:pt x="899" y="40"/>
                  </a:lnTo>
                  <a:lnTo>
                    <a:pt x="900" y="38"/>
                  </a:lnTo>
                  <a:lnTo>
                    <a:pt x="897" y="40"/>
                  </a:lnTo>
                  <a:lnTo>
                    <a:pt x="895" y="40"/>
                  </a:lnTo>
                  <a:lnTo>
                    <a:pt x="892" y="43"/>
                  </a:lnTo>
                  <a:lnTo>
                    <a:pt x="891" y="42"/>
                  </a:lnTo>
                  <a:lnTo>
                    <a:pt x="890" y="46"/>
                  </a:lnTo>
                  <a:lnTo>
                    <a:pt x="888" y="47"/>
                  </a:lnTo>
                  <a:lnTo>
                    <a:pt x="888" y="44"/>
                  </a:lnTo>
                  <a:lnTo>
                    <a:pt x="889" y="41"/>
                  </a:lnTo>
                  <a:lnTo>
                    <a:pt x="889" y="39"/>
                  </a:lnTo>
                  <a:lnTo>
                    <a:pt x="888" y="41"/>
                  </a:lnTo>
                  <a:lnTo>
                    <a:pt x="888" y="39"/>
                  </a:lnTo>
                  <a:lnTo>
                    <a:pt x="884" y="41"/>
                  </a:lnTo>
                  <a:lnTo>
                    <a:pt x="886" y="39"/>
                  </a:lnTo>
                  <a:lnTo>
                    <a:pt x="882" y="39"/>
                  </a:lnTo>
                  <a:lnTo>
                    <a:pt x="880" y="39"/>
                  </a:lnTo>
                  <a:lnTo>
                    <a:pt x="878" y="40"/>
                  </a:lnTo>
                  <a:lnTo>
                    <a:pt x="880" y="38"/>
                  </a:lnTo>
                  <a:lnTo>
                    <a:pt x="881" y="35"/>
                  </a:lnTo>
                  <a:lnTo>
                    <a:pt x="879" y="35"/>
                  </a:lnTo>
                  <a:lnTo>
                    <a:pt x="881" y="33"/>
                  </a:lnTo>
                  <a:lnTo>
                    <a:pt x="883" y="32"/>
                  </a:lnTo>
                  <a:lnTo>
                    <a:pt x="886" y="30"/>
                  </a:lnTo>
                  <a:lnTo>
                    <a:pt x="886" y="30"/>
                  </a:lnTo>
                  <a:lnTo>
                    <a:pt x="883" y="30"/>
                  </a:lnTo>
                  <a:lnTo>
                    <a:pt x="881" y="30"/>
                  </a:lnTo>
                  <a:lnTo>
                    <a:pt x="878" y="30"/>
                  </a:lnTo>
                  <a:lnTo>
                    <a:pt x="876" y="27"/>
                  </a:lnTo>
                  <a:lnTo>
                    <a:pt x="874" y="30"/>
                  </a:lnTo>
                  <a:lnTo>
                    <a:pt x="874" y="30"/>
                  </a:lnTo>
                  <a:lnTo>
                    <a:pt x="871" y="32"/>
                  </a:lnTo>
                  <a:lnTo>
                    <a:pt x="869" y="35"/>
                  </a:lnTo>
                  <a:lnTo>
                    <a:pt x="867" y="38"/>
                  </a:lnTo>
                  <a:lnTo>
                    <a:pt x="869" y="35"/>
                  </a:lnTo>
                  <a:lnTo>
                    <a:pt x="869" y="32"/>
                  </a:lnTo>
                  <a:lnTo>
                    <a:pt x="869" y="30"/>
                  </a:lnTo>
                  <a:lnTo>
                    <a:pt x="870" y="27"/>
                  </a:lnTo>
                  <a:lnTo>
                    <a:pt x="872" y="25"/>
                  </a:lnTo>
                  <a:lnTo>
                    <a:pt x="872" y="23"/>
                  </a:lnTo>
                  <a:lnTo>
                    <a:pt x="875" y="21"/>
                  </a:lnTo>
                  <a:lnTo>
                    <a:pt x="876" y="18"/>
                  </a:lnTo>
                  <a:lnTo>
                    <a:pt x="879" y="15"/>
                  </a:lnTo>
                  <a:lnTo>
                    <a:pt x="881" y="13"/>
                  </a:lnTo>
                  <a:lnTo>
                    <a:pt x="882" y="10"/>
                  </a:lnTo>
                  <a:lnTo>
                    <a:pt x="881" y="7"/>
                  </a:lnTo>
                  <a:lnTo>
                    <a:pt x="879" y="7"/>
                  </a:lnTo>
                  <a:lnTo>
                    <a:pt x="878" y="5"/>
                  </a:lnTo>
                  <a:lnTo>
                    <a:pt x="881" y="6"/>
                  </a:lnTo>
                  <a:lnTo>
                    <a:pt x="883" y="6"/>
                  </a:lnTo>
                  <a:lnTo>
                    <a:pt x="887" y="4"/>
                  </a:lnTo>
                  <a:lnTo>
                    <a:pt x="887" y="1"/>
                  </a:lnTo>
                  <a:lnTo>
                    <a:pt x="883" y="3"/>
                  </a:lnTo>
                  <a:lnTo>
                    <a:pt x="881" y="0"/>
                  </a:lnTo>
                  <a:lnTo>
                    <a:pt x="878" y="1"/>
                  </a:lnTo>
                  <a:lnTo>
                    <a:pt x="875" y="3"/>
                  </a:lnTo>
                  <a:lnTo>
                    <a:pt x="873" y="4"/>
                  </a:lnTo>
                  <a:lnTo>
                    <a:pt x="870" y="5"/>
                  </a:lnTo>
                  <a:lnTo>
                    <a:pt x="869" y="8"/>
                  </a:lnTo>
                  <a:lnTo>
                    <a:pt x="866" y="10"/>
                  </a:lnTo>
                  <a:lnTo>
                    <a:pt x="865" y="14"/>
                  </a:lnTo>
                  <a:lnTo>
                    <a:pt x="863" y="16"/>
                  </a:lnTo>
                  <a:lnTo>
                    <a:pt x="861" y="18"/>
                  </a:lnTo>
                  <a:lnTo>
                    <a:pt x="858" y="22"/>
                  </a:lnTo>
                  <a:lnTo>
                    <a:pt x="857" y="24"/>
                  </a:lnTo>
                  <a:lnTo>
                    <a:pt x="856" y="27"/>
                  </a:lnTo>
                  <a:lnTo>
                    <a:pt x="855" y="30"/>
                  </a:lnTo>
                  <a:lnTo>
                    <a:pt x="855" y="31"/>
                  </a:lnTo>
                  <a:lnTo>
                    <a:pt x="853" y="33"/>
                  </a:lnTo>
                  <a:lnTo>
                    <a:pt x="853" y="37"/>
                  </a:lnTo>
                  <a:lnTo>
                    <a:pt x="855" y="39"/>
                  </a:lnTo>
                  <a:lnTo>
                    <a:pt x="852" y="38"/>
                  </a:lnTo>
                  <a:lnTo>
                    <a:pt x="849" y="40"/>
                  </a:lnTo>
                  <a:lnTo>
                    <a:pt x="848" y="42"/>
                  </a:lnTo>
                  <a:lnTo>
                    <a:pt x="850" y="44"/>
                  </a:lnTo>
                  <a:lnTo>
                    <a:pt x="853" y="44"/>
                  </a:lnTo>
                  <a:lnTo>
                    <a:pt x="850" y="47"/>
                  </a:lnTo>
                  <a:lnTo>
                    <a:pt x="853" y="48"/>
                  </a:lnTo>
                  <a:lnTo>
                    <a:pt x="850" y="48"/>
                  </a:lnTo>
                  <a:lnTo>
                    <a:pt x="848" y="46"/>
                  </a:lnTo>
                  <a:lnTo>
                    <a:pt x="845" y="47"/>
                  </a:lnTo>
                  <a:lnTo>
                    <a:pt x="844" y="49"/>
                  </a:lnTo>
                  <a:lnTo>
                    <a:pt x="842" y="52"/>
                  </a:lnTo>
                  <a:lnTo>
                    <a:pt x="841" y="55"/>
                  </a:lnTo>
                  <a:lnTo>
                    <a:pt x="839" y="55"/>
                  </a:lnTo>
                  <a:lnTo>
                    <a:pt x="839" y="52"/>
                  </a:lnTo>
                  <a:lnTo>
                    <a:pt x="837" y="54"/>
                  </a:lnTo>
                  <a:lnTo>
                    <a:pt x="835" y="57"/>
                  </a:lnTo>
                  <a:lnTo>
                    <a:pt x="837" y="56"/>
                  </a:lnTo>
                  <a:lnTo>
                    <a:pt x="840" y="56"/>
                  </a:lnTo>
                  <a:lnTo>
                    <a:pt x="842" y="56"/>
                  </a:lnTo>
                  <a:lnTo>
                    <a:pt x="842" y="56"/>
                  </a:lnTo>
                  <a:lnTo>
                    <a:pt x="846" y="56"/>
                  </a:lnTo>
                  <a:lnTo>
                    <a:pt x="846" y="57"/>
                  </a:lnTo>
                  <a:lnTo>
                    <a:pt x="844" y="58"/>
                  </a:lnTo>
                  <a:lnTo>
                    <a:pt x="840" y="60"/>
                  </a:lnTo>
                  <a:lnTo>
                    <a:pt x="838" y="63"/>
                  </a:lnTo>
                  <a:lnTo>
                    <a:pt x="835" y="65"/>
                  </a:lnTo>
                  <a:lnTo>
                    <a:pt x="832" y="67"/>
                  </a:lnTo>
                  <a:lnTo>
                    <a:pt x="833" y="69"/>
                  </a:lnTo>
                  <a:lnTo>
                    <a:pt x="835" y="73"/>
                  </a:lnTo>
                  <a:lnTo>
                    <a:pt x="837" y="73"/>
                  </a:lnTo>
                  <a:lnTo>
                    <a:pt x="840" y="72"/>
                  </a:lnTo>
                  <a:lnTo>
                    <a:pt x="842" y="72"/>
                  </a:lnTo>
                  <a:lnTo>
                    <a:pt x="846" y="72"/>
                  </a:lnTo>
                  <a:lnTo>
                    <a:pt x="847" y="71"/>
                  </a:lnTo>
                  <a:lnTo>
                    <a:pt x="849" y="71"/>
                  </a:lnTo>
                  <a:lnTo>
                    <a:pt x="853" y="71"/>
                  </a:lnTo>
                  <a:lnTo>
                    <a:pt x="855" y="71"/>
                  </a:lnTo>
                  <a:lnTo>
                    <a:pt x="858" y="72"/>
                  </a:lnTo>
                  <a:lnTo>
                    <a:pt x="861" y="72"/>
                  </a:lnTo>
                  <a:lnTo>
                    <a:pt x="862" y="72"/>
                  </a:lnTo>
                  <a:lnTo>
                    <a:pt x="864" y="73"/>
                  </a:lnTo>
                  <a:lnTo>
                    <a:pt x="867" y="73"/>
                  </a:lnTo>
                  <a:lnTo>
                    <a:pt x="870" y="73"/>
                  </a:lnTo>
                  <a:lnTo>
                    <a:pt x="870" y="72"/>
                  </a:lnTo>
                  <a:lnTo>
                    <a:pt x="873" y="72"/>
                  </a:lnTo>
                  <a:lnTo>
                    <a:pt x="875" y="72"/>
                  </a:lnTo>
                  <a:lnTo>
                    <a:pt x="878" y="68"/>
                  </a:lnTo>
                  <a:lnTo>
                    <a:pt x="880" y="69"/>
                  </a:lnTo>
                  <a:lnTo>
                    <a:pt x="882" y="66"/>
                  </a:lnTo>
                  <a:lnTo>
                    <a:pt x="881" y="69"/>
                  </a:lnTo>
                  <a:lnTo>
                    <a:pt x="881" y="72"/>
                  </a:lnTo>
                  <a:lnTo>
                    <a:pt x="879" y="74"/>
                  </a:lnTo>
                  <a:lnTo>
                    <a:pt x="882" y="74"/>
                  </a:lnTo>
                  <a:lnTo>
                    <a:pt x="884" y="75"/>
                  </a:lnTo>
                  <a:lnTo>
                    <a:pt x="887" y="74"/>
                  </a:lnTo>
                  <a:lnTo>
                    <a:pt x="888" y="71"/>
                  </a:lnTo>
                  <a:lnTo>
                    <a:pt x="891" y="72"/>
                  </a:lnTo>
                  <a:lnTo>
                    <a:pt x="893" y="69"/>
                  </a:lnTo>
                  <a:lnTo>
                    <a:pt x="892" y="72"/>
                  </a:lnTo>
                  <a:lnTo>
                    <a:pt x="896" y="72"/>
                  </a:lnTo>
                  <a:lnTo>
                    <a:pt x="892" y="74"/>
                  </a:lnTo>
                  <a:lnTo>
                    <a:pt x="890" y="75"/>
                  </a:lnTo>
                  <a:lnTo>
                    <a:pt x="889" y="77"/>
                  </a:lnTo>
                  <a:lnTo>
                    <a:pt x="886" y="80"/>
                  </a:lnTo>
                  <a:lnTo>
                    <a:pt x="883" y="81"/>
                  </a:lnTo>
                  <a:lnTo>
                    <a:pt x="881" y="81"/>
                  </a:lnTo>
                  <a:lnTo>
                    <a:pt x="879" y="84"/>
                  </a:lnTo>
                  <a:lnTo>
                    <a:pt x="882" y="84"/>
                  </a:lnTo>
                  <a:lnTo>
                    <a:pt x="884" y="84"/>
                  </a:lnTo>
                  <a:lnTo>
                    <a:pt x="888" y="84"/>
                  </a:lnTo>
                  <a:lnTo>
                    <a:pt x="889" y="84"/>
                  </a:lnTo>
                  <a:lnTo>
                    <a:pt x="891" y="81"/>
                  </a:lnTo>
                  <a:lnTo>
                    <a:pt x="892" y="78"/>
                  </a:lnTo>
                  <a:lnTo>
                    <a:pt x="895" y="76"/>
                  </a:lnTo>
                  <a:lnTo>
                    <a:pt x="898" y="75"/>
                  </a:lnTo>
                  <a:lnTo>
                    <a:pt x="900" y="73"/>
                  </a:lnTo>
                  <a:lnTo>
                    <a:pt x="899" y="75"/>
                  </a:lnTo>
                  <a:lnTo>
                    <a:pt x="900" y="73"/>
                  </a:lnTo>
                  <a:lnTo>
                    <a:pt x="903" y="71"/>
                  </a:lnTo>
                  <a:lnTo>
                    <a:pt x="904" y="67"/>
                  </a:lnTo>
                  <a:lnTo>
                    <a:pt x="907" y="69"/>
                  </a:lnTo>
                  <a:lnTo>
                    <a:pt x="908" y="72"/>
                  </a:lnTo>
                  <a:lnTo>
                    <a:pt x="907" y="75"/>
                  </a:lnTo>
                  <a:lnTo>
                    <a:pt x="906" y="77"/>
                  </a:lnTo>
                  <a:lnTo>
                    <a:pt x="905" y="80"/>
                  </a:lnTo>
                  <a:lnTo>
                    <a:pt x="904" y="83"/>
                  </a:lnTo>
                  <a:lnTo>
                    <a:pt x="904" y="85"/>
                  </a:lnTo>
                  <a:lnTo>
                    <a:pt x="904" y="85"/>
                  </a:lnTo>
                  <a:close/>
                  <a:moveTo>
                    <a:pt x="824" y="97"/>
                  </a:moveTo>
                  <a:lnTo>
                    <a:pt x="827" y="98"/>
                  </a:lnTo>
                  <a:lnTo>
                    <a:pt x="827" y="101"/>
                  </a:lnTo>
                  <a:lnTo>
                    <a:pt x="824" y="101"/>
                  </a:lnTo>
                  <a:lnTo>
                    <a:pt x="822" y="103"/>
                  </a:lnTo>
                  <a:lnTo>
                    <a:pt x="819" y="106"/>
                  </a:lnTo>
                  <a:lnTo>
                    <a:pt x="813" y="107"/>
                  </a:lnTo>
                  <a:lnTo>
                    <a:pt x="811" y="106"/>
                  </a:lnTo>
                  <a:lnTo>
                    <a:pt x="808" y="107"/>
                  </a:lnTo>
                  <a:lnTo>
                    <a:pt x="805" y="107"/>
                  </a:lnTo>
                  <a:lnTo>
                    <a:pt x="804" y="104"/>
                  </a:lnTo>
                  <a:lnTo>
                    <a:pt x="804" y="102"/>
                  </a:lnTo>
                  <a:lnTo>
                    <a:pt x="803" y="99"/>
                  </a:lnTo>
                  <a:lnTo>
                    <a:pt x="805" y="97"/>
                  </a:lnTo>
                  <a:lnTo>
                    <a:pt x="807" y="94"/>
                  </a:lnTo>
                  <a:lnTo>
                    <a:pt x="810" y="92"/>
                  </a:lnTo>
                  <a:lnTo>
                    <a:pt x="810" y="89"/>
                  </a:lnTo>
                  <a:lnTo>
                    <a:pt x="812" y="86"/>
                  </a:lnTo>
                  <a:lnTo>
                    <a:pt x="814" y="84"/>
                  </a:lnTo>
                  <a:lnTo>
                    <a:pt x="818" y="84"/>
                  </a:lnTo>
                  <a:lnTo>
                    <a:pt x="820" y="85"/>
                  </a:lnTo>
                  <a:lnTo>
                    <a:pt x="819" y="87"/>
                  </a:lnTo>
                  <a:lnTo>
                    <a:pt x="819" y="91"/>
                  </a:lnTo>
                  <a:lnTo>
                    <a:pt x="818" y="93"/>
                  </a:lnTo>
                  <a:lnTo>
                    <a:pt x="815" y="97"/>
                  </a:lnTo>
                  <a:lnTo>
                    <a:pt x="819" y="94"/>
                  </a:lnTo>
                  <a:lnTo>
                    <a:pt x="815" y="98"/>
                  </a:lnTo>
                  <a:lnTo>
                    <a:pt x="813" y="99"/>
                  </a:lnTo>
                  <a:lnTo>
                    <a:pt x="811" y="101"/>
                  </a:lnTo>
                  <a:lnTo>
                    <a:pt x="813" y="101"/>
                  </a:lnTo>
                  <a:lnTo>
                    <a:pt x="811" y="102"/>
                  </a:lnTo>
                  <a:lnTo>
                    <a:pt x="808" y="104"/>
                  </a:lnTo>
                  <a:lnTo>
                    <a:pt x="811" y="103"/>
                  </a:lnTo>
                  <a:lnTo>
                    <a:pt x="814" y="104"/>
                  </a:lnTo>
                  <a:lnTo>
                    <a:pt x="816" y="101"/>
                  </a:lnTo>
                  <a:lnTo>
                    <a:pt x="819" y="100"/>
                  </a:lnTo>
                  <a:lnTo>
                    <a:pt x="816" y="101"/>
                  </a:lnTo>
                  <a:lnTo>
                    <a:pt x="813" y="101"/>
                  </a:lnTo>
                  <a:lnTo>
                    <a:pt x="813" y="100"/>
                  </a:lnTo>
                  <a:lnTo>
                    <a:pt x="816" y="99"/>
                  </a:lnTo>
                  <a:lnTo>
                    <a:pt x="819" y="95"/>
                  </a:lnTo>
                  <a:lnTo>
                    <a:pt x="816" y="97"/>
                  </a:lnTo>
                  <a:lnTo>
                    <a:pt x="819" y="94"/>
                  </a:lnTo>
                  <a:lnTo>
                    <a:pt x="821" y="97"/>
                  </a:lnTo>
                  <a:lnTo>
                    <a:pt x="824" y="97"/>
                  </a:lnTo>
                  <a:lnTo>
                    <a:pt x="824" y="97"/>
                  </a:lnTo>
                  <a:close/>
                  <a:moveTo>
                    <a:pt x="2" y="295"/>
                  </a:moveTo>
                  <a:lnTo>
                    <a:pt x="2" y="294"/>
                  </a:lnTo>
                  <a:lnTo>
                    <a:pt x="0" y="294"/>
                  </a:lnTo>
                  <a:lnTo>
                    <a:pt x="2" y="295"/>
                  </a:lnTo>
                  <a:lnTo>
                    <a:pt x="2" y="295"/>
                  </a:lnTo>
                  <a:close/>
                  <a:moveTo>
                    <a:pt x="164" y="428"/>
                  </a:moveTo>
                  <a:lnTo>
                    <a:pt x="165" y="431"/>
                  </a:lnTo>
                  <a:lnTo>
                    <a:pt x="164" y="428"/>
                  </a:lnTo>
                  <a:lnTo>
                    <a:pt x="164" y="428"/>
                  </a:lnTo>
                  <a:lnTo>
                    <a:pt x="164"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9" name="Freeform 229">
              <a:extLst>
                <a:ext uri="{FF2B5EF4-FFF2-40B4-BE49-F238E27FC236}">
                  <a16:creationId xmlns:a16="http://schemas.microsoft.com/office/drawing/2014/main" id="{E17E108B-D652-4A2B-B9F3-6B07301B0D88}"/>
                </a:ext>
              </a:extLst>
            </p:cNvPr>
            <p:cNvSpPr>
              <a:spLocks noEditPoints="1"/>
            </p:cNvSpPr>
            <p:nvPr/>
          </p:nvSpPr>
          <p:spPr bwMode="auto">
            <a:xfrm>
              <a:off x="3059113" y="3241675"/>
              <a:ext cx="898525" cy="166688"/>
            </a:xfrm>
            <a:custGeom>
              <a:avLst/>
              <a:gdLst>
                <a:gd name="T0" fmla="*/ 44 w 566"/>
                <a:gd name="T1" fmla="*/ 17 h 105"/>
                <a:gd name="T2" fmla="*/ 47 w 566"/>
                <a:gd name="T3" fmla="*/ 23 h 105"/>
                <a:gd name="T4" fmla="*/ 53 w 566"/>
                <a:gd name="T5" fmla="*/ 27 h 105"/>
                <a:gd name="T6" fmla="*/ 57 w 566"/>
                <a:gd name="T7" fmla="*/ 29 h 105"/>
                <a:gd name="T8" fmla="*/ 62 w 566"/>
                <a:gd name="T9" fmla="*/ 34 h 105"/>
                <a:gd name="T10" fmla="*/ 65 w 566"/>
                <a:gd name="T11" fmla="*/ 38 h 105"/>
                <a:gd name="T12" fmla="*/ 68 w 566"/>
                <a:gd name="T13" fmla="*/ 44 h 105"/>
                <a:gd name="T14" fmla="*/ 63 w 566"/>
                <a:gd name="T15" fmla="*/ 44 h 105"/>
                <a:gd name="T16" fmla="*/ 57 w 566"/>
                <a:gd name="T17" fmla="*/ 43 h 105"/>
                <a:gd name="T18" fmla="*/ 52 w 566"/>
                <a:gd name="T19" fmla="*/ 41 h 105"/>
                <a:gd name="T20" fmla="*/ 46 w 566"/>
                <a:gd name="T21" fmla="*/ 38 h 105"/>
                <a:gd name="T22" fmla="*/ 46 w 566"/>
                <a:gd name="T23" fmla="*/ 34 h 105"/>
                <a:gd name="T24" fmla="*/ 46 w 566"/>
                <a:gd name="T25" fmla="*/ 34 h 105"/>
                <a:gd name="T26" fmla="*/ 40 w 566"/>
                <a:gd name="T27" fmla="*/ 35 h 105"/>
                <a:gd name="T28" fmla="*/ 35 w 566"/>
                <a:gd name="T29" fmla="*/ 33 h 105"/>
                <a:gd name="T30" fmla="*/ 35 w 566"/>
                <a:gd name="T31" fmla="*/ 27 h 105"/>
                <a:gd name="T32" fmla="*/ 30 w 566"/>
                <a:gd name="T33" fmla="*/ 26 h 105"/>
                <a:gd name="T34" fmla="*/ 25 w 566"/>
                <a:gd name="T35" fmla="*/ 25 h 105"/>
                <a:gd name="T36" fmla="*/ 28 w 566"/>
                <a:gd name="T37" fmla="*/ 21 h 105"/>
                <a:gd name="T38" fmla="*/ 29 w 566"/>
                <a:gd name="T39" fmla="*/ 21 h 105"/>
                <a:gd name="T40" fmla="*/ 23 w 566"/>
                <a:gd name="T41" fmla="*/ 20 h 105"/>
                <a:gd name="T42" fmla="*/ 19 w 566"/>
                <a:gd name="T43" fmla="*/ 18 h 105"/>
                <a:gd name="T44" fmla="*/ 13 w 566"/>
                <a:gd name="T45" fmla="*/ 15 h 105"/>
                <a:gd name="T46" fmla="*/ 10 w 566"/>
                <a:gd name="T47" fmla="*/ 13 h 105"/>
                <a:gd name="T48" fmla="*/ 9 w 566"/>
                <a:gd name="T49" fmla="*/ 11 h 105"/>
                <a:gd name="T50" fmla="*/ 6 w 566"/>
                <a:gd name="T51" fmla="*/ 7 h 105"/>
                <a:gd name="T52" fmla="*/ 12 w 566"/>
                <a:gd name="T53" fmla="*/ 9 h 105"/>
                <a:gd name="T54" fmla="*/ 8 w 566"/>
                <a:gd name="T55" fmla="*/ 4 h 105"/>
                <a:gd name="T56" fmla="*/ 3 w 566"/>
                <a:gd name="T57" fmla="*/ 7 h 105"/>
                <a:gd name="T58" fmla="*/ 0 w 566"/>
                <a:gd name="T59" fmla="*/ 1 h 105"/>
                <a:gd name="T60" fmla="*/ 5 w 566"/>
                <a:gd name="T61" fmla="*/ 0 h 105"/>
                <a:gd name="T62" fmla="*/ 11 w 566"/>
                <a:gd name="T63" fmla="*/ 1 h 105"/>
                <a:gd name="T64" fmla="*/ 15 w 566"/>
                <a:gd name="T65" fmla="*/ 4 h 105"/>
                <a:gd name="T66" fmla="*/ 21 w 566"/>
                <a:gd name="T67" fmla="*/ 6 h 105"/>
                <a:gd name="T68" fmla="*/ 27 w 566"/>
                <a:gd name="T69" fmla="*/ 7 h 105"/>
                <a:gd name="T70" fmla="*/ 32 w 566"/>
                <a:gd name="T71" fmla="*/ 9 h 105"/>
                <a:gd name="T72" fmla="*/ 36 w 566"/>
                <a:gd name="T73" fmla="*/ 9 h 105"/>
                <a:gd name="T74" fmla="*/ 40 w 566"/>
                <a:gd name="T75" fmla="*/ 12 h 105"/>
                <a:gd name="T76" fmla="*/ 43 w 566"/>
                <a:gd name="T77" fmla="*/ 16 h 105"/>
                <a:gd name="T78" fmla="*/ 561 w 566"/>
                <a:gd name="T79" fmla="*/ 103 h 105"/>
                <a:gd name="T80" fmla="*/ 564 w 566"/>
                <a:gd name="T81" fmla="*/ 103 h 105"/>
                <a:gd name="T82" fmla="*/ 566 w 566"/>
                <a:gd name="T83" fmla="*/ 97 h 105"/>
                <a:gd name="T84" fmla="*/ 561 w 566"/>
                <a:gd name="T8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6" h="105">
                  <a:moveTo>
                    <a:pt x="43" y="16"/>
                  </a:moveTo>
                  <a:lnTo>
                    <a:pt x="44" y="17"/>
                  </a:lnTo>
                  <a:lnTo>
                    <a:pt x="46" y="19"/>
                  </a:lnTo>
                  <a:lnTo>
                    <a:pt x="47" y="23"/>
                  </a:lnTo>
                  <a:lnTo>
                    <a:pt x="49" y="25"/>
                  </a:lnTo>
                  <a:lnTo>
                    <a:pt x="53" y="27"/>
                  </a:lnTo>
                  <a:lnTo>
                    <a:pt x="55" y="27"/>
                  </a:lnTo>
                  <a:lnTo>
                    <a:pt x="57" y="29"/>
                  </a:lnTo>
                  <a:lnTo>
                    <a:pt x="61" y="30"/>
                  </a:lnTo>
                  <a:lnTo>
                    <a:pt x="62" y="34"/>
                  </a:lnTo>
                  <a:lnTo>
                    <a:pt x="64" y="36"/>
                  </a:lnTo>
                  <a:lnTo>
                    <a:pt x="65" y="38"/>
                  </a:lnTo>
                  <a:lnTo>
                    <a:pt x="69" y="41"/>
                  </a:lnTo>
                  <a:lnTo>
                    <a:pt x="68" y="44"/>
                  </a:lnTo>
                  <a:lnTo>
                    <a:pt x="65" y="45"/>
                  </a:lnTo>
                  <a:lnTo>
                    <a:pt x="63" y="44"/>
                  </a:lnTo>
                  <a:lnTo>
                    <a:pt x="60" y="44"/>
                  </a:lnTo>
                  <a:lnTo>
                    <a:pt x="57" y="43"/>
                  </a:lnTo>
                  <a:lnTo>
                    <a:pt x="54" y="42"/>
                  </a:lnTo>
                  <a:lnTo>
                    <a:pt x="52" y="41"/>
                  </a:lnTo>
                  <a:lnTo>
                    <a:pt x="49" y="41"/>
                  </a:lnTo>
                  <a:lnTo>
                    <a:pt x="46" y="38"/>
                  </a:lnTo>
                  <a:lnTo>
                    <a:pt x="44" y="36"/>
                  </a:lnTo>
                  <a:lnTo>
                    <a:pt x="46" y="34"/>
                  </a:lnTo>
                  <a:lnTo>
                    <a:pt x="48" y="32"/>
                  </a:lnTo>
                  <a:lnTo>
                    <a:pt x="46" y="34"/>
                  </a:lnTo>
                  <a:lnTo>
                    <a:pt x="43" y="34"/>
                  </a:lnTo>
                  <a:lnTo>
                    <a:pt x="40" y="35"/>
                  </a:lnTo>
                  <a:lnTo>
                    <a:pt x="37" y="34"/>
                  </a:lnTo>
                  <a:lnTo>
                    <a:pt x="35" y="33"/>
                  </a:lnTo>
                  <a:lnTo>
                    <a:pt x="36" y="29"/>
                  </a:lnTo>
                  <a:lnTo>
                    <a:pt x="35" y="27"/>
                  </a:lnTo>
                  <a:lnTo>
                    <a:pt x="32" y="27"/>
                  </a:lnTo>
                  <a:lnTo>
                    <a:pt x="30" y="26"/>
                  </a:lnTo>
                  <a:lnTo>
                    <a:pt x="27" y="26"/>
                  </a:lnTo>
                  <a:lnTo>
                    <a:pt x="25" y="25"/>
                  </a:lnTo>
                  <a:lnTo>
                    <a:pt x="26" y="23"/>
                  </a:lnTo>
                  <a:lnTo>
                    <a:pt x="28" y="21"/>
                  </a:lnTo>
                  <a:lnTo>
                    <a:pt x="30" y="21"/>
                  </a:lnTo>
                  <a:lnTo>
                    <a:pt x="29" y="21"/>
                  </a:lnTo>
                  <a:lnTo>
                    <a:pt x="27" y="19"/>
                  </a:lnTo>
                  <a:lnTo>
                    <a:pt x="23" y="20"/>
                  </a:lnTo>
                  <a:lnTo>
                    <a:pt x="21" y="17"/>
                  </a:lnTo>
                  <a:lnTo>
                    <a:pt x="19" y="18"/>
                  </a:lnTo>
                  <a:lnTo>
                    <a:pt x="15" y="16"/>
                  </a:lnTo>
                  <a:lnTo>
                    <a:pt x="13" y="15"/>
                  </a:lnTo>
                  <a:lnTo>
                    <a:pt x="12" y="12"/>
                  </a:lnTo>
                  <a:lnTo>
                    <a:pt x="10" y="13"/>
                  </a:lnTo>
                  <a:lnTo>
                    <a:pt x="8" y="13"/>
                  </a:lnTo>
                  <a:lnTo>
                    <a:pt x="9" y="11"/>
                  </a:lnTo>
                  <a:lnTo>
                    <a:pt x="5" y="10"/>
                  </a:lnTo>
                  <a:lnTo>
                    <a:pt x="6" y="7"/>
                  </a:lnTo>
                  <a:lnTo>
                    <a:pt x="10" y="7"/>
                  </a:lnTo>
                  <a:lnTo>
                    <a:pt x="12" y="9"/>
                  </a:lnTo>
                  <a:lnTo>
                    <a:pt x="11" y="7"/>
                  </a:lnTo>
                  <a:lnTo>
                    <a:pt x="8" y="4"/>
                  </a:lnTo>
                  <a:lnTo>
                    <a:pt x="5" y="7"/>
                  </a:lnTo>
                  <a:lnTo>
                    <a:pt x="3" y="7"/>
                  </a:lnTo>
                  <a:lnTo>
                    <a:pt x="1" y="4"/>
                  </a:lnTo>
                  <a:lnTo>
                    <a:pt x="0" y="1"/>
                  </a:lnTo>
                  <a:lnTo>
                    <a:pt x="3" y="0"/>
                  </a:lnTo>
                  <a:lnTo>
                    <a:pt x="5" y="0"/>
                  </a:lnTo>
                  <a:lnTo>
                    <a:pt x="8" y="0"/>
                  </a:lnTo>
                  <a:lnTo>
                    <a:pt x="11" y="1"/>
                  </a:lnTo>
                  <a:lnTo>
                    <a:pt x="13" y="3"/>
                  </a:lnTo>
                  <a:lnTo>
                    <a:pt x="15" y="4"/>
                  </a:lnTo>
                  <a:lnTo>
                    <a:pt x="19" y="6"/>
                  </a:lnTo>
                  <a:lnTo>
                    <a:pt x="21" y="6"/>
                  </a:lnTo>
                  <a:lnTo>
                    <a:pt x="25" y="7"/>
                  </a:lnTo>
                  <a:lnTo>
                    <a:pt x="27" y="7"/>
                  </a:lnTo>
                  <a:lnTo>
                    <a:pt x="29" y="8"/>
                  </a:lnTo>
                  <a:lnTo>
                    <a:pt x="32" y="9"/>
                  </a:lnTo>
                  <a:lnTo>
                    <a:pt x="34" y="9"/>
                  </a:lnTo>
                  <a:lnTo>
                    <a:pt x="36" y="9"/>
                  </a:lnTo>
                  <a:lnTo>
                    <a:pt x="38" y="9"/>
                  </a:lnTo>
                  <a:lnTo>
                    <a:pt x="40" y="12"/>
                  </a:lnTo>
                  <a:lnTo>
                    <a:pt x="43" y="15"/>
                  </a:lnTo>
                  <a:lnTo>
                    <a:pt x="43" y="16"/>
                  </a:lnTo>
                  <a:lnTo>
                    <a:pt x="43" y="16"/>
                  </a:lnTo>
                  <a:close/>
                  <a:moveTo>
                    <a:pt x="561" y="103"/>
                  </a:moveTo>
                  <a:lnTo>
                    <a:pt x="563" y="105"/>
                  </a:lnTo>
                  <a:lnTo>
                    <a:pt x="564" y="103"/>
                  </a:lnTo>
                  <a:lnTo>
                    <a:pt x="565" y="101"/>
                  </a:lnTo>
                  <a:lnTo>
                    <a:pt x="566" y="97"/>
                  </a:lnTo>
                  <a:lnTo>
                    <a:pt x="563" y="100"/>
                  </a:lnTo>
                  <a:lnTo>
                    <a:pt x="561" y="103"/>
                  </a:lnTo>
                  <a:lnTo>
                    <a:pt x="56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0" name="Freeform 230">
              <a:extLst>
                <a:ext uri="{FF2B5EF4-FFF2-40B4-BE49-F238E27FC236}">
                  <a16:creationId xmlns:a16="http://schemas.microsoft.com/office/drawing/2014/main" id="{A89A2919-E1E5-4704-AE2C-123DDD17D60A}"/>
                </a:ext>
              </a:extLst>
            </p:cNvPr>
            <p:cNvSpPr>
              <a:spLocks/>
            </p:cNvSpPr>
            <p:nvPr/>
          </p:nvSpPr>
          <p:spPr bwMode="auto">
            <a:xfrm>
              <a:off x="5316538" y="2740025"/>
              <a:ext cx="239712" cy="109538"/>
            </a:xfrm>
            <a:custGeom>
              <a:avLst/>
              <a:gdLst>
                <a:gd name="T0" fmla="*/ 142 w 151"/>
                <a:gd name="T1" fmla="*/ 41 h 69"/>
                <a:gd name="T2" fmla="*/ 144 w 151"/>
                <a:gd name="T3" fmla="*/ 34 h 69"/>
                <a:gd name="T4" fmla="*/ 151 w 151"/>
                <a:gd name="T5" fmla="*/ 31 h 69"/>
                <a:gd name="T6" fmla="*/ 148 w 151"/>
                <a:gd name="T7" fmla="*/ 29 h 69"/>
                <a:gd name="T8" fmla="*/ 149 w 151"/>
                <a:gd name="T9" fmla="*/ 23 h 69"/>
                <a:gd name="T10" fmla="*/ 136 w 151"/>
                <a:gd name="T11" fmla="*/ 24 h 69"/>
                <a:gd name="T12" fmla="*/ 133 w 151"/>
                <a:gd name="T13" fmla="*/ 16 h 69"/>
                <a:gd name="T14" fmla="*/ 131 w 151"/>
                <a:gd name="T15" fmla="*/ 8 h 69"/>
                <a:gd name="T16" fmla="*/ 126 w 151"/>
                <a:gd name="T17" fmla="*/ 6 h 69"/>
                <a:gd name="T18" fmla="*/ 117 w 151"/>
                <a:gd name="T19" fmla="*/ 0 h 69"/>
                <a:gd name="T20" fmla="*/ 110 w 151"/>
                <a:gd name="T21" fmla="*/ 6 h 69"/>
                <a:gd name="T22" fmla="*/ 102 w 151"/>
                <a:gd name="T23" fmla="*/ 7 h 69"/>
                <a:gd name="T24" fmla="*/ 91 w 151"/>
                <a:gd name="T25" fmla="*/ 9 h 69"/>
                <a:gd name="T26" fmla="*/ 88 w 151"/>
                <a:gd name="T27" fmla="*/ 14 h 69"/>
                <a:gd name="T28" fmla="*/ 84 w 151"/>
                <a:gd name="T29" fmla="*/ 14 h 69"/>
                <a:gd name="T30" fmla="*/ 74 w 151"/>
                <a:gd name="T31" fmla="*/ 10 h 69"/>
                <a:gd name="T32" fmla="*/ 69 w 151"/>
                <a:gd name="T33" fmla="*/ 18 h 69"/>
                <a:gd name="T34" fmla="*/ 60 w 151"/>
                <a:gd name="T35" fmla="*/ 9 h 69"/>
                <a:gd name="T36" fmla="*/ 58 w 151"/>
                <a:gd name="T37" fmla="*/ 19 h 69"/>
                <a:gd name="T38" fmla="*/ 54 w 151"/>
                <a:gd name="T39" fmla="*/ 21 h 69"/>
                <a:gd name="T40" fmla="*/ 47 w 151"/>
                <a:gd name="T41" fmla="*/ 31 h 69"/>
                <a:gd name="T42" fmla="*/ 39 w 151"/>
                <a:gd name="T43" fmla="*/ 20 h 69"/>
                <a:gd name="T44" fmla="*/ 43 w 151"/>
                <a:gd name="T45" fmla="*/ 12 h 69"/>
                <a:gd name="T46" fmla="*/ 38 w 151"/>
                <a:gd name="T47" fmla="*/ 8 h 69"/>
                <a:gd name="T48" fmla="*/ 27 w 151"/>
                <a:gd name="T49" fmla="*/ 1 h 69"/>
                <a:gd name="T50" fmla="*/ 23 w 151"/>
                <a:gd name="T51" fmla="*/ 3 h 69"/>
                <a:gd name="T52" fmla="*/ 25 w 151"/>
                <a:gd name="T53" fmla="*/ 9 h 69"/>
                <a:gd name="T54" fmla="*/ 26 w 151"/>
                <a:gd name="T55" fmla="*/ 12 h 69"/>
                <a:gd name="T56" fmla="*/ 13 w 151"/>
                <a:gd name="T57" fmla="*/ 8 h 69"/>
                <a:gd name="T58" fmla="*/ 13 w 151"/>
                <a:gd name="T59" fmla="*/ 11 h 69"/>
                <a:gd name="T60" fmla="*/ 14 w 151"/>
                <a:gd name="T61" fmla="*/ 15 h 69"/>
                <a:gd name="T62" fmla="*/ 16 w 151"/>
                <a:gd name="T63" fmla="*/ 18 h 69"/>
                <a:gd name="T64" fmla="*/ 10 w 151"/>
                <a:gd name="T65" fmla="*/ 18 h 69"/>
                <a:gd name="T66" fmla="*/ 5 w 151"/>
                <a:gd name="T67" fmla="*/ 20 h 69"/>
                <a:gd name="T68" fmla="*/ 8 w 151"/>
                <a:gd name="T69" fmla="*/ 25 h 69"/>
                <a:gd name="T70" fmla="*/ 22 w 151"/>
                <a:gd name="T71" fmla="*/ 21 h 69"/>
                <a:gd name="T72" fmla="*/ 30 w 151"/>
                <a:gd name="T73" fmla="*/ 23 h 69"/>
                <a:gd name="T74" fmla="*/ 39 w 151"/>
                <a:gd name="T75" fmla="*/ 25 h 69"/>
                <a:gd name="T76" fmla="*/ 30 w 151"/>
                <a:gd name="T77" fmla="*/ 31 h 69"/>
                <a:gd name="T78" fmla="*/ 34 w 151"/>
                <a:gd name="T79" fmla="*/ 33 h 69"/>
                <a:gd name="T80" fmla="*/ 21 w 151"/>
                <a:gd name="T81" fmla="*/ 34 h 69"/>
                <a:gd name="T82" fmla="*/ 7 w 151"/>
                <a:gd name="T83" fmla="*/ 38 h 69"/>
                <a:gd name="T84" fmla="*/ 21 w 151"/>
                <a:gd name="T85" fmla="*/ 38 h 69"/>
                <a:gd name="T86" fmla="*/ 32 w 151"/>
                <a:gd name="T87" fmla="*/ 41 h 69"/>
                <a:gd name="T88" fmla="*/ 35 w 151"/>
                <a:gd name="T89" fmla="*/ 44 h 69"/>
                <a:gd name="T90" fmla="*/ 40 w 151"/>
                <a:gd name="T91" fmla="*/ 43 h 69"/>
                <a:gd name="T92" fmla="*/ 35 w 151"/>
                <a:gd name="T93" fmla="*/ 50 h 69"/>
                <a:gd name="T94" fmla="*/ 40 w 151"/>
                <a:gd name="T95" fmla="*/ 48 h 69"/>
                <a:gd name="T96" fmla="*/ 35 w 151"/>
                <a:gd name="T97" fmla="*/ 54 h 69"/>
                <a:gd name="T98" fmla="*/ 24 w 151"/>
                <a:gd name="T99" fmla="*/ 59 h 69"/>
                <a:gd name="T100" fmla="*/ 38 w 151"/>
                <a:gd name="T101" fmla="*/ 59 h 69"/>
                <a:gd name="T102" fmla="*/ 47 w 151"/>
                <a:gd name="T103" fmla="*/ 59 h 69"/>
                <a:gd name="T104" fmla="*/ 56 w 151"/>
                <a:gd name="T105" fmla="*/ 60 h 69"/>
                <a:gd name="T106" fmla="*/ 61 w 151"/>
                <a:gd name="T107" fmla="*/ 66 h 69"/>
                <a:gd name="T108" fmla="*/ 72 w 151"/>
                <a:gd name="T109" fmla="*/ 68 h 69"/>
                <a:gd name="T110" fmla="*/ 85 w 151"/>
                <a:gd name="T111" fmla="*/ 67 h 69"/>
                <a:gd name="T112" fmla="*/ 91 w 151"/>
                <a:gd name="T113" fmla="*/ 62 h 69"/>
                <a:gd name="T114" fmla="*/ 103 w 151"/>
                <a:gd name="T115" fmla="*/ 61 h 69"/>
                <a:gd name="T116" fmla="*/ 112 w 151"/>
                <a:gd name="T117" fmla="*/ 57 h 69"/>
                <a:gd name="T118" fmla="*/ 123 w 151"/>
                <a:gd name="T119" fmla="*/ 51 h 69"/>
                <a:gd name="T120" fmla="*/ 132 w 151"/>
                <a:gd name="T121"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 h="69">
                  <a:moveTo>
                    <a:pt x="137" y="46"/>
                  </a:moveTo>
                  <a:lnTo>
                    <a:pt x="137" y="46"/>
                  </a:lnTo>
                  <a:lnTo>
                    <a:pt x="136" y="43"/>
                  </a:lnTo>
                  <a:lnTo>
                    <a:pt x="140" y="41"/>
                  </a:lnTo>
                  <a:lnTo>
                    <a:pt x="142" y="41"/>
                  </a:lnTo>
                  <a:lnTo>
                    <a:pt x="145" y="38"/>
                  </a:lnTo>
                  <a:lnTo>
                    <a:pt x="146" y="38"/>
                  </a:lnTo>
                  <a:lnTo>
                    <a:pt x="144" y="36"/>
                  </a:lnTo>
                  <a:lnTo>
                    <a:pt x="148" y="35"/>
                  </a:lnTo>
                  <a:lnTo>
                    <a:pt x="144" y="34"/>
                  </a:lnTo>
                  <a:lnTo>
                    <a:pt x="142" y="34"/>
                  </a:lnTo>
                  <a:lnTo>
                    <a:pt x="145" y="33"/>
                  </a:lnTo>
                  <a:lnTo>
                    <a:pt x="148" y="34"/>
                  </a:lnTo>
                  <a:lnTo>
                    <a:pt x="150" y="33"/>
                  </a:lnTo>
                  <a:lnTo>
                    <a:pt x="151" y="31"/>
                  </a:lnTo>
                  <a:lnTo>
                    <a:pt x="148" y="29"/>
                  </a:lnTo>
                  <a:lnTo>
                    <a:pt x="145" y="29"/>
                  </a:lnTo>
                  <a:lnTo>
                    <a:pt x="144" y="31"/>
                  </a:lnTo>
                  <a:lnTo>
                    <a:pt x="144" y="29"/>
                  </a:lnTo>
                  <a:lnTo>
                    <a:pt x="148" y="29"/>
                  </a:lnTo>
                  <a:lnTo>
                    <a:pt x="150" y="28"/>
                  </a:lnTo>
                  <a:lnTo>
                    <a:pt x="149" y="27"/>
                  </a:lnTo>
                  <a:lnTo>
                    <a:pt x="145" y="27"/>
                  </a:lnTo>
                  <a:lnTo>
                    <a:pt x="149" y="26"/>
                  </a:lnTo>
                  <a:lnTo>
                    <a:pt x="149" y="23"/>
                  </a:lnTo>
                  <a:lnTo>
                    <a:pt x="146" y="23"/>
                  </a:lnTo>
                  <a:lnTo>
                    <a:pt x="144" y="20"/>
                  </a:lnTo>
                  <a:lnTo>
                    <a:pt x="141" y="20"/>
                  </a:lnTo>
                  <a:lnTo>
                    <a:pt x="138" y="20"/>
                  </a:lnTo>
                  <a:lnTo>
                    <a:pt x="136" y="24"/>
                  </a:lnTo>
                  <a:lnTo>
                    <a:pt x="138" y="20"/>
                  </a:lnTo>
                  <a:lnTo>
                    <a:pt x="140" y="19"/>
                  </a:lnTo>
                  <a:lnTo>
                    <a:pt x="137" y="17"/>
                  </a:lnTo>
                  <a:lnTo>
                    <a:pt x="133" y="18"/>
                  </a:lnTo>
                  <a:lnTo>
                    <a:pt x="133" y="16"/>
                  </a:lnTo>
                  <a:lnTo>
                    <a:pt x="135" y="14"/>
                  </a:lnTo>
                  <a:lnTo>
                    <a:pt x="133" y="10"/>
                  </a:lnTo>
                  <a:lnTo>
                    <a:pt x="131" y="11"/>
                  </a:lnTo>
                  <a:lnTo>
                    <a:pt x="131" y="8"/>
                  </a:lnTo>
                  <a:lnTo>
                    <a:pt x="131" y="8"/>
                  </a:lnTo>
                  <a:lnTo>
                    <a:pt x="131" y="6"/>
                  </a:lnTo>
                  <a:lnTo>
                    <a:pt x="134" y="3"/>
                  </a:lnTo>
                  <a:lnTo>
                    <a:pt x="131" y="3"/>
                  </a:lnTo>
                  <a:lnTo>
                    <a:pt x="128" y="6"/>
                  </a:lnTo>
                  <a:lnTo>
                    <a:pt x="126" y="6"/>
                  </a:lnTo>
                  <a:lnTo>
                    <a:pt x="125" y="9"/>
                  </a:lnTo>
                  <a:lnTo>
                    <a:pt x="123" y="7"/>
                  </a:lnTo>
                  <a:lnTo>
                    <a:pt x="119" y="6"/>
                  </a:lnTo>
                  <a:lnTo>
                    <a:pt x="119" y="2"/>
                  </a:lnTo>
                  <a:lnTo>
                    <a:pt x="117" y="0"/>
                  </a:lnTo>
                  <a:lnTo>
                    <a:pt x="114" y="0"/>
                  </a:lnTo>
                  <a:lnTo>
                    <a:pt x="111" y="0"/>
                  </a:lnTo>
                  <a:lnTo>
                    <a:pt x="109" y="1"/>
                  </a:lnTo>
                  <a:lnTo>
                    <a:pt x="109" y="3"/>
                  </a:lnTo>
                  <a:lnTo>
                    <a:pt x="110" y="6"/>
                  </a:lnTo>
                  <a:lnTo>
                    <a:pt x="110" y="7"/>
                  </a:lnTo>
                  <a:lnTo>
                    <a:pt x="109" y="10"/>
                  </a:lnTo>
                  <a:lnTo>
                    <a:pt x="106" y="9"/>
                  </a:lnTo>
                  <a:lnTo>
                    <a:pt x="103" y="7"/>
                  </a:lnTo>
                  <a:lnTo>
                    <a:pt x="102" y="7"/>
                  </a:lnTo>
                  <a:lnTo>
                    <a:pt x="100" y="8"/>
                  </a:lnTo>
                  <a:lnTo>
                    <a:pt x="98" y="11"/>
                  </a:lnTo>
                  <a:lnTo>
                    <a:pt x="95" y="14"/>
                  </a:lnTo>
                  <a:lnTo>
                    <a:pt x="93" y="11"/>
                  </a:lnTo>
                  <a:lnTo>
                    <a:pt x="91" y="9"/>
                  </a:lnTo>
                  <a:lnTo>
                    <a:pt x="90" y="8"/>
                  </a:lnTo>
                  <a:lnTo>
                    <a:pt x="88" y="8"/>
                  </a:lnTo>
                  <a:lnTo>
                    <a:pt x="85" y="8"/>
                  </a:lnTo>
                  <a:lnTo>
                    <a:pt x="85" y="11"/>
                  </a:lnTo>
                  <a:lnTo>
                    <a:pt x="88" y="14"/>
                  </a:lnTo>
                  <a:lnTo>
                    <a:pt x="89" y="16"/>
                  </a:lnTo>
                  <a:lnTo>
                    <a:pt x="89" y="20"/>
                  </a:lnTo>
                  <a:lnTo>
                    <a:pt x="88" y="18"/>
                  </a:lnTo>
                  <a:lnTo>
                    <a:pt x="86" y="16"/>
                  </a:lnTo>
                  <a:lnTo>
                    <a:pt x="84" y="14"/>
                  </a:lnTo>
                  <a:lnTo>
                    <a:pt x="82" y="11"/>
                  </a:lnTo>
                  <a:lnTo>
                    <a:pt x="80" y="8"/>
                  </a:lnTo>
                  <a:lnTo>
                    <a:pt x="76" y="8"/>
                  </a:lnTo>
                  <a:lnTo>
                    <a:pt x="74" y="8"/>
                  </a:lnTo>
                  <a:lnTo>
                    <a:pt x="74" y="10"/>
                  </a:lnTo>
                  <a:lnTo>
                    <a:pt x="72" y="10"/>
                  </a:lnTo>
                  <a:lnTo>
                    <a:pt x="68" y="12"/>
                  </a:lnTo>
                  <a:lnTo>
                    <a:pt x="69" y="16"/>
                  </a:lnTo>
                  <a:lnTo>
                    <a:pt x="69" y="18"/>
                  </a:lnTo>
                  <a:lnTo>
                    <a:pt x="69" y="18"/>
                  </a:lnTo>
                  <a:lnTo>
                    <a:pt x="68" y="18"/>
                  </a:lnTo>
                  <a:lnTo>
                    <a:pt x="66" y="16"/>
                  </a:lnTo>
                  <a:lnTo>
                    <a:pt x="64" y="14"/>
                  </a:lnTo>
                  <a:lnTo>
                    <a:pt x="61" y="11"/>
                  </a:lnTo>
                  <a:lnTo>
                    <a:pt x="60" y="9"/>
                  </a:lnTo>
                  <a:lnTo>
                    <a:pt x="59" y="9"/>
                  </a:lnTo>
                  <a:lnTo>
                    <a:pt x="56" y="11"/>
                  </a:lnTo>
                  <a:lnTo>
                    <a:pt x="57" y="15"/>
                  </a:lnTo>
                  <a:lnTo>
                    <a:pt x="58" y="17"/>
                  </a:lnTo>
                  <a:lnTo>
                    <a:pt x="58" y="19"/>
                  </a:lnTo>
                  <a:lnTo>
                    <a:pt x="57" y="20"/>
                  </a:lnTo>
                  <a:lnTo>
                    <a:pt x="56" y="23"/>
                  </a:lnTo>
                  <a:lnTo>
                    <a:pt x="56" y="24"/>
                  </a:lnTo>
                  <a:lnTo>
                    <a:pt x="55" y="23"/>
                  </a:lnTo>
                  <a:lnTo>
                    <a:pt x="54" y="21"/>
                  </a:lnTo>
                  <a:lnTo>
                    <a:pt x="51" y="20"/>
                  </a:lnTo>
                  <a:lnTo>
                    <a:pt x="48" y="23"/>
                  </a:lnTo>
                  <a:lnTo>
                    <a:pt x="47" y="25"/>
                  </a:lnTo>
                  <a:lnTo>
                    <a:pt x="47" y="28"/>
                  </a:lnTo>
                  <a:lnTo>
                    <a:pt x="47" y="31"/>
                  </a:lnTo>
                  <a:lnTo>
                    <a:pt x="46" y="28"/>
                  </a:lnTo>
                  <a:lnTo>
                    <a:pt x="46" y="25"/>
                  </a:lnTo>
                  <a:lnTo>
                    <a:pt x="43" y="23"/>
                  </a:lnTo>
                  <a:lnTo>
                    <a:pt x="42" y="20"/>
                  </a:lnTo>
                  <a:lnTo>
                    <a:pt x="39" y="20"/>
                  </a:lnTo>
                  <a:lnTo>
                    <a:pt x="38" y="17"/>
                  </a:lnTo>
                  <a:lnTo>
                    <a:pt x="40" y="19"/>
                  </a:lnTo>
                  <a:lnTo>
                    <a:pt x="43" y="18"/>
                  </a:lnTo>
                  <a:lnTo>
                    <a:pt x="44" y="16"/>
                  </a:lnTo>
                  <a:lnTo>
                    <a:pt x="43" y="12"/>
                  </a:lnTo>
                  <a:lnTo>
                    <a:pt x="41" y="12"/>
                  </a:lnTo>
                  <a:lnTo>
                    <a:pt x="43" y="11"/>
                  </a:lnTo>
                  <a:lnTo>
                    <a:pt x="41" y="10"/>
                  </a:lnTo>
                  <a:lnTo>
                    <a:pt x="39" y="10"/>
                  </a:lnTo>
                  <a:lnTo>
                    <a:pt x="38" y="8"/>
                  </a:lnTo>
                  <a:lnTo>
                    <a:pt x="34" y="6"/>
                  </a:lnTo>
                  <a:lnTo>
                    <a:pt x="34" y="6"/>
                  </a:lnTo>
                  <a:lnTo>
                    <a:pt x="31" y="6"/>
                  </a:lnTo>
                  <a:lnTo>
                    <a:pt x="30" y="3"/>
                  </a:lnTo>
                  <a:lnTo>
                    <a:pt x="27" y="1"/>
                  </a:lnTo>
                  <a:lnTo>
                    <a:pt x="24" y="2"/>
                  </a:lnTo>
                  <a:lnTo>
                    <a:pt x="22" y="2"/>
                  </a:lnTo>
                  <a:lnTo>
                    <a:pt x="18" y="2"/>
                  </a:lnTo>
                  <a:lnTo>
                    <a:pt x="20" y="4"/>
                  </a:lnTo>
                  <a:lnTo>
                    <a:pt x="23" y="3"/>
                  </a:lnTo>
                  <a:lnTo>
                    <a:pt x="25" y="6"/>
                  </a:lnTo>
                  <a:lnTo>
                    <a:pt x="29" y="6"/>
                  </a:lnTo>
                  <a:lnTo>
                    <a:pt x="25" y="7"/>
                  </a:lnTo>
                  <a:lnTo>
                    <a:pt x="23" y="8"/>
                  </a:lnTo>
                  <a:lnTo>
                    <a:pt x="25" y="9"/>
                  </a:lnTo>
                  <a:lnTo>
                    <a:pt x="27" y="10"/>
                  </a:lnTo>
                  <a:lnTo>
                    <a:pt x="26" y="14"/>
                  </a:lnTo>
                  <a:lnTo>
                    <a:pt x="25" y="16"/>
                  </a:lnTo>
                  <a:lnTo>
                    <a:pt x="26" y="15"/>
                  </a:lnTo>
                  <a:lnTo>
                    <a:pt x="26" y="12"/>
                  </a:lnTo>
                  <a:lnTo>
                    <a:pt x="24" y="12"/>
                  </a:lnTo>
                  <a:lnTo>
                    <a:pt x="21" y="11"/>
                  </a:lnTo>
                  <a:lnTo>
                    <a:pt x="18" y="9"/>
                  </a:lnTo>
                  <a:lnTo>
                    <a:pt x="16" y="8"/>
                  </a:lnTo>
                  <a:lnTo>
                    <a:pt x="13" y="8"/>
                  </a:lnTo>
                  <a:lnTo>
                    <a:pt x="13" y="9"/>
                  </a:lnTo>
                  <a:lnTo>
                    <a:pt x="15" y="10"/>
                  </a:lnTo>
                  <a:lnTo>
                    <a:pt x="13" y="10"/>
                  </a:lnTo>
                  <a:lnTo>
                    <a:pt x="15" y="12"/>
                  </a:lnTo>
                  <a:lnTo>
                    <a:pt x="13" y="11"/>
                  </a:lnTo>
                  <a:lnTo>
                    <a:pt x="9" y="10"/>
                  </a:lnTo>
                  <a:lnTo>
                    <a:pt x="12" y="14"/>
                  </a:lnTo>
                  <a:lnTo>
                    <a:pt x="14" y="15"/>
                  </a:lnTo>
                  <a:lnTo>
                    <a:pt x="17" y="16"/>
                  </a:lnTo>
                  <a:lnTo>
                    <a:pt x="14" y="15"/>
                  </a:lnTo>
                  <a:lnTo>
                    <a:pt x="12" y="14"/>
                  </a:lnTo>
                  <a:lnTo>
                    <a:pt x="8" y="15"/>
                  </a:lnTo>
                  <a:lnTo>
                    <a:pt x="10" y="17"/>
                  </a:lnTo>
                  <a:lnTo>
                    <a:pt x="13" y="17"/>
                  </a:lnTo>
                  <a:lnTo>
                    <a:pt x="16" y="18"/>
                  </a:lnTo>
                  <a:lnTo>
                    <a:pt x="13" y="18"/>
                  </a:lnTo>
                  <a:lnTo>
                    <a:pt x="14" y="18"/>
                  </a:lnTo>
                  <a:lnTo>
                    <a:pt x="16" y="19"/>
                  </a:lnTo>
                  <a:lnTo>
                    <a:pt x="13" y="20"/>
                  </a:lnTo>
                  <a:lnTo>
                    <a:pt x="10" y="18"/>
                  </a:lnTo>
                  <a:lnTo>
                    <a:pt x="8" y="17"/>
                  </a:lnTo>
                  <a:lnTo>
                    <a:pt x="5" y="17"/>
                  </a:lnTo>
                  <a:lnTo>
                    <a:pt x="7" y="19"/>
                  </a:lnTo>
                  <a:lnTo>
                    <a:pt x="7" y="21"/>
                  </a:lnTo>
                  <a:lnTo>
                    <a:pt x="5" y="20"/>
                  </a:lnTo>
                  <a:lnTo>
                    <a:pt x="1" y="20"/>
                  </a:lnTo>
                  <a:lnTo>
                    <a:pt x="0" y="24"/>
                  </a:lnTo>
                  <a:lnTo>
                    <a:pt x="4" y="24"/>
                  </a:lnTo>
                  <a:lnTo>
                    <a:pt x="6" y="24"/>
                  </a:lnTo>
                  <a:lnTo>
                    <a:pt x="8" y="25"/>
                  </a:lnTo>
                  <a:lnTo>
                    <a:pt x="10" y="25"/>
                  </a:lnTo>
                  <a:lnTo>
                    <a:pt x="13" y="24"/>
                  </a:lnTo>
                  <a:lnTo>
                    <a:pt x="16" y="24"/>
                  </a:lnTo>
                  <a:lnTo>
                    <a:pt x="18" y="21"/>
                  </a:lnTo>
                  <a:lnTo>
                    <a:pt x="22" y="21"/>
                  </a:lnTo>
                  <a:lnTo>
                    <a:pt x="22" y="21"/>
                  </a:lnTo>
                  <a:lnTo>
                    <a:pt x="24" y="23"/>
                  </a:lnTo>
                  <a:lnTo>
                    <a:pt x="24" y="20"/>
                  </a:lnTo>
                  <a:lnTo>
                    <a:pt x="26" y="20"/>
                  </a:lnTo>
                  <a:lnTo>
                    <a:pt x="30" y="23"/>
                  </a:lnTo>
                  <a:lnTo>
                    <a:pt x="32" y="21"/>
                  </a:lnTo>
                  <a:lnTo>
                    <a:pt x="30" y="25"/>
                  </a:lnTo>
                  <a:lnTo>
                    <a:pt x="33" y="23"/>
                  </a:lnTo>
                  <a:lnTo>
                    <a:pt x="35" y="25"/>
                  </a:lnTo>
                  <a:lnTo>
                    <a:pt x="39" y="25"/>
                  </a:lnTo>
                  <a:lnTo>
                    <a:pt x="38" y="25"/>
                  </a:lnTo>
                  <a:lnTo>
                    <a:pt x="34" y="25"/>
                  </a:lnTo>
                  <a:lnTo>
                    <a:pt x="32" y="27"/>
                  </a:lnTo>
                  <a:lnTo>
                    <a:pt x="30" y="28"/>
                  </a:lnTo>
                  <a:lnTo>
                    <a:pt x="30" y="31"/>
                  </a:lnTo>
                  <a:lnTo>
                    <a:pt x="32" y="32"/>
                  </a:lnTo>
                  <a:lnTo>
                    <a:pt x="34" y="32"/>
                  </a:lnTo>
                  <a:lnTo>
                    <a:pt x="38" y="32"/>
                  </a:lnTo>
                  <a:lnTo>
                    <a:pt x="34" y="34"/>
                  </a:lnTo>
                  <a:lnTo>
                    <a:pt x="34" y="33"/>
                  </a:lnTo>
                  <a:lnTo>
                    <a:pt x="31" y="33"/>
                  </a:lnTo>
                  <a:lnTo>
                    <a:pt x="29" y="33"/>
                  </a:lnTo>
                  <a:lnTo>
                    <a:pt x="26" y="34"/>
                  </a:lnTo>
                  <a:lnTo>
                    <a:pt x="23" y="34"/>
                  </a:lnTo>
                  <a:lnTo>
                    <a:pt x="21" y="34"/>
                  </a:lnTo>
                  <a:lnTo>
                    <a:pt x="17" y="34"/>
                  </a:lnTo>
                  <a:lnTo>
                    <a:pt x="15" y="35"/>
                  </a:lnTo>
                  <a:lnTo>
                    <a:pt x="13" y="36"/>
                  </a:lnTo>
                  <a:lnTo>
                    <a:pt x="9" y="36"/>
                  </a:lnTo>
                  <a:lnTo>
                    <a:pt x="7" y="38"/>
                  </a:lnTo>
                  <a:lnTo>
                    <a:pt x="9" y="41"/>
                  </a:lnTo>
                  <a:lnTo>
                    <a:pt x="13" y="38"/>
                  </a:lnTo>
                  <a:lnTo>
                    <a:pt x="15" y="38"/>
                  </a:lnTo>
                  <a:lnTo>
                    <a:pt x="17" y="38"/>
                  </a:lnTo>
                  <a:lnTo>
                    <a:pt x="21" y="38"/>
                  </a:lnTo>
                  <a:lnTo>
                    <a:pt x="23" y="38"/>
                  </a:lnTo>
                  <a:lnTo>
                    <a:pt x="26" y="40"/>
                  </a:lnTo>
                  <a:lnTo>
                    <a:pt x="29" y="38"/>
                  </a:lnTo>
                  <a:lnTo>
                    <a:pt x="30" y="42"/>
                  </a:lnTo>
                  <a:lnTo>
                    <a:pt x="32" y="41"/>
                  </a:lnTo>
                  <a:lnTo>
                    <a:pt x="30" y="41"/>
                  </a:lnTo>
                  <a:lnTo>
                    <a:pt x="30" y="44"/>
                  </a:lnTo>
                  <a:lnTo>
                    <a:pt x="32" y="46"/>
                  </a:lnTo>
                  <a:lnTo>
                    <a:pt x="33" y="46"/>
                  </a:lnTo>
                  <a:lnTo>
                    <a:pt x="35" y="44"/>
                  </a:lnTo>
                  <a:lnTo>
                    <a:pt x="38" y="43"/>
                  </a:lnTo>
                  <a:lnTo>
                    <a:pt x="40" y="42"/>
                  </a:lnTo>
                  <a:lnTo>
                    <a:pt x="41" y="42"/>
                  </a:lnTo>
                  <a:lnTo>
                    <a:pt x="40" y="43"/>
                  </a:lnTo>
                  <a:lnTo>
                    <a:pt x="40" y="43"/>
                  </a:lnTo>
                  <a:lnTo>
                    <a:pt x="39" y="43"/>
                  </a:lnTo>
                  <a:lnTo>
                    <a:pt x="38" y="44"/>
                  </a:lnTo>
                  <a:lnTo>
                    <a:pt x="35" y="45"/>
                  </a:lnTo>
                  <a:lnTo>
                    <a:pt x="34" y="46"/>
                  </a:lnTo>
                  <a:lnTo>
                    <a:pt x="35" y="50"/>
                  </a:lnTo>
                  <a:lnTo>
                    <a:pt x="38" y="48"/>
                  </a:lnTo>
                  <a:lnTo>
                    <a:pt x="40" y="48"/>
                  </a:lnTo>
                  <a:lnTo>
                    <a:pt x="43" y="48"/>
                  </a:lnTo>
                  <a:lnTo>
                    <a:pt x="42" y="49"/>
                  </a:lnTo>
                  <a:lnTo>
                    <a:pt x="40" y="48"/>
                  </a:lnTo>
                  <a:lnTo>
                    <a:pt x="37" y="50"/>
                  </a:lnTo>
                  <a:lnTo>
                    <a:pt x="38" y="52"/>
                  </a:lnTo>
                  <a:lnTo>
                    <a:pt x="37" y="53"/>
                  </a:lnTo>
                  <a:lnTo>
                    <a:pt x="34" y="53"/>
                  </a:lnTo>
                  <a:lnTo>
                    <a:pt x="35" y="54"/>
                  </a:lnTo>
                  <a:lnTo>
                    <a:pt x="33" y="55"/>
                  </a:lnTo>
                  <a:lnTo>
                    <a:pt x="30" y="55"/>
                  </a:lnTo>
                  <a:lnTo>
                    <a:pt x="27" y="57"/>
                  </a:lnTo>
                  <a:lnTo>
                    <a:pt x="25" y="55"/>
                  </a:lnTo>
                  <a:lnTo>
                    <a:pt x="24" y="59"/>
                  </a:lnTo>
                  <a:lnTo>
                    <a:pt x="27" y="60"/>
                  </a:lnTo>
                  <a:lnTo>
                    <a:pt x="30" y="59"/>
                  </a:lnTo>
                  <a:lnTo>
                    <a:pt x="32" y="60"/>
                  </a:lnTo>
                  <a:lnTo>
                    <a:pt x="35" y="60"/>
                  </a:lnTo>
                  <a:lnTo>
                    <a:pt x="38" y="59"/>
                  </a:lnTo>
                  <a:lnTo>
                    <a:pt x="40" y="60"/>
                  </a:lnTo>
                  <a:lnTo>
                    <a:pt x="43" y="60"/>
                  </a:lnTo>
                  <a:lnTo>
                    <a:pt x="44" y="58"/>
                  </a:lnTo>
                  <a:lnTo>
                    <a:pt x="48" y="58"/>
                  </a:lnTo>
                  <a:lnTo>
                    <a:pt x="47" y="59"/>
                  </a:lnTo>
                  <a:lnTo>
                    <a:pt x="49" y="60"/>
                  </a:lnTo>
                  <a:lnTo>
                    <a:pt x="52" y="59"/>
                  </a:lnTo>
                  <a:lnTo>
                    <a:pt x="51" y="61"/>
                  </a:lnTo>
                  <a:lnTo>
                    <a:pt x="54" y="62"/>
                  </a:lnTo>
                  <a:lnTo>
                    <a:pt x="56" y="60"/>
                  </a:lnTo>
                  <a:lnTo>
                    <a:pt x="57" y="62"/>
                  </a:lnTo>
                  <a:lnTo>
                    <a:pt x="56" y="63"/>
                  </a:lnTo>
                  <a:lnTo>
                    <a:pt x="58" y="66"/>
                  </a:lnTo>
                  <a:lnTo>
                    <a:pt x="60" y="66"/>
                  </a:lnTo>
                  <a:lnTo>
                    <a:pt x="61" y="66"/>
                  </a:lnTo>
                  <a:lnTo>
                    <a:pt x="61" y="67"/>
                  </a:lnTo>
                  <a:lnTo>
                    <a:pt x="65" y="67"/>
                  </a:lnTo>
                  <a:lnTo>
                    <a:pt x="67" y="67"/>
                  </a:lnTo>
                  <a:lnTo>
                    <a:pt x="69" y="68"/>
                  </a:lnTo>
                  <a:lnTo>
                    <a:pt x="72" y="68"/>
                  </a:lnTo>
                  <a:lnTo>
                    <a:pt x="74" y="69"/>
                  </a:lnTo>
                  <a:lnTo>
                    <a:pt x="77" y="69"/>
                  </a:lnTo>
                  <a:lnTo>
                    <a:pt x="80" y="69"/>
                  </a:lnTo>
                  <a:lnTo>
                    <a:pt x="82" y="69"/>
                  </a:lnTo>
                  <a:lnTo>
                    <a:pt x="85" y="67"/>
                  </a:lnTo>
                  <a:lnTo>
                    <a:pt x="85" y="67"/>
                  </a:lnTo>
                  <a:lnTo>
                    <a:pt x="89" y="67"/>
                  </a:lnTo>
                  <a:lnTo>
                    <a:pt x="91" y="64"/>
                  </a:lnTo>
                  <a:lnTo>
                    <a:pt x="90" y="64"/>
                  </a:lnTo>
                  <a:lnTo>
                    <a:pt x="91" y="62"/>
                  </a:lnTo>
                  <a:lnTo>
                    <a:pt x="93" y="62"/>
                  </a:lnTo>
                  <a:lnTo>
                    <a:pt x="97" y="61"/>
                  </a:lnTo>
                  <a:lnTo>
                    <a:pt x="99" y="61"/>
                  </a:lnTo>
                  <a:lnTo>
                    <a:pt x="100" y="61"/>
                  </a:lnTo>
                  <a:lnTo>
                    <a:pt x="103" y="61"/>
                  </a:lnTo>
                  <a:lnTo>
                    <a:pt x="103" y="58"/>
                  </a:lnTo>
                  <a:lnTo>
                    <a:pt x="105" y="61"/>
                  </a:lnTo>
                  <a:lnTo>
                    <a:pt x="107" y="59"/>
                  </a:lnTo>
                  <a:lnTo>
                    <a:pt x="109" y="59"/>
                  </a:lnTo>
                  <a:lnTo>
                    <a:pt x="112" y="57"/>
                  </a:lnTo>
                  <a:lnTo>
                    <a:pt x="112" y="57"/>
                  </a:lnTo>
                  <a:lnTo>
                    <a:pt x="115" y="55"/>
                  </a:lnTo>
                  <a:lnTo>
                    <a:pt x="117" y="53"/>
                  </a:lnTo>
                  <a:lnTo>
                    <a:pt x="120" y="52"/>
                  </a:lnTo>
                  <a:lnTo>
                    <a:pt x="123" y="51"/>
                  </a:lnTo>
                  <a:lnTo>
                    <a:pt x="125" y="49"/>
                  </a:lnTo>
                  <a:lnTo>
                    <a:pt x="125" y="49"/>
                  </a:lnTo>
                  <a:lnTo>
                    <a:pt x="126" y="50"/>
                  </a:lnTo>
                  <a:lnTo>
                    <a:pt x="129" y="50"/>
                  </a:lnTo>
                  <a:lnTo>
                    <a:pt x="132" y="49"/>
                  </a:lnTo>
                  <a:lnTo>
                    <a:pt x="134" y="48"/>
                  </a:lnTo>
                  <a:lnTo>
                    <a:pt x="134" y="48"/>
                  </a:lnTo>
                  <a:lnTo>
                    <a:pt x="137" y="46"/>
                  </a:lnTo>
                  <a:lnTo>
                    <a:pt x="13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1" name="Freeform 231">
              <a:extLst>
                <a:ext uri="{FF2B5EF4-FFF2-40B4-BE49-F238E27FC236}">
                  <a16:creationId xmlns:a16="http://schemas.microsoft.com/office/drawing/2014/main" id="{E48F5449-4FEB-4FC2-9677-95DFBC1BA700}"/>
                </a:ext>
              </a:extLst>
            </p:cNvPr>
            <p:cNvSpPr>
              <a:spLocks/>
            </p:cNvSpPr>
            <p:nvPr/>
          </p:nvSpPr>
          <p:spPr bwMode="auto">
            <a:xfrm>
              <a:off x="3259138" y="2473325"/>
              <a:ext cx="398462" cy="195263"/>
            </a:xfrm>
            <a:custGeom>
              <a:avLst/>
              <a:gdLst>
                <a:gd name="T0" fmla="*/ 238 w 251"/>
                <a:gd name="T1" fmla="*/ 93 h 123"/>
                <a:gd name="T2" fmla="*/ 226 w 251"/>
                <a:gd name="T3" fmla="*/ 97 h 123"/>
                <a:gd name="T4" fmla="*/ 220 w 251"/>
                <a:gd name="T5" fmla="*/ 103 h 123"/>
                <a:gd name="T6" fmla="*/ 235 w 251"/>
                <a:gd name="T7" fmla="*/ 99 h 123"/>
                <a:gd name="T8" fmla="*/ 233 w 251"/>
                <a:gd name="T9" fmla="*/ 111 h 123"/>
                <a:gd name="T10" fmla="*/ 211 w 251"/>
                <a:gd name="T11" fmla="*/ 114 h 123"/>
                <a:gd name="T12" fmla="*/ 191 w 251"/>
                <a:gd name="T13" fmla="*/ 110 h 123"/>
                <a:gd name="T14" fmla="*/ 177 w 251"/>
                <a:gd name="T15" fmla="*/ 107 h 123"/>
                <a:gd name="T16" fmla="*/ 167 w 251"/>
                <a:gd name="T17" fmla="*/ 106 h 123"/>
                <a:gd name="T18" fmla="*/ 148 w 251"/>
                <a:gd name="T19" fmla="*/ 111 h 123"/>
                <a:gd name="T20" fmla="*/ 128 w 251"/>
                <a:gd name="T21" fmla="*/ 118 h 123"/>
                <a:gd name="T22" fmla="*/ 109 w 251"/>
                <a:gd name="T23" fmla="*/ 120 h 123"/>
                <a:gd name="T24" fmla="*/ 90 w 251"/>
                <a:gd name="T25" fmla="*/ 122 h 123"/>
                <a:gd name="T26" fmla="*/ 76 w 251"/>
                <a:gd name="T27" fmla="*/ 110 h 123"/>
                <a:gd name="T28" fmla="*/ 63 w 251"/>
                <a:gd name="T29" fmla="*/ 103 h 123"/>
                <a:gd name="T30" fmla="*/ 43 w 251"/>
                <a:gd name="T31" fmla="*/ 102 h 123"/>
                <a:gd name="T32" fmla="*/ 25 w 251"/>
                <a:gd name="T33" fmla="*/ 91 h 123"/>
                <a:gd name="T34" fmla="*/ 38 w 251"/>
                <a:gd name="T35" fmla="*/ 81 h 123"/>
                <a:gd name="T36" fmla="*/ 58 w 251"/>
                <a:gd name="T37" fmla="*/ 78 h 123"/>
                <a:gd name="T38" fmla="*/ 77 w 251"/>
                <a:gd name="T39" fmla="*/ 78 h 123"/>
                <a:gd name="T40" fmla="*/ 97 w 251"/>
                <a:gd name="T41" fmla="*/ 78 h 123"/>
                <a:gd name="T42" fmla="*/ 96 w 251"/>
                <a:gd name="T43" fmla="*/ 73 h 123"/>
                <a:gd name="T44" fmla="*/ 76 w 251"/>
                <a:gd name="T45" fmla="*/ 69 h 123"/>
                <a:gd name="T46" fmla="*/ 56 w 251"/>
                <a:gd name="T47" fmla="*/ 71 h 123"/>
                <a:gd name="T48" fmla="*/ 34 w 251"/>
                <a:gd name="T49" fmla="*/ 71 h 123"/>
                <a:gd name="T50" fmla="*/ 16 w 251"/>
                <a:gd name="T51" fmla="*/ 66 h 123"/>
                <a:gd name="T52" fmla="*/ 23 w 251"/>
                <a:gd name="T53" fmla="*/ 56 h 123"/>
                <a:gd name="T54" fmla="*/ 45 w 251"/>
                <a:gd name="T55" fmla="*/ 51 h 123"/>
                <a:gd name="T56" fmla="*/ 53 w 251"/>
                <a:gd name="T57" fmla="*/ 49 h 123"/>
                <a:gd name="T58" fmla="*/ 33 w 251"/>
                <a:gd name="T59" fmla="*/ 49 h 123"/>
                <a:gd name="T60" fmla="*/ 14 w 251"/>
                <a:gd name="T61" fmla="*/ 51 h 123"/>
                <a:gd name="T62" fmla="*/ 12 w 251"/>
                <a:gd name="T63" fmla="*/ 46 h 123"/>
                <a:gd name="T64" fmla="*/ 4 w 251"/>
                <a:gd name="T65" fmla="*/ 35 h 123"/>
                <a:gd name="T66" fmla="*/ 7 w 251"/>
                <a:gd name="T67" fmla="*/ 24 h 123"/>
                <a:gd name="T68" fmla="*/ 26 w 251"/>
                <a:gd name="T69" fmla="*/ 12 h 123"/>
                <a:gd name="T70" fmla="*/ 46 w 251"/>
                <a:gd name="T71" fmla="*/ 5 h 123"/>
                <a:gd name="T72" fmla="*/ 64 w 251"/>
                <a:gd name="T73" fmla="*/ 0 h 123"/>
                <a:gd name="T74" fmla="*/ 68 w 251"/>
                <a:gd name="T75" fmla="*/ 15 h 123"/>
                <a:gd name="T76" fmla="*/ 71 w 251"/>
                <a:gd name="T77" fmla="*/ 18 h 123"/>
                <a:gd name="T78" fmla="*/ 83 w 251"/>
                <a:gd name="T79" fmla="*/ 9 h 123"/>
                <a:gd name="T80" fmla="*/ 104 w 251"/>
                <a:gd name="T81" fmla="*/ 15 h 123"/>
                <a:gd name="T82" fmla="*/ 100 w 251"/>
                <a:gd name="T83" fmla="*/ 28 h 123"/>
                <a:gd name="T84" fmla="*/ 111 w 251"/>
                <a:gd name="T85" fmla="*/ 23 h 123"/>
                <a:gd name="T86" fmla="*/ 125 w 251"/>
                <a:gd name="T87" fmla="*/ 23 h 123"/>
                <a:gd name="T88" fmla="*/ 125 w 251"/>
                <a:gd name="T89" fmla="*/ 17 h 123"/>
                <a:gd name="T90" fmla="*/ 116 w 251"/>
                <a:gd name="T91" fmla="*/ 12 h 123"/>
                <a:gd name="T92" fmla="*/ 131 w 251"/>
                <a:gd name="T93" fmla="*/ 14 h 123"/>
                <a:gd name="T94" fmla="*/ 144 w 251"/>
                <a:gd name="T95" fmla="*/ 22 h 123"/>
                <a:gd name="T96" fmla="*/ 149 w 251"/>
                <a:gd name="T97" fmla="*/ 40 h 123"/>
                <a:gd name="T98" fmla="*/ 162 w 251"/>
                <a:gd name="T99" fmla="*/ 40 h 123"/>
                <a:gd name="T100" fmla="*/ 154 w 251"/>
                <a:gd name="T101" fmla="*/ 23 h 123"/>
                <a:gd name="T102" fmla="*/ 149 w 251"/>
                <a:gd name="T103" fmla="*/ 6 h 123"/>
                <a:gd name="T104" fmla="*/ 160 w 251"/>
                <a:gd name="T105" fmla="*/ 3 h 123"/>
                <a:gd name="T106" fmla="*/ 177 w 251"/>
                <a:gd name="T107" fmla="*/ 7 h 123"/>
                <a:gd name="T108" fmla="*/ 191 w 251"/>
                <a:gd name="T109" fmla="*/ 23 h 123"/>
                <a:gd name="T110" fmla="*/ 199 w 251"/>
                <a:gd name="T111" fmla="*/ 41 h 123"/>
                <a:gd name="T112" fmla="*/ 199 w 251"/>
                <a:gd name="T113" fmla="*/ 58 h 123"/>
                <a:gd name="T114" fmla="*/ 217 w 251"/>
                <a:gd name="T115" fmla="*/ 71 h 123"/>
                <a:gd name="T116" fmla="*/ 227 w 251"/>
                <a:gd name="T117" fmla="*/ 74 h 123"/>
                <a:gd name="T118" fmla="*/ 243 w 251"/>
                <a:gd name="T119" fmla="*/ 8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123">
                  <a:moveTo>
                    <a:pt x="250" y="85"/>
                  </a:moveTo>
                  <a:lnTo>
                    <a:pt x="250" y="89"/>
                  </a:lnTo>
                  <a:lnTo>
                    <a:pt x="251" y="91"/>
                  </a:lnTo>
                  <a:lnTo>
                    <a:pt x="250" y="93"/>
                  </a:lnTo>
                  <a:lnTo>
                    <a:pt x="244" y="93"/>
                  </a:lnTo>
                  <a:lnTo>
                    <a:pt x="242" y="91"/>
                  </a:lnTo>
                  <a:lnTo>
                    <a:pt x="238" y="93"/>
                  </a:lnTo>
                  <a:lnTo>
                    <a:pt x="236" y="92"/>
                  </a:lnTo>
                  <a:lnTo>
                    <a:pt x="234" y="90"/>
                  </a:lnTo>
                  <a:lnTo>
                    <a:pt x="232" y="90"/>
                  </a:lnTo>
                  <a:lnTo>
                    <a:pt x="228" y="91"/>
                  </a:lnTo>
                  <a:lnTo>
                    <a:pt x="226" y="91"/>
                  </a:lnTo>
                  <a:lnTo>
                    <a:pt x="228" y="94"/>
                  </a:lnTo>
                  <a:lnTo>
                    <a:pt x="226" y="97"/>
                  </a:lnTo>
                  <a:lnTo>
                    <a:pt x="224" y="97"/>
                  </a:lnTo>
                  <a:lnTo>
                    <a:pt x="220" y="95"/>
                  </a:lnTo>
                  <a:lnTo>
                    <a:pt x="218" y="94"/>
                  </a:lnTo>
                  <a:lnTo>
                    <a:pt x="216" y="95"/>
                  </a:lnTo>
                  <a:lnTo>
                    <a:pt x="220" y="98"/>
                  </a:lnTo>
                  <a:lnTo>
                    <a:pt x="221" y="100"/>
                  </a:lnTo>
                  <a:lnTo>
                    <a:pt x="220" y="103"/>
                  </a:lnTo>
                  <a:lnTo>
                    <a:pt x="220" y="106"/>
                  </a:lnTo>
                  <a:lnTo>
                    <a:pt x="221" y="103"/>
                  </a:lnTo>
                  <a:lnTo>
                    <a:pt x="225" y="101"/>
                  </a:lnTo>
                  <a:lnTo>
                    <a:pt x="227" y="100"/>
                  </a:lnTo>
                  <a:lnTo>
                    <a:pt x="229" y="99"/>
                  </a:lnTo>
                  <a:lnTo>
                    <a:pt x="233" y="98"/>
                  </a:lnTo>
                  <a:lnTo>
                    <a:pt x="235" y="99"/>
                  </a:lnTo>
                  <a:lnTo>
                    <a:pt x="234" y="102"/>
                  </a:lnTo>
                  <a:lnTo>
                    <a:pt x="233" y="105"/>
                  </a:lnTo>
                  <a:lnTo>
                    <a:pt x="235" y="103"/>
                  </a:lnTo>
                  <a:lnTo>
                    <a:pt x="238" y="106"/>
                  </a:lnTo>
                  <a:lnTo>
                    <a:pt x="237" y="108"/>
                  </a:lnTo>
                  <a:lnTo>
                    <a:pt x="235" y="110"/>
                  </a:lnTo>
                  <a:lnTo>
                    <a:pt x="233" y="111"/>
                  </a:lnTo>
                  <a:lnTo>
                    <a:pt x="229" y="111"/>
                  </a:lnTo>
                  <a:lnTo>
                    <a:pt x="227" y="114"/>
                  </a:lnTo>
                  <a:lnTo>
                    <a:pt x="221" y="115"/>
                  </a:lnTo>
                  <a:lnTo>
                    <a:pt x="219" y="114"/>
                  </a:lnTo>
                  <a:lnTo>
                    <a:pt x="216" y="115"/>
                  </a:lnTo>
                  <a:lnTo>
                    <a:pt x="213" y="114"/>
                  </a:lnTo>
                  <a:lnTo>
                    <a:pt x="211" y="114"/>
                  </a:lnTo>
                  <a:lnTo>
                    <a:pt x="208" y="114"/>
                  </a:lnTo>
                  <a:lnTo>
                    <a:pt x="205" y="112"/>
                  </a:lnTo>
                  <a:lnTo>
                    <a:pt x="202" y="111"/>
                  </a:lnTo>
                  <a:lnTo>
                    <a:pt x="200" y="114"/>
                  </a:lnTo>
                  <a:lnTo>
                    <a:pt x="196" y="114"/>
                  </a:lnTo>
                  <a:lnTo>
                    <a:pt x="194" y="112"/>
                  </a:lnTo>
                  <a:lnTo>
                    <a:pt x="191" y="110"/>
                  </a:lnTo>
                  <a:lnTo>
                    <a:pt x="194" y="108"/>
                  </a:lnTo>
                  <a:lnTo>
                    <a:pt x="191" y="108"/>
                  </a:lnTo>
                  <a:lnTo>
                    <a:pt x="188" y="108"/>
                  </a:lnTo>
                  <a:lnTo>
                    <a:pt x="186" y="106"/>
                  </a:lnTo>
                  <a:lnTo>
                    <a:pt x="183" y="106"/>
                  </a:lnTo>
                  <a:lnTo>
                    <a:pt x="181" y="106"/>
                  </a:lnTo>
                  <a:lnTo>
                    <a:pt x="177" y="107"/>
                  </a:lnTo>
                  <a:lnTo>
                    <a:pt x="175" y="105"/>
                  </a:lnTo>
                  <a:lnTo>
                    <a:pt x="176" y="102"/>
                  </a:lnTo>
                  <a:lnTo>
                    <a:pt x="174" y="99"/>
                  </a:lnTo>
                  <a:lnTo>
                    <a:pt x="171" y="98"/>
                  </a:lnTo>
                  <a:lnTo>
                    <a:pt x="169" y="101"/>
                  </a:lnTo>
                  <a:lnTo>
                    <a:pt x="167" y="102"/>
                  </a:lnTo>
                  <a:lnTo>
                    <a:pt x="167" y="106"/>
                  </a:lnTo>
                  <a:lnTo>
                    <a:pt x="164" y="107"/>
                  </a:lnTo>
                  <a:lnTo>
                    <a:pt x="161" y="109"/>
                  </a:lnTo>
                  <a:lnTo>
                    <a:pt x="159" y="110"/>
                  </a:lnTo>
                  <a:lnTo>
                    <a:pt x="156" y="110"/>
                  </a:lnTo>
                  <a:lnTo>
                    <a:pt x="153" y="111"/>
                  </a:lnTo>
                  <a:lnTo>
                    <a:pt x="150" y="111"/>
                  </a:lnTo>
                  <a:lnTo>
                    <a:pt x="148" y="111"/>
                  </a:lnTo>
                  <a:lnTo>
                    <a:pt x="144" y="114"/>
                  </a:lnTo>
                  <a:lnTo>
                    <a:pt x="142" y="115"/>
                  </a:lnTo>
                  <a:lnTo>
                    <a:pt x="139" y="116"/>
                  </a:lnTo>
                  <a:lnTo>
                    <a:pt x="136" y="117"/>
                  </a:lnTo>
                  <a:lnTo>
                    <a:pt x="134" y="117"/>
                  </a:lnTo>
                  <a:lnTo>
                    <a:pt x="131" y="118"/>
                  </a:lnTo>
                  <a:lnTo>
                    <a:pt x="128" y="118"/>
                  </a:lnTo>
                  <a:lnTo>
                    <a:pt x="125" y="119"/>
                  </a:lnTo>
                  <a:lnTo>
                    <a:pt x="123" y="118"/>
                  </a:lnTo>
                  <a:lnTo>
                    <a:pt x="119" y="119"/>
                  </a:lnTo>
                  <a:lnTo>
                    <a:pt x="117" y="119"/>
                  </a:lnTo>
                  <a:lnTo>
                    <a:pt x="115" y="120"/>
                  </a:lnTo>
                  <a:lnTo>
                    <a:pt x="111" y="119"/>
                  </a:lnTo>
                  <a:lnTo>
                    <a:pt x="109" y="120"/>
                  </a:lnTo>
                  <a:lnTo>
                    <a:pt x="106" y="120"/>
                  </a:lnTo>
                  <a:lnTo>
                    <a:pt x="109" y="122"/>
                  </a:lnTo>
                  <a:lnTo>
                    <a:pt x="106" y="122"/>
                  </a:lnTo>
                  <a:lnTo>
                    <a:pt x="104" y="120"/>
                  </a:lnTo>
                  <a:lnTo>
                    <a:pt x="94" y="122"/>
                  </a:lnTo>
                  <a:lnTo>
                    <a:pt x="92" y="122"/>
                  </a:lnTo>
                  <a:lnTo>
                    <a:pt x="90" y="122"/>
                  </a:lnTo>
                  <a:lnTo>
                    <a:pt x="87" y="123"/>
                  </a:lnTo>
                  <a:lnTo>
                    <a:pt x="84" y="123"/>
                  </a:lnTo>
                  <a:lnTo>
                    <a:pt x="81" y="120"/>
                  </a:lnTo>
                  <a:lnTo>
                    <a:pt x="79" y="119"/>
                  </a:lnTo>
                  <a:lnTo>
                    <a:pt x="76" y="116"/>
                  </a:lnTo>
                  <a:lnTo>
                    <a:pt x="76" y="114"/>
                  </a:lnTo>
                  <a:lnTo>
                    <a:pt x="76" y="110"/>
                  </a:lnTo>
                  <a:lnTo>
                    <a:pt x="75" y="108"/>
                  </a:lnTo>
                  <a:lnTo>
                    <a:pt x="76" y="106"/>
                  </a:lnTo>
                  <a:lnTo>
                    <a:pt x="74" y="105"/>
                  </a:lnTo>
                  <a:lnTo>
                    <a:pt x="71" y="103"/>
                  </a:lnTo>
                  <a:lnTo>
                    <a:pt x="68" y="103"/>
                  </a:lnTo>
                  <a:lnTo>
                    <a:pt x="65" y="103"/>
                  </a:lnTo>
                  <a:lnTo>
                    <a:pt x="63" y="103"/>
                  </a:lnTo>
                  <a:lnTo>
                    <a:pt x="59" y="103"/>
                  </a:lnTo>
                  <a:lnTo>
                    <a:pt x="57" y="103"/>
                  </a:lnTo>
                  <a:lnTo>
                    <a:pt x="55" y="105"/>
                  </a:lnTo>
                  <a:lnTo>
                    <a:pt x="51" y="103"/>
                  </a:lnTo>
                  <a:lnTo>
                    <a:pt x="49" y="103"/>
                  </a:lnTo>
                  <a:lnTo>
                    <a:pt x="46" y="103"/>
                  </a:lnTo>
                  <a:lnTo>
                    <a:pt x="43" y="102"/>
                  </a:lnTo>
                  <a:lnTo>
                    <a:pt x="41" y="101"/>
                  </a:lnTo>
                  <a:lnTo>
                    <a:pt x="38" y="100"/>
                  </a:lnTo>
                  <a:lnTo>
                    <a:pt x="36" y="100"/>
                  </a:lnTo>
                  <a:lnTo>
                    <a:pt x="33" y="97"/>
                  </a:lnTo>
                  <a:lnTo>
                    <a:pt x="31" y="94"/>
                  </a:lnTo>
                  <a:lnTo>
                    <a:pt x="29" y="93"/>
                  </a:lnTo>
                  <a:lnTo>
                    <a:pt x="25" y="91"/>
                  </a:lnTo>
                  <a:lnTo>
                    <a:pt x="25" y="89"/>
                  </a:lnTo>
                  <a:lnTo>
                    <a:pt x="23" y="85"/>
                  </a:lnTo>
                  <a:lnTo>
                    <a:pt x="24" y="84"/>
                  </a:lnTo>
                  <a:lnTo>
                    <a:pt x="28" y="83"/>
                  </a:lnTo>
                  <a:lnTo>
                    <a:pt x="30" y="83"/>
                  </a:lnTo>
                  <a:lnTo>
                    <a:pt x="33" y="82"/>
                  </a:lnTo>
                  <a:lnTo>
                    <a:pt x="38" y="81"/>
                  </a:lnTo>
                  <a:lnTo>
                    <a:pt x="41" y="81"/>
                  </a:lnTo>
                  <a:lnTo>
                    <a:pt x="43" y="80"/>
                  </a:lnTo>
                  <a:lnTo>
                    <a:pt x="47" y="80"/>
                  </a:lnTo>
                  <a:lnTo>
                    <a:pt x="49" y="80"/>
                  </a:lnTo>
                  <a:lnTo>
                    <a:pt x="53" y="78"/>
                  </a:lnTo>
                  <a:lnTo>
                    <a:pt x="55" y="78"/>
                  </a:lnTo>
                  <a:lnTo>
                    <a:pt x="58" y="78"/>
                  </a:lnTo>
                  <a:lnTo>
                    <a:pt x="60" y="78"/>
                  </a:lnTo>
                  <a:lnTo>
                    <a:pt x="64" y="78"/>
                  </a:lnTo>
                  <a:lnTo>
                    <a:pt x="66" y="77"/>
                  </a:lnTo>
                  <a:lnTo>
                    <a:pt x="68" y="78"/>
                  </a:lnTo>
                  <a:lnTo>
                    <a:pt x="72" y="78"/>
                  </a:lnTo>
                  <a:lnTo>
                    <a:pt x="74" y="78"/>
                  </a:lnTo>
                  <a:lnTo>
                    <a:pt x="77" y="78"/>
                  </a:lnTo>
                  <a:lnTo>
                    <a:pt x="80" y="78"/>
                  </a:lnTo>
                  <a:lnTo>
                    <a:pt x="83" y="80"/>
                  </a:lnTo>
                  <a:lnTo>
                    <a:pt x="85" y="80"/>
                  </a:lnTo>
                  <a:lnTo>
                    <a:pt x="89" y="81"/>
                  </a:lnTo>
                  <a:lnTo>
                    <a:pt x="91" y="80"/>
                  </a:lnTo>
                  <a:lnTo>
                    <a:pt x="94" y="78"/>
                  </a:lnTo>
                  <a:lnTo>
                    <a:pt x="97" y="78"/>
                  </a:lnTo>
                  <a:lnTo>
                    <a:pt x="99" y="78"/>
                  </a:lnTo>
                  <a:lnTo>
                    <a:pt x="102" y="78"/>
                  </a:lnTo>
                  <a:lnTo>
                    <a:pt x="105" y="77"/>
                  </a:lnTo>
                  <a:lnTo>
                    <a:pt x="102" y="77"/>
                  </a:lnTo>
                  <a:lnTo>
                    <a:pt x="99" y="76"/>
                  </a:lnTo>
                  <a:lnTo>
                    <a:pt x="98" y="76"/>
                  </a:lnTo>
                  <a:lnTo>
                    <a:pt x="96" y="73"/>
                  </a:lnTo>
                  <a:lnTo>
                    <a:pt x="92" y="73"/>
                  </a:lnTo>
                  <a:lnTo>
                    <a:pt x="90" y="73"/>
                  </a:lnTo>
                  <a:lnTo>
                    <a:pt x="87" y="72"/>
                  </a:lnTo>
                  <a:lnTo>
                    <a:pt x="84" y="72"/>
                  </a:lnTo>
                  <a:lnTo>
                    <a:pt x="82" y="71"/>
                  </a:lnTo>
                  <a:lnTo>
                    <a:pt x="79" y="69"/>
                  </a:lnTo>
                  <a:lnTo>
                    <a:pt x="76" y="69"/>
                  </a:lnTo>
                  <a:lnTo>
                    <a:pt x="73" y="68"/>
                  </a:lnTo>
                  <a:lnTo>
                    <a:pt x="71" y="68"/>
                  </a:lnTo>
                  <a:lnTo>
                    <a:pt x="67" y="69"/>
                  </a:lnTo>
                  <a:lnTo>
                    <a:pt x="65" y="69"/>
                  </a:lnTo>
                  <a:lnTo>
                    <a:pt x="62" y="71"/>
                  </a:lnTo>
                  <a:lnTo>
                    <a:pt x="59" y="71"/>
                  </a:lnTo>
                  <a:lnTo>
                    <a:pt x="56" y="71"/>
                  </a:lnTo>
                  <a:lnTo>
                    <a:pt x="51" y="71"/>
                  </a:lnTo>
                  <a:lnTo>
                    <a:pt x="48" y="71"/>
                  </a:lnTo>
                  <a:lnTo>
                    <a:pt x="46" y="71"/>
                  </a:lnTo>
                  <a:lnTo>
                    <a:pt x="42" y="72"/>
                  </a:lnTo>
                  <a:lnTo>
                    <a:pt x="40" y="71"/>
                  </a:lnTo>
                  <a:lnTo>
                    <a:pt x="37" y="71"/>
                  </a:lnTo>
                  <a:lnTo>
                    <a:pt x="34" y="71"/>
                  </a:lnTo>
                  <a:lnTo>
                    <a:pt x="32" y="71"/>
                  </a:lnTo>
                  <a:lnTo>
                    <a:pt x="29" y="71"/>
                  </a:lnTo>
                  <a:lnTo>
                    <a:pt x="26" y="71"/>
                  </a:lnTo>
                  <a:lnTo>
                    <a:pt x="23" y="71"/>
                  </a:lnTo>
                  <a:lnTo>
                    <a:pt x="21" y="71"/>
                  </a:lnTo>
                  <a:lnTo>
                    <a:pt x="19" y="67"/>
                  </a:lnTo>
                  <a:lnTo>
                    <a:pt x="16" y="66"/>
                  </a:lnTo>
                  <a:lnTo>
                    <a:pt x="13" y="65"/>
                  </a:lnTo>
                  <a:lnTo>
                    <a:pt x="11" y="61"/>
                  </a:lnTo>
                  <a:lnTo>
                    <a:pt x="13" y="59"/>
                  </a:lnTo>
                  <a:lnTo>
                    <a:pt x="15" y="58"/>
                  </a:lnTo>
                  <a:lnTo>
                    <a:pt x="17" y="57"/>
                  </a:lnTo>
                  <a:lnTo>
                    <a:pt x="21" y="57"/>
                  </a:lnTo>
                  <a:lnTo>
                    <a:pt x="23" y="56"/>
                  </a:lnTo>
                  <a:lnTo>
                    <a:pt x="26" y="56"/>
                  </a:lnTo>
                  <a:lnTo>
                    <a:pt x="32" y="55"/>
                  </a:lnTo>
                  <a:lnTo>
                    <a:pt x="33" y="54"/>
                  </a:lnTo>
                  <a:lnTo>
                    <a:pt x="36" y="52"/>
                  </a:lnTo>
                  <a:lnTo>
                    <a:pt x="39" y="52"/>
                  </a:lnTo>
                  <a:lnTo>
                    <a:pt x="41" y="52"/>
                  </a:lnTo>
                  <a:lnTo>
                    <a:pt x="45" y="51"/>
                  </a:lnTo>
                  <a:lnTo>
                    <a:pt x="41" y="50"/>
                  </a:lnTo>
                  <a:lnTo>
                    <a:pt x="45" y="49"/>
                  </a:lnTo>
                  <a:lnTo>
                    <a:pt x="47" y="49"/>
                  </a:lnTo>
                  <a:lnTo>
                    <a:pt x="50" y="49"/>
                  </a:lnTo>
                  <a:lnTo>
                    <a:pt x="53" y="49"/>
                  </a:lnTo>
                  <a:lnTo>
                    <a:pt x="56" y="48"/>
                  </a:lnTo>
                  <a:lnTo>
                    <a:pt x="53" y="49"/>
                  </a:lnTo>
                  <a:lnTo>
                    <a:pt x="50" y="48"/>
                  </a:lnTo>
                  <a:lnTo>
                    <a:pt x="47" y="47"/>
                  </a:lnTo>
                  <a:lnTo>
                    <a:pt x="45" y="48"/>
                  </a:lnTo>
                  <a:lnTo>
                    <a:pt x="42" y="48"/>
                  </a:lnTo>
                  <a:lnTo>
                    <a:pt x="39" y="49"/>
                  </a:lnTo>
                  <a:lnTo>
                    <a:pt x="37" y="49"/>
                  </a:lnTo>
                  <a:lnTo>
                    <a:pt x="33" y="49"/>
                  </a:lnTo>
                  <a:lnTo>
                    <a:pt x="31" y="50"/>
                  </a:lnTo>
                  <a:lnTo>
                    <a:pt x="28" y="50"/>
                  </a:lnTo>
                  <a:lnTo>
                    <a:pt x="25" y="51"/>
                  </a:lnTo>
                  <a:lnTo>
                    <a:pt x="23" y="50"/>
                  </a:lnTo>
                  <a:lnTo>
                    <a:pt x="20" y="51"/>
                  </a:lnTo>
                  <a:lnTo>
                    <a:pt x="17" y="51"/>
                  </a:lnTo>
                  <a:lnTo>
                    <a:pt x="14" y="51"/>
                  </a:lnTo>
                  <a:lnTo>
                    <a:pt x="12" y="49"/>
                  </a:lnTo>
                  <a:lnTo>
                    <a:pt x="14" y="48"/>
                  </a:lnTo>
                  <a:lnTo>
                    <a:pt x="17" y="48"/>
                  </a:lnTo>
                  <a:lnTo>
                    <a:pt x="20" y="47"/>
                  </a:lnTo>
                  <a:lnTo>
                    <a:pt x="17" y="45"/>
                  </a:lnTo>
                  <a:lnTo>
                    <a:pt x="14" y="45"/>
                  </a:lnTo>
                  <a:lnTo>
                    <a:pt x="12" y="46"/>
                  </a:lnTo>
                  <a:lnTo>
                    <a:pt x="10" y="45"/>
                  </a:lnTo>
                  <a:lnTo>
                    <a:pt x="6" y="45"/>
                  </a:lnTo>
                  <a:lnTo>
                    <a:pt x="4" y="47"/>
                  </a:lnTo>
                  <a:lnTo>
                    <a:pt x="0" y="43"/>
                  </a:lnTo>
                  <a:lnTo>
                    <a:pt x="0" y="41"/>
                  </a:lnTo>
                  <a:lnTo>
                    <a:pt x="0" y="39"/>
                  </a:lnTo>
                  <a:lnTo>
                    <a:pt x="4" y="35"/>
                  </a:lnTo>
                  <a:lnTo>
                    <a:pt x="6" y="33"/>
                  </a:lnTo>
                  <a:lnTo>
                    <a:pt x="8" y="31"/>
                  </a:lnTo>
                  <a:lnTo>
                    <a:pt x="12" y="31"/>
                  </a:lnTo>
                  <a:lnTo>
                    <a:pt x="14" y="30"/>
                  </a:lnTo>
                  <a:lnTo>
                    <a:pt x="13" y="26"/>
                  </a:lnTo>
                  <a:lnTo>
                    <a:pt x="11" y="26"/>
                  </a:lnTo>
                  <a:lnTo>
                    <a:pt x="7" y="24"/>
                  </a:lnTo>
                  <a:lnTo>
                    <a:pt x="11" y="22"/>
                  </a:lnTo>
                  <a:lnTo>
                    <a:pt x="13" y="20"/>
                  </a:lnTo>
                  <a:lnTo>
                    <a:pt x="16" y="18"/>
                  </a:lnTo>
                  <a:lnTo>
                    <a:pt x="19" y="16"/>
                  </a:lnTo>
                  <a:lnTo>
                    <a:pt x="21" y="15"/>
                  </a:lnTo>
                  <a:lnTo>
                    <a:pt x="24" y="13"/>
                  </a:lnTo>
                  <a:lnTo>
                    <a:pt x="26" y="12"/>
                  </a:lnTo>
                  <a:lnTo>
                    <a:pt x="30" y="11"/>
                  </a:lnTo>
                  <a:lnTo>
                    <a:pt x="32" y="9"/>
                  </a:lnTo>
                  <a:lnTo>
                    <a:pt x="36" y="8"/>
                  </a:lnTo>
                  <a:lnTo>
                    <a:pt x="38" y="8"/>
                  </a:lnTo>
                  <a:lnTo>
                    <a:pt x="40" y="6"/>
                  </a:lnTo>
                  <a:lnTo>
                    <a:pt x="43" y="6"/>
                  </a:lnTo>
                  <a:lnTo>
                    <a:pt x="46" y="5"/>
                  </a:lnTo>
                  <a:lnTo>
                    <a:pt x="49" y="5"/>
                  </a:lnTo>
                  <a:lnTo>
                    <a:pt x="51" y="4"/>
                  </a:lnTo>
                  <a:lnTo>
                    <a:pt x="55" y="3"/>
                  </a:lnTo>
                  <a:lnTo>
                    <a:pt x="57" y="1"/>
                  </a:lnTo>
                  <a:lnTo>
                    <a:pt x="59" y="0"/>
                  </a:lnTo>
                  <a:lnTo>
                    <a:pt x="62" y="0"/>
                  </a:lnTo>
                  <a:lnTo>
                    <a:pt x="64" y="0"/>
                  </a:lnTo>
                  <a:lnTo>
                    <a:pt x="67" y="1"/>
                  </a:lnTo>
                  <a:lnTo>
                    <a:pt x="70" y="4"/>
                  </a:lnTo>
                  <a:lnTo>
                    <a:pt x="71" y="6"/>
                  </a:lnTo>
                  <a:lnTo>
                    <a:pt x="71" y="9"/>
                  </a:lnTo>
                  <a:lnTo>
                    <a:pt x="70" y="12"/>
                  </a:lnTo>
                  <a:lnTo>
                    <a:pt x="71" y="15"/>
                  </a:lnTo>
                  <a:lnTo>
                    <a:pt x="68" y="15"/>
                  </a:lnTo>
                  <a:lnTo>
                    <a:pt x="66" y="16"/>
                  </a:lnTo>
                  <a:lnTo>
                    <a:pt x="65" y="18"/>
                  </a:lnTo>
                  <a:lnTo>
                    <a:pt x="63" y="20"/>
                  </a:lnTo>
                  <a:lnTo>
                    <a:pt x="63" y="21"/>
                  </a:lnTo>
                  <a:lnTo>
                    <a:pt x="65" y="22"/>
                  </a:lnTo>
                  <a:lnTo>
                    <a:pt x="67" y="21"/>
                  </a:lnTo>
                  <a:lnTo>
                    <a:pt x="71" y="18"/>
                  </a:lnTo>
                  <a:lnTo>
                    <a:pt x="73" y="20"/>
                  </a:lnTo>
                  <a:lnTo>
                    <a:pt x="76" y="20"/>
                  </a:lnTo>
                  <a:lnTo>
                    <a:pt x="79" y="17"/>
                  </a:lnTo>
                  <a:lnTo>
                    <a:pt x="76" y="16"/>
                  </a:lnTo>
                  <a:lnTo>
                    <a:pt x="77" y="14"/>
                  </a:lnTo>
                  <a:lnTo>
                    <a:pt x="81" y="11"/>
                  </a:lnTo>
                  <a:lnTo>
                    <a:pt x="83" y="9"/>
                  </a:lnTo>
                  <a:lnTo>
                    <a:pt x="87" y="9"/>
                  </a:lnTo>
                  <a:lnTo>
                    <a:pt x="89" y="11"/>
                  </a:lnTo>
                  <a:lnTo>
                    <a:pt x="91" y="12"/>
                  </a:lnTo>
                  <a:lnTo>
                    <a:pt x="94" y="13"/>
                  </a:lnTo>
                  <a:lnTo>
                    <a:pt x="97" y="13"/>
                  </a:lnTo>
                  <a:lnTo>
                    <a:pt x="100" y="14"/>
                  </a:lnTo>
                  <a:lnTo>
                    <a:pt x="104" y="15"/>
                  </a:lnTo>
                  <a:lnTo>
                    <a:pt x="106" y="16"/>
                  </a:lnTo>
                  <a:lnTo>
                    <a:pt x="108" y="17"/>
                  </a:lnTo>
                  <a:lnTo>
                    <a:pt x="108" y="18"/>
                  </a:lnTo>
                  <a:lnTo>
                    <a:pt x="108" y="21"/>
                  </a:lnTo>
                  <a:lnTo>
                    <a:pt x="106" y="23"/>
                  </a:lnTo>
                  <a:lnTo>
                    <a:pt x="102" y="25"/>
                  </a:lnTo>
                  <a:lnTo>
                    <a:pt x="100" y="28"/>
                  </a:lnTo>
                  <a:lnTo>
                    <a:pt x="102" y="28"/>
                  </a:lnTo>
                  <a:lnTo>
                    <a:pt x="101" y="30"/>
                  </a:lnTo>
                  <a:lnTo>
                    <a:pt x="104" y="28"/>
                  </a:lnTo>
                  <a:lnTo>
                    <a:pt x="105" y="25"/>
                  </a:lnTo>
                  <a:lnTo>
                    <a:pt x="108" y="26"/>
                  </a:lnTo>
                  <a:lnTo>
                    <a:pt x="110" y="26"/>
                  </a:lnTo>
                  <a:lnTo>
                    <a:pt x="111" y="23"/>
                  </a:lnTo>
                  <a:lnTo>
                    <a:pt x="115" y="22"/>
                  </a:lnTo>
                  <a:lnTo>
                    <a:pt x="117" y="23"/>
                  </a:lnTo>
                  <a:lnTo>
                    <a:pt x="121" y="24"/>
                  </a:lnTo>
                  <a:lnTo>
                    <a:pt x="121" y="22"/>
                  </a:lnTo>
                  <a:lnTo>
                    <a:pt x="125" y="24"/>
                  </a:lnTo>
                  <a:lnTo>
                    <a:pt x="128" y="24"/>
                  </a:lnTo>
                  <a:lnTo>
                    <a:pt x="125" y="23"/>
                  </a:lnTo>
                  <a:lnTo>
                    <a:pt x="123" y="21"/>
                  </a:lnTo>
                  <a:lnTo>
                    <a:pt x="125" y="22"/>
                  </a:lnTo>
                  <a:lnTo>
                    <a:pt x="128" y="23"/>
                  </a:lnTo>
                  <a:lnTo>
                    <a:pt x="125" y="20"/>
                  </a:lnTo>
                  <a:lnTo>
                    <a:pt x="125" y="20"/>
                  </a:lnTo>
                  <a:lnTo>
                    <a:pt x="123" y="17"/>
                  </a:lnTo>
                  <a:lnTo>
                    <a:pt x="125" y="17"/>
                  </a:lnTo>
                  <a:lnTo>
                    <a:pt x="125" y="17"/>
                  </a:lnTo>
                  <a:lnTo>
                    <a:pt x="128" y="17"/>
                  </a:lnTo>
                  <a:lnTo>
                    <a:pt x="125" y="16"/>
                  </a:lnTo>
                  <a:lnTo>
                    <a:pt x="124" y="16"/>
                  </a:lnTo>
                  <a:lnTo>
                    <a:pt x="121" y="14"/>
                  </a:lnTo>
                  <a:lnTo>
                    <a:pt x="118" y="14"/>
                  </a:lnTo>
                  <a:lnTo>
                    <a:pt x="116" y="12"/>
                  </a:lnTo>
                  <a:lnTo>
                    <a:pt x="117" y="9"/>
                  </a:lnTo>
                  <a:lnTo>
                    <a:pt x="119" y="9"/>
                  </a:lnTo>
                  <a:lnTo>
                    <a:pt x="123" y="9"/>
                  </a:lnTo>
                  <a:lnTo>
                    <a:pt x="125" y="11"/>
                  </a:lnTo>
                  <a:lnTo>
                    <a:pt x="127" y="11"/>
                  </a:lnTo>
                  <a:lnTo>
                    <a:pt x="130" y="12"/>
                  </a:lnTo>
                  <a:lnTo>
                    <a:pt x="131" y="14"/>
                  </a:lnTo>
                  <a:lnTo>
                    <a:pt x="134" y="16"/>
                  </a:lnTo>
                  <a:lnTo>
                    <a:pt x="136" y="16"/>
                  </a:lnTo>
                  <a:lnTo>
                    <a:pt x="136" y="17"/>
                  </a:lnTo>
                  <a:lnTo>
                    <a:pt x="140" y="18"/>
                  </a:lnTo>
                  <a:lnTo>
                    <a:pt x="139" y="21"/>
                  </a:lnTo>
                  <a:lnTo>
                    <a:pt x="142" y="21"/>
                  </a:lnTo>
                  <a:lnTo>
                    <a:pt x="144" y="22"/>
                  </a:lnTo>
                  <a:lnTo>
                    <a:pt x="144" y="25"/>
                  </a:lnTo>
                  <a:lnTo>
                    <a:pt x="144" y="28"/>
                  </a:lnTo>
                  <a:lnTo>
                    <a:pt x="145" y="31"/>
                  </a:lnTo>
                  <a:lnTo>
                    <a:pt x="147" y="33"/>
                  </a:lnTo>
                  <a:lnTo>
                    <a:pt x="147" y="35"/>
                  </a:lnTo>
                  <a:lnTo>
                    <a:pt x="150" y="38"/>
                  </a:lnTo>
                  <a:lnTo>
                    <a:pt x="149" y="40"/>
                  </a:lnTo>
                  <a:lnTo>
                    <a:pt x="150" y="43"/>
                  </a:lnTo>
                  <a:lnTo>
                    <a:pt x="152" y="43"/>
                  </a:lnTo>
                  <a:lnTo>
                    <a:pt x="156" y="46"/>
                  </a:lnTo>
                  <a:lnTo>
                    <a:pt x="154" y="43"/>
                  </a:lnTo>
                  <a:lnTo>
                    <a:pt x="158" y="42"/>
                  </a:lnTo>
                  <a:lnTo>
                    <a:pt x="160" y="41"/>
                  </a:lnTo>
                  <a:lnTo>
                    <a:pt x="162" y="40"/>
                  </a:lnTo>
                  <a:lnTo>
                    <a:pt x="161" y="38"/>
                  </a:lnTo>
                  <a:lnTo>
                    <a:pt x="159" y="35"/>
                  </a:lnTo>
                  <a:lnTo>
                    <a:pt x="158" y="33"/>
                  </a:lnTo>
                  <a:lnTo>
                    <a:pt x="156" y="31"/>
                  </a:lnTo>
                  <a:lnTo>
                    <a:pt x="157" y="28"/>
                  </a:lnTo>
                  <a:lnTo>
                    <a:pt x="154" y="25"/>
                  </a:lnTo>
                  <a:lnTo>
                    <a:pt x="154" y="23"/>
                  </a:lnTo>
                  <a:lnTo>
                    <a:pt x="152" y="20"/>
                  </a:lnTo>
                  <a:lnTo>
                    <a:pt x="152" y="17"/>
                  </a:lnTo>
                  <a:lnTo>
                    <a:pt x="151" y="16"/>
                  </a:lnTo>
                  <a:lnTo>
                    <a:pt x="151" y="14"/>
                  </a:lnTo>
                  <a:lnTo>
                    <a:pt x="150" y="11"/>
                  </a:lnTo>
                  <a:lnTo>
                    <a:pt x="151" y="8"/>
                  </a:lnTo>
                  <a:lnTo>
                    <a:pt x="149" y="6"/>
                  </a:lnTo>
                  <a:lnTo>
                    <a:pt x="151" y="5"/>
                  </a:lnTo>
                  <a:lnTo>
                    <a:pt x="154" y="5"/>
                  </a:lnTo>
                  <a:lnTo>
                    <a:pt x="151" y="4"/>
                  </a:lnTo>
                  <a:lnTo>
                    <a:pt x="152" y="0"/>
                  </a:lnTo>
                  <a:lnTo>
                    <a:pt x="156" y="1"/>
                  </a:lnTo>
                  <a:lnTo>
                    <a:pt x="158" y="1"/>
                  </a:lnTo>
                  <a:lnTo>
                    <a:pt x="160" y="3"/>
                  </a:lnTo>
                  <a:lnTo>
                    <a:pt x="164" y="5"/>
                  </a:lnTo>
                  <a:lnTo>
                    <a:pt x="166" y="5"/>
                  </a:lnTo>
                  <a:lnTo>
                    <a:pt x="166" y="1"/>
                  </a:lnTo>
                  <a:lnTo>
                    <a:pt x="168" y="1"/>
                  </a:lnTo>
                  <a:lnTo>
                    <a:pt x="171" y="4"/>
                  </a:lnTo>
                  <a:lnTo>
                    <a:pt x="174" y="5"/>
                  </a:lnTo>
                  <a:lnTo>
                    <a:pt x="177" y="7"/>
                  </a:lnTo>
                  <a:lnTo>
                    <a:pt x="179" y="8"/>
                  </a:lnTo>
                  <a:lnTo>
                    <a:pt x="183" y="9"/>
                  </a:lnTo>
                  <a:lnTo>
                    <a:pt x="185" y="12"/>
                  </a:lnTo>
                  <a:lnTo>
                    <a:pt x="187" y="14"/>
                  </a:lnTo>
                  <a:lnTo>
                    <a:pt x="187" y="17"/>
                  </a:lnTo>
                  <a:lnTo>
                    <a:pt x="190" y="20"/>
                  </a:lnTo>
                  <a:lnTo>
                    <a:pt x="191" y="23"/>
                  </a:lnTo>
                  <a:lnTo>
                    <a:pt x="191" y="25"/>
                  </a:lnTo>
                  <a:lnTo>
                    <a:pt x="192" y="28"/>
                  </a:lnTo>
                  <a:lnTo>
                    <a:pt x="194" y="31"/>
                  </a:lnTo>
                  <a:lnTo>
                    <a:pt x="194" y="33"/>
                  </a:lnTo>
                  <a:lnTo>
                    <a:pt x="195" y="37"/>
                  </a:lnTo>
                  <a:lnTo>
                    <a:pt x="196" y="39"/>
                  </a:lnTo>
                  <a:lnTo>
                    <a:pt x="199" y="41"/>
                  </a:lnTo>
                  <a:lnTo>
                    <a:pt x="201" y="45"/>
                  </a:lnTo>
                  <a:lnTo>
                    <a:pt x="202" y="47"/>
                  </a:lnTo>
                  <a:lnTo>
                    <a:pt x="203" y="49"/>
                  </a:lnTo>
                  <a:lnTo>
                    <a:pt x="203" y="52"/>
                  </a:lnTo>
                  <a:lnTo>
                    <a:pt x="201" y="54"/>
                  </a:lnTo>
                  <a:lnTo>
                    <a:pt x="201" y="56"/>
                  </a:lnTo>
                  <a:lnTo>
                    <a:pt x="199" y="58"/>
                  </a:lnTo>
                  <a:lnTo>
                    <a:pt x="202" y="61"/>
                  </a:lnTo>
                  <a:lnTo>
                    <a:pt x="204" y="61"/>
                  </a:lnTo>
                  <a:lnTo>
                    <a:pt x="207" y="65"/>
                  </a:lnTo>
                  <a:lnTo>
                    <a:pt x="209" y="67"/>
                  </a:lnTo>
                  <a:lnTo>
                    <a:pt x="211" y="68"/>
                  </a:lnTo>
                  <a:lnTo>
                    <a:pt x="215" y="71"/>
                  </a:lnTo>
                  <a:lnTo>
                    <a:pt x="217" y="71"/>
                  </a:lnTo>
                  <a:lnTo>
                    <a:pt x="220" y="73"/>
                  </a:lnTo>
                  <a:lnTo>
                    <a:pt x="222" y="73"/>
                  </a:lnTo>
                  <a:lnTo>
                    <a:pt x="220" y="72"/>
                  </a:lnTo>
                  <a:lnTo>
                    <a:pt x="219" y="69"/>
                  </a:lnTo>
                  <a:lnTo>
                    <a:pt x="222" y="71"/>
                  </a:lnTo>
                  <a:lnTo>
                    <a:pt x="224" y="74"/>
                  </a:lnTo>
                  <a:lnTo>
                    <a:pt x="227" y="74"/>
                  </a:lnTo>
                  <a:lnTo>
                    <a:pt x="229" y="75"/>
                  </a:lnTo>
                  <a:lnTo>
                    <a:pt x="233" y="77"/>
                  </a:lnTo>
                  <a:lnTo>
                    <a:pt x="235" y="78"/>
                  </a:lnTo>
                  <a:lnTo>
                    <a:pt x="237" y="78"/>
                  </a:lnTo>
                  <a:lnTo>
                    <a:pt x="241" y="80"/>
                  </a:lnTo>
                  <a:lnTo>
                    <a:pt x="241" y="82"/>
                  </a:lnTo>
                  <a:lnTo>
                    <a:pt x="243" y="82"/>
                  </a:lnTo>
                  <a:lnTo>
                    <a:pt x="246" y="82"/>
                  </a:lnTo>
                  <a:lnTo>
                    <a:pt x="249" y="83"/>
                  </a:lnTo>
                  <a:lnTo>
                    <a:pt x="250" y="85"/>
                  </a:lnTo>
                  <a:lnTo>
                    <a:pt x="25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2" name="Freeform 232">
              <a:extLst>
                <a:ext uri="{FF2B5EF4-FFF2-40B4-BE49-F238E27FC236}">
                  <a16:creationId xmlns:a16="http://schemas.microsoft.com/office/drawing/2014/main" id="{39CDCEFA-A1B8-4F4F-91CF-3ED5622C8A98}"/>
                </a:ext>
              </a:extLst>
            </p:cNvPr>
            <p:cNvSpPr>
              <a:spLocks noEditPoints="1"/>
            </p:cNvSpPr>
            <p:nvPr/>
          </p:nvSpPr>
          <p:spPr bwMode="auto">
            <a:xfrm>
              <a:off x="3743325" y="2311400"/>
              <a:ext cx="450850" cy="188913"/>
            </a:xfrm>
            <a:custGeom>
              <a:avLst/>
              <a:gdLst>
                <a:gd name="T0" fmla="*/ 235 w 284"/>
                <a:gd name="T1" fmla="*/ 46 h 119"/>
                <a:gd name="T2" fmla="*/ 229 w 284"/>
                <a:gd name="T3" fmla="*/ 57 h 119"/>
                <a:gd name="T4" fmla="*/ 238 w 284"/>
                <a:gd name="T5" fmla="*/ 59 h 119"/>
                <a:gd name="T6" fmla="*/ 227 w 284"/>
                <a:gd name="T7" fmla="*/ 62 h 119"/>
                <a:gd name="T8" fmla="*/ 220 w 284"/>
                <a:gd name="T9" fmla="*/ 71 h 119"/>
                <a:gd name="T10" fmla="*/ 203 w 284"/>
                <a:gd name="T11" fmla="*/ 73 h 119"/>
                <a:gd name="T12" fmla="*/ 188 w 284"/>
                <a:gd name="T13" fmla="*/ 66 h 119"/>
                <a:gd name="T14" fmla="*/ 183 w 284"/>
                <a:gd name="T15" fmla="*/ 70 h 119"/>
                <a:gd name="T16" fmla="*/ 166 w 284"/>
                <a:gd name="T17" fmla="*/ 72 h 119"/>
                <a:gd name="T18" fmla="*/ 155 w 284"/>
                <a:gd name="T19" fmla="*/ 68 h 119"/>
                <a:gd name="T20" fmla="*/ 143 w 284"/>
                <a:gd name="T21" fmla="*/ 73 h 119"/>
                <a:gd name="T22" fmla="*/ 130 w 284"/>
                <a:gd name="T23" fmla="*/ 71 h 119"/>
                <a:gd name="T24" fmla="*/ 113 w 284"/>
                <a:gd name="T25" fmla="*/ 70 h 119"/>
                <a:gd name="T26" fmla="*/ 108 w 284"/>
                <a:gd name="T27" fmla="*/ 64 h 119"/>
                <a:gd name="T28" fmla="*/ 94 w 284"/>
                <a:gd name="T29" fmla="*/ 70 h 119"/>
                <a:gd name="T30" fmla="*/ 83 w 284"/>
                <a:gd name="T31" fmla="*/ 64 h 119"/>
                <a:gd name="T32" fmla="*/ 74 w 284"/>
                <a:gd name="T33" fmla="*/ 68 h 119"/>
                <a:gd name="T34" fmla="*/ 66 w 284"/>
                <a:gd name="T35" fmla="*/ 54 h 119"/>
                <a:gd name="T36" fmla="*/ 67 w 284"/>
                <a:gd name="T37" fmla="*/ 42 h 119"/>
                <a:gd name="T38" fmla="*/ 58 w 284"/>
                <a:gd name="T39" fmla="*/ 28 h 119"/>
                <a:gd name="T40" fmla="*/ 42 w 284"/>
                <a:gd name="T41" fmla="*/ 23 h 119"/>
                <a:gd name="T42" fmla="*/ 24 w 284"/>
                <a:gd name="T43" fmla="*/ 24 h 119"/>
                <a:gd name="T44" fmla="*/ 16 w 284"/>
                <a:gd name="T45" fmla="*/ 20 h 119"/>
                <a:gd name="T46" fmla="*/ 11 w 284"/>
                <a:gd name="T47" fmla="*/ 14 h 119"/>
                <a:gd name="T48" fmla="*/ 4 w 284"/>
                <a:gd name="T49" fmla="*/ 9 h 119"/>
                <a:gd name="T50" fmla="*/ 8 w 284"/>
                <a:gd name="T51" fmla="*/ 0 h 119"/>
                <a:gd name="T52" fmla="*/ 25 w 284"/>
                <a:gd name="T53" fmla="*/ 3 h 119"/>
                <a:gd name="T54" fmla="*/ 42 w 284"/>
                <a:gd name="T55" fmla="*/ 5 h 119"/>
                <a:gd name="T56" fmla="*/ 44 w 284"/>
                <a:gd name="T57" fmla="*/ 19 h 119"/>
                <a:gd name="T58" fmla="*/ 61 w 284"/>
                <a:gd name="T59" fmla="*/ 14 h 119"/>
                <a:gd name="T60" fmla="*/ 82 w 284"/>
                <a:gd name="T61" fmla="*/ 13 h 119"/>
                <a:gd name="T62" fmla="*/ 77 w 284"/>
                <a:gd name="T63" fmla="*/ 16 h 119"/>
                <a:gd name="T64" fmla="*/ 89 w 284"/>
                <a:gd name="T65" fmla="*/ 20 h 119"/>
                <a:gd name="T66" fmla="*/ 104 w 284"/>
                <a:gd name="T67" fmla="*/ 23 h 119"/>
                <a:gd name="T68" fmla="*/ 91 w 284"/>
                <a:gd name="T69" fmla="*/ 25 h 119"/>
                <a:gd name="T70" fmla="*/ 77 w 284"/>
                <a:gd name="T71" fmla="*/ 24 h 119"/>
                <a:gd name="T72" fmla="*/ 87 w 284"/>
                <a:gd name="T73" fmla="*/ 28 h 119"/>
                <a:gd name="T74" fmla="*/ 82 w 284"/>
                <a:gd name="T75" fmla="*/ 30 h 119"/>
                <a:gd name="T76" fmla="*/ 94 w 284"/>
                <a:gd name="T77" fmla="*/ 30 h 119"/>
                <a:gd name="T78" fmla="*/ 105 w 284"/>
                <a:gd name="T79" fmla="*/ 38 h 119"/>
                <a:gd name="T80" fmla="*/ 105 w 284"/>
                <a:gd name="T81" fmla="*/ 43 h 119"/>
                <a:gd name="T82" fmla="*/ 116 w 284"/>
                <a:gd name="T83" fmla="*/ 42 h 119"/>
                <a:gd name="T84" fmla="*/ 130 w 284"/>
                <a:gd name="T85" fmla="*/ 41 h 119"/>
                <a:gd name="T86" fmla="*/ 146 w 284"/>
                <a:gd name="T87" fmla="*/ 47 h 119"/>
                <a:gd name="T88" fmla="*/ 152 w 284"/>
                <a:gd name="T89" fmla="*/ 43 h 119"/>
                <a:gd name="T90" fmla="*/ 168 w 284"/>
                <a:gd name="T91" fmla="*/ 39 h 119"/>
                <a:gd name="T92" fmla="*/ 185 w 284"/>
                <a:gd name="T93" fmla="*/ 38 h 119"/>
                <a:gd name="T94" fmla="*/ 204 w 284"/>
                <a:gd name="T95" fmla="*/ 36 h 119"/>
                <a:gd name="T96" fmla="*/ 220 w 284"/>
                <a:gd name="T97" fmla="*/ 41 h 119"/>
                <a:gd name="T98" fmla="*/ 231 w 284"/>
                <a:gd name="T99" fmla="*/ 93 h 119"/>
                <a:gd name="T100" fmla="*/ 248 w 284"/>
                <a:gd name="T101" fmla="*/ 94 h 119"/>
                <a:gd name="T102" fmla="*/ 265 w 284"/>
                <a:gd name="T103" fmla="*/ 97 h 119"/>
                <a:gd name="T104" fmla="*/ 279 w 284"/>
                <a:gd name="T105" fmla="*/ 109 h 119"/>
                <a:gd name="T106" fmla="*/ 275 w 284"/>
                <a:gd name="T107" fmla="*/ 116 h 119"/>
                <a:gd name="T108" fmla="*/ 254 w 284"/>
                <a:gd name="T109" fmla="*/ 115 h 119"/>
                <a:gd name="T110" fmla="*/ 237 w 284"/>
                <a:gd name="T111" fmla="*/ 118 h 119"/>
                <a:gd name="T112" fmla="*/ 228 w 284"/>
                <a:gd name="T113" fmla="*/ 106 h 119"/>
                <a:gd name="T114" fmla="*/ 220 w 284"/>
                <a:gd name="T115" fmla="*/ 94 h 119"/>
                <a:gd name="T116" fmla="*/ 231 w 284"/>
                <a:gd name="T117" fmla="*/ 9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 h="119">
                  <a:moveTo>
                    <a:pt x="231" y="43"/>
                  </a:moveTo>
                  <a:lnTo>
                    <a:pt x="231" y="43"/>
                  </a:lnTo>
                  <a:lnTo>
                    <a:pt x="228" y="46"/>
                  </a:lnTo>
                  <a:lnTo>
                    <a:pt x="231" y="46"/>
                  </a:lnTo>
                  <a:lnTo>
                    <a:pt x="232" y="46"/>
                  </a:lnTo>
                  <a:lnTo>
                    <a:pt x="235" y="46"/>
                  </a:lnTo>
                  <a:lnTo>
                    <a:pt x="238" y="48"/>
                  </a:lnTo>
                  <a:lnTo>
                    <a:pt x="237" y="50"/>
                  </a:lnTo>
                  <a:lnTo>
                    <a:pt x="237" y="53"/>
                  </a:lnTo>
                  <a:lnTo>
                    <a:pt x="233" y="54"/>
                  </a:lnTo>
                  <a:lnTo>
                    <a:pt x="231" y="56"/>
                  </a:lnTo>
                  <a:lnTo>
                    <a:pt x="229" y="57"/>
                  </a:lnTo>
                  <a:lnTo>
                    <a:pt x="226" y="58"/>
                  </a:lnTo>
                  <a:lnTo>
                    <a:pt x="229" y="59"/>
                  </a:lnTo>
                  <a:lnTo>
                    <a:pt x="231" y="58"/>
                  </a:lnTo>
                  <a:lnTo>
                    <a:pt x="232" y="58"/>
                  </a:lnTo>
                  <a:lnTo>
                    <a:pt x="235" y="57"/>
                  </a:lnTo>
                  <a:lnTo>
                    <a:pt x="238" y="59"/>
                  </a:lnTo>
                  <a:lnTo>
                    <a:pt x="239" y="62"/>
                  </a:lnTo>
                  <a:lnTo>
                    <a:pt x="237" y="63"/>
                  </a:lnTo>
                  <a:lnTo>
                    <a:pt x="233" y="63"/>
                  </a:lnTo>
                  <a:lnTo>
                    <a:pt x="231" y="63"/>
                  </a:lnTo>
                  <a:lnTo>
                    <a:pt x="229" y="63"/>
                  </a:lnTo>
                  <a:lnTo>
                    <a:pt x="227" y="62"/>
                  </a:lnTo>
                  <a:lnTo>
                    <a:pt x="229" y="64"/>
                  </a:lnTo>
                  <a:lnTo>
                    <a:pt x="228" y="67"/>
                  </a:lnTo>
                  <a:lnTo>
                    <a:pt x="228" y="70"/>
                  </a:lnTo>
                  <a:lnTo>
                    <a:pt x="226" y="70"/>
                  </a:lnTo>
                  <a:lnTo>
                    <a:pt x="222" y="71"/>
                  </a:lnTo>
                  <a:lnTo>
                    <a:pt x="220" y="71"/>
                  </a:lnTo>
                  <a:lnTo>
                    <a:pt x="217" y="70"/>
                  </a:lnTo>
                  <a:lnTo>
                    <a:pt x="214" y="71"/>
                  </a:lnTo>
                  <a:lnTo>
                    <a:pt x="211" y="72"/>
                  </a:lnTo>
                  <a:lnTo>
                    <a:pt x="209" y="73"/>
                  </a:lnTo>
                  <a:lnTo>
                    <a:pt x="205" y="73"/>
                  </a:lnTo>
                  <a:lnTo>
                    <a:pt x="203" y="73"/>
                  </a:lnTo>
                  <a:lnTo>
                    <a:pt x="200" y="72"/>
                  </a:lnTo>
                  <a:lnTo>
                    <a:pt x="197" y="71"/>
                  </a:lnTo>
                  <a:lnTo>
                    <a:pt x="194" y="72"/>
                  </a:lnTo>
                  <a:lnTo>
                    <a:pt x="192" y="71"/>
                  </a:lnTo>
                  <a:lnTo>
                    <a:pt x="189" y="68"/>
                  </a:lnTo>
                  <a:lnTo>
                    <a:pt x="188" y="66"/>
                  </a:lnTo>
                  <a:lnTo>
                    <a:pt x="188" y="63"/>
                  </a:lnTo>
                  <a:lnTo>
                    <a:pt x="186" y="63"/>
                  </a:lnTo>
                  <a:lnTo>
                    <a:pt x="183" y="63"/>
                  </a:lnTo>
                  <a:lnTo>
                    <a:pt x="186" y="65"/>
                  </a:lnTo>
                  <a:lnTo>
                    <a:pt x="184" y="67"/>
                  </a:lnTo>
                  <a:lnTo>
                    <a:pt x="183" y="70"/>
                  </a:lnTo>
                  <a:lnTo>
                    <a:pt x="180" y="71"/>
                  </a:lnTo>
                  <a:lnTo>
                    <a:pt x="177" y="71"/>
                  </a:lnTo>
                  <a:lnTo>
                    <a:pt x="175" y="72"/>
                  </a:lnTo>
                  <a:lnTo>
                    <a:pt x="171" y="72"/>
                  </a:lnTo>
                  <a:lnTo>
                    <a:pt x="169" y="72"/>
                  </a:lnTo>
                  <a:lnTo>
                    <a:pt x="166" y="72"/>
                  </a:lnTo>
                  <a:lnTo>
                    <a:pt x="163" y="70"/>
                  </a:lnTo>
                  <a:lnTo>
                    <a:pt x="162" y="67"/>
                  </a:lnTo>
                  <a:lnTo>
                    <a:pt x="162" y="70"/>
                  </a:lnTo>
                  <a:lnTo>
                    <a:pt x="160" y="72"/>
                  </a:lnTo>
                  <a:lnTo>
                    <a:pt x="158" y="72"/>
                  </a:lnTo>
                  <a:lnTo>
                    <a:pt x="155" y="68"/>
                  </a:lnTo>
                  <a:lnTo>
                    <a:pt x="155" y="72"/>
                  </a:lnTo>
                  <a:lnTo>
                    <a:pt x="153" y="72"/>
                  </a:lnTo>
                  <a:lnTo>
                    <a:pt x="150" y="73"/>
                  </a:lnTo>
                  <a:lnTo>
                    <a:pt x="147" y="73"/>
                  </a:lnTo>
                  <a:lnTo>
                    <a:pt x="146" y="70"/>
                  </a:lnTo>
                  <a:lnTo>
                    <a:pt x="143" y="73"/>
                  </a:lnTo>
                  <a:lnTo>
                    <a:pt x="141" y="72"/>
                  </a:lnTo>
                  <a:lnTo>
                    <a:pt x="138" y="70"/>
                  </a:lnTo>
                  <a:lnTo>
                    <a:pt x="138" y="73"/>
                  </a:lnTo>
                  <a:lnTo>
                    <a:pt x="136" y="73"/>
                  </a:lnTo>
                  <a:lnTo>
                    <a:pt x="134" y="73"/>
                  </a:lnTo>
                  <a:lnTo>
                    <a:pt x="130" y="71"/>
                  </a:lnTo>
                  <a:lnTo>
                    <a:pt x="128" y="73"/>
                  </a:lnTo>
                  <a:lnTo>
                    <a:pt x="125" y="72"/>
                  </a:lnTo>
                  <a:lnTo>
                    <a:pt x="122" y="73"/>
                  </a:lnTo>
                  <a:lnTo>
                    <a:pt x="119" y="72"/>
                  </a:lnTo>
                  <a:lnTo>
                    <a:pt x="117" y="72"/>
                  </a:lnTo>
                  <a:lnTo>
                    <a:pt x="113" y="70"/>
                  </a:lnTo>
                  <a:lnTo>
                    <a:pt x="116" y="67"/>
                  </a:lnTo>
                  <a:lnTo>
                    <a:pt x="115" y="64"/>
                  </a:lnTo>
                  <a:lnTo>
                    <a:pt x="113" y="62"/>
                  </a:lnTo>
                  <a:lnTo>
                    <a:pt x="111" y="64"/>
                  </a:lnTo>
                  <a:lnTo>
                    <a:pt x="110" y="67"/>
                  </a:lnTo>
                  <a:lnTo>
                    <a:pt x="108" y="64"/>
                  </a:lnTo>
                  <a:lnTo>
                    <a:pt x="107" y="67"/>
                  </a:lnTo>
                  <a:lnTo>
                    <a:pt x="105" y="70"/>
                  </a:lnTo>
                  <a:lnTo>
                    <a:pt x="102" y="70"/>
                  </a:lnTo>
                  <a:lnTo>
                    <a:pt x="100" y="71"/>
                  </a:lnTo>
                  <a:lnTo>
                    <a:pt x="98" y="71"/>
                  </a:lnTo>
                  <a:lnTo>
                    <a:pt x="94" y="70"/>
                  </a:lnTo>
                  <a:lnTo>
                    <a:pt x="93" y="71"/>
                  </a:lnTo>
                  <a:lnTo>
                    <a:pt x="90" y="70"/>
                  </a:lnTo>
                  <a:lnTo>
                    <a:pt x="87" y="70"/>
                  </a:lnTo>
                  <a:lnTo>
                    <a:pt x="85" y="68"/>
                  </a:lnTo>
                  <a:lnTo>
                    <a:pt x="82" y="67"/>
                  </a:lnTo>
                  <a:lnTo>
                    <a:pt x="83" y="64"/>
                  </a:lnTo>
                  <a:lnTo>
                    <a:pt x="83" y="62"/>
                  </a:lnTo>
                  <a:lnTo>
                    <a:pt x="81" y="64"/>
                  </a:lnTo>
                  <a:lnTo>
                    <a:pt x="77" y="66"/>
                  </a:lnTo>
                  <a:lnTo>
                    <a:pt x="79" y="68"/>
                  </a:lnTo>
                  <a:lnTo>
                    <a:pt x="76" y="66"/>
                  </a:lnTo>
                  <a:lnTo>
                    <a:pt x="74" y="68"/>
                  </a:lnTo>
                  <a:lnTo>
                    <a:pt x="70" y="66"/>
                  </a:lnTo>
                  <a:lnTo>
                    <a:pt x="68" y="65"/>
                  </a:lnTo>
                  <a:lnTo>
                    <a:pt x="67" y="63"/>
                  </a:lnTo>
                  <a:lnTo>
                    <a:pt x="66" y="59"/>
                  </a:lnTo>
                  <a:lnTo>
                    <a:pt x="64" y="57"/>
                  </a:lnTo>
                  <a:lnTo>
                    <a:pt x="66" y="54"/>
                  </a:lnTo>
                  <a:lnTo>
                    <a:pt x="62" y="54"/>
                  </a:lnTo>
                  <a:lnTo>
                    <a:pt x="60" y="51"/>
                  </a:lnTo>
                  <a:lnTo>
                    <a:pt x="61" y="48"/>
                  </a:lnTo>
                  <a:lnTo>
                    <a:pt x="61" y="46"/>
                  </a:lnTo>
                  <a:lnTo>
                    <a:pt x="64" y="43"/>
                  </a:lnTo>
                  <a:lnTo>
                    <a:pt x="67" y="42"/>
                  </a:lnTo>
                  <a:lnTo>
                    <a:pt x="66" y="39"/>
                  </a:lnTo>
                  <a:lnTo>
                    <a:pt x="65" y="37"/>
                  </a:lnTo>
                  <a:lnTo>
                    <a:pt x="64" y="33"/>
                  </a:lnTo>
                  <a:lnTo>
                    <a:pt x="60" y="32"/>
                  </a:lnTo>
                  <a:lnTo>
                    <a:pt x="58" y="30"/>
                  </a:lnTo>
                  <a:lnTo>
                    <a:pt x="58" y="28"/>
                  </a:lnTo>
                  <a:lnTo>
                    <a:pt x="56" y="24"/>
                  </a:lnTo>
                  <a:lnTo>
                    <a:pt x="53" y="23"/>
                  </a:lnTo>
                  <a:lnTo>
                    <a:pt x="50" y="20"/>
                  </a:lnTo>
                  <a:lnTo>
                    <a:pt x="47" y="21"/>
                  </a:lnTo>
                  <a:lnTo>
                    <a:pt x="44" y="23"/>
                  </a:lnTo>
                  <a:lnTo>
                    <a:pt x="42" y="23"/>
                  </a:lnTo>
                  <a:lnTo>
                    <a:pt x="39" y="23"/>
                  </a:lnTo>
                  <a:lnTo>
                    <a:pt x="35" y="23"/>
                  </a:lnTo>
                  <a:lnTo>
                    <a:pt x="33" y="23"/>
                  </a:lnTo>
                  <a:lnTo>
                    <a:pt x="30" y="22"/>
                  </a:lnTo>
                  <a:lnTo>
                    <a:pt x="27" y="23"/>
                  </a:lnTo>
                  <a:lnTo>
                    <a:pt x="24" y="24"/>
                  </a:lnTo>
                  <a:lnTo>
                    <a:pt x="22" y="22"/>
                  </a:lnTo>
                  <a:lnTo>
                    <a:pt x="24" y="22"/>
                  </a:lnTo>
                  <a:lnTo>
                    <a:pt x="27" y="21"/>
                  </a:lnTo>
                  <a:lnTo>
                    <a:pt x="21" y="20"/>
                  </a:lnTo>
                  <a:lnTo>
                    <a:pt x="18" y="20"/>
                  </a:lnTo>
                  <a:lnTo>
                    <a:pt x="16" y="20"/>
                  </a:lnTo>
                  <a:lnTo>
                    <a:pt x="13" y="19"/>
                  </a:lnTo>
                  <a:lnTo>
                    <a:pt x="11" y="16"/>
                  </a:lnTo>
                  <a:lnTo>
                    <a:pt x="14" y="16"/>
                  </a:lnTo>
                  <a:lnTo>
                    <a:pt x="16" y="14"/>
                  </a:lnTo>
                  <a:lnTo>
                    <a:pt x="14" y="15"/>
                  </a:lnTo>
                  <a:lnTo>
                    <a:pt x="11" y="14"/>
                  </a:lnTo>
                  <a:lnTo>
                    <a:pt x="8" y="13"/>
                  </a:lnTo>
                  <a:lnTo>
                    <a:pt x="6" y="12"/>
                  </a:lnTo>
                  <a:lnTo>
                    <a:pt x="2" y="11"/>
                  </a:lnTo>
                  <a:lnTo>
                    <a:pt x="0" y="11"/>
                  </a:lnTo>
                  <a:lnTo>
                    <a:pt x="0" y="7"/>
                  </a:lnTo>
                  <a:lnTo>
                    <a:pt x="4" y="9"/>
                  </a:lnTo>
                  <a:lnTo>
                    <a:pt x="6" y="7"/>
                  </a:lnTo>
                  <a:lnTo>
                    <a:pt x="4" y="6"/>
                  </a:lnTo>
                  <a:lnTo>
                    <a:pt x="0" y="4"/>
                  </a:lnTo>
                  <a:lnTo>
                    <a:pt x="4" y="3"/>
                  </a:lnTo>
                  <a:lnTo>
                    <a:pt x="6" y="3"/>
                  </a:lnTo>
                  <a:lnTo>
                    <a:pt x="8" y="0"/>
                  </a:lnTo>
                  <a:lnTo>
                    <a:pt x="11" y="0"/>
                  </a:lnTo>
                  <a:lnTo>
                    <a:pt x="14" y="0"/>
                  </a:lnTo>
                  <a:lnTo>
                    <a:pt x="17" y="0"/>
                  </a:lnTo>
                  <a:lnTo>
                    <a:pt x="21" y="0"/>
                  </a:lnTo>
                  <a:lnTo>
                    <a:pt x="23" y="2"/>
                  </a:lnTo>
                  <a:lnTo>
                    <a:pt x="25" y="3"/>
                  </a:lnTo>
                  <a:lnTo>
                    <a:pt x="28" y="3"/>
                  </a:lnTo>
                  <a:lnTo>
                    <a:pt x="31" y="3"/>
                  </a:lnTo>
                  <a:lnTo>
                    <a:pt x="34" y="5"/>
                  </a:lnTo>
                  <a:lnTo>
                    <a:pt x="36" y="5"/>
                  </a:lnTo>
                  <a:lnTo>
                    <a:pt x="40" y="4"/>
                  </a:lnTo>
                  <a:lnTo>
                    <a:pt x="42" y="5"/>
                  </a:lnTo>
                  <a:lnTo>
                    <a:pt x="45" y="6"/>
                  </a:lnTo>
                  <a:lnTo>
                    <a:pt x="48" y="8"/>
                  </a:lnTo>
                  <a:lnTo>
                    <a:pt x="51" y="11"/>
                  </a:lnTo>
                  <a:lnTo>
                    <a:pt x="50" y="13"/>
                  </a:lnTo>
                  <a:lnTo>
                    <a:pt x="47" y="16"/>
                  </a:lnTo>
                  <a:lnTo>
                    <a:pt x="44" y="19"/>
                  </a:lnTo>
                  <a:lnTo>
                    <a:pt x="48" y="17"/>
                  </a:lnTo>
                  <a:lnTo>
                    <a:pt x="50" y="15"/>
                  </a:lnTo>
                  <a:lnTo>
                    <a:pt x="53" y="13"/>
                  </a:lnTo>
                  <a:lnTo>
                    <a:pt x="56" y="13"/>
                  </a:lnTo>
                  <a:lnTo>
                    <a:pt x="59" y="13"/>
                  </a:lnTo>
                  <a:lnTo>
                    <a:pt x="61" y="14"/>
                  </a:lnTo>
                  <a:lnTo>
                    <a:pt x="65" y="13"/>
                  </a:lnTo>
                  <a:lnTo>
                    <a:pt x="67" y="12"/>
                  </a:lnTo>
                  <a:lnTo>
                    <a:pt x="73" y="12"/>
                  </a:lnTo>
                  <a:lnTo>
                    <a:pt x="76" y="12"/>
                  </a:lnTo>
                  <a:lnTo>
                    <a:pt x="78" y="12"/>
                  </a:lnTo>
                  <a:lnTo>
                    <a:pt x="82" y="13"/>
                  </a:lnTo>
                  <a:lnTo>
                    <a:pt x="84" y="14"/>
                  </a:lnTo>
                  <a:lnTo>
                    <a:pt x="86" y="15"/>
                  </a:lnTo>
                  <a:lnTo>
                    <a:pt x="85" y="17"/>
                  </a:lnTo>
                  <a:lnTo>
                    <a:pt x="83" y="17"/>
                  </a:lnTo>
                  <a:lnTo>
                    <a:pt x="79" y="17"/>
                  </a:lnTo>
                  <a:lnTo>
                    <a:pt x="77" y="16"/>
                  </a:lnTo>
                  <a:lnTo>
                    <a:pt x="74" y="17"/>
                  </a:lnTo>
                  <a:lnTo>
                    <a:pt x="77" y="17"/>
                  </a:lnTo>
                  <a:lnTo>
                    <a:pt x="81" y="17"/>
                  </a:lnTo>
                  <a:lnTo>
                    <a:pt x="83" y="19"/>
                  </a:lnTo>
                  <a:lnTo>
                    <a:pt x="85" y="20"/>
                  </a:lnTo>
                  <a:lnTo>
                    <a:pt x="89" y="20"/>
                  </a:lnTo>
                  <a:lnTo>
                    <a:pt x="92" y="20"/>
                  </a:lnTo>
                  <a:lnTo>
                    <a:pt x="94" y="21"/>
                  </a:lnTo>
                  <a:lnTo>
                    <a:pt x="96" y="21"/>
                  </a:lnTo>
                  <a:lnTo>
                    <a:pt x="99" y="22"/>
                  </a:lnTo>
                  <a:lnTo>
                    <a:pt x="102" y="22"/>
                  </a:lnTo>
                  <a:lnTo>
                    <a:pt x="104" y="23"/>
                  </a:lnTo>
                  <a:lnTo>
                    <a:pt x="103" y="25"/>
                  </a:lnTo>
                  <a:lnTo>
                    <a:pt x="100" y="25"/>
                  </a:lnTo>
                  <a:lnTo>
                    <a:pt x="98" y="26"/>
                  </a:lnTo>
                  <a:lnTo>
                    <a:pt x="94" y="25"/>
                  </a:lnTo>
                  <a:lnTo>
                    <a:pt x="94" y="25"/>
                  </a:lnTo>
                  <a:lnTo>
                    <a:pt x="91" y="25"/>
                  </a:lnTo>
                  <a:lnTo>
                    <a:pt x="89" y="26"/>
                  </a:lnTo>
                  <a:lnTo>
                    <a:pt x="91" y="26"/>
                  </a:lnTo>
                  <a:lnTo>
                    <a:pt x="89" y="26"/>
                  </a:lnTo>
                  <a:lnTo>
                    <a:pt x="85" y="25"/>
                  </a:lnTo>
                  <a:lnTo>
                    <a:pt x="83" y="25"/>
                  </a:lnTo>
                  <a:lnTo>
                    <a:pt x="77" y="24"/>
                  </a:lnTo>
                  <a:lnTo>
                    <a:pt x="74" y="24"/>
                  </a:lnTo>
                  <a:lnTo>
                    <a:pt x="76" y="26"/>
                  </a:lnTo>
                  <a:lnTo>
                    <a:pt x="78" y="26"/>
                  </a:lnTo>
                  <a:lnTo>
                    <a:pt x="82" y="26"/>
                  </a:lnTo>
                  <a:lnTo>
                    <a:pt x="84" y="29"/>
                  </a:lnTo>
                  <a:lnTo>
                    <a:pt x="87" y="28"/>
                  </a:lnTo>
                  <a:lnTo>
                    <a:pt x="90" y="30"/>
                  </a:lnTo>
                  <a:lnTo>
                    <a:pt x="86" y="30"/>
                  </a:lnTo>
                  <a:lnTo>
                    <a:pt x="84" y="30"/>
                  </a:lnTo>
                  <a:lnTo>
                    <a:pt x="82" y="30"/>
                  </a:lnTo>
                  <a:lnTo>
                    <a:pt x="78" y="30"/>
                  </a:lnTo>
                  <a:lnTo>
                    <a:pt x="82" y="30"/>
                  </a:lnTo>
                  <a:lnTo>
                    <a:pt x="81" y="33"/>
                  </a:lnTo>
                  <a:lnTo>
                    <a:pt x="83" y="31"/>
                  </a:lnTo>
                  <a:lnTo>
                    <a:pt x="86" y="31"/>
                  </a:lnTo>
                  <a:lnTo>
                    <a:pt x="89" y="32"/>
                  </a:lnTo>
                  <a:lnTo>
                    <a:pt x="92" y="32"/>
                  </a:lnTo>
                  <a:lnTo>
                    <a:pt x="94" y="30"/>
                  </a:lnTo>
                  <a:lnTo>
                    <a:pt x="94" y="30"/>
                  </a:lnTo>
                  <a:lnTo>
                    <a:pt x="98" y="33"/>
                  </a:lnTo>
                  <a:lnTo>
                    <a:pt x="98" y="36"/>
                  </a:lnTo>
                  <a:lnTo>
                    <a:pt x="100" y="34"/>
                  </a:lnTo>
                  <a:lnTo>
                    <a:pt x="102" y="36"/>
                  </a:lnTo>
                  <a:lnTo>
                    <a:pt x="105" y="38"/>
                  </a:lnTo>
                  <a:lnTo>
                    <a:pt x="103" y="41"/>
                  </a:lnTo>
                  <a:lnTo>
                    <a:pt x="100" y="41"/>
                  </a:lnTo>
                  <a:lnTo>
                    <a:pt x="98" y="42"/>
                  </a:lnTo>
                  <a:lnTo>
                    <a:pt x="100" y="43"/>
                  </a:lnTo>
                  <a:lnTo>
                    <a:pt x="103" y="42"/>
                  </a:lnTo>
                  <a:lnTo>
                    <a:pt x="105" y="43"/>
                  </a:lnTo>
                  <a:lnTo>
                    <a:pt x="108" y="46"/>
                  </a:lnTo>
                  <a:lnTo>
                    <a:pt x="111" y="46"/>
                  </a:lnTo>
                  <a:lnTo>
                    <a:pt x="111" y="43"/>
                  </a:lnTo>
                  <a:lnTo>
                    <a:pt x="111" y="41"/>
                  </a:lnTo>
                  <a:lnTo>
                    <a:pt x="113" y="40"/>
                  </a:lnTo>
                  <a:lnTo>
                    <a:pt x="116" y="42"/>
                  </a:lnTo>
                  <a:lnTo>
                    <a:pt x="118" y="46"/>
                  </a:lnTo>
                  <a:lnTo>
                    <a:pt x="121" y="43"/>
                  </a:lnTo>
                  <a:lnTo>
                    <a:pt x="124" y="42"/>
                  </a:lnTo>
                  <a:lnTo>
                    <a:pt x="126" y="42"/>
                  </a:lnTo>
                  <a:lnTo>
                    <a:pt x="129" y="45"/>
                  </a:lnTo>
                  <a:lnTo>
                    <a:pt x="130" y="41"/>
                  </a:lnTo>
                  <a:lnTo>
                    <a:pt x="133" y="42"/>
                  </a:lnTo>
                  <a:lnTo>
                    <a:pt x="136" y="45"/>
                  </a:lnTo>
                  <a:lnTo>
                    <a:pt x="138" y="46"/>
                  </a:lnTo>
                  <a:lnTo>
                    <a:pt x="142" y="46"/>
                  </a:lnTo>
                  <a:lnTo>
                    <a:pt x="143" y="48"/>
                  </a:lnTo>
                  <a:lnTo>
                    <a:pt x="146" y="47"/>
                  </a:lnTo>
                  <a:lnTo>
                    <a:pt x="149" y="47"/>
                  </a:lnTo>
                  <a:lnTo>
                    <a:pt x="151" y="47"/>
                  </a:lnTo>
                  <a:lnTo>
                    <a:pt x="154" y="47"/>
                  </a:lnTo>
                  <a:lnTo>
                    <a:pt x="151" y="46"/>
                  </a:lnTo>
                  <a:lnTo>
                    <a:pt x="149" y="43"/>
                  </a:lnTo>
                  <a:lnTo>
                    <a:pt x="152" y="43"/>
                  </a:lnTo>
                  <a:lnTo>
                    <a:pt x="154" y="42"/>
                  </a:lnTo>
                  <a:lnTo>
                    <a:pt x="158" y="42"/>
                  </a:lnTo>
                  <a:lnTo>
                    <a:pt x="160" y="41"/>
                  </a:lnTo>
                  <a:lnTo>
                    <a:pt x="163" y="40"/>
                  </a:lnTo>
                  <a:lnTo>
                    <a:pt x="166" y="40"/>
                  </a:lnTo>
                  <a:lnTo>
                    <a:pt x="168" y="39"/>
                  </a:lnTo>
                  <a:lnTo>
                    <a:pt x="171" y="39"/>
                  </a:lnTo>
                  <a:lnTo>
                    <a:pt x="173" y="38"/>
                  </a:lnTo>
                  <a:lnTo>
                    <a:pt x="177" y="36"/>
                  </a:lnTo>
                  <a:lnTo>
                    <a:pt x="179" y="36"/>
                  </a:lnTo>
                  <a:lnTo>
                    <a:pt x="181" y="37"/>
                  </a:lnTo>
                  <a:lnTo>
                    <a:pt x="185" y="38"/>
                  </a:lnTo>
                  <a:lnTo>
                    <a:pt x="190" y="38"/>
                  </a:lnTo>
                  <a:lnTo>
                    <a:pt x="193" y="37"/>
                  </a:lnTo>
                  <a:lnTo>
                    <a:pt x="196" y="36"/>
                  </a:lnTo>
                  <a:lnTo>
                    <a:pt x="198" y="36"/>
                  </a:lnTo>
                  <a:lnTo>
                    <a:pt x="202" y="36"/>
                  </a:lnTo>
                  <a:lnTo>
                    <a:pt x="204" y="36"/>
                  </a:lnTo>
                  <a:lnTo>
                    <a:pt x="211" y="36"/>
                  </a:lnTo>
                  <a:lnTo>
                    <a:pt x="213" y="37"/>
                  </a:lnTo>
                  <a:lnTo>
                    <a:pt x="217" y="38"/>
                  </a:lnTo>
                  <a:lnTo>
                    <a:pt x="214" y="40"/>
                  </a:lnTo>
                  <a:lnTo>
                    <a:pt x="218" y="41"/>
                  </a:lnTo>
                  <a:lnTo>
                    <a:pt x="220" y="41"/>
                  </a:lnTo>
                  <a:lnTo>
                    <a:pt x="223" y="40"/>
                  </a:lnTo>
                  <a:lnTo>
                    <a:pt x="226" y="41"/>
                  </a:lnTo>
                  <a:lnTo>
                    <a:pt x="229" y="41"/>
                  </a:lnTo>
                  <a:lnTo>
                    <a:pt x="231" y="43"/>
                  </a:lnTo>
                  <a:lnTo>
                    <a:pt x="231" y="43"/>
                  </a:lnTo>
                  <a:close/>
                  <a:moveTo>
                    <a:pt x="231" y="93"/>
                  </a:moveTo>
                  <a:lnTo>
                    <a:pt x="231" y="93"/>
                  </a:lnTo>
                  <a:lnTo>
                    <a:pt x="235" y="94"/>
                  </a:lnTo>
                  <a:lnTo>
                    <a:pt x="237" y="94"/>
                  </a:lnTo>
                  <a:lnTo>
                    <a:pt x="240" y="96"/>
                  </a:lnTo>
                  <a:lnTo>
                    <a:pt x="246" y="96"/>
                  </a:lnTo>
                  <a:lnTo>
                    <a:pt x="248" y="94"/>
                  </a:lnTo>
                  <a:lnTo>
                    <a:pt x="252" y="94"/>
                  </a:lnTo>
                  <a:lnTo>
                    <a:pt x="254" y="94"/>
                  </a:lnTo>
                  <a:lnTo>
                    <a:pt x="257" y="94"/>
                  </a:lnTo>
                  <a:lnTo>
                    <a:pt x="260" y="96"/>
                  </a:lnTo>
                  <a:lnTo>
                    <a:pt x="263" y="97"/>
                  </a:lnTo>
                  <a:lnTo>
                    <a:pt x="265" y="97"/>
                  </a:lnTo>
                  <a:lnTo>
                    <a:pt x="269" y="99"/>
                  </a:lnTo>
                  <a:lnTo>
                    <a:pt x="271" y="100"/>
                  </a:lnTo>
                  <a:lnTo>
                    <a:pt x="273" y="103"/>
                  </a:lnTo>
                  <a:lnTo>
                    <a:pt x="275" y="103"/>
                  </a:lnTo>
                  <a:lnTo>
                    <a:pt x="278" y="106"/>
                  </a:lnTo>
                  <a:lnTo>
                    <a:pt x="279" y="109"/>
                  </a:lnTo>
                  <a:lnTo>
                    <a:pt x="281" y="110"/>
                  </a:lnTo>
                  <a:lnTo>
                    <a:pt x="282" y="113"/>
                  </a:lnTo>
                  <a:lnTo>
                    <a:pt x="284" y="116"/>
                  </a:lnTo>
                  <a:lnTo>
                    <a:pt x="281" y="117"/>
                  </a:lnTo>
                  <a:lnTo>
                    <a:pt x="279" y="117"/>
                  </a:lnTo>
                  <a:lnTo>
                    <a:pt x="275" y="116"/>
                  </a:lnTo>
                  <a:lnTo>
                    <a:pt x="273" y="116"/>
                  </a:lnTo>
                  <a:lnTo>
                    <a:pt x="270" y="116"/>
                  </a:lnTo>
                  <a:lnTo>
                    <a:pt x="267" y="116"/>
                  </a:lnTo>
                  <a:lnTo>
                    <a:pt x="265" y="115"/>
                  </a:lnTo>
                  <a:lnTo>
                    <a:pt x="256" y="115"/>
                  </a:lnTo>
                  <a:lnTo>
                    <a:pt x="254" y="115"/>
                  </a:lnTo>
                  <a:lnTo>
                    <a:pt x="250" y="116"/>
                  </a:lnTo>
                  <a:lnTo>
                    <a:pt x="248" y="116"/>
                  </a:lnTo>
                  <a:lnTo>
                    <a:pt x="245" y="117"/>
                  </a:lnTo>
                  <a:lnTo>
                    <a:pt x="243" y="118"/>
                  </a:lnTo>
                  <a:lnTo>
                    <a:pt x="239" y="119"/>
                  </a:lnTo>
                  <a:lnTo>
                    <a:pt x="237" y="118"/>
                  </a:lnTo>
                  <a:lnTo>
                    <a:pt x="233" y="116"/>
                  </a:lnTo>
                  <a:lnTo>
                    <a:pt x="231" y="116"/>
                  </a:lnTo>
                  <a:lnTo>
                    <a:pt x="230" y="114"/>
                  </a:lnTo>
                  <a:lnTo>
                    <a:pt x="229" y="111"/>
                  </a:lnTo>
                  <a:lnTo>
                    <a:pt x="229" y="108"/>
                  </a:lnTo>
                  <a:lnTo>
                    <a:pt x="228" y="106"/>
                  </a:lnTo>
                  <a:lnTo>
                    <a:pt x="224" y="105"/>
                  </a:lnTo>
                  <a:lnTo>
                    <a:pt x="222" y="105"/>
                  </a:lnTo>
                  <a:lnTo>
                    <a:pt x="219" y="103"/>
                  </a:lnTo>
                  <a:lnTo>
                    <a:pt x="219" y="100"/>
                  </a:lnTo>
                  <a:lnTo>
                    <a:pt x="220" y="98"/>
                  </a:lnTo>
                  <a:lnTo>
                    <a:pt x="220" y="94"/>
                  </a:lnTo>
                  <a:lnTo>
                    <a:pt x="220" y="92"/>
                  </a:lnTo>
                  <a:lnTo>
                    <a:pt x="222" y="92"/>
                  </a:lnTo>
                  <a:lnTo>
                    <a:pt x="226" y="92"/>
                  </a:lnTo>
                  <a:lnTo>
                    <a:pt x="228" y="93"/>
                  </a:lnTo>
                  <a:lnTo>
                    <a:pt x="231" y="93"/>
                  </a:lnTo>
                  <a:lnTo>
                    <a:pt x="23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3" name="Freeform 233">
              <a:extLst>
                <a:ext uri="{FF2B5EF4-FFF2-40B4-BE49-F238E27FC236}">
                  <a16:creationId xmlns:a16="http://schemas.microsoft.com/office/drawing/2014/main" id="{94F5788B-70E7-4B4D-9C7D-C6049B7960E8}"/>
                </a:ext>
              </a:extLst>
            </p:cNvPr>
            <p:cNvSpPr>
              <a:spLocks/>
            </p:cNvSpPr>
            <p:nvPr/>
          </p:nvSpPr>
          <p:spPr bwMode="auto">
            <a:xfrm>
              <a:off x="3614738" y="2330450"/>
              <a:ext cx="119062" cy="74613"/>
            </a:xfrm>
            <a:custGeom>
              <a:avLst/>
              <a:gdLst>
                <a:gd name="T0" fmla="*/ 36 w 75"/>
                <a:gd name="T1" fmla="*/ 31 h 47"/>
                <a:gd name="T2" fmla="*/ 39 w 75"/>
                <a:gd name="T3" fmla="*/ 30 h 47"/>
                <a:gd name="T4" fmla="*/ 47 w 75"/>
                <a:gd name="T5" fmla="*/ 28 h 47"/>
                <a:gd name="T6" fmla="*/ 49 w 75"/>
                <a:gd name="T7" fmla="*/ 27 h 47"/>
                <a:gd name="T8" fmla="*/ 38 w 75"/>
                <a:gd name="T9" fmla="*/ 28 h 47"/>
                <a:gd name="T10" fmla="*/ 30 w 75"/>
                <a:gd name="T11" fmla="*/ 29 h 47"/>
                <a:gd name="T12" fmla="*/ 21 w 75"/>
                <a:gd name="T13" fmla="*/ 30 h 47"/>
                <a:gd name="T14" fmla="*/ 10 w 75"/>
                <a:gd name="T15" fmla="*/ 31 h 47"/>
                <a:gd name="T16" fmla="*/ 2 w 75"/>
                <a:gd name="T17" fmla="*/ 31 h 47"/>
                <a:gd name="T18" fmla="*/ 5 w 75"/>
                <a:gd name="T19" fmla="*/ 26 h 47"/>
                <a:gd name="T20" fmla="*/ 9 w 75"/>
                <a:gd name="T21" fmla="*/ 25 h 47"/>
                <a:gd name="T22" fmla="*/ 11 w 75"/>
                <a:gd name="T23" fmla="*/ 21 h 47"/>
                <a:gd name="T24" fmla="*/ 20 w 75"/>
                <a:gd name="T25" fmla="*/ 26 h 47"/>
                <a:gd name="T26" fmla="*/ 23 w 75"/>
                <a:gd name="T27" fmla="*/ 25 h 47"/>
                <a:gd name="T28" fmla="*/ 20 w 75"/>
                <a:gd name="T29" fmla="*/ 18 h 47"/>
                <a:gd name="T30" fmla="*/ 12 w 75"/>
                <a:gd name="T31" fmla="*/ 17 h 47"/>
                <a:gd name="T32" fmla="*/ 14 w 75"/>
                <a:gd name="T33" fmla="*/ 12 h 47"/>
                <a:gd name="T34" fmla="*/ 10 w 75"/>
                <a:gd name="T35" fmla="*/ 9 h 47"/>
                <a:gd name="T36" fmla="*/ 18 w 75"/>
                <a:gd name="T37" fmla="*/ 7 h 47"/>
                <a:gd name="T38" fmla="*/ 22 w 75"/>
                <a:gd name="T39" fmla="*/ 12 h 47"/>
                <a:gd name="T40" fmla="*/ 30 w 75"/>
                <a:gd name="T41" fmla="*/ 17 h 47"/>
                <a:gd name="T42" fmla="*/ 38 w 75"/>
                <a:gd name="T43" fmla="*/ 21 h 47"/>
                <a:gd name="T44" fmla="*/ 44 w 75"/>
                <a:gd name="T45" fmla="*/ 19 h 47"/>
                <a:gd name="T46" fmla="*/ 38 w 75"/>
                <a:gd name="T47" fmla="*/ 18 h 47"/>
                <a:gd name="T48" fmla="*/ 38 w 75"/>
                <a:gd name="T49" fmla="*/ 14 h 47"/>
                <a:gd name="T50" fmla="*/ 40 w 75"/>
                <a:gd name="T51" fmla="*/ 14 h 47"/>
                <a:gd name="T52" fmla="*/ 32 w 75"/>
                <a:gd name="T53" fmla="*/ 11 h 47"/>
                <a:gd name="T54" fmla="*/ 38 w 75"/>
                <a:gd name="T55" fmla="*/ 10 h 47"/>
                <a:gd name="T56" fmla="*/ 28 w 75"/>
                <a:gd name="T57" fmla="*/ 7 h 47"/>
                <a:gd name="T58" fmla="*/ 32 w 75"/>
                <a:gd name="T59" fmla="*/ 1 h 47"/>
                <a:gd name="T60" fmla="*/ 44 w 75"/>
                <a:gd name="T61" fmla="*/ 2 h 47"/>
                <a:gd name="T62" fmla="*/ 51 w 75"/>
                <a:gd name="T63" fmla="*/ 7 h 47"/>
                <a:gd name="T64" fmla="*/ 55 w 75"/>
                <a:gd name="T65" fmla="*/ 2 h 47"/>
                <a:gd name="T66" fmla="*/ 57 w 75"/>
                <a:gd name="T67" fmla="*/ 0 h 47"/>
                <a:gd name="T68" fmla="*/ 61 w 75"/>
                <a:gd name="T69" fmla="*/ 3 h 47"/>
                <a:gd name="T70" fmla="*/ 69 w 75"/>
                <a:gd name="T71" fmla="*/ 4 h 47"/>
                <a:gd name="T72" fmla="*/ 72 w 75"/>
                <a:gd name="T73" fmla="*/ 12 h 47"/>
                <a:gd name="T74" fmla="*/ 71 w 75"/>
                <a:gd name="T75" fmla="*/ 21 h 47"/>
                <a:gd name="T76" fmla="*/ 71 w 75"/>
                <a:gd name="T77" fmla="*/ 27 h 47"/>
                <a:gd name="T78" fmla="*/ 73 w 75"/>
                <a:gd name="T79" fmla="*/ 33 h 47"/>
                <a:gd name="T80" fmla="*/ 71 w 75"/>
                <a:gd name="T81" fmla="*/ 31 h 47"/>
                <a:gd name="T82" fmla="*/ 66 w 75"/>
                <a:gd name="T83" fmla="*/ 36 h 47"/>
                <a:gd name="T84" fmla="*/ 69 w 75"/>
                <a:gd name="T85" fmla="*/ 41 h 47"/>
                <a:gd name="T86" fmla="*/ 64 w 75"/>
                <a:gd name="T87" fmla="*/ 41 h 47"/>
                <a:gd name="T88" fmla="*/ 63 w 75"/>
                <a:gd name="T89" fmla="*/ 46 h 47"/>
                <a:gd name="T90" fmla="*/ 55 w 75"/>
                <a:gd name="T91" fmla="*/ 46 h 47"/>
                <a:gd name="T92" fmla="*/ 46 w 75"/>
                <a:gd name="T93" fmla="*/ 44 h 47"/>
                <a:gd name="T94" fmla="*/ 38 w 75"/>
                <a:gd name="T95" fmla="*/ 47 h 47"/>
                <a:gd name="T96" fmla="*/ 32 w 75"/>
                <a:gd name="T97" fmla="*/ 41 h 47"/>
                <a:gd name="T98" fmla="*/ 38 w 75"/>
                <a:gd name="T99" fmla="*/ 39 h 47"/>
                <a:gd name="T100" fmla="*/ 32 w 75"/>
                <a:gd name="T101" fmla="*/ 38 h 47"/>
                <a:gd name="T102" fmla="*/ 30 w 75"/>
                <a:gd name="T103" fmla="*/ 34 h 47"/>
                <a:gd name="T104" fmla="*/ 38 w 75"/>
                <a:gd name="T105"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 h="47">
                  <a:moveTo>
                    <a:pt x="38" y="33"/>
                  </a:moveTo>
                  <a:lnTo>
                    <a:pt x="38" y="33"/>
                  </a:lnTo>
                  <a:lnTo>
                    <a:pt x="36" y="31"/>
                  </a:lnTo>
                  <a:lnTo>
                    <a:pt x="38" y="31"/>
                  </a:lnTo>
                  <a:lnTo>
                    <a:pt x="38" y="30"/>
                  </a:lnTo>
                  <a:lnTo>
                    <a:pt x="39" y="30"/>
                  </a:lnTo>
                  <a:lnTo>
                    <a:pt x="42" y="28"/>
                  </a:lnTo>
                  <a:lnTo>
                    <a:pt x="45" y="28"/>
                  </a:lnTo>
                  <a:lnTo>
                    <a:pt x="47" y="28"/>
                  </a:lnTo>
                  <a:lnTo>
                    <a:pt x="51" y="28"/>
                  </a:lnTo>
                  <a:lnTo>
                    <a:pt x="53" y="27"/>
                  </a:lnTo>
                  <a:lnTo>
                    <a:pt x="49" y="27"/>
                  </a:lnTo>
                  <a:lnTo>
                    <a:pt x="44" y="27"/>
                  </a:lnTo>
                  <a:lnTo>
                    <a:pt x="42" y="27"/>
                  </a:lnTo>
                  <a:lnTo>
                    <a:pt x="38" y="28"/>
                  </a:lnTo>
                  <a:lnTo>
                    <a:pt x="36" y="28"/>
                  </a:lnTo>
                  <a:lnTo>
                    <a:pt x="32" y="28"/>
                  </a:lnTo>
                  <a:lnTo>
                    <a:pt x="30" y="29"/>
                  </a:lnTo>
                  <a:lnTo>
                    <a:pt x="27" y="29"/>
                  </a:lnTo>
                  <a:lnTo>
                    <a:pt x="25" y="29"/>
                  </a:lnTo>
                  <a:lnTo>
                    <a:pt x="21" y="30"/>
                  </a:lnTo>
                  <a:lnTo>
                    <a:pt x="19" y="30"/>
                  </a:lnTo>
                  <a:lnTo>
                    <a:pt x="13" y="30"/>
                  </a:lnTo>
                  <a:lnTo>
                    <a:pt x="10" y="31"/>
                  </a:lnTo>
                  <a:lnTo>
                    <a:pt x="8" y="31"/>
                  </a:lnTo>
                  <a:lnTo>
                    <a:pt x="4" y="31"/>
                  </a:lnTo>
                  <a:lnTo>
                    <a:pt x="2" y="31"/>
                  </a:lnTo>
                  <a:lnTo>
                    <a:pt x="0" y="29"/>
                  </a:lnTo>
                  <a:lnTo>
                    <a:pt x="2" y="28"/>
                  </a:lnTo>
                  <a:lnTo>
                    <a:pt x="5" y="26"/>
                  </a:lnTo>
                  <a:lnTo>
                    <a:pt x="8" y="26"/>
                  </a:lnTo>
                  <a:lnTo>
                    <a:pt x="10" y="27"/>
                  </a:lnTo>
                  <a:lnTo>
                    <a:pt x="9" y="25"/>
                  </a:lnTo>
                  <a:lnTo>
                    <a:pt x="5" y="24"/>
                  </a:lnTo>
                  <a:lnTo>
                    <a:pt x="9" y="22"/>
                  </a:lnTo>
                  <a:lnTo>
                    <a:pt x="11" y="21"/>
                  </a:lnTo>
                  <a:lnTo>
                    <a:pt x="14" y="22"/>
                  </a:lnTo>
                  <a:lnTo>
                    <a:pt x="17" y="24"/>
                  </a:lnTo>
                  <a:lnTo>
                    <a:pt x="20" y="26"/>
                  </a:lnTo>
                  <a:lnTo>
                    <a:pt x="22" y="25"/>
                  </a:lnTo>
                  <a:lnTo>
                    <a:pt x="26" y="24"/>
                  </a:lnTo>
                  <a:lnTo>
                    <a:pt x="23" y="25"/>
                  </a:lnTo>
                  <a:lnTo>
                    <a:pt x="20" y="24"/>
                  </a:lnTo>
                  <a:lnTo>
                    <a:pt x="17" y="20"/>
                  </a:lnTo>
                  <a:lnTo>
                    <a:pt x="20" y="18"/>
                  </a:lnTo>
                  <a:lnTo>
                    <a:pt x="18" y="19"/>
                  </a:lnTo>
                  <a:lnTo>
                    <a:pt x="14" y="19"/>
                  </a:lnTo>
                  <a:lnTo>
                    <a:pt x="12" y="17"/>
                  </a:lnTo>
                  <a:lnTo>
                    <a:pt x="14" y="13"/>
                  </a:lnTo>
                  <a:lnTo>
                    <a:pt x="18" y="12"/>
                  </a:lnTo>
                  <a:lnTo>
                    <a:pt x="14" y="12"/>
                  </a:lnTo>
                  <a:lnTo>
                    <a:pt x="12" y="12"/>
                  </a:lnTo>
                  <a:lnTo>
                    <a:pt x="9" y="12"/>
                  </a:lnTo>
                  <a:lnTo>
                    <a:pt x="10" y="9"/>
                  </a:lnTo>
                  <a:lnTo>
                    <a:pt x="12" y="7"/>
                  </a:lnTo>
                  <a:lnTo>
                    <a:pt x="15" y="5"/>
                  </a:lnTo>
                  <a:lnTo>
                    <a:pt x="18" y="7"/>
                  </a:lnTo>
                  <a:lnTo>
                    <a:pt x="21" y="8"/>
                  </a:lnTo>
                  <a:lnTo>
                    <a:pt x="23" y="9"/>
                  </a:lnTo>
                  <a:lnTo>
                    <a:pt x="22" y="12"/>
                  </a:lnTo>
                  <a:lnTo>
                    <a:pt x="26" y="12"/>
                  </a:lnTo>
                  <a:lnTo>
                    <a:pt x="28" y="13"/>
                  </a:lnTo>
                  <a:lnTo>
                    <a:pt x="30" y="17"/>
                  </a:lnTo>
                  <a:lnTo>
                    <a:pt x="32" y="17"/>
                  </a:lnTo>
                  <a:lnTo>
                    <a:pt x="36" y="19"/>
                  </a:lnTo>
                  <a:lnTo>
                    <a:pt x="38" y="21"/>
                  </a:lnTo>
                  <a:lnTo>
                    <a:pt x="38" y="22"/>
                  </a:lnTo>
                  <a:lnTo>
                    <a:pt x="42" y="21"/>
                  </a:lnTo>
                  <a:lnTo>
                    <a:pt x="44" y="19"/>
                  </a:lnTo>
                  <a:lnTo>
                    <a:pt x="42" y="20"/>
                  </a:lnTo>
                  <a:lnTo>
                    <a:pt x="38" y="18"/>
                  </a:lnTo>
                  <a:lnTo>
                    <a:pt x="38" y="18"/>
                  </a:lnTo>
                  <a:lnTo>
                    <a:pt x="37" y="18"/>
                  </a:lnTo>
                  <a:lnTo>
                    <a:pt x="36" y="14"/>
                  </a:lnTo>
                  <a:lnTo>
                    <a:pt x="38" y="14"/>
                  </a:lnTo>
                  <a:lnTo>
                    <a:pt x="40" y="14"/>
                  </a:lnTo>
                  <a:lnTo>
                    <a:pt x="44" y="14"/>
                  </a:lnTo>
                  <a:lnTo>
                    <a:pt x="40" y="14"/>
                  </a:lnTo>
                  <a:lnTo>
                    <a:pt x="38" y="13"/>
                  </a:lnTo>
                  <a:lnTo>
                    <a:pt x="36" y="13"/>
                  </a:lnTo>
                  <a:lnTo>
                    <a:pt x="32" y="11"/>
                  </a:lnTo>
                  <a:lnTo>
                    <a:pt x="36" y="10"/>
                  </a:lnTo>
                  <a:lnTo>
                    <a:pt x="38" y="11"/>
                  </a:lnTo>
                  <a:lnTo>
                    <a:pt x="38" y="10"/>
                  </a:lnTo>
                  <a:lnTo>
                    <a:pt x="36" y="8"/>
                  </a:lnTo>
                  <a:lnTo>
                    <a:pt x="30" y="8"/>
                  </a:lnTo>
                  <a:lnTo>
                    <a:pt x="28" y="7"/>
                  </a:lnTo>
                  <a:lnTo>
                    <a:pt x="27" y="4"/>
                  </a:lnTo>
                  <a:lnTo>
                    <a:pt x="30" y="2"/>
                  </a:lnTo>
                  <a:lnTo>
                    <a:pt x="32" y="1"/>
                  </a:lnTo>
                  <a:lnTo>
                    <a:pt x="36" y="0"/>
                  </a:lnTo>
                  <a:lnTo>
                    <a:pt x="38" y="1"/>
                  </a:lnTo>
                  <a:lnTo>
                    <a:pt x="44" y="2"/>
                  </a:lnTo>
                  <a:lnTo>
                    <a:pt x="46" y="3"/>
                  </a:lnTo>
                  <a:lnTo>
                    <a:pt x="49" y="4"/>
                  </a:lnTo>
                  <a:lnTo>
                    <a:pt x="51" y="7"/>
                  </a:lnTo>
                  <a:lnTo>
                    <a:pt x="53" y="4"/>
                  </a:lnTo>
                  <a:lnTo>
                    <a:pt x="52" y="2"/>
                  </a:lnTo>
                  <a:lnTo>
                    <a:pt x="55" y="2"/>
                  </a:lnTo>
                  <a:lnTo>
                    <a:pt x="57" y="0"/>
                  </a:lnTo>
                  <a:lnTo>
                    <a:pt x="55" y="0"/>
                  </a:lnTo>
                  <a:lnTo>
                    <a:pt x="57" y="0"/>
                  </a:lnTo>
                  <a:lnTo>
                    <a:pt x="61" y="1"/>
                  </a:lnTo>
                  <a:lnTo>
                    <a:pt x="63" y="2"/>
                  </a:lnTo>
                  <a:lnTo>
                    <a:pt x="61" y="3"/>
                  </a:lnTo>
                  <a:lnTo>
                    <a:pt x="63" y="3"/>
                  </a:lnTo>
                  <a:lnTo>
                    <a:pt x="66" y="4"/>
                  </a:lnTo>
                  <a:lnTo>
                    <a:pt x="69" y="4"/>
                  </a:lnTo>
                  <a:lnTo>
                    <a:pt x="70" y="8"/>
                  </a:lnTo>
                  <a:lnTo>
                    <a:pt x="69" y="10"/>
                  </a:lnTo>
                  <a:lnTo>
                    <a:pt x="72" y="12"/>
                  </a:lnTo>
                  <a:lnTo>
                    <a:pt x="72" y="16"/>
                  </a:lnTo>
                  <a:lnTo>
                    <a:pt x="71" y="18"/>
                  </a:lnTo>
                  <a:lnTo>
                    <a:pt x="71" y="21"/>
                  </a:lnTo>
                  <a:lnTo>
                    <a:pt x="71" y="24"/>
                  </a:lnTo>
                  <a:lnTo>
                    <a:pt x="69" y="26"/>
                  </a:lnTo>
                  <a:lnTo>
                    <a:pt x="71" y="27"/>
                  </a:lnTo>
                  <a:lnTo>
                    <a:pt x="74" y="27"/>
                  </a:lnTo>
                  <a:lnTo>
                    <a:pt x="74" y="30"/>
                  </a:lnTo>
                  <a:lnTo>
                    <a:pt x="73" y="33"/>
                  </a:lnTo>
                  <a:lnTo>
                    <a:pt x="75" y="35"/>
                  </a:lnTo>
                  <a:lnTo>
                    <a:pt x="72" y="34"/>
                  </a:lnTo>
                  <a:lnTo>
                    <a:pt x="71" y="31"/>
                  </a:lnTo>
                  <a:lnTo>
                    <a:pt x="68" y="33"/>
                  </a:lnTo>
                  <a:lnTo>
                    <a:pt x="65" y="34"/>
                  </a:lnTo>
                  <a:lnTo>
                    <a:pt x="66" y="36"/>
                  </a:lnTo>
                  <a:lnTo>
                    <a:pt x="64" y="37"/>
                  </a:lnTo>
                  <a:lnTo>
                    <a:pt x="66" y="39"/>
                  </a:lnTo>
                  <a:lnTo>
                    <a:pt x="69" y="41"/>
                  </a:lnTo>
                  <a:lnTo>
                    <a:pt x="70" y="43"/>
                  </a:lnTo>
                  <a:lnTo>
                    <a:pt x="68" y="43"/>
                  </a:lnTo>
                  <a:lnTo>
                    <a:pt x="64" y="41"/>
                  </a:lnTo>
                  <a:lnTo>
                    <a:pt x="65" y="43"/>
                  </a:lnTo>
                  <a:lnTo>
                    <a:pt x="66" y="46"/>
                  </a:lnTo>
                  <a:lnTo>
                    <a:pt x="63" y="46"/>
                  </a:lnTo>
                  <a:lnTo>
                    <a:pt x="61" y="46"/>
                  </a:lnTo>
                  <a:lnTo>
                    <a:pt x="57" y="46"/>
                  </a:lnTo>
                  <a:lnTo>
                    <a:pt x="55" y="46"/>
                  </a:lnTo>
                  <a:lnTo>
                    <a:pt x="52" y="46"/>
                  </a:lnTo>
                  <a:lnTo>
                    <a:pt x="49" y="46"/>
                  </a:lnTo>
                  <a:lnTo>
                    <a:pt x="46" y="44"/>
                  </a:lnTo>
                  <a:lnTo>
                    <a:pt x="44" y="47"/>
                  </a:lnTo>
                  <a:lnTo>
                    <a:pt x="42" y="47"/>
                  </a:lnTo>
                  <a:lnTo>
                    <a:pt x="38" y="47"/>
                  </a:lnTo>
                  <a:lnTo>
                    <a:pt x="36" y="46"/>
                  </a:lnTo>
                  <a:lnTo>
                    <a:pt x="32" y="45"/>
                  </a:lnTo>
                  <a:lnTo>
                    <a:pt x="32" y="41"/>
                  </a:lnTo>
                  <a:lnTo>
                    <a:pt x="36" y="41"/>
                  </a:lnTo>
                  <a:lnTo>
                    <a:pt x="38" y="39"/>
                  </a:lnTo>
                  <a:lnTo>
                    <a:pt x="38" y="39"/>
                  </a:lnTo>
                  <a:lnTo>
                    <a:pt x="38" y="39"/>
                  </a:lnTo>
                  <a:lnTo>
                    <a:pt x="35" y="39"/>
                  </a:lnTo>
                  <a:lnTo>
                    <a:pt x="32" y="38"/>
                  </a:lnTo>
                  <a:lnTo>
                    <a:pt x="29" y="37"/>
                  </a:lnTo>
                  <a:lnTo>
                    <a:pt x="32" y="36"/>
                  </a:lnTo>
                  <a:lnTo>
                    <a:pt x="30" y="34"/>
                  </a:lnTo>
                  <a:lnTo>
                    <a:pt x="32" y="34"/>
                  </a:lnTo>
                  <a:lnTo>
                    <a:pt x="36" y="33"/>
                  </a:lnTo>
                  <a:lnTo>
                    <a:pt x="38" y="33"/>
                  </a:lnTo>
                  <a:lnTo>
                    <a:pt x="3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4" name="Freeform 234">
              <a:extLst>
                <a:ext uri="{FF2B5EF4-FFF2-40B4-BE49-F238E27FC236}">
                  <a16:creationId xmlns:a16="http://schemas.microsoft.com/office/drawing/2014/main" id="{42803298-6947-4EA9-9E22-215D2BA9A5ED}"/>
                </a:ext>
              </a:extLst>
            </p:cNvPr>
            <p:cNvSpPr>
              <a:spLocks noEditPoints="1"/>
            </p:cNvSpPr>
            <p:nvPr/>
          </p:nvSpPr>
          <p:spPr bwMode="auto">
            <a:xfrm>
              <a:off x="3552825" y="2165350"/>
              <a:ext cx="150812" cy="163513"/>
            </a:xfrm>
            <a:custGeom>
              <a:avLst/>
              <a:gdLst>
                <a:gd name="T0" fmla="*/ 82 w 95"/>
                <a:gd name="T1" fmla="*/ 7 h 103"/>
                <a:gd name="T2" fmla="*/ 86 w 95"/>
                <a:gd name="T3" fmla="*/ 12 h 103"/>
                <a:gd name="T4" fmla="*/ 95 w 95"/>
                <a:gd name="T5" fmla="*/ 12 h 103"/>
                <a:gd name="T6" fmla="*/ 94 w 95"/>
                <a:gd name="T7" fmla="*/ 4 h 103"/>
                <a:gd name="T8" fmla="*/ 88 w 95"/>
                <a:gd name="T9" fmla="*/ 1 h 103"/>
                <a:gd name="T10" fmla="*/ 81 w 95"/>
                <a:gd name="T11" fmla="*/ 0 h 103"/>
                <a:gd name="T12" fmla="*/ 75 w 95"/>
                <a:gd name="T13" fmla="*/ 4 h 103"/>
                <a:gd name="T14" fmla="*/ 77 w 95"/>
                <a:gd name="T15" fmla="*/ 7 h 103"/>
                <a:gd name="T16" fmla="*/ 81 w 95"/>
                <a:gd name="T17" fmla="*/ 103 h 103"/>
                <a:gd name="T18" fmla="*/ 77 w 95"/>
                <a:gd name="T19" fmla="*/ 101 h 103"/>
                <a:gd name="T20" fmla="*/ 77 w 95"/>
                <a:gd name="T21" fmla="*/ 47 h 103"/>
                <a:gd name="T22" fmla="*/ 84 w 95"/>
                <a:gd name="T23" fmla="*/ 48 h 103"/>
                <a:gd name="T24" fmla="*/ 81 w 95"/>
                <a:gd name="T25" fmla="*/ 56 h 103"/>
                <a:gd name="T26" fmla="*/ 88 w 95"/>
                <a:gd name="T27" fmla="*/ 61 h 103"/>
                <a:gd name="T28" fmla="*/ 88 w 95"/>
                <a:gd name="T29" fmla="*/ 70 h 103"/>
                <a:gd name="T30" fmla="*/ 81 w 95"/>
                <a:gd name="T31" fmla="*/ 71 h 103"/>
                <a:gd name="T32" fmla="*/ 74 w 95"/>
                <a:gd name="T33" fmla="*/ 71 h 103"/>
                <a:gd name="T34" fmla="*/ 66 w 95"/>
                <a:gd name="T35" fmla="*/ 64 h 103"/>
                <a:gd name="T36" fmla="*/ 59 w 95"/>
                <a:gd name="T37" fmla="*/ 60 h 103"/>
                <a:gd name="T38" fmla="*/ 50 w 95"/>
                <a:gd name="T39" fmla="*/ 57 h 103"/>
                <a:gd name="T40" fmla="*/ 42 w 95"/>
                <a:gd name="T41" fmla="*/ 58 h 103"/>
                <a:gd name="T42" fmla="*/ 35 w 95"/>
                <a:gd name="T43" fmla="*/ 54 h 103"/>
                <a:gd name="T44" fmla="*/ 27 w 95"/>
                <a:gd name="T45" fmla="*/ 56 h 103"/>
                <a:gd name="T46" fmla="*/ 19 w 95"/>
                <a:gd name="T47" fmla="*/ 57 h 103"/>
                <a:gd name="T48" fmla="*/ 10 w 95"/>
                <a:gd name="T49" fmla="*/ 53 h 103"/>
                <a:gd name="T50" fmla="*/ 13 w 95"/>
                <a:gd name="T51" fmla="*/ 48 h 103"/>
                <a:gd name="T52" fmla="*/ 22 w 95"/>
                <a:gd name="T53" fmla="*/ 49 h 103"/>
                <a:gd name="T54" fmla="*/ 30 w 95"/>
                <a:gd name="T55" fmla="*/ 49 h 103"/>
                <a:gd name="T56" fmla="*/ 23 w 95"/>
                <a:gd name="T57" fmla="*/ 46 h 103"/>
                <a:gd name="T58" fmla="*/ 30 w 95"/>
                <a:gd name="T59" fmla="*/ 41 h 103"/>
                <a:gd name="T60" fmla="*/ 22 w 95"/>
                <a:gd name="T61" fmla="*/ 43 h 103"/>
                <a:gd name="T62" fmla="*/ 22 w 95"/>
                <a:gd name="T63" fmla="*/ 36 h 103"/>
                <a:gd name="T64" fmla="*/ 15 w 95"/>
                <a:gd name="T65" fmla="*/ 39 h 103"/>
                <a:gd name="T66" fmla="*/ 11 w 95"/>
                <a:gd name="T67" fmla="*/ 37 h 103"/>
                <a:gd name="T68" fmla="*/ 6 w 95"/>
                <a:gd name="T69" fmla="*/ 35 h 103"/>
                <a:gd name="T70" fmla="*/ 0 w 95"/>
                <a:gd name="T71" fmla="*/ 30 h 103"/>
                <a:gd name="T72" fmla="*/ 6 w 95"/>
                <a:gd name="T73" fmla="*/ 26 h 103"/>
                <a:gd name="T74" fmla="*/ 15 w 95"/>
                <a:gd name="T75" fmla="*/ 26 h 103"/>
                <a:gd name="T76" fmla="*/ 23 w 95"/>
                <a:gd name="T77" fmla="*/ 23 h 103"/>
                <a:gd name="T78" fmla="*/ 32 w 95"/>
                <a:gd name="T79" fmla="*/ 26 h 103"/>
                <a:gd name="T80" fmla="*/ 39 w 95"/>
                <a:gd name="T81" fmla="*/ 30 h 103"/>
                <a:gd name="T82" fmla="*/ 42 w 95"/>
                <a:gd name="T83" fmla="*/ 39 h 103"/>
                <a:gd name="T84" fmla="*/ 48 w 95"/>
                <a:gd name="T85" fmla="*/ 34 h 103"/>
                <a:gd name="T86" fmla="*/ 53 w 95"/>
                <a:gd name="T87" fmla="*/ 32 h 103"/>
                <a:gd name="T88" fmla="*/ 64 w 95"/>
                <a:gd name="T89" fmla="*/ 41 h 103"/>
                <a:gd name="T90" fmla="*/ 71 w 95"/>
                <a:gd name="T91" fmla="*/ 40 h 103"/>
                <a:gd name="T92" fmla="*/ 77 w 95"/>
                <a:gd name="T93" fmla="*/ 4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 h="103">
                  <a:moveTo>
                    <a:pt x="77" y="7"/>
                  </a:moveTo>
                  <a:lnTo>
                    <a:pt x="78" y="7"/>
                  </a:lnTo>
                  <a:lnTo>
                    <a:pt x="82" y="7"/>
                  </a:lnTo>
                  <a:lnTo>
                    <a:pt x="84" y="7"/>
                  </a:lnTo>
                  <a:lnTo>
                    <a:pt x="87" y="9"/>
                  </a:lnTo>
                  <a:lnTo>
                    <a:pt x="86" y="12"/>
                  </a:lnTo>
                  <a:lnTo>
                    <a:pt x="90" y="12"/>
                  </a:lnTo>
                  <a:lnTo>
                    <a:pt x="92" y="13"/>
                  </a:lnTo>
                  <a:lnTo>
                    <a:pt x="95" y="12"/>
                  </a:lnTo>
                  <a:lnTo>
                    <a:pt x="95" y="10"/>
                  </a:lnTo>
                  <a:lnTo>
                    <a:pt x="94" y="7"/>
                  </a:lnTo>
                  <a:lnTo>
                    <a:pt x="94" y="4"/>
                  </a:lnTo>
                  <a:lnTo>
                    <a:pt x="94" y="3"/>
                  </a:lnTo>
                  <a:lnTo>
                    <a:pt x="91" y="1"/>
                  </a:lnTo>
                  <a:lnTo>
                    <a:pt x="88" y="1"/>
                  </a:lnTo>
                  <a:lnTo>
                    <a:pt x="85" y="1"/>
                  </a:lnTo>
                  <a:lnTo>
                    <a:pt x="83" y="0"/>
                  </a:lnTo>
                  <a:lnTo>
                    <a:pt x="81" y="0"/>
                  </a:lnTo>
                  <a:lnTo>
                    <a:pt x="79" y="0"/>
                  </a:lnTo>
                  <a:lnTo>
                    <a:pt x="76" y="2"/>
                  </a:lnTo>
                  <a:lnTo>
                    <a:pt x="75" y="4"/>
                  </a:lnTo>
                  <a:lnTo>
                    <a:pt x="75" y="5"/>
                  </a:lnTo>
                  <a:lnTo>
                    <a:pt x="76" y="7"/>
                  </a:lnTo>
                  <a:lnTo>
                    <a:pt x="77" y="7"/>
                  </a:lnTo>
                  <a:lnTo>
                    <a:pt x="77" y="7"/>
                  </a:lnTo>
                  <a:close/>
                  <a:moveTo>
                    <a:pt x="77" y="103"/>
                  </a:moveTo>
                  <a:lnTo>
                    <a:pt x="81" y="103"/>
                  </a:lnTo>
                  <a:lnTo>
                    <a:pt x="83" y="103"/>
                  </a:lnTo>
                  <a:lnTo>
                    <a:pt x="81" y="101"/>
                  </a:lnTo>
                  <a:lnTo>
                    <a:pt x="77" y="101"/>
                  </a:lnTo>
                  <a:lnTo>
                    <a:pt x="77" y="103"/>
                  </a:lnTo>
                  <a:lnTo>
                    <a:pt x="77" y="103"/>
                  </a:lnTo>
                  <a:close/>
                  <a:moveTo>
                    <a:pt x="77" y="47"/>
                  </a:moveTo>
                  <a:lnTo>
                    <a:pt x="78" y="47"/>
                  </a:lnTo>
                  <a:lnTo>
                    <a:pt x="81" y="47"/>
                  </a:lnTo>
                  <a:lnTo>
                    <a:pt x="84" y="48"/>
                  </a:lnTo>
                  <a:lnTo>
                    <a:pt x="82" y="51"/>
                  </a:lnTo>
                  <a:lnTo>
                    <a:pt x="81" y="54"/>
                  </a:lnTo>
                  <a:lnTo>
                    <a:pt x="81" y="56"/>
                  </a:lnTo>
                  <a:lnTo>
                    <a:pt x="84" y="56"/>
                  </a:lnTo>
                  <a:lnTo>
                    <a:pt x="86" y="60"/>
                  </a:lnTo>
                  <a:lnTo>
                    <a:pt x="88" y="61"/>
                  </a:lnTo>
                  <a:lnTo>
                    <a:pt x="92" y="64"/>
                  </a:lnTo>
                  <a:lnTo>
                    <a:pt x="90" y="66"/>
                  </a:lnTo>
                  <a:lnTo>
                    <a:pt x="88" y="70"/>
                  </a:lnTo>
                  <a:lnTo>
                    <a:pt x="86" y="70"/>
                  </a:lnTo>
                  <a:lnTo>
                    <a:pt x="83" y="71"/>
                  </a:lnTo>
                  <a:lnTo>
                    <a:pt x="81" y="71"/>
                  </a:lnTo>
                  <a:lnTo>
                    <a:pt x="77" y="71"/>
                  </a:lnTo>
                  <a:lnTo>
                    <a:pt x="76" y="71"/>
                  </a:lnTo>
                  <a:lnTo>
                    <a:pt x="74" y="71"/>
                  </a:lnTo>
                  <a:lnTo>
                    <a:pt x="70" y="70"/>
                  </a:lnTo>
                  <a:lnTo>
                    <a:pt x="68" y="68"/>
                  </a:lnTo>
                  <a:lnTo>
                    <a:pt x="66" y="64"/>
                  </a:lnTo>
                  <a:lnTo>
                    <a:pt x="65" y="62"/>
                  </a:lnTo>
                  <a:lnTo>
                    <a:pt x="61" y="60"/>
                  </a:lnTo>
                  <a:lnTo>
                    <a:pt x="59" y="60"/>
                  </a:lnTo>
                  <a:lnTo>
                    <a:pt x="56" y="58"/>
                  </a:lnTo>
                  <a:lnTo>
                    <a:pt x="53" y="57"/>
                  </a:lnTo>
                  <a:lnTo>
                    <a:pt x="50" y="57"/>
                  </a:lnTo>
                  <a:lnTo>
                    <a:pt x="48" y="56"/>
                  </a:lnTo>
                  <a:lnTo>
                    <a:pt x="44" y="57"/>
                  </a:lnTo>
                  <a:lnTo>
                    <a:pt x="42" y="58"/>
                  </a:lnTo>
                  <a:lnTo>
                    <a:pt x="39" y="56"/>
                  </a:lnTo>
                  <a:lnTo>
                    <a:pt x="39" y="54"/>
                  </a:lnTo>
                  <a:lnTo>
                    <a:pt x="35" y="54"/>
                  </a:lnTo>
                  <a:lnTo>
                    <a:pt x="33" y="55"/>
                  </a:lnTo>
                  <a:lnTo>
                    <a:pt x="31" y="55"/>
                  </a:lnTo>
                  <a:lnTo>
                    <a:pt x="27" y="56"/>
                  </a:lnTo>
                  <a:lnTo>
                    <a:pt x="25" y="57"/>
                  </a:lnTo>
                  <a:lnTo>
                    <a:pt x="22" y="57"/>
                  </a:lnTo>
                  <a:lnTo>
                    <a:pt x="19" y="57"/>
                  </a:lnTo>
                  <a:lnTo>
                    <a:pt x="16" y="57"/>
                  </a:lnTo>
                  <a:lnTo>
                    <a:pt x="14" y="55"/>
                  </a:lnTo>
                  <a:lnTo>
                    <a:pt x="10" y="53"/>
                  </a:lnTo>
                  <a:lnTo>
                    <a:pt x="8" y="51"/>
                  </a:lnTo>
                  <a:lnTo>
                    <a:pt x="10" y="48"/>
                  </a:lnTo>
                  <a:lnTo>
                    <a:pt x="13" y="48"/>
                  </a:lnTo>
                  <a:lnTo>
                    <a:pt x="16" y="48"/>
                  </a:lnTo>
                  <a:lnTo>
                    <a:pt x="18" y="48"/>
                  </a:lnTo>
                  <a:lnTo>
                    <a:pt x="22" y="49"/>
                  </a:lnTo>
                  <a:lnTo>
                    <a:pt x="24" y="49"/>
                  </a:lnTo>
                  <a:lnTo>
                    <a:pt x="27" y="49"/>
                  </a:lnTo>
                  <a:lnTo>
                    <a:pt x="30" y="49"/>
                  </a:lnTo>
                  <a:lnTo>
                    <a:pt x="28" y="47"/>
                  </a:lnTo>
                  <a:lnTo>
                    <a:pt x="26" y="47"/>
                  </a:lnTo>
                  <a:lnTo>
                    <a:pt x="23" y="46"/>
                  </a:lnTo>
                  <a:lnTo>
                    <a:pt x="26" y="45"/>
                  </a:lnTo>
                  <a:lnTo>
                    <a:pt x="30" y="44"/>
                  </a:lnTo>
                  <a:lnTo>
                    <a:pt x="30" y="41"/>
                  </a:lnTo>
                  <a:lnTo>
                    <a:pt x="27" y="41"/>
                  </a:lnTo>
                  <a:lnTo>
                    <a:pt x="24" y="41"/>
                  </a:lnTo>
                  <a:lnTo>
                    <a:pt x="22" y="43"/>
                  </a:lnTo>
                  <a:lnTo>
                    <a:pt x="22" y="40"/>
                  </a:lnTo>
                  <a:lnTo>
                    <a:pt x="24" y="38"/>
                  </a:lnTo>
                  <a:lnTo>
                    <a:pt x="22" y="36"/>
                  </a:lnTo>
                  <a:lnTo>
                    <a:pt x="18" y="36"/>
                  </a:lnTo>
                  <a:lnTo>
                    <a:pt x="16" y="37"/>
                  </a:lnTo>
                  <a:lnTo>
                    <a:pt x="15" y="39"/>
                  </a:lnTo>
                  <a:lnTo>
                    <a:pt x="11" y="41"/>
                  </a:lnTo>
                  <a:lnTo>
                    <a:pt x="9" y="39"/>
                  </a:lnTo>
                  <a:lnTo>
                    <a:pt x="11" y="37"/>
                  </a:lnTo>
                  <a:lnTo>
                    <a:pt x="11" y="34"/>
                  </a:lnTo>
                  <a:lnTo>
                    <a:pt x="9" y="34"/>
                  </a:lnTo>
                  <a:lnTo>
                    <a:pt x="6" y="35"/>
                  </a:lnTo>
                  <a:lnTo>
                    <a:pt x="3" y="35"/>
                  </a:lnTo>
                  <a:lnTo>
                    <a:pt x="0" y="34"/>
                  </a:lnTo>
                  <a:lnTo>
                    <a:pt x="0" y="30"/>
                  </a:lnTo>
                  <a:lnTo>
                    <a:pt x="1" y="28"/>
                  </a:lnTo>
                  <a:lnTo>
                    <a:pt x="3" y="26"/>
                  </a:lnTo>
                  <a:lnTo>
                    <a:pt x="6" y="26"/>
                  </a:lnTo>
                  <a:lnTo>
                    <a:pt x="9" y="26"/>
                  </a:lnTo>
                  <a:lnTo>
                    <a:pt x="11" y="26"/>
                  </a:lnTo>
                  <a:lnTo>
                    <a:pt x="15" y="26"/>
                  </a:lnTo>
                  <a:lnTo>
                    <a:pt x="17" y="24"/>
                  </a:lnTo>
                  <a:lnTo>
                    <a:pt x="20" y="24"/>
                  </a:lnTo>
                  <a:lnTo>
                    <a:pt x="23" y="23"/>
                  </a:lnTo>
                  <a:lnTo>
                    <a:pt x="26" y="24"/>
                  </a:lnTo>
                  <a:lnTo>
                    <a:pt x="28" y="26"/>
                  </a:lnTo>
                  <a:lnTo>
                    <a:pt x="32" y="26"/>
                  </a:lnTo>
                  <a:lnTo>
                    <a:pt x="34" y="27"/>
                  </a:lnTo>
                  <a:lnTo>
                    <a:pt x="37" y="28"/>
                  </a:lnTo>
                  <a:lnTo>
                    <a:pt x="39" y="30"/>
                  </a:lnTo>
                  <a:lnTo>
                    <a:pt x="41" y="34"/>
                  </a:lnTo>
                  <a:lnTo>
                    <a:pt x="40" y="36"/>
                  </a:lnTo>
                  <a:lnTo>
                    <a:pt x="42" y="39"/>
                  </a:lnTo>
                  <a:lnTo>
                    <a:pt x="44" y="37"/>
                  </a:lnTo>
                  <a:lnTo>
                    <a:pt x="47" y="34"/>
                  </a:lnTo>
                  <a:lnTo>
                    <a:pt x="48" y="34"/>
                  </a:lnTo>
                  <a:lnTo>
                    <a:pt x="50" y="32"/>
                  </a:lnTo>
                  <a:lnTo>
                    <a:pt x="53" y="32"/>
                  </a:lnTo>
                  <a:lnTo>
                    <a:pt x="53" y="32"/>
                  </a:lnTo>
                  <a:lnTo>
                    <a:pt x="60" y="36"/>
                  </a:lnTo>
                  <a:lnTo>
                    <a:pt x="62" y="38"/>
                  </a:lnTo>
                  <a:lnTo>
                    <a:pt x="64" y="41"/>
                  </a:lnTo>
                  <a:lnTo>
                    <a:pt x="66" y="41"/>
                  </a:lnTo>
                  <a:lnTo>
                    <a:pt x="69" y="41"/>
                  </a:lnTo>
                  <a:lnTo>
                    <a:pt x="71" y="40"/>
                  </a:lnTo>
                  <a:lnTo>
                    <a:pt x="75" y="43"/>
                  </a:lnTo>
                  <a:lnTo>
                    <a:pt x="77" y="43"/>
                  </a:lnTo>
                  <a:lnTo>
                    <a:pt x="77" y="47"/>
                  </a:lnTo>
                  <a:lnTo>
                    <a:pt x="7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5" name="Freeform 235">
              <a:extLst>
                <a:ext uri="{FF2B5EF4-FFF2-40B4-BE49-F238E27FC236}">
                  <a16:creationId xmlns:a16="http://schemas.microsoft.com/office/drawing/2014/main" id="{A3408BB4-D859-45FD-AE45-80A6E6113FC3}"/>
                </a:ext>
              </a:extLst>
            </p:cNvPr>
            <p:cNvSpPr>
              <a:spLocks noEditPoints="1"/>
            </p:cNvSpPr>
            <p:nvPr/>
          </p:nvSpPr>
          <p:spPr bwMode="auto">
            <a:xfrm>
              <a:off x="3294063" y="2320925"/>
              <a:ext cx="301625" cy="174625"/>
            </a:xfrm>
            <a:custGeom>
              <a:avLst/>
              <a:gdLst>
                <a:gd name="T0" fmla="*/ 125 w 190"/>
                <a:gd name="T1" fmla="*/ 20 h 110"/>
                <a:gd name="T2" fmla="*/ 131 w 190"/>
                <a:gd name="T3" fmla="*/ 27 h 110"/>
                <a:gd name="T4" fmla="*/ 144 w 190"/>
                <a:gd name="T5" fmla="*/ 31 h 110"/>
                <a:gd name="T6" fmla="*/ 151 w 190"/>
                <a:gd name="T7" fmla="*/ 23 h 110"/>
                <a:gd name="T8" fmla="*/ 165 w 190"/>
                <a:gd name="T9" fmla="*/ 30 h 110"/>
                <a:gd name="T10" fmla="*/ 160 w 190"/>
                <a:gd name="T11" fmla="*/ 45 h 110"/>
                <a:gd name="T12" fmla="*/ 144 w 190"/>
                <a:gd name="T13" fmla="*/ 54 h 110"/>
                <a:gd name="T14" fmla="*/ 129 w 190"/>
                <a:gd name="T15" fmla="*/ 54 h 110"/>
                <a:gd name="T16" fmla="*/ 117 w 190"/>
                <a:gd name="T17" fmla="*/ 52 h 110"/>
                <a:gd name="T18" fmla="*/ 103 w 190"/>
                <a:gd name="T19" fmla="*/ 57 h 110"/>
                <a:gd name="T20" fmla="*/ 85 w 190"/>
                <a:gd name="T21" fmla="*/ 65 h 110"/>
                <a:gd name="T22" fmla="*/ 69 w 190"/>
                <a:gd name="T23" fmla="*/ 68 h 110"/>
                <a:gd name="T24" fmla="*/ 52 w 190"/>
                <a:gd name="T25" fmla="*/ 67 h 110"/>
                <a:gd name="T26" fmla="*/ 50 w 190"/>
                <a:gd name="T27" fmla="*/ 58 h 110"/>
                <a:gd name="T28" fmla="*/ 66 w 190"/>
                <a:gd name="T29" fmla="*/ 53 h 110"/>
                <a:gd name="T30" fmla="*/ 88 w 190"/>
                <a:gd name="T31" fmla="*/ 49 h 110"/>
                <a:gd name="T32" fmla="*/ 77 w 190"/>
                <a:gd name="T33" fmla="*/ 49 h 110"/>
                <a:gd name="T34" fmla="*/ 63 w 190"/>
                <a:gd name="T35" fmla="*/ 50 h 110"/>
                <a:gd name="T36" fmla="*/ 52 w 190"/>
                <a:gd name="T37" fmla="*/ 47 h 110"/>
                <a:gd name="T38" fmla="*/ 51 w 190"/>
                <a:gd name="T39" fmla="*/ 42 h 110"/>
                <a:gd name="T40" fmla="*/ 43 w 190"/>
                <a:gd name="T41" fmla="*/ 50 h 110"/>
                <a:gd name="T42" fmla="*/ 29 w 190"/>
                <a:gd name="T43" fmla="*/ 50 h 110"/>
                <a:gd name="T44" fmla="*/ 17 w 190"/>
                <a:gd name="T45" fmla="*/ 50 h 110"/>
                <a:gd name="T46" fmla="*/ 3 w 190"/>
                <a:gd name="T47" fmla="*/ 48 h 110"/>
                <a:gd name="T48" fmla="*/ 12 w 190"/>
                <a:gd name="T49" fmla="*/ 39 h 110"/>
                <a:gd name="T50" fmla="*/ 29 w 190"/>
                <a:gd name="T51" fmla="*/ 36 h 110"/>
                <a:gd name="T52" fmla="*/ 24 w 190"/>
                <a:gd name="T53" fmla="*/ 35 h 110"/>
                <a:gd name="T54" fmla="*/ 4 w 190"/>
                <a:gd name="T55" fmla="*/ 36 h 110"/>
                <a:gd name="T56" fmla="*/ 20 w 190"/>
                <a:gd name="T57" fmla="*/ 30 h 110"/>
                <a:gd name="T58" fmla="*/ 37 w 190"/>
                <a:gd name="T59" fmla="*/ 27 h 110"/>
                <a:gd name="T60" fmla="*/ 20 w 190"/>
                <a:gd name="T61" fmla="*/ 28 h 110"/>
                <a:gd name="T62" fmla="*/ 14 w 190"/>
                <a:gd name="T63" fmla="*/ 20 h 110"/>
                <a:gd name="T64" fmla="*/ 34 w 190"/>
                <a:gd name="T65" fmla="*/ 20 h 110"/>
                <a:gd name="T66" fmla="*/ 25 w 190"/>
                <a:gd name="T67" fmla="*/ 18 h 110"/>
                <a:gd name="T68" fmla="*/ 36 w 190"/>
                <a:gd name="T69" fmla="*/ 10 h 110"/>
                <a:gd name="T70" fmla="*/ 50 w 190"/>
                <a:gd name="T71" fmla="*/ 19 h 110"/>
                <a:gd name="T72" fmla="*/ 66 w 190"/>
                <a:gd name="T73" fmla="*/ 19 h 110"/>
                <a:gd name="T74" fmla="*/ 76 w 190"/>
                <a:gd name="T75" fmla="*/ 27 h 110"/>
                <a:gd name="T76" fmla="*/ 84 w 190"/>
                <a:gd name="T77" fmla="*/ 35 h 110"/>
                <a:gd name="T78" fmla="*/ 101 w 190"/>
                <a:gd name="T79" fmla="*/ 37 h 110"/>
                <a:gd name="T80" fmla="*/ 117 w 190"/>
                <a:gd name="T81" fmla="*/ 37 h 110"/>
                <a:gd name="T82" fmla="*/ 106 w 190"/>
                <a:gd name="T83" fmla="*/ 28 h 110"/>
                <a:gd name="T84" fmla="*/ 113 w 190"/>
                <a:gd name="T85" fmla="*/ 24 h 110"/>
                <a:gd name="T86" fmla="*/ 99 w 190"/>
                <a:gd name="T87" fmla="*/ 15 h 110"/>
                <a:gd name="T88" fmla="*/ 112 w 190"/>
                <a:gd name="T89" fmla="*/ 3 h 110"/>
                <a:gd name="T90" fmla="*/ 121 w 190"/>
                <a:gd name="T91" fmla="*/ 7 h 110"/>
                <a:gd name="T92" fmla="*/ 188 w 190"/>
                <a:gd name="T93" fmla="*/ 43 h 110"/>
                <a:gd name="T94" fmla="*/ 178 w 190"/>
                <a:gd name="T95" fmla="*/ 51 h 110"/>
                <a:gd name="T96" fmla="*/ 181 w 190"/>
                <a:gd name="T97" fmla="*/ 40 h 110"/>
                <a:gd name="T98" fmla="*/ 160 w 190"/>
                <a:gd name="T99" fmla="*/ 103 h 110"/>
                <a:gd name="T100" fmla="*/ 145 w 190"/>
                <a:gd name="T101" fmla="*/ 93 h 110"/>
                <a:gd name="T102" fmla="*/ 165 w 190"/>
                <a:gd name="T103" fmla="*/ 86 h 110"/>
                <a:gd name="T104" fmla="*/ 178 w 190"/>
                <a:gd name="T105" fmla="*/ 93 h 110"/>
                <a:gd name="T106" fmla="*/ 169 w 190"/>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10">
                  <a:moveTo>
                    <a:pt x="125" y="11"/>
                  </a:moveTo>
                  <a:lnTo>
                    <a:pt x="123" y="13"/>
                  </a:lnTo>
                  <a:lnTo>
                    <a:pt x="126" y="14"/>
                  </a:lnTo>
                  <a:lnTo>
                    <a:pt x="129" y="16"/>
                  </a:lnTo>
                  <a:lnTo>
                    <a:pt x="128" y="18"/>
                  </a:lnTo>
                  <a:lnTo>
                    <a:pt x="125" y="20"/>
                  </a:lnTo>
                  <a:lnTo>
                    <a:pt x="126" y="23"/>
                  </a:lnTo>
                  <a:lnTo>
                    <a:pt x="128" y="23"/>
                  </a:lnTo>
                  <a:lnTo>
                    <a:pt x="131" y="23"/>
                  </a:lnTo>
                  <a:lnTo>
                    <a:pt x="134" y="23"/>
                  </a:lnTo>
                  <a:lnTo>
                    <a:pt x="135" y="26"/>
                  </a:lnTo>
                  <a:lnTo>
                    <a:pt x="131" y="27"/>
                  </a:lnTo>
                  <a:lnTo>
                    <a:pt x="132" y="31"/>
                  </a:lnTo>
                  <a:lnTo>
                    <a:pt x="135" y="27"/>
                  </a:lnTo>
                  <a:lnTo>
                    <a:pt x="138" y="27"/>
                  </a:lnTo>
                  <a:lnTo>
                    <a:pt x="140" y="27"/>
                  </a:lnTo>
                  <a:lnTo>
                    <a:pt x="143" y="28"/>
                  </a:lnTo>
                  <a:lnTo>
                    <a:pt x="144" y="31"/>
                  </a:lnTo>
                  <a:lnTo>
                    <a:pt x="146" y="34"/>
                  </a:lnTo>
                  <a:lnTo>
                    <a:pt x="146" y="31"/>
                  </a:lnTo>
                  <a:lnTo>
                    <a:pt x="149" y="30"/>
                  </a:lnTo>
                  <a:lnTo>
                    <a:pt x="146" y="27"/>
                  </a:lnTo>
                  <a:lnTo>
                    <a:pt x="147" y="25"/>
                  </a:lnTo>
                  <a:lnTo>
                    <a:pt x="151" y="23"/>
                  </a:lnTo>
                  <a:lnTo>
                    <a:pt x="153" y="23"/>
                  </a:lnTo>
                  <a:lnTo>
                    <a:pt x="155" y="24"/>
                  </a:lnTo>
                  <a:lnTo>
                    <a:pt x="159" y="24"/>
                  </a:lnTo>
                  <a:lnTo>
                    <a:pt x="161" y="25"/>
                  </a:lnTo>
                  <a:lnTo>
                    <a:pt x="164" y="27"/>
                  </a:lnTo>
                  <a:lnTo>
                    <a:pt x="165" y="30"/>
                  </a:lnTo>
                  <a:lnTo>
                    <a:pt x="165" y="32"/>
                  </a:lnTo>
                  <a:lnTo>
                    <a:pt x="166" y="35"/>
                  </a:lnTo>
                  <a:lnTo>
                    <a:pt x="163" y="37"/>
                  </a:lnTo>
                  <a:lnTo>
                    <a:pt x="163" y="40"/>
                  </a:lnTo>
                  <a:lnTo>
                    <a:pt x="162" y="43"/>
                  </a:lnTo>
                  <a:lnTo>
                    <a:pt x="160" y="45"/>
                  </a:lnTo>
                  <a:lnTo>
                    <a:pt x="160" y="49"/>
                  </a:lnTo>
                  <a:lnTo>
                    <a:pt x="157" y="51"/>
                  </a:lnTo>
                  <a:lnTo>
                    <a:pt x="154" y="52"/>
                  </a:lnTo>
                  <a:lnTo>
                    <a:pt x="152" y="52"/>
                  </a:lnTo>
                  <a:lnTo>
                    <a:pt x="148" y="52"/>
                  </a:lnTo>
                  <a:lnTo>
                    <a:pt x="144" y="54"/>
                  </a:lnTo>
                  <a:lnTo>
                    <a:pt x="140" y="54"/>
                  </a:lnTo>
                  <a:lnTo>
                    <a:pt x="138" y="54"/>
                  </a:lnTo>
                  <a:lnTo>
                    <a:pt x="135" y="52"/>
                  </a:lnTo>
                  <a:lnTo>
                    <a:pt x="134" y="50"/>
                  </a:lnTo>
                  <a:lnTo>
                    <a:pt x="131" y="52"/>
                  </a:lnTo>
                  <a:lnTo>
                    <a:pt x="129" y="54"/>
                  </a:lnTo>
                  <a:lnTo>
                    <a:pt x="126" y="54"/>
                  </a:lnTo>
                  <a:lnTo>
                    <a:pt x="123" y="53"/>
                  </a:lnTo>
                  <a:lnTo>
                    <a:pt x="120" y="53"/>
                  </a:lnTo>
                  <a:lnTo>
                    <a:pt x="122" y="52"/>
                  </a:lnTo>
                  <a:lnTo>
                    <a:pt x="120" y="51"/>
                  </a:lnTo>
                  <a:lnTo>
                    <a:pt x="117" y="52"/>
                  </a:lnTo>
                  <a:lnTo>
                    <a:pt x="114" y="53"/>
                  </a:lnTo>
                  <a:lnTo>
                    <a:pt x="112" y="56"/>
                  </a:lnTo>
                  <a:lnTo>
                    <a:pt x="109" y="57"/>
                  </a:lnTo>
                  <a:lnTo>
                    <a:pt x="106" y="56"/>
                  </a:lnTo>
                  <a:lnTo>
                    <a:pt x="103" y="57"/>
                  </a:lnTo>
                  <a:lnTo>
                    <a:pt x="103" y="57"/>
                  </a:lnTo>
                  <a:lnTo>
                    <a:pt x="100" y="57"/>
                  </a:lnTo>
                  <a:lnTo>
                    <a:pt x="97" y="58"/>
                  </a:lnTo>
                  <a:lnTo>
                    <a:pt x="94" y="58"/>
                  </a:lnTo>
                  <a:lnTo>
                    <a:pt x="94" y="61"/>
                  </a:lnTo>
                  <a:lnTo>
                    <a:pt x="91" y="62"/>
                  </a:lnTo>
                  <a:lnTo>
                    <a:pt x="85" y="65"/>
                  </a:lnTo>
                  <a:lnTo>
                    <a:pt x="83" y="65"/>
                  </a:lnTo>
                  <a:lnTo>
                    <a:pt x="79" y="66"/>
                  </a:lnTo>
                  <a:lnTo>
                    <a:pt x="77" y="67"/>
                  </a:lnTo>
                  <a:lnTo>
                    <a:pt x="74" y="67"/>
                  </a:lnTo>
                  <a:lnTo>
                    <a:pt x="71" y="68"/>
                  </a:lnTo>
                  <a:lnTo>
                    <a:pt x="69" y="68"/>
                  </a:lnTo>
                  <a:lnTo>
                    <a:pt x="66" y="68"/>
                  </a:lnTo>
                  <a:lnTo>
                    <a:pt x="63" y="69"/>
                  </a:lnTo>
                  <a:lnTo>
                    <a:pt x="60" y="68"/>
                  </a:lnTo>
                  <a:lnTo>
                    <a:pt x="58" y="68"/>
                  </a:lnTo>
                  <a:lnTo>
                    <a:pt x="54" y="68"/>
                  </a:lnTo>
                  <a:lnTo>
                    <a:pt x="52" y="67"/>
                  </a:lnTo>
                  <a:lnTo>
                    <a:pt x="49" y="66"/>
                  </a:lnTo>
                  <a:lnTo>
                    <a:pt x="46" y="65"/>
                  </a:lnTo>
                  <a:lnTo>
                    <a:pt x="43" y="62"/>
                  </a:lnTo>
                  <a:lnTo>
                    <a:pt x="44" y="60"/>
                  </a:lnTo>
                  <a:lnTo>
                    <a:pt x="46" y="59"/>
                  </a:lnTo>
                  <a:lnTo>
                    <a:pt x="50" y="58"/>
                  </a:lnTo>
                  <a:lnTo>
                    <a:pt x="52" y="57"/>
                  </a:lnTo>
                  <a:lnTo>
                    <a:pt x="55" y="57"/>
                  </a:lnTo>
                  <a:lnTo>
                    <a:pt x="58" y="56"/>
                  </a:lnTo>
                  <a:lnTo>
                    <a:pt x="61" y="54"/>
                  </a:lnTo>
                  <a:lnTo>
                    <a:pt x="63" y="53"/>
                  </a:lnTo>
                  <a:lnTo>
                    <a:pt x="66" y="53"/>
                  </a:lnTo>
                  <a:lnTo>
                    <a:pt x="69" y="52"/>
                  </a:lnTo>
                  <a:lnTo>
                    <a:pt x="71" y="52"/>
                  </a:lnTo>
                  <a:lnTo>
                    <a:pt x="75" y="52"/>
                  </a:lnTo>
                  <a:lnTo>
                    <a:pt x="79" y="53"/>
                  </a:lnTo>
                  <a:lnTo>
                    <a:pt x="83" y="50"/>
                  </a:lnTo>
                  <a:lnTo>
                    <a:pt x="88" y="49"/>
                  </a:lnTo>
                  <a:lnTo>
                    <a:pt x="91" y="45"/>
                  </a:lnTo>
                  <a:lnTo>
                    <a:pt x="88" y="45"/>
                  </a:lnTo>
                  <a:lnTo>
                    <a:pt x="85" y="47"/>
                  </a:lnTo>
                  <a:lnTo>
                    <a:pt x="83" y="48"/>
                  </a:lnTo>
                  <a:lnTo>
                    <a:pt x="79" y="48"/>
                  </a:lnTo>
                  <a:lnTo>
                    <a:pt x="77" y="49"/>
                  </a:lnTo>
                  <a:lnTo>
                    <a:pt x="75" y="49"/>
                  </a:lnTo>
                  <a:lnTo>
                    <a:pt x="71" y="47"/>
                  </a:lnTo>
                  <a:lnTo>
                    <a:pt x="69" y="48"/>
                  </a:lnTo>
                  <a:lnTo>
                    <a:pt x="66" y="45"/>
                  </a:lnTo>
                  <a:lnTo>
                    <a:pt x="67" y="49"/>
                  </a:lnTo>
                  <a:lnTo>
                    <a:pt x="63" y="50"/>
                  </a:lnTo>
                  <a:lnTo>
                    <a:pt x="61" y="49"/>
                  </a:lnTo>
                  <a:lnTo>
                    <a:pt x="58" y="50"/>
                  </a:lnTo>
                  <a:lnTo>
                    <a:pt x="55" y="50"/>
                  </a:lnTo>
                  <a:lnTo>
                    <a:pt x="52" y="51"/>
                  </a:lnTo>
                  <a:lnTo>
                    <a:pt x="50" y="49"/>
                  </a:lnTo>
                  <a:lnTo>
                    <a:pt x="52" y="47"/>
                  </a:lnTo>
                  <a:lnTo>
                    <a:pt x="50" y="47"/>
                  </a:lnTo>
                  <a:lnTo>
                    <a:pt x="51" y="44"/>
                  </a:lnTo>
                  <a:lnTo>
                    <a:pt x="53" y="43"/>
                  </a:lnTo>
                  <a:lnTo>
                    <a:pt x="57" y="41"/>
                  </a:lnTo>
                  <a:lnTo>
                    <a:pt x="53" y="41"/>
                  </a:lnTo>
                  <a:lnTo>
                    <a:pt x="51" y="42"/>
                  </a:lnTo>
                  <a:lnTo>
                    <a:pt x="48" y="42"/>
                  </a:lnTo>
                  <a:lnTo>
                    <a:pt x="46" y="44"/>
                  </a:lnTo>
                  <a:lnTo>
                    <a:pt x="44" y="45"/>
                  </a:lnTo>
                  <a:lnTo>
                    <a:pt x="42" y="45"/>
                  </a:lnTo>
                  <a:lnTo>
                    <a:pt x="44" y="48"/>
                  </a:lnTo>
                  <a:lnTo>
                    <a:pt x="43" y="50"/>
                  </a:lnTo>
                  <a:lnTo>
                    <a:pt x="41" y="51"/>
                  </a:lnTo>
                  <a:lnTo>
                    <a:pt x="37" y="52"/>
                  </a:lnTo>
                  <a:lnTo>
                    <a:pt x="34" y="53"/>
                  </a:lnTo>
                  <a:lnTo>
                    <a:pt x="32" y="51"/>
                  </a:lnTo>
                  <a:lnTo>
                    <a:pt x="33" y="49"/>
                  </a:lnTo>
                  <a:lnTo>
                    <a:pt x="29" y="50"/>
                  </a:lnTo>
                  <a:lnTo>
                    <a:pt x="27" y="50"/>
                  </a:lnTo>
                  <a:lnTo>
                    <a:pt x="26" y="53"/>
                  </a:lnTo>
                  <a:lnTo>
                    <a:pt x="24" y="53"/>
                  </a:lnTo>
                  <a:lnTo>
                    <a:pt x="20" y="52"/>
                  </a:lnTo>
                  <a:lnTo>
                    <a:pt x="19" y="49"/>
                  </a:lnTo>
                  <a:lnTo>
                    <a:pt x="17" y="50"/>
                  </a:lnTo>
                  <a:lnTo>
                    <a:pt x="17" y="47"/>
                  </a:lnTo>
                  <a:lnTo>
                    <a:pt x="14" y="48"/>
                  </a:lnTo>
                  <a:lnTo>
                    <a:pt x="11" y="49"/>
                  </a:lnTo>
                  <a:lnTo>
                    <a:pt x="8" y="48"/>
                  </a:lnTo>
                  <a:lnTo>
                    <a:pt x="6" y="48"/>
                  </a:lnTo>
                  <a:lnTo>
                    <a:pt x="3" y="48"/>
                  </a:lnTo>
                  <a:lnTo>
                    <a:pt x="0" y="47"/>
                  </a:lnTo>
                  <a:lnTo>
                    <a:pt x="0" y="44"/>
                  </a:lnTo>
                  <a:lnTo>
                    <a:pt x="1" y="41"/>
                  </a:lnTo>
                  <a:lnTo>
                    <a:pt x="4" y="40"/>
                  </a:lnTo>
                  <a:lnTo>
                    <a:pt x="7" y="39"/>
                  </a:lnTo>
                  <a:lnTo>
                    <a:pt x="12" y="39"/>
                  </a:lnTo>
                  <a:lnTo>
                    <a:pt x="16" y="40"/>
                  </a:lnTo>
                  <a:lnTo>
                    <a:pt x="18" y="40"/>
                  </a:lnTo>
                  <a:lnTo>
                    <a:pt x="20" y="39"/>
                  </a:lnTo>
                  <a:lnTo>
                    <a:pt x="24" y="37"/>
                  </a:lnTo>
                  <a:lnTo>
                    <a:pt x="26" y="36"/>
                  </a:lnTo>
                  <a:lnTo>
                    <a:pt x="29" y="36"/>
                  </a:lnTo>
                  <a:lnTo>
                    <a:pt x="32" y="34"/>
                  </a:lnTo>
                  <a:lnTo>
                    <a:pt x="35" y="33"/>
                  </a:lnTo>
                  <a:lnTo>
                    <a:pt x="32" y="33"/>
                  </a:lnTo>
                  <a:lnTo>
                    <a:pt x="29" y="34"/>
                  </a:lnTo>
                  <a:lnTo>
                    <a:pt x="26" y="34"/>
                  </a:lnTo>
                  <a:lnTo>
                    <a:pt x="24" y="35"/>
                  </a:lnTo>
                  <a:lnTo>
                    <a:pt x="20" y="36"/>
                  </a:lnTo>
                  <a:lnTo>
                    <a:pt x="18" y="36"/>
                  </a:lnTo>
                  <a:lnTo>
                    <a:pt x="15" y="36"/>
                  </a:lnTo>
                  <a:lnTo>
                    <a:pt x="9" y="36"/>
                  </a:lnTo>
                  <a:lnTo>
                    <a:pt x="7" y="36"/>
                  </a:lnTo>
                  <a:lnTo>
                    <a:pt x="4" y="36"/>
                  </a:lnTo>
                  <a:lnTo>
                    <a:pt x="7" y="33"/>
                  </a:lnTo>
                  <a:lnTo>
                    <a:pt x="9" y="31"/>
                  </a:lnTo>
                  <a:lnTo>
                    <a:pt x="11" y="31"/>
                  </a:lnTo>
                  <a:lnTo>
                    <a:pt x="15" y="31"/>
                  </a:lnTo>
                  <a:lnTo>
                    <a:pt x="18" y="30"/>
                  </a:lnTo>
                  <a:lnTo>
                    <a:pt x="20" y="30"/>
                  </a:lnTo>
                  <a:lnTo>
                    <a:pt x="23" y="30"/>
                  </a:lnTo>
                  <a:lnTo>
                    <a:pt x="26" y="30"/>
                  </a:lnTo>
                  <a:lnTo>
                    <a:pt x="28" y="30"/>
                  </a:lnTo>
                  <a:lnTo>
                    <a:pt x="32" y="28"/>
                  </a:lnTo>
                  <a:lnTo>
                    <a:pt x="34" y="28"/>
                  </a:lnTo>
                  <a:lnTo>
                    <a:pt x="37" y="27"/>
                  </a:lnTo>
                  <a:lnTo>
                    <a:pt x="34" y="27"/>
                  </a:lnTo>
                  <a:lnTo>
                    <a:pt x="32" y="28"/>
                  </a:lnTo>
                  <a:lnTo>
                    <a:pt x="28" y="28"/>
                  </a:lnTo>
                  <a:lnTo>
                    <a:pt x="26" y="27"/>
                  </a:lnTo>
                  <a:lnTo>
                    <a:pt x="23" y="27"/>
                  </a:lnTo>
                  <a:lnTo>
                    <a:pt x="20" y="28"/>
                  </a:lnTo>
                  <a:lnTo>
                    <a:pt x="17" y="28"/>
                  </a:lnTo>
                  <a:lnTo>
                    <a:pt x="15" y="28"/>
                  </a:lnTo>
                  <a:lnTo>
                    <a:pt x="11" y="26"/>
                  </a:lnTo>
                  <a:lnTo>
                    <a:pt x="15" y="24"/>
                  </a:lnTo>
                  <a:lnTo>
                    <a:pt x="11" y="23"/>
                  </a:lnTo>
                  <a:lnTo>
                    <a:pt x="14" y="20"/>
                  </a:lnTo>
                  <a:lnTo>
                    <a:pt x="17" y="19"/>
                  </a:lnTo>
                  <a:lnTo>
                    <a:pt x="19" y="19"/>
                  </a:lnTo>
                  <a:lnTo>
                    <a:pt x="23" y="19"/>
                  </a:lnTo>
                  <a:lnTo>
                    <a:pt x="28" y="19"/>
                  </a:lnTo>
                  <a:lnTo>
                    <a:pt x="31" y="19"/>
                  </a:lnTo>
                  <a:lnTo>
                    <a:pt x="34" y="20"/>
                  </a:lnTo>
                  <a:lnTo>
                    <a:pt x="36" y="20"/>
                  </a:lnTo>
                  <a:lnTo>
                    <a:pt x="40" y="19"/>
                  </a:lnTo>
                  <a:lnTo>
                    <a:pt x="36" y="19"/>
                  </a:lnTo>
                  <a:lnTo>
                    <a:pt x="34" y="18"/>
                  </a:lnTo>
                  <a:lnTo>
                    <a:pt x="31" y="18"/>
                  </a:lnTo>
                  <a:lnTo>
                    <a:pt x="25" y="18"/>
                  </a:lnTo>
                  <a:lnTo>
                    <a:pt x="23" y="17"/>
                  </a:lnTo>
                  <a:lnTo>
                    <a:pt x="25" y="14"/>
                  </a:lnTo>
                  <a:lnTo>
                    <a:pt x="27" y="13"/>
                  </a:lnTo>
                  <a:lnTo>
                    <a:pt x="31" y="11"/>
                  </a:lnTo>
                  <a:lnTo>
                    <a:pt x="33" y="11"/>
                  </a:lnTo>
                  <a:lnTo>
                    <a:pt x="36" y="10"/>
                  </a:lnTo>
                  <a:lnTo>
                    <a:pt x="38" y="10"/>
                  </a:lnTo>
                  <a:lnTo>
                    <a:pt x="42" y="10"/>
                  </a:lnTo>
                  <a:lnTo>
                    <a:pt x="44" y="11"/>
                  </a:lnTo>
                  <a:lnTo>
                    <a:pt x="48" y="14"/>
                  </a:lnTo>
                  <a:lnTo>
                    <a:pt x="48" y="16"/>
                  </a:lnTo>
                  <a:lnTo>
                    <a:pt x="50" y="19"/>
                  </a:lnTo>
                  <a:lnTo>
                    <a:pt x="52" y="18"/>
                  </a:lnTo>
                  <a:lnTo>
                    <a:pt x="55" y="18"/>
                  </a:lnTo>
                  <a:lnTo>
                    <a:pt x="58" y="17"/>
                  </a:lnTo>
                  <a:lnTo>
                    <a:pt x="60" y="17"/>
                  </a:lnTo>
                  <a:lnTo>
                    <a:pt x="63" y="17"/>
                  </a:lnTo>
                  <a:lnTo>
                    <a:pt x="66" y="19"/>
                  </a:lnTo>
                  <a:lnTo>
                    <a:pt x="69" y="20"/>
                  </a:lnTo>
                  <a:lnTo>
                    <a:pt x="70" y="24"/>
                  </a:lnTo>
                  <a:lnTo>
                    <a:pt x="74" y="24"/>
                  </a:lnTo>
                  <a:lnTo>
                    <a:pt x="76" y="25"/>
                  </a:lnTo>
                  <a:lnTo>
                    <a:pt x="79" y="27"/>
                  </a:lnTo>
                  <a:lnTo>
                    <a:pt x="76" y="27"/>
                  </a:lnTo>
                  <a:lnTo>
                    <a:pt x="74" y="30"/>
                  </a:lnTo>
                  <a:lnTo>
                    <a:pt x="76" y="30"/>
                  </a:lnTo>
                  <a:lnTo>
                    <a:pt x="79" y="30"/>
                  </a:lnTo>
                  <a:lnTo>
                    <a:pt x="82" y="31"/>
                  </a:lnTo>
                  <a:lnTo>
                    <a:pt x="85" y="33"/>
                  </a:lnTo>
                  <a:lnTo>
                    <a:pt x="84" y="35"/>
                  </a:lnTo>
                  <a:lnTo>
                    <a:pt x="86" y="39"/>
                  </a:lnTo>
                  <a:lnTo>
                    <a:pt x="89" y="37"/>
                  </a:lnTo>
                  <a:lnTo>
                    <a:pt x="92" y="36"/>
                  </a:lnTo>
                  <a:lnTo>
                    <a:pt x="95" y="36"/>
                  </a:lnTo>
                  <a:lnTo>
                    <a:pt x="97" y="37"/>
                  </a:lnTo>
                  <a:lnTo>
                    <a:pt x="101" y="37"/>
                  </a:lnTo>
                  <a:lnTo>
                    <a:pt x="103" y="37"/>
                  </a:lnTo>
                  <a:lnTo>
                    <a:pt x="105" y="37"/>
                  </a:lnTo>
                  <a:lnTo>
                    <a:pt x="108" y="37"/>
                  </a:lnTo>
                  <a:lnTo>
                    <a:pt x="111" y="39"/>
                  </a:lnTo>
                  <a:lnTo>
                    <a:pt x="114" y="39"/>
                  </a:lnTo>
                  <a:lnTo>
                    <a:pt x="117" y="37"/>
                  </a:lnTo>
                  <a:lnTo>
                    <a:pt x="119" y="35"/>
                  </a:lnTo>
                  <a:lnTo>
                    <a:pt x="118" y="33"/>
                  </a:lnTo>
                  <a:lnTo>
                    <a:pt x="114" y="32"/>
                  </a:lnTo>
                  <a:lnTo>
                    <a:pt x="112" y="31"/>
                  </a:lnTo>
                  <a:lnTo>
                    <a:pt x="109" y="31"/>
                  </a:lnTo>
                  <a:lnTo>
                    <a:pt x="106" y="28"/>
                  </a:lnTo>
                  <a:lnTo>
                    <a:pt x="103" y="28"/>
                  </a:lnTo>
                  <a:lnTo>
                    <a:pt x="103" y="27"/>
                  </a:lnTo>
                  <a:lnTo>
                    <a:pt x="104" y="26"/>
                  </a:lnTo>
                  <a:lnTo>
                    <a:pt x="108" y="26"/>
                  </a:lnTo>
                  <a:lnTo>
                    <a:pt x="110" y="25"/>
                  </a:lnTo>
                  <a:lnTo>
                    <a:pt x="113" y="24"/>
                  </a:lnTo>
                  <a:lnTo>
                    <a:pt x="112" y="20"/>
                  </a:lnTo>
                  <a:lnTo>
                    <a:pt x="109" y="19"/>
                  </a:lnTo>
                  <a:lnTo>
                    <a:pt x="106" y="18"/>
                  </a:lnTo>
                  <a:lnTo>
                    <a:pt x="103" y="18"/>
                  </a:lnTo>
                  <a:lnTo>
                    <a:pt x="102" y="17"/>
                  </a:lnTo>
                  <a:lnTo>
                    <a:pt x="99" y="15"/>
                  </a:lnTo>
                  <a:lnTo>
                    <a:pt x="101" y="13"/>
                  </a:lnTo>
                  <a:lnTo>
                    <a:pt x="103" y="11"/>
                  </a:lnTo>
                  <a:lnTo>
                    <a:pt x="106" y="10"/>
                  </a:lnTo>
                  <a:lnTo>
                    <a:pt x="106" y="8"/>
                  </a:lnTo>
                  <a:lnTo>
                    <a:pt x="110" y="6"/>
                  </a:lnTo>
                  <a:lnTo>
                    <a:pt x="112" y="3"/>
                  </a:lnTo>
                  <a:lnTo>
                    <a:pt x="114" y="1"/>
                  </a:lnTo>
                  <a:lnTo>
                    <a:pt x="118" y="1"/>
                  </a:lnTo>
                  <a:lnTo>
                    <a:pt x="120" y="0"/>
                  </a:lnTo>
                  <a:lnTo>
                    <a:pt x="123" y="3"/>
                  </a:lnTo>
                  <a:lnTo>
                    <a:pt x="123" y="6"/>
                  </a:lnTo>
                  <a:lnTo>
                    <a:pt x="121" y="7"/>
                  </a:lnTo>
                  <a:lnTo>
                    <a:pt x="123" y="9"/>
                  </a:lnTo>
                  <a:lnTo>
                    <a:pt x="125" y="11"/>
                  </a:lnTo>
                  <a:lnTo>
                    <a:pt x="125" y="11"/>
                  </a:lnTo>
                  <a:close/>
                  <a:moveTo>
                    <a:pt x="183" y="40"/>
                  </a:moveTo>
                  <a:lnTo>
                    <a:pt x="186" y="41"/>
                  </a:lnTo>
                  <a:lnTo>
                    <a:pt x="188" y="43"/>
                  </a:lnTo>
                  <a:lnTo>
                    <a:pt x="189" y="45"/>
                  </a:lnTo>
                  <a:lnTo>
                    <a:pt x="190" y="49"/>
                  </a:lnTo>
                  <a:lnTo>
                    <a:pt x="188" y="50"/>
                  </a:lnTo>
                  <a:lnTo>
                    <a:pt x="183" y="51"/>
                  </a:lnTo>
                  <a:lnTo>
                    <a:pt x="181" y="51"/>
                  </a:lnTo>
                  <a:lnTo>
                    <a:pt x="178" y="51"/>
                  </a:lnTo>
                  <a:lnTo>
                    <a:pt x="176" y="50"/>
                  </a:lnTo>
                  <a:lnTo>
                    <a:pt x="173" y="49"/>
                  </a:lnTo>
                  <a:lnTo>
                    <a:pt x="176" y="45"/>
                  </a:lnTo>
                  <a:lnTo>
                    <a:pt x="177" y="43"/>
                  </a:lnTo>
                  <a:lnTo>
                    <a:pt x="179" y="41"/>
                  </a:lnTo>
                  <a:lnTo>
                    <a:pt x="181" y="40"/>
                  </a:lnTo>
                  <a:lnTo>
                    <a:pt x="183" y="40"/>
                  </a:lnTo>
                  <a:lnTo>
                    <a:pt x="183" y="40"/>
                  </a:lnTo>
                  <a:close/>
                  <a:moveTo>
                    <a:pt x="166" y="109"/>
                  </a:moveTo>
                  <a:lnTo>
                    <a:pt x="165" y="108"/>
                  </a:lnTo>
                  <a:lnTo>
                    <a:pt x="163" y="105"/>
                  </a:lnTo>
                  <a:lnTo>
                    <a:pt x="160" y="103"/>
                  </a:lnTo>
                  <a:lnTo>
                    <a:pt x="157" y="101"/>
                  </a:lnTo>
                  <a:lnTo>
                    <a:pt x="155" y="97"/>
                  </a:lnTo>
                  <a:lnTo>
                    <a:pt x="153" y="96"/>
                  </a:lnTo>
                  <a:lnTo>
                    <a:pt x="151" y="95"/>
                  </a:lnTo>
                  <a:lnTo>
                    <a:pt x="147" y="94"/>
                  </a:lnTo>
                  <a:lnTo>
                    <a:pt x="145" y="93"/>
                  </a:lnTo>
                  <a:lnTo>
                    <a:pt x="146" y="91"/>
                  </a:lnTo>
                  <a:lnTo>
                    <a:pt x="148" y="88"/>
                  </a:lnTo>
                  <a:lnTo>
                    <a:pt x="151" y="87"/>
                  </a:lnTo>
                  <a:lnTo>
                    <a:pt x="154" y="86"/>
                  </a:lnTo>
                  <a:lnTo>
                    <a:pt x="162" y="86"/>
                  </a:lnTo>
                  <a:lnTo>
                    <a:pt x="165" y="86"/>
                  </a:lnTo>
                  <a:lnTo>
                    <a:pt x="168" y="86"/>
                  </a:lnTo>
                  <a:lnTo>
                    <a:pt x="171" y="86"/>
                  </a:lnTo>
                  <a:lnTo>
                    <a:pt x="173" y="88"/>
                  </a:lnTo>
                  <a:lnTo>
                    <a:pt x="176" y="90"/>
                  </a:lnTo>
                  <a:lnTo>
                    <a:pt x="178" y="91"/>
                  </a:lnTo>
                  <a:lnTo>
                    <a:pt x="178" y="93"/>
                  </a:lnTo>
                  <a:lnTo>
                    <a:pt x="178" y="96"/>
                  </a:lnTo>
                  <a:lnTo>
                    <a:pt x="177" y="99"/>
                  </a:lnTo>
                  <a:lnTo>
                    <a:pt x="174" y="101"/>
                  </a:lnTo>
                  <a:lnTo>
                    <a:pt x="172" y="104"/>
                  </a:lnTo>
                  <a:lnTo>
                    <a:pt x="170" y="107"/>
                  </a:lnTo>
                  <a:lnTo>
                    <a:pt x="169" y="110"/>
                  </a:lnTo>
                  <a:lnTo>
                    <a:pt x="166" y="109"/>
                  </a:lnTo>
                  <a:lnTo>
                    <a:pt x="166"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6" name="Freeform 236">
              <a:extLst>
                <a:ext uri="{FF2B5EF4-FFF2-40B4-BE49-F238E27FC236}">
                  <a16:creationId xmlns:a16="http://schemas.microsoft.com/office/drawing/2014/main" id="{6574C7BC-0A22-4D91-9A3A-62E767CC3548}"/>
                </a:ext>
              </a:extLst>
            </p:cNvPr>
            <p:cNvSpPr>
              <a:spLocks noEditPoints="1"/>
            </p:cNvSpPr>
            <p:nvPr/>
          </p:nvSpPr>
          <p:spPr bwMode="auto">
            <a:xfrm>
              <a:off x="3386138" y="2233613"/>
              <a:ext cx="193675" cy="76200"/>
            </a:xfrm>
            <a:custGeom>
              <a:avLst/>
              <a:gdLst>
                <a:gd name="T0" fmla="*/ 47 w 122"/>
                <a:gd name="T1" fmla="*/ 2 h 48"/>
                <a:gd name="T2" fmla="*/ 52 w 122"/>
                <a:gd name="T3" fmla="*/ 5 h 48"/>
                <a:gd name="T4" fmla="*/ 54 w 122"/>
                <a:gd name="T5" fmla="*/ 10 h 48"/>
                <a:gd name="T6" fmla="*/ 51 w 122"/>
                <a:gd name="T7" fmla="*/ 13 h 48"/>
                <a:gd name="T8" fmla="*/ 45 w 122"/>
                <a:gd name="T9" fmla="*/ 12 h 48"/>
                <a:gd name="T10" fmla="*/ 42 w 122"/>
                <a:gd name="T11" fmla="*/ 13 h 48"/>
                <a:gd name="T12" fmla="*/ 36 w 122"/>
                <a:gd name="T13" fmla="*/ 13 h 48"/>
                <a:gd name="T14" fmla="*/ 30 w 122"/>
                <a:gd name="T15" fmla="*/ 11 h 48"/>
                <a:gd name="T16" fmla="*/ 25 w 122"/>
                <a:gd name="T17" fmla="*/ 14 h 48"/>
                <a:gd name="T18" fmla="*/ 19 w 122"/>
                <a:gd name="T19" fmla="*/ 13 h 48"/>
                <a:gd name="T20" fmla="*/ 13 w 122"/>
                <a:gd name="T21" fmla="*/ 11 h 48"/>
                <a:gd name="T22" fmla="*/ 8 w 122"/>
                <a:gd name="T23" fmla="*/ 12 h 48"/>
                <a:gd name="T24" fmla="*/ 3 w 122"/>
                <a:gd name="T25" fmla="*/ 14 h 48"/>
                <a:gd name="T26" fmla="*/ 3 w 122"/>
                <a:gd name="T27" fmla="*/ 10 h 48"/>
                <a:gd name="T28" fmla="*/ 9 w 122"/>
                <a:gd name="T29" fmla="*/ 8 h 48"/>
                <a:gd name="T30" fmla="*/ 14 w 122"/>
                <a:gd name="T31" fmla="*/ 6 h 48"/>
                <a:gd name="T32" fmla="*/ 20 w 122"/>
                <a:gd name="T33" fmla="*/ 5 h 48"/>
                <a:gd name="T34" fmla="*/ 26 w 122"/>
                <a:gd name="T35" fmla="*/ 3 h 48"/>
                <a:gd name="T36" fmla="*/ 31 w 122"/>
                <a:gd name="T37" fmla="*/ 1 h 48"/>
                <a:gd name="T38" fmla="*/ 37 w 122"/>
                <a:gd name="T39" fmla="*/ 0 h 48"/>
                <a:gd name="T40" fmla="*/ 43 w 122"/>
                <a:gd name="T41" fmla="*/ 1 h 48"/>
                <a:gd name="T42" fmla="*/ 45 w 122"/>
                <a:gd name="T43" fmla="*/ 2 h 48"/>
                <a:gd name="T44" fmla="*/ 48 w 122"/>
                <a:gd name="T45" fmla="*/ 19 h 48"/>
                <a:gd name="T46" fmla="*/ 48 w 122"/>
                <a:gd name="T47" fmla="*/ 23 h 48"/>
                <a:gd name="T48" fmla="*/ 43 w 122"/>
                <a:gd name="T49" fmla="*/ 26 h 48"/>
                <a:gd name="T50" fmla="*/ 36 w 122"/>
                <a:gd name="T51" fmla="*/ 26 h 48"/>
                <a:gd name="T52" fmla="*/ 36 w 122"/>
                <a:gd name="T53" fmla="*/ 29 h 48"/>
                <a:gd name="T54" fmla="*/ 41 w 122"/>
                <a:gd name="T55" fmla="*/ 28 h 48"/>
                <a:gd name="T56" fmla="*/ 44 w 122"/>
                <a:gd name="T57" fmla="*/ 34 h 48"/>
                <a:gd name="T58" fmla="*/ 41 w 122"/>
                <a:gd name="T59" fmla="*/ 37 h 48"/>
                <a:gd name="T60" fmla="*/ 35 w 122"/>
                <a:gd name="T61" fmla="*/ 38 h 48"/>
                <a:gd name="T62" fmla="*/ 29 w 122"/>
                <a:gd name="T63" fmla="*/ 39 h 48"/>
                <a:gd name="T64" fmla="*/ 24 w 122"/>
                <a:gd name="T65" fmla="*/ 40 h 48"/>
                <a:gd name="T66" fmla="*/ 14 w 122"/>
                <a:gd name="T67" fmla="*/ 42 h 48"/>
                <a:gd name="T68" fmla="*/ 10 w 122"/>
                <a:gd name="T69" fmla="*/ 38 h 48"/>
                <a:gd name="T70" fmla="*/ 4 w 122"/>
                <a:gd name="T71" fmla="*/ 36 h 48"/>
                <a:gd name="T72" fmla="*/ 1 w 122"/>
                <a:gd name="T73" fmla="*/ 32 h 48"/>
                <a:gd name="T74" fmla="*/ 0 w 122"/>
                <a:gd name="T75" fmla="*/ 27 h 48"/>
                <a:gd name="T76" fmla="*/ 5 w 122"/>
                <a:gd name="T77" fmla="*/ 25 h 48"/>
                <a:gd name="T78" fmla="*/ 11 w 122"/>
                <a:gd name="T79" fmla="*/ 22 h 48"/>
                <a:gd name="T80" fmla="*/ 17 w 122"/>
                <a:gd name="T81" fmla="*/ 21 h 48"/>
                <a:gd name="T82" fmla="*/ 24 w 122"/>
                <a:gd name="T83" fmla="*/ 21 h 48"/>
                <a:gd name="T84" fmla="*/ 29 w 122"/>
                <a:gd name="T85" fmla="*/ 20 h 48"/>
                <a:gd name="T86" fmla="*/ 34 w 122"/>
                <a:gd name="T87" fmla="*/ 20 h 48"/>
                <a:gd name="T88" fmla="*/ 39 w 122"/>
                <a:gd name="T89" fmla="*/ 19 h 48"/>
                <a:gd name="T90" fmla="*/ 45 w 122"/>
                <a:gd name="T91" fmla="*/ 19 h 48"/>
                <a:gd name="T92" fmla="*/ 105 w 122"/>
                <a:gd name="T93" fmla="*/ 29 h 48"/>
                <a:gd name="T94" fmla="*/ 110 w 122"/>
                <a:gd name="T95" fmla="*/ 32 h 48"/>
                <a:gd name="T96" fmla="*/ 114 w 122"/>
                <a:gd name="T97" fmla="*/ 37 h 48"/>
                <a:gd name="T98" fmla="*/ 119 w 122"/>
                <a:gd name="T99" fmla="*/ 40 h 48"/>
                <a:gd name="T100" fmla="*/ 122 w 122"/>
                <a:gd name="T101" fmla="*/ 46 h 48"/>
                <a:gd name="T102" fmla="*/ 116 w 122"/>
                <a:gd name="T103" fmla="*/ 48 h 48"/>
                <a:gd name="T104" fmla="*/ 113 w 122"/>
                <a:gd name="T105" fmla="*/ 46 h 48"/>
                <a:gd name="T106" fmla="*/ 107 w 122"/>
                <a:gd name="T107" fmla="*/ 43 h 48"/>
                <a:gd name="T108" fmla="*/ 104 w 122"/>
                <a:gd name="T109" fmla="*/ 37 h 48"/>
                <a:gd name="T110" fmla="*/ 101 w 122"/>
                <a:gd name="T111" fmla="*/ 31 h 48"/>
                <a:gd name="T112" fmla="*/ 102 w 122"/>
                <a:gd name="T113" fmla="*/ 29 h 48"/>
                <a:gd name="T114" fmla="*/ 105 w 122"/>
                <a:gd name="T115"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48">
                  <a:moveTo>
                    <a:pt x="45" y="2"/>
                  </a:moveTo>
                  <a:lnTo>
                    <a:pt x="47" y="2"/>
                  </a:lnTo>
                  <a:lnTo>
                    <a:pt x="50" y="4"/>
                  </a:lnTo>
                  <a:lnTo>
                    <a:pt x="52" y="5"/>
                  </a:lnTo>
                  <a:lnTo>
                    <a:pt x="55" y="8"/>
                  </a:lnTo>
                  <a:lnTo>
                    <a:pt x="54" y="10"/>
                  </a:lnTo>
                  <a:lnTo>
                    <a:pt x="54" y="13"/>
                  </a:lnTo>
                  <a:lnTo>
                    <a:pt x="51" y="13"/>
                  </a:lnTo>
                  <a:lnTo>
                    <a:pt x="48" y="13"/>
                  </a:lnTo>
                  <a:lnTo>
                    <a:pt x="45" y="12"/>
                  </a:lnTo>
                  <a:lnTo>
                    <a:pt x="45" y="12"/>
                  </a:lnTo>
                  <a:lnTo>
                    <a:pt x="42" y="13"/>
                  </a:lnTo>
                  <a:lnTo>
                    <a:pt x="39" y="13"/>
                  </a:lnTo>
                  <a:lnTo>
                    <a:pt x="36" y="13"/>
                  </a:lnTo>
                  <a:lnTo>
                    <a:pt x="34" y="12"/>
                  </a:lnTo>
                  <a:lnTo>
                    <a:pt x="30" y="11"/>
                  </a:lnTo>
                  <a:lnTo>
                    <a:pt x="28" y="13"/>
                  </a:lnTo>
                  <a:lnTo>
                    <a:pt x="25" y="14"/>
                  </a:lnTo>
                  <a:lnTo>
                    <a:pt x="22" y="14"/>
                  </a:lnTo>
                  <a:lnTo>
                    <a:pt x="19" y="13"/>
                  </a:lnTo>
                  <a:lnTo>
                    <a:pt x="17" y="11"/>
                  </a:lnTo>
                  <a:lnTo>
                    <a:pt x="13" y="11"/>
                  </a:lnTo>
                  <a:lnTo>
                    <a:pt x="11" y="12"/>
                  </a:lnTo>
                  <a:lnTo>
                    <a:pt x="8" y="12"/>
                  </a:lnTo>
                  <a:lnTo>
                    <a:pt x="5" y="13"/>
                  </a:lnTo>
                  <a:lnTo>
                    <a:pt x="3" y="14"/>
                  </a:lnTo>
                  <a:lnTo>
                    <a:pt x="0" y="12"/>
                  </a:lnTo>
                  <a:lnTo>
                    <a:pt x="3" y="10"/>
                  </a:lnTo>
                  <a:lnTo>
                    <a:pt x="5" y="9"/>
                  </a:lnTo>
                  <a:lnTo>
                    <a:pt x="9" y="8"/>
                  </a:lnTo>
                  <a:lnTo>
                    <a:pt x="11" y="6"/>
                  </a:lnTo>
                  <a:lnTo>
                    <a:pt x="14" y="6"/>
                  </a:lnTo>
                  <a:lnTo>
                    <a:pt x="17" y="5"/>
                  </a:lnTo>
                  <a:lnTo>
                    <a:pt x="20" y="5"/>
                  </a:lnTo>
                  <a:lnTo>
                    <a:pt x="22" y="5"/>
                  </a:lnTo>
                  <a:lnTo>
                    <a:pt x="26" y="3"/>
                  </a:lnTo>
                  <a:lnTo>
                    <a:pt x="28" y="2"/>
                  </a:lnTo>
                  <a:lnTo>
                    <a:pt x="31" y="1"/>
                  </a:lnTo>
                  <a:lnTo>
                    <a:pt x="34" y="0"/>
                  </a:lnTo>
                  <a:lnTo>
                    <a:pt x="37" y="0"/>
                  </a:lnTo>
                  <a:lnTo>
                    <a:pt x="39" y="0"/>
                  </a:lnTo>
                  <a:lnTo>
                    <a:pt x="43" y="1"/>
                  </a:lnTo>
                  <a:lnTo>
                    <a:pt x="45" y="2"/>
                  </a:lnTo>
                  <a:lnTo>
                    <a:pt x="45" y="2"/>
                  </a:lnTo>
                  <a:close/>
                  <a:moveTo>
                    <a:pt x="45" y="19"/>
                  </a:moveTo>
                  <a:lnTo>
                    <a:pt x="48" y="19"/>
                  </a:lnTo>
                  <a:lnTo>
                    <a:pt x="51" y="21"/>
                  </a:lnTo>
                  <a:lnTo>
                    <a:pt x="48" y="23"/>
                  </a:lnTo>
                  <a:lnTo>
                    <a:pt x="45" y="25"/>
                  </a:lnTo>
                  <a:lnTo>
                    <a:pt x="43" y="26"/>
                  </a:lnTo>
                  <a:lnTo>
                    <a:pt x="39" y="26"/>
                  </a:lnTo>
                  <a:lnTo>
                    <a:pt x="36" y="26"/>
                  </a:lnTo>
                  <a:lnTo>
                    <a:pt x="34" y="26"/>
                  </a:lnTo>
                  <a:lnTo>
                    <a:pt x="36" y="29"/>
                  </a:lnTo>
                  <a:lnTo>
                    <a:pt x="38" y="29"/>
                  </a:lnTo>
                  <a:lnTo>
                    <a:pt x="41" y="28"/>
                  </a:lnTo>
                  <a:lnTo>
                    <a:pt x="44" y="30"/>
                  </a:lnTo>
                  <a:lnTo>
                    <a:pt x="44" y="34"/>
                  </a:lnTo>
                  <a:lnTo>
                    <a:pt x="43" y="36"/>
                  </a:lnTo>
                  <a:lnTo>
                    <a:pt x="41" y="37"/>
                  </a:lnTo>
                  <a:lnTo>
                    <a:pt x="37" y="38"/>
                  </a:lnTo>
                  <a:lnTo>
                    <a:pt x="35" y="38"/>
                  </a:lnTo>
                  <a:lnTo>
                    <a:pt x="31" y="39"/>
                  </a:lnTo>
                  <a:lnTo>
                    <a:pt x="29" y="39"/>
                  </a:lnTo>
                  <a:lnTo>
                    <a:pt x="26" y="39"/>
                  </a:lnTo>
                  <a:lnTo>
                    <a:pt x="24" y="40"/>
                  </a:lnTo>
                  <a:lnTo>
                    <a:pt x="18" y="42"/>
                  </a:lnTo>
                  <a:lnTo>
                    <a:pt x="14" y="42"/>
                  </a:lnTo>
                  <a:lnTo>
                    <a:pt x="12" y="40"/>
                  </a:lnTo>
                  <a:lnTo>
                    <a:pt x="10" y="38"/>
                  </a:lnTo>
                  <a:lnTo>
                    <a:pt x="7" y="38"/>
                  </a:lnTo>
                  <a:lnTo>
                    <a:pt x="4" y="36"/>
                  </a:lnTo>
                  <a:lnTo>
                    <a:pt x="2" y="35"/>
                  </a:lnTo>
                  <a:lnTo>
                    <a:pt x="1" y="32"/>
                  </a:lnTo>
                  <a:lnTo>
                    <a:pt x="1" y="29"/>
                  </a:lnTo>
                  <a:lnTo>
                    <a:pt x="0" y="27"/>
                  </a:lnTo>
                  <a:lnTo>
                    <a:pt x="3" y="25"/>
                  </a:lnTo>
                  <a:lnTo>
                    <a:pt x="5" y="25"/>
                  </a:lnTo>
                  <a:lnTo>
                    <a:pt x="9" y="23"/>
                  </a:lnTo>
                  <a:lnTo>
                    <a:pt x="11" y="22"/>
                  </a:lnTo>
                  <a:lnTo>
                    <a:pt x="14" y="21"/>
                  </a:lnTo>
                  <a:lnTo>
                    <a:pt x="17" y="21"/>
                  </a:lnTo>
                  <a:lnTo>
                    <a:pt x="20" y="21"/>
                  </a:lnTo>
                  <a:lnTo>
                    <a:pt x="24" y="21"/>
                  </a:lnTo>
                  <a:lnTo>
                    <a:pt x="26" y="20"/>
                  </a:lnTo>
                  <a:lnTo>
                    <a:pt x="29" y="20"/>
                  </a:lnTo>
                  <a:lnTo>
                    <a:pt x="31" y="20"/>
                  </a:lnTo>
                  <a:lnTo>
                    <a:pt x="34" y="20"/>
                  </a:lnTo>
                  <a:lnTo>
                    <a:pt x="37" y="19"/>
                  </a:lnTo>
                  <a:lnTo>
                    <a:pt x="39" y="19"/>
                  </a:lnTo>
                  <a:lnTo>
                    <a:pt x="43" y="19"/>
                  </a:lnTo>
                  <a:lnTo>
                    <a:pt x="45" y="19"/>
                  </a:lnTo>
                  <a:lnTo>
                    <a:pt x="45" y="19"/>
                  </a:lnTo>
                  <a:close/>
                  <a:moveTo>
                    <a:pt x="105" y="29"/>
                  </a:moveTo>
                  <a:lnTo>
                    <a:pt x="106" y="30"/>
                  </a:lnTo>
                  <a:lnTo>
                    <a:pt x="110" y="32"/>
                  </a:lnTo>
                  <a:lnTo>
                    <a:pt x="112" y="34"/>
                  </a:lnTo>
                  <a:lnTo>
                    <a:pt x="114" y="37"/>
                  </a:lnTo>
                  <a:lnTo>
                    <a:pt x="115" y="39"/>
                  </a:lnTo>
                  <a:lnTo>
                    <a:pt x="119" y="40"/>
                  </a:lnTo>
                  <a:lnTo>
                    <a:pt x="121" y="43"/>
                  </a:lnTo>
                  <a:lnTo>
                    <a:pt x="122" y="46"/>
                  </a:lnTo>
                  <a:lnTo>
                    <a:pt x="120" y="47"/>
                  </a:lnTo>
                  <a:lnTo>
                    <a:pt x="116" y="48"/>
                  </a:lnTo>
                  <a:lnTo>
                    <a:pt x="116" y="48"/>
                  </a:lnTo>
                  <a:lnTo>
                    <a:pt x="113" y="46"/>
                  </a:lnTo>
                  <a:lnTo>
                    <a:pt x="111" y="45"/>
                  </a:lnTo>
                  <a:lnTo>
                    <a:pt x="107" y="43"/>
                  </a:lnTo>
                  <a:lnTo>
                    <a:pt x="105" y="40"/>
                  </a:lnTo>
                  <a:lnTo>
                    <a:pt x="104" y="37"/>
                  </a:lnTo>
                  <a:lnTo>
                    <a:pt x="102" y="35"/>
                  </a:lnTo>
                  <a:lnTo>
                    <a:pt x="101" y="31"/>
                  </a:lnTo>
                  <a:lnTo>
                    <a:pt x="102" y="29"/>
                  </a:lnTo>
                  <a:lnTo>
                    <a:pt x="102" y="29"/>
                  </a:lnTo>
                  <a:lnTo>
                    <a:pt x="105" y="29"/>
                  </a:lnTo>
                  <a:lnTo>
                    <a:pt x="10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7" name="Freeform 237">
              <a:extLst>
                <a:ext uri="{FF2B5EF4-FFF2-40B4-BE49-F238E27FC236}">
                  <a16:creationId xmlns:a16="http://schemas.microsoft.com/office/drawing/2014/main" id="{4DA46E54-99BE-4893-AD96-465D93118CB3}"/>
                </a:ext>
              </a:extLst>
            </p:cNvPr>
            <p:cNvSpPr>
              <a:spLocks/>
            </p:cNvSpPr>
            <p:nvPr/>
          </p:nvSpPr>
          <p:spPr bwMode="auto">
            <a:xfrm>
              <a:off x="3113088" y="2424113"/>
              <a:ext cx="230187" cy="142875"/>
            </a:xfrm>
            <a:custGeom>
              <a:avLst/>
              <a:gdLst>
                <a:gd name="T0" fmla="*/ 86 w 145"/>
                <a:gd name="T1" fmla="*/ 60 h 90"/>
                <a:gd name="T2" fmla="*/ 91 w 145"/>
                <a:gd name="T3" fmla="*/ 53 h 90"/>
                <a:gd name="T4" fmla="*/ 98 w 145"/>
                <a:gd name="T5" fmla="*/ 47 h 90"/>
                <a:gd name="T6" fmla="*/ 106 w 145"/>
                <a:gd name="T7" fmla="*/ 44 h 90"/>
                <a:gd name="T8" fmla="*/ 114 w 145"/>
                <a:gd name="T9" fmla="*/ 40 h 90"/>
                <a:gd name="T10" fmla="*/ 122 w 145"/>
                <a:gd name="T11" fmla="*/ 37 h 90"/>
                <a:gd name="T12" fmla="*/ 131 w 145"/>
                <a:gd name="T13" fmla="*/ 34 h 90"/>
                <a:gd name="T14" fmla="*/ 139 w 145"/>
                <a:gd name="T15" fmla="*/ 31 h 90"/>
                <a:gd name="T16" fmla="*/ 145 w 145"/>
                <a:gd name="T17" fmla="*/ 28 h 90"/>
                <a:gd name="T18" fmla="*/ 138 w 145"/>
                <a:gd name="T19" fmla="*/ 22 h 90"/>
                <a:gd name="T20" fmla="*/ 130 w 145"/>
                <a:gd name="T21" fmla="*/ 17 h 90"/>
                <a:gd name="T22" fmla="*/ 118 w 145"/>
                <a:gd name="T23" fmla="*/ 10 h 90"/>
                <a:gd name="T24" fmla="*/ 112 w 145"/>
                <a:gd name="T25" fmla="*/ 8 h 90"/>
                <a:gd name="T26" fmla="*/ 100 w 145"/>
                <a:gd name="T27" fmla="*/ 8 h 90"/>
                <a:gd name="T28" fmla="*/ 95 w 145"/>
                <a:gd name="T29" fmla="*/ 14 h 90"/>
                <a:gd name="T30" fmla="*/ 91 w 145"/>
                <a:gd name="T31" fmla="*/ 9 h 90"/>
                <a:gd name="T32" fmla="*/ 83 w 145"/>
                <a:gd name="T33" fmla="*/ 13 h 90"/>
                <a:gd name="T34" fmla="*/ 87 w 145"/>
                <a:gd name="T35" fmla="*/ 9 h 90"/>
                <a:gd name="T36" fmla="*/ 80 w 145"/>
                <a:gd name="T37" fmla="*/ 8 h 90"/>
                <a:gd name="T38" fmla="*/ 73 w 145"/>
                <a:gd name="T39" fmla="*/ 5 h 90"/>
                <a:gd name="T40" fmla="*/ 65 w 145"/>
                <a:gd name="T41" fmla="*/ 1 h 90"/>
                <a:gd name="T42" fmla="*/ 57 w 145"/>
                <a:gd name="T43" fmla="*/ 0 h 90"/>
                <a:gd name="T44" fmla="*/ 48 w 145"/>
                <a:gd name="T45" fmla="*/ 2 h 90"/>
                <a:gd name="T46" fmla="*/ 40 w 145"/>
                <a:gd name="T47" fmla="*/ 2 h 90"/>
                <a:gd name="T48" fmla="*/ 31 w 145"/>
                <a:gd name="T49" fmla="*/ 3 h 90"/>
                <a:gd name="T50" fmla="*/ 23 w 145"/>
                <a:gd name="T51" fmla="*/ 4 h 90"/>
                <a:gd name="T52" fmla="*/ 15 w 145"/>
                <a:gd name="T53" fmla="*/ 5 h 90"/>
                <a:gd name="T54" fmla="*/ 19 w 145"/>
                <a:gd name="T55" fmla="*/ 12 h 90"/>
                <a:gd name="T56" fmla="*/ 26 w 145"/>
                <a:gd name="T57" fmla="*/ 19 h 90"/>
                <a:gd name="T58" fmla="*/ 26 w 145"/>
                <a:gd name="T59" fmla="*/ 26 h 90"/>
                <a:gd name="T60" fmla="*/ 19 w 145"/>
                <a:gd name="T61" fmla="*/ 31 h 90"/>
                <a:gd name="T62" fmla="*/ 14 w 145"/>
                <a:gd name="T63" fmla="*/ 40 h 90"/>
                <a:gd name="T64" fmla="*/ 14 w 145"/>
                <a:gd name="T65" fmla="*/ 44 h 90"/>
                <a:gd name="T66" fmla="*/ 11 w 145"/>
                <a:gd name="T67" fmla="*/ 49 h 90"/>
                <a:gd name="T68" fmla="*/ 7 w 145"/>
                <a:gd name="T69" fmla="*/ 54 h 90"/>
                <a:gd name="T70" fmla="*/ 4 w 145"/>
                <a:gd name="T71" fmla="*/ 62 h 90"/>
                <a:gd name="T72" fmla="*/ 2 w 145"/>
                <a:gd name="T73" fmla="*/ 68 h 90"/>
                <a:gd name="T74" fmla="*/ 11 w 145"/>
                <a:gd name="T75" fmla="*/ 69 h 90"/>
                <a:gd name="T76" fmla="*/ 19 w 145"/>
                <a:gd name="T77" fmla="*/ 72 h 90"/>
                <a:gd name="T78" fmla="*/ 27 w 145"/>
                <a:gd name="T79" fmla="*/ 77 h 90"/>
                <a:gd name="T80" fmla="*/ 32 w 145"/>
                <a:gd name="T81" fmla="*/ 85 h 90"/>
                <a:gd name="T82" fmla="*/ 40 w 145"/>
                <a:gd name="T83" fmla="*/ 90 h 90"/>
                <a:gd name="T84" fmla="*/ 48 w 145"/>
                <a:gd name="T85" fmla="*/ 86 h 90"/>
                <a:gd name="T86" fmla="*/ 56 w 145"/>
                <a:gd name="T87" fmla="*/ 80 h 90"/>
                <a:gd name="T88" fmla="*/ 65 w 145"/>
                <a:gd name="T89" fmla="*/ 81 h 90"/>
                <a:gd name="T90" fmla="*/ 73 w 145"/>
                <a:gd name="T91" fmla="*/ 79 h 90"/>
                <a:gd name="T92" fmla="*/ 74 w 145"/>
                <a:gd name="T93" fmla="*/ 71 h 90"/>
                <a:gd name="T94" fmla="*/ 78 w 145"/>
                <a:gd name="T95" fmla="*/ 63 h 90"/>
                <a:gd name="T96" fmla="*/ 80 w 145"/>
                <a:gd name="T97"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90">
                  <a:moveTo>
                    <a:pt x="80" y="61"/>
                  </a:moveTo>
                  <a:lnTo>
                    <a:pt x="82" y="61"/>
                  </a:lnTo>
                  <a:lnTo>
                    <a:pt x="86" y="60"/>
                  </a:lnTo>
                  <a:lnTo>
                    <a:pt x="88" y="59"/>
                  </a:lnTo>
                  <a:lnTo>
                    <a:pt x="90" y="55"/>
                  </a:lnTo>
                  <a:lnTo>
                    <a:pt x="91" y="53"/>
                  </a:lnTo>
                  <a:lnTo>
                    <a:pt x="92" y="51"/>
                  </a:lnTo>
                  <a:lnTo>
                    <a:pt x="95" y="49"/>
                  </a:lnTo>
                  <a:lnTo>
                    <a:pt x="98" y="47"/>
                  </a:lnTo>
                  <a:lnTo>
                    <a:pt x="100" y="47"/>
                  </a:lnTo>
                  <a:lnTo>
                    <a:pt x="103" y="45"/>
                  </a:lnTo>
                  <a:lnTo>
                    <a:pt x="106" y="44"/>
                  </a:lnTo>
                  <a:lnTo>
                    <a:pt x="108" y="44"/>
                  </a:lnTo>
                  <a:lnTo>
                    <a:pt x="112" y="42"/>
                  </a:lnTo>
                  <a:lnTo>
                    <a:pt x="114" y="40"/>
                  </a:lnTo>
                  <a:lnTo>
                    <a:pt x="117" y="39"/>
                  </a:lnTo>
                  <a:lnTo>
                    <a:pt x="120" y="38"/>
                  </a:lnTo>
                  <a:lnTo>
                    <a:pt x="122" y="37"/>
                  </a:lnTo>
                  <a:lnTo>
                    <a:pt x="125" y="36"/>
                  </a:lnTo>
                  <a:lnTo>
                    <a:pt x="128" y="35"/>
                  </a:lnTo>
                  <a:lnTo>
                    <a:pt x="131" y="34"/>
                  </a:lnTo>
                  <a:lnTo>
                    <a:pt x="133" y="32"/>
                  </a:lnTo>
                  <a:lnTo>
                    <a:pt x="135" y="32"/>
                  </a:lnTo>
                  <a:lnTo>
                    <a:pt x="139" y="31"/>
                  </a:lnTo>
                  <a:lnTo>
                    <a:pt x="141" y="30"/>
                  </a:lnTo>
                  <a:lnTo>
                    <a:pt x="145" y="28"/>
                  </a:lnTo>
                  <a:lnTo>
                    <a:pt x="145" y="28"/>
                  </a:lnTo>
                  <a:lnTo>
                    <a:pt x="143" y="26"/>
                  </a:lnTo>
                  <a:lnTo>
                    <a:pt x="140" y="23"/>
                  </a:lnTo>
                  <a:lnTo>
                    <a:pt x="138" y="22"/>
                  </a:lnTo>
                  <a:lnTo>
                    <a:pt x="134" y="20"/>
                  </a:lnTo>
                  <a:lnTo>
                    <a:pt x="132" y="19"/>
                  </a:lnTo>
                  <a:lnTo>
                    <a:pt x="130" y="17"/>
                  </a:lnTo>
                  <a:lnTo>
                    <a:pt x="126" y="14"/>
                  </a:lnTo>
                  <a:lnTo>
                    <a:pt x="124" y="12"/>
                  </a:lnTo>
                  <a:lnTo>
                    <a:pt x="118" y="10"/>
                  </a:lnTo>
                  <a:lnTo>
                    <a:pt x="116" y="9"/>
                  </a:lnTo>
                  <a:lnTo>
                    <a:pt x="113" y="8"/>
                  </a:lnTo>
                  <a:lnTo>
                    <a:pt x="112" y="8"/>
                  </a:lnTo>
                  <a:lnTo>
                    <a:pt x="108" y="8"/>
                  </a:lnTo>
                  <a:lnTo>
                    <a:pt x="106" y="6"/>
                  </a:lnTo>
                  <a:lnTo>
                    <a:pt x="100" y="8"/>
                  </a:lnTo>
                  <a:lnTo>
                    <a:pt x="97" y="9"/>
                  </a:lnTo>
                  <a:lnTo>
                    <a:pt x="97" y="12"/>
                  </a:lnTo>
                  <a:lnTo>
                    <a:pt x="95" y="14"/>
                  </a:lnTo>
                  <a:lnTo>
                    <a:pt x="91" y="14"/>
                  </a:lnTo>
                  <a:lnTo>
                    <a:pt x="94" y="11"/>
                  </a:lnTo>
                  <a:lnTo>
                    <a:pt x="91" y="9"/>
                  </a:lnTo>
                  <a:lnTo>
                    <a:pt x="88" y="9"/>
                  </a:lnTo>
                  <a:lnTo>
                    <a:pt x="86" y="11"/>
                  </a:lnTo>
                  <a:lnTo>
                    <a:pt x="83" y="13"/>
                  </a:lnTo>
                  <a:lnTo>
                    <a:pt x="83" y="13"/>
                  </a:lnTo>
                  <a:lnTo>
                    <a:pt x="85" y="10"/>
                  </a:lnTo>
                  <a:lnTo>
                    <a:pt x="87" y="9"/>
                  </a:lnTo>
                  <a:lnTo>
                    <a:pt x="85" y="8"/>
                  </a:lnTo>
                  <a:lnTo>
                    <a:pt x="81" y="8"/>
                  </a:lnTo>
                  <a:lnTo>
                    <a:pt x="80" y="8"/>
                  </a:lnTo>
                  <a:lnTo>
                    <a:pt x="79" y="8"/>
                  </a:lnTo>
                  <a:lnTo>
                    <a:pt x="77" y="6"/>
                  </a:lnTo>
                  <a:lnTo>
                    <a:pt x="73" y="5"/>
                  </a:lnTo>
                  <a:lnTo>
                    <a:pt x="71" y="4"/>
                  </a:lnTo>
                  <a:lnTo>
                    <a:pt x="69" y="3"/>
                  </a:lnTo>
                  <a:lnTo>
                    <a:pt x="65" y="1"/>
                  </a:lnTo>
                  <a:lnTo>
                    <a:pt x="63" y="0"/>
                  </a:lnTo>
                  <a:lnTo>
                    <a:pt x="60" y="0"/>
                  </a:lnTo>
                  <a:lnTo>
                    <a:pt x="57" y="0"/>
                  </a:lnTo>
                  <a:lnTo>
                    <a:pt x="54" y="1"/>
                  </a:lnTo>
                  <a:lnTo>
                    <a:pt x="52" y="1"/>
                  </a:lnTo>
                  <a:lnTo>
                    <a:pt x="48" y="2"/>
                  </a:lnTo>
                  <a:lnTo>
                    <a:pt x="46" y="2"/>
                  </a:lnTo>
                  <a:lnTo>
                    <a:pt x="43" y="2"/>
                  </a:lnTo>
                  <a:lnTo>
                    <a:pt x="40" y="2"/>
                  </a:lnTo>
                  <a:lnTo>
                    <a:pt x="37" y="3"/>
                  </a:lnTo>
                  <a:lnTo>
                    <a:pt x="35" y="3"/>
                  </a:lnTo>
                  <a:lnTo>
                    <a:pt x="31" y="3"/>
                  </a:lnTo>
                  <a:lnTo>
                    <a:pt x="29" y="3"/>
                  </a:lnTo>
                  <a:lnTo>
                    <a:pt x="27" y="4"/>
                  </a:lnTo>
                  <a:lnTo>
                    <a:pt x="23" y="4"/>
                  </a:lnTo>
                  <a:lnTo>
                    <a:pt x="21" y="4"/>
                  </a:lnTo>
                  <a:lnTo>
                    <a:pt x="18" y="5"/>
                  </a:lnTo>
                  <a:lnTo>
                    <a:pt x="15" y="5"/>
                  </a:lnTo>
                  <a:lnTo>
                    <a:pt x="18" y="8"/>
                  </a:lnTo>
                  <a:lnTo>
                    <a:pt x="19" y="10"/>
                  </a:lnTo>
                  <a:lnTo>
                    <a:pt x="19" y="12"/>
                  </a:lnTo>
                  <a:lnTo>
                    <a:pt x="21" y="15"/>
                  </a:lnTo>
                  <a:lnTo>
                    <a:pt x="23" y="18"/>
                  </a:lnTo>
                  <a:lnTo>
                    <a:pt x="26" y="19"/>
                  </a:lnTo>
                  <a:lnTo>
                    <a:pt x="28" y="20"/>
                  </a:lnTo>
                  <a:lnTo>
                    <a:pt x="27" y="22"/>
                  </a:lnTo>
                  <a:lnTo>
                    <a:pt x="26" y="26"/>
                  </a:lnTo>
                  <a:lnTo>
                    <a:pt x="23" y="28"/>
                  </a:lnTo>
                  <a:lnTo>
                    <a:pt x="20" y="29"/>
                  </a:lnTo>
                  <a:lnTo>
                    <a:pt x="19" y="31"/>
                  </a:lnTo>
                  <a:lnTo>
                    <a:pt x="18" y="35"/>
                  </a:lnTo>
                  <a:lnTo>
                    <a:pt x="14" y="37"/>
                  </a:lnTo>
                  <a:lnTo>
                    <a:pt x="14" y="40"/>
                  </a:lnTo>
                  <a:lnTo>
                    <a:pt x="18" y="40"/>
                  </a:lnTo>
                  <a:lnTo>
                    <a:pt x="17" y="44"/>
                  </a:lnTo>
                  <a:lnTo>
                    <a:pt x="14" y="44"/>
                  </a:lnTo>
                  <a:lnTo>
                    <a:pt x="11" y="44"/>
                  </a:lnTo>
                  <a:lnTo>
                    <a:pt x="12" y="47"/>
                  </a:lnTo>
                  <a:lnTo>
                    <a:pt x="11" y="49"/>
                  </a:lnTo>
                  <a:lnTo>
                    <a:pt x="11" y="52"/>
                  </a:lnTo>
                  <a:lnTo>
                    <a:pt x="9" y="54"/>
                  </a:lnTo>
                  <a:lnTo>
                    <a:pt x="7" y="54"/>
                  </a:lnTo>
                  <a:lnTo>
                    <a:pt x="6" y="57"/>
                  </a:lnTo>
                  <a:lnTo>
                    <a:pt x="5" y="60"/>
                  </a:lnTo>
                  <a:lnTo>
                    <a:pt x="4" y="62"/>
                  </a:lnTo>
                  <a:lnTo>
                    <a:pt x="2" y="65"/>
                  </a:lnTo>
                  <a:lnTo>
                    <a:pt x="0" y="68"/>
                  </a:lnTo>
                  <a:lnTo>
                    <a:pt x="2" y="68"/>
                  </a:lnTo>
                  <a:lnTo>
                    <a:pt x="5" y="68"/>
                  </a:lnTo>
                  <a:lnTo>
                    <a:pt x="7" y="68"/>
                  </a:lnTo>
                  <a:lnTo>
                    <a:pt x="11" y="69"/>
                  </a:lnTo>
                  <a:lnTo>
                    <a:pt x="13" y="70"/>
                  </a:lnTo>
                  <a:lnTo>
                    <a:pt x="17" y="71"/>
                  </a:lnTo>
                  <a:lnTo>
                    <a:pt x="19" y="72"/>
                  </a:lnTo>
                  <a:lnTo>
                    <a:pt x="21" y="73"/>
                  </a:lnTo>
                  <a:lnTo>
                    <a:pt x="24" y="74"/>
                  </a:lnTo>
                  <a:lnTo>
                    <a:pt x="27" y="77"/>
                  </a:lnTo>
                  <a:lnTo>
                    <a:pt x="30" y="79"/>
                  </a:lnTo>
                  <a:lnTo>
                    <a:pt x="31" y="82"/>
                  </a:lnTo>
                  <a:lnTo>
                    <a:pt x="32" y="85"/>
                  </a:lnTo>
                  <a:lnTo>
                    <a:pt x="35" y="88"/>
                  </a:lnTo>
                  <a:lnTo>
                    <a:pt x="37" y="89"/>
                  </a:lnTo>
                  <a:lnTo>
                    <a:pt x="40" y="90"/>
                  </a:lnTo>
                  <a:lnTo>
                    <a:pt x="43" y="89"/>
                  </a:lnTo>
                  <a:lnTo>
                    <a:pt x="46" y="87"/>
                  </a:lnTo>
                  <a:lnTo>
                    <a:pt x="48" y="86"/>
                  </a:lnTo>
                  <a:lnTo>
                    <a:pt x="52" y="86"/>
                  </a:lnTo>
                  <a:lnTo>
                    <a:pt x="54" y="83"/>
                  </a:lnTo>
                  <a:lnTo>
                    <a:pt x="56" y="80"/>
                  </a:lnTo>
                  <a:lnTo>
                    <a:pt x="60" y="82"/>
                  </a:lnTo>
                  <a:lnTo>
                    <a:pt x="62" y="82"/>
                  </a:lnTo>
                  <a:lnTo>
                    <a:pt x="65" y="81"/>
                  </a:lnTo>
                  <a:lnTo>
                    <a:pt x="68" y="81"/>
                  </a:lnTo>
                  <a:lnTo>
                    <a:pt x="70" y="80"/>
                  </a:lnTo>
                  <a:lnTo>
                    <a:pt x="73" y="79"/>
                  </a:lnTo>
                  <a:lnTo>
                    <a:pt x="74" y="77"/>
                  </a:lnTo>
                  <a:lnTo>
                    <a:pt x="74" y="73"/>
                  </a:lnTo>
                  <a:lnTo>
                    <a:pt x="74" y="71"/>
                  </a:lnTo>
                  <a:lnTo>
                    <a:pt x="74" y="68"/>
                  </a:lnTo>
                  <a:lnTo>
                    <a:pt x="77" y="65"/>
                  </a:lnTo>
                  <a:lnTo>
                    <a:pt x="78" y="63"/>
                  </a:lnTo>
                  <a:lnTo>
                    <a:pt x="78" y="60"/>
                  </a:lnTo>
                  <a:lnTo>
                    <a:pt x="80" y="61"/>
                  </a:lnTo>
                  <a:lnTo>
                    <a:pt x="8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8" name="Freeform 238">
              <a:extLst>
                <a:ext uri="{FF2B5EF4-FFF2-40B4-BE49-F238E27FC236}">
                  <a16:creationId xmlns:a16="http://schemas.microsoft.com/office/drawing/2014/main" id="{642C66A1-D290-4923-A155-792EE6DFA254}"/>
                </a:ext>
              </a:extLst>
            </p:cNvPr>
            <p:cNvSpPr>
              <a:spLocks/>
            </p:cNvSpPr>
            <p:nvPr/>
          </p:nvSpPr>
          <p:spPr bwMode="auto">
            <a:xfrm>
              <a:off x="8308975" y="4687888"/>
              <a:ext cx="879475" cy="661988"/>
            </a:xfrm>
            <a:custGeom>
              <a:avLst/>
              <a:gdLst>
                <a:gd name="T0" fmla="*/ 539 w 554"/>
                <a:gd name="T1" fmla="*/ 313 h 417"/>
                <a:gd name="T2" fmla="*/ 517 w 554"/>
                <a:gd name="T3" fmla="*/ 344 h 417"/>
                <a:gd name="T4" fmla="*/ 504 w 554"/>
                <a:gd name="T5" fmla="*/ 378 h 417"/>
                <a:gd name="T6" fmla="*/ 480 w 554"/>
                <a:gd name="T7" fmla="*/ 397 h 417"/>
                <a:gd name="T8" fmla="*/ 456 w 554"/>
                <a:gd name="T9" fmla="*/ 415 h 417"/>
                <a:gd name="T10" fmla="*/ 437 w 554"/>
                <a:gd name="T11" fmla="*/ 402 h 417"/>
                <a:gd name="T12" fmla="*/ 412 w 554"/>
                <a:gd name="T13" fmla="*/ 412 h 417"/>
                <a:gd name="T14" fmla="*/ 375 w 554"/>
                <a:gd name="T15" fmla="*/ 399 h 417"/>
                <a:gd name="T16" fmla="*/ 360 w 554"/>
                <a:gd name="T17" fmla="*/ 366 h 417"/>
                <a:gd name="T18" fmla="*/ 355 w 554"/>
                <a:gd name="T19" fmla="*/ 358 h 417"/>
                <a:gd name="T20" fmla="*/ 341 w 554"/>
                <a:gd name="T21" fmla="*/ 341 h 417"/>
                <a:gd name="T22" fmla="*/ 333 w 554"/>
                <a:gd name="T23" fmla="*/ 347 h 417"/>
                <a:gd name="T24" fmla="*/ 337 w 554"/>
                <a:gd name="T25" fmla="*/ 316 h 417"/>
                <a:gd name="T26" fmla="*/ 312 w 554"/>
                <a:gd name="T27" fmla="*/ 347 h 417"/>
                <a:gd name="T28" fmla="*/ 299 w 554"/>
                <a:gd name="T29" fmla="*/ 333 h 417"/>
                <a:gd name="T30" fmla="*/ 278 w 554"/>
                <a:gd name="T31" fmla="*/ 309 h 417"/>
                <a:gd name="T32" fmla="*/ 239 w 554"/>
                <a:gd name="T33" fmla="*/ 299 h 417"/>
                <a:gd name="T34" fmla="*/ 192 w 554"/>
                <a:gd name="T35" fmla="*/ 311 h 417"/>
                <a:gd name="T36" fmla="*/ 154 w 554"/>
                <a:gd name="T37" fmla="*/ 321 h 417"/>
                <a:gd name="T38" fmla="*/ 124 w 554"/>
                <a:gd name="T39" fmla="*/ 337 h 417"/>
                <a:gd name="T40" fmla="*/ 89 w 554"/>
                <a:gd name="T41" fmla="*/ 339 h 417"/>
                <a:gd name="T42" fmla="*/ 57 w 554"/>
                <a:gd name="T43" fmla="*/ 353 h 417"/>
                <a:gd name="T44" fmla="*/ 25 w 554"/>
                <a:gd name="T45" fmla="*/ 333 h 417"/>
                <a:gd name="T46" fmla="*/ 35 w 554"/>
                <a:gd name="T47" fmla="*/ 310 h 417"/>
                <a:gd name="T48" fmla="*/ 25 w 554"/>
                <a:gd name="T49" fmla="*/ 270 h 417"/>
                <a:gd name="T50" fmla="*/ 10 w 554"/>
                <a:gd name="T51" fmla="*/ 234 h 417"/>
                <a:gd name="T52" fmla="*/ 6 w 554"/>
                <a:gd name="T53" fmla="*/ 217 h 417"/>
                <a:gd name="T54" fmla="*/ 13 w 554"/>
                <a:gd name="T55" fmla="*/ 211 h 417"/>
                <a:gd name="T56" fmla="*/ 8 w 554"/>
                <a:gd name="T57" fmla="*/ 176 h 417"/>
                <a:gd name="T58" fmla="*/ 18 w 554"/>
                <a:gd name="T59" fmla="*/ 160 h 417"/>
                <a:gd name="T60" fmla="*/ 51 w 554"/>
                <a:gd name="T61" fmla="*/ 140 h 417"/>
                <a:gd name="T62" fmla="*/ 89 w 554"/>
                <a:gd name="T63" fmla="*/ 131 h 417"/>
                <a:gd name="T64" fmla="*/ 118 w 554"/>
                <a:gd name="T65" fmla="*/ 111 h 417"/>
                <a:gd name="T66" fmla="*/ 134 w 554"/>
                <a:gd name="T67" fmla="*/ 80 h 417"/>
                <a:gd name="T68" fmla="*/ 147 w 554"/>
                <a:gd name="T69" fmla="*/ 85 h 417"/>
                <a:gd name="T70" fmla="*/ 155 w 554"/>
                <a:gd name="T71" fmla="*/ 79 h 417"/>
                <a:gd name="T72" fmla="*/ 163 w 554"/>
                <a:gd name="T73" fmla="*/ 61 h 417"/>
                <a:gd name="T74" fmla="*/ 177 w 554"/>
                <a:gd name="T75" fmla="*/ 47 h 417"/>
                <a:gd name="T76" fmla="*/ 206 w 554"/>
                <a:gd name="T77" fmla="*/ 56 h 417"/>
                <a:gd name="T78" fmla="*/ 218 w 554"/>
                <a:gd name="T79" fmla="*/ 58 h 417"/>
                <a:gd name="T80" fmla="*/ 227 w 554"/>
                <a:gd name="T81" fmla="*/ 46 h 417"/>
                <a:gd name="T82" fmla="*/ 245 w 554"/>
                <a:gd name="T83" fmla="*/ 21 h 417"/>
                <a:gd name="T84" fmla="*/ 260 w 554"/>
                <a:gd name="T85" fmla="*/ 11 h 417"/>
                <a:gd name="T86" fmla="*/ 280 w 554"/>
                <a:gd name="T87" fmla="*/ 14 h 417"/>
                <a:gd name="T88" fmla="*/ 308 w 554"/>
                <a:gd name="T89" fmla="*/ 21 h 417"/>
                <a:gd name="T90" fmla="*/ 321 w 554"/>
                <a:gd name="T91" fmla="*/ 32 h 417"/>
                <a:gd name="T92" fmla="*/ 305 w 554"/>
                <a:gd name="T93" fmla="*/ 58 h 417"/>
                <a:gd name="T94" fmla="*/ 340 w 554"/>
                <a:gd name="T95" fmla="*/ 81 h 417"/>
                <a:gd name="T96" fmla="*/ 368 w 554"/>
                <a:gd name="T97" fmla="*/ 98 h 417"/>
                <a:gd name="T98" fmla="*/ 386 w 554"/>
                <a:gd name="T99" fmla="*/ 72 h 417"/>
                <a:gd name="T100" fmla="*/ 391 w 554"/>
                <a:gd name="T101" fmla="*/ 37 h 417"/>
                <a:gd name="T102" fmla="*/ 397 w 554"/>
                <a:gd name="T103" fmla="*/ 7 h 417"/>
                <a:gd name="T104" fmla="*/ 411 w 554"/>
                <a:gd name="T105" fmla="*/ 23 h 417"/>
                <a:gd name="T106" fmla="*/ 427 w 554"/>
                <a:gd name="T107" fmla="*/ 50 h 417"/>
                <a:gd name="T108" fmla="*/ 443 w 554"/>
                <a:gd name="T109" fmla="*/ 77 h 417"/>
                <a:gd name="T110" fmla="*/ 454 w 554"/>
                <a:gd name="T111" fmla="*/ 109 h 417"/>
                <a:gd name="T112" fmla="*/ 482 w 554"/>
                <a:gd name="T113" fmla="*/ 130 h 417"/>
                <a:gd name="T114" fmla="*/ 497 w 554"/>
                <a:gd name="T115" fmla="*/ 158 h 417"/>
                <a:gd name="T116" fmla="*/ 516 w 554"/>
                <a:gd name="T117" fmla="*/ 169 h 417"/>
                <a:gd name="T118" fmla="*/ 535 w 554"/>
                <a:gd name="T119" fmla="*/ 198 h 417"/>
                <a:gd name="T120" fmla="*/ 547 w 554"/>
                <a:gd name="T121" fmla="*/ 229 h 417"/>
                <a:gd name="T122" fmla="*/ 551 w 554"/>
                <a:gd name="T123" fmla="*/ 2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4" h="417">
                  <a:moveTo>
                    <a:pt x="548" y="276"/>
                  </a:moveTo>
                  <a:lnTo>
                    <a:pt x="548" y="278"/>
                  </a:lnTo>
                  <a:lnTo>
                    <a:pt x="547" y="280"/>
                  </a:lnTo>
                  <a:lnTo>
                    <a:pt x="546" y="284"/>
                  </a:lnTo>
                  <a:lnTo>
                    <a:pt x="546" y="286"/>
                  </a:lnTo>
                  <a:lnTo>
                    <a:pt x="546" y="288"/>
                  </a:lnTo>
                  <a:lnTo>
                    <a:pt x="546" y="292"/>
                  </a:lnTo>
                  <a:lnTo>
                    <a:pt x="546" y="294"/>
                  </a:lnTo>
                  <a:lnTo>
                    <a:pt x="545" y="296"/>
                  </a:lnTo>
                  <a:lnTo>
                    <a:pt x="544" y="299"/>
                  </a:lnTo>
                  <a:lnTo>
                    <a:pt x="543" y="302"/>
                  </a:lnTo>
                  <a:lnTo>
                    <a:pt x="542" y="305"/>
                  </a:lnTo>
                  <a:lnTo>
                    <a:pt x="539" y="307"/>
                  </a:lnTo>
                  <a:lnTo>
                    <a:pt x="539" y="313"/>
                  </a:lnTo>
                  <a:lnTo>
                    <a:pt x="539" y="313"/>
                  </a:lnTo>
                  <a:lnTo>
                    <a:pt x="537" y="314"/>
                  </a:lnTo>
                  <a:lnTo>
                    <a:pt x="535" y="318"/>
                  </a:lnTo>
                  <a:lnTo>
                    <a:pt x="533" y="319"/>
                  </a:lnTo>
                  <a:lnTo>
                    <a:pt x="529" y="320"/>
                  </a:lnTo>
                  <a:lnTo>
                    <a:pt x="528" y="323"/>
                  </a:lnTo>
                  <a:lnTo>
                    <a:pt x="526" y="325"/>
                  </a:lnTo>
                  <a:lnTo>
                    <a:pt x="525" y="328"/>
                  </a:lnTo>
                  <a:lnTo>
                    <a:pt x="522" y="331"/>
                  </a:lnTo>
                  <a:lnTo>
                    <a:pt x="522" y="333"/>
                  </a:lnTo>
                  <a:lnTo>
                    <a:pt x="521" y="336"/>
                  </a:lnTo>
                  <a:lnTo>
                    <a:pt x="520" y="339"/>
                  </a:lnTo>
                  <a:lnTo>
                    <a:pt x="518" y="341"/>
                  </a:lnTo>
                  <a:lnTo>
                    <a:pt x="517" y="344"/>
                  </a:lnTo>
                  <a:lnTo>
                    <a:pt x="517" y="347"/>
                  </a:lnTo>
                  <a:lnTo>
                    <a:pt x="516" y="349"/>
                  </a:lnTo>
                  <a:lnTo>
                    <a:pt x="516" y="352"/>
                  </a:lnTo>
                  <a:lnTo>
                    <a:pt x="516" y="353"/>
                  </a:lnTo>
                  <a:lnTo>
                    <a:pt x="514" y="355"/>
                  </a:lnTo>
                  <a:lnTo>
                    <a:pt x="511" y="357"/>
                  </a:lnTo>
                  <a:lnTo>
                    <a:pt x="510" y="359"/>
                  </a:lnTo>
                  <a:lnTo>
                    <a:pt x="509" y="362"/>
                  </a:lnTo>
                  <a:lnTo>
                    <a:pt x="508" y="365"/>
                  </a:lnTo>
                  <a:lnTo>
                    <a:pt x="506" y="367"/>
                  </a:lnTo>
                  <a:lnTo>
                    <a:pt x="506" y="370"/>
                  </a:lnTo>
                  <a:lnTo>
                    <a:pt x="506" y="373"/>
                  </a:lnTo>
                  <a:lnTo>
                    <a:pt x="505" y="375"/>
                  </a:lnTo>
                  <a:lnTo>
                    <a:pt x="504" y="378"/>
                  </a:lnTo>
                  <a:lnTo>
                    <a:pt x="504" y="380"/>
                  </a:lnTo>
                  <a:lnTo>
                    <a:pt x="503" y="383"/>
                  </a:lnTo>
                  <a:lnTo>
                    <a:pt x="504" y="386"/>
                  </a:lnTo>
                  <a:lnTo>
                    <a:pt x="504" y="388"/>
                  </a:lnTo>
                  <a:lnTo>
                    <a:pt x="504" y="389"/>
                  </a:lnTo>
                  <a:lnTo>
                    <a:pt x="504" y="391"/>
                  </a:lnTo>
                  <a:lnTo>
                    <a:pt x="503" y="392"/>
                  </a:lnTo>
                  <a:lnTo>
                    <a:pt x="501" y="393"/>
                  </a:lnTo>
                  <a:lnTo>
                    <a:pt x="499" y="396"/>
                  </a:lnTo>
                  <a:lnTo>
                    <a:pt x="495" y="396"/>
                  </a:lnTo>
                  <a:lnTo>
                    <a:pt x="488" y="396"/>
                  </a:lnTo>
                  <a:lnTo>
                    <a:pt x="486" y="396"/>
                  </a:lnTo>
                  <a:lnTo>
                    <a:pt x="483" y="396"/>
                  </a:lnTo>
                  <a:lnTo>
                    <a:pt x="480" y="397"/>
                  </a:lnTo>
                  <a:lnTo>
                    <a:pt x="477" y="398"/>
                  </a:lnTo>
                  <a:lnTo>
                    <a:pt x="475" y="399"/>
                  </a:lnTo>
                  <a:lnTo>
                    <a:pt x="473" y="400"/>
                  </a:lnTo>
                  <a:lnTo>
                    <a:pt x="469" y="402"/>
                  </a:lnTo>
                  <a:lnTo>
                    <a:pt x="467" y="405"/>
                  </a:lnTo>
                  <a:lnTo>
                    <a:pt x="465" y="408"/>
                  </a:lnTo>
                  <a:lnTo>
                    <a:pt x="461" y="410"/>
                  </a:lnTo>
                  <a:lnTo>
                    <a:pt x="461" y="409"/>
                  </a:lnTo>
                  <a:lnTo>
                    <a:pt x="459" y="410"/>
                  </a:lnTo>
                  <a:lnTo>
                    <a:pt x="456" y="410"/>
                  </a:lnTo>
                  <a:lnTo>
                    <a:pt x="453" y="410"/>
                  </a:lnTo>
                  <a:lnTo>
                    <a:pt x="453" y="413"/>
                  </a:lnTo>
                  <a:lnTo>
                    <a:pt x="457" y="412"/>
                  </a:lnTo>
                  <a:lnTo>
                    <a:pt x="456" y="415"/>
                  </a:lnTo>
                  <a:lnTo>
                    <a:pt x="456" y="417"/>
                  </a:lnTo>
                  <a:lnTo>
                    <a:pt x="453" y="415"/>
                  </a:lnTo>
                  <a:lnTo>
                    <a:pt x="451" y="413"/>
                  </a:lnTo>
                  <a:lnTo>
                    <a:pt x="449" y="413"/>
                  </a:lnTo>
                  <a:lnTo>
                    <a:pt x="445" y="409"/>
                  </a:lnTo>
                  <a:lnTo>
                    <a:pt x="443" y="408"/>
                  </a:lnTo>
                  <a:lnTo>
                    <a:pt x="443" y="406"/>
                  </a:lnTo>
                  <a:lnTo>
                    <a:pt x="443" y="402"/>
                  </a:lnTo>
                  <a:lnTo>
                    <a:pt x="440" y="404"/>
                  </a:lnTo>
                  <a:lnTo>
                    <a:pt x="440" y="406"/>
                  </a:lnTo>
                  <a:lnTo>
                    <a:pt x="436" y="407"/>
                  </a:lnTo>
                  <a:lnTo>
                    <a:pt x="434" y="405"/>
                  </a:lnTo>
                  <a:lnTo>
                    <a:pt x="437" y="402"/>
                  </a:lnTo>
                  <a:lnTo>
                    <a:pt x="437" y="402"/>
                  </a:lnTo>
                  <a:lnTo>
                    <a:pt x="437" y="400"/>
                  </a:lnTo>
                  <a:lnTo>
                    <a:pt x="435" y="397"/>
                  </a:lnTo>
                  <a:lnTo>
                    <a:pt x="433" y="399"/>
                  </a:lnTo>
                  <a:lnTo>
                    <a:pt x="431" y="400"/>
                  </a:lnTo>
                  <a:lnTo>
                    <a:pt x="427" y="401"/>
                  </a:lnTo>
                  <a:lnTo>
                    <a:pt x="431" y="404"/>
                  </a:lnTo>
                  <a:lnTo>
                    <a:pt x="427" y="404"/>
                  </a:lnTo>
                  <a:lnTo>
                    <a:pt x="427" y="405"/>
                  </a:lnTo>
                  <a:lnTo>
                    <a:pt x="424" y="407"/>
                  </a:lnTo>
                  <a:lnTo>
                    <a:pt x="422" y="408"/>
                  </a:lnTo>
                  <a:lnTo>
                    <a:pt x="419" y="410"/>
                  </a:lnTo>
                  <a:lnTo>
                    <a:pt x="416" y="413"/>
                  </a:lnTo>
                  <a:lnTo>
                    <a:pt x="416" y="413"/>
                  </a:lnTo>
                  <a:lnTo>
                    <a:pt x="412" y="412"/>
                  </a:lnTo>
                  <a:lnTo>
                    <a:pt x="410" y="409"/>
                  </a:lnTo>
                  <a:lnTo>
                    <a:pt x="408" y="408"/>
                  </a:lnTo>
                  <a:lnTo>
                    <a:pt x="405" y="407"/>
                  </a:lnTo>
                  <a:lnTo>
                    <a:pt x="402" y="405"/>
                  </a:lnTo>
                  <a:lnTo>
                    <a:pt x="400" y="405"/>
                  </a:lnTo>
                  <a:lnTo>
                    <a:pt x="397" y="405"/>
                  </a:lnTo>
                  <a:lnTo>
                    <a:pt x="394" y="404"/>
                  </a:lnTo>
                  <a:lnTo>
                    <a:pt x="391" y="404"/>
                  </a:lnTo>
                  <a:lnTo>
                    <a:pt x="389" y="406"/>
                  </a:lnTo>
                  <a:lnTo>
                    <a:pt x="386" y="404"/>
                  </a:lnTo>
                  <a:lnTo>
                    <a:pt x="383" y="401"/>
                  </a:lnTo>
                  <a:lnTo>
                    <a:pt x="381" y="400"/>
                  </a:lnTo>
                  <a:lnTo>
                    <a:pt x="378" y="400"/>
                  </a:lnTo>
                  <a:lnTo>
                    <a:pt x="375" y="399"/>
                  </a:lnTo>
                  <a:lnTo>
                    <a:pt x="373" y="398"/>
                  </a:lnTo>
                  <a:lnTo>
                    <a:pt x="372" y="395"/>
                  </a:lnTo>
                  <a:lnTo>
                    <a:pt x="369" y="392"/>
                  </a:lnTo>
                  <a:lnTo>
                    <a:pt x="368" y="391"/>
                  </a:lnTo>
                  <a:lnTo>
                    <a:pt x="366" y="389"/>
                  </a:lnTo>
                  <a:lnTo>
                    <a:pt x="365" y="387"/>
                  </a:lnTo>
                  <a:lnTo>
                    <a:pt x="364" y="383"/>
                  </a:lnTo>
                  <a:lnTo>
                    <a:pt x="366" y="381"/>
                  </a:lnTo>
                  <a:lnTo>
                    <a:pt x="366" y="380"/>
                  </a:lnTo>
                  <a:lnTo>
                    <a:pt x="366" y="378"/>
                  </a:lnTo>
                  <a:lnTo>
                    <a:pt x="365" y="374"/>
                  </a:lnTo>
                  <a:lnTo>
                    <a:pt x="364" y="372"/>
                  </a:lnTo>
                  <a:lnTo>
                    <a:pt x="363" y="370"/>
                  </a:lnTo>
                  <a:lnTo>
                    <a:pt x="360" y="366"/>
                  </a:lnTo>
                  <a:lnTo>
                    <a:pt x="357" y="364"/>
                  </a:lnTo>
                  <a:lnTo>
                    <a:pt x="355" y="362"/>
                  </a:lnTo>
                  <a:lnTo>
                    <a:pt x="357" y="364"/>
                  </a:lnTo>
                  <a:lnTo>
                    <a:pt x="360" y="366"/>
                  </a:lnTo>
                  <a:lnTo>
                    <a:pt x="362" y="369"/>
                  </a:lnTo>
                  <a:lnTo>
                    <a:pt x="364" y="371"/>
                  </a:lnTo>
                  <a:lnTo>
                    <a:pt x="362" y="367"/>
                  </a:lnTo>
                  <a:lnTo>
                    <a:pt x="359" y="365"/>
                  </a:lnTo>
                  <a:lnTo>
                    <a:pt x="357" y="363"/>
                  </a:lnTo>
                  <a:lnTo>
                    <a:pt x="356" y="361"/>
                  </a:lnTo>
                  <a:lnTo>
                    <a:pt x="358" y="361"/>
                  </a:lnTo>
                  <a:lnTo>
                    <a:pt x="359" y="358"/>
                  </a:lnTo>
                  <a:lnTo>
                    <a:pt x="357" y="357"/>
                  </a:lnTo>
                  <a:lnTo>
                    <a:pt x="355" y="358"/>
                  </a:lnTo>
                  <a:lnTo>
                    <a:pt x="352" y="361"/>
                  </a:lnTo>
                  <a:lnTo>
                    <a:pt x="350" y="361"/>
                  </a:lnTo>
                  <a:lnTo>
                    <a:pt x="347" y="362"/>
                  </a:lnTo>
                  <a:lnTo>
                    <a:pt x="345" y="362"/>
                  </a:lnTo>
                  <a:lnTo>
                    <a:pt x="342" y="363"/>
                  </a:lnTo>
                  <a:lnTo>
                    <a:pt x="343" y="359"/>
                  </a:lnTo>
                  <a:lnTo>
                    <a:pt x="347" y="357"/>
                  </a:lnTo>
                  <a:lnTo>
                    <a:pt x="347" y="355"/>
                  </a:lnTo>
                  <a:lnTo>
                    <a:pt x="347" y="352"/>
                  </a:lnTo>
                  <a:lnTo>
                    <a:pt x="347" y="349"/>
                  </a:lnTo>
                  <a:lnTo>
                    <a:pt x="347" y="347"/>
                  </a:lnTo>
                  <a:lnTo>
                    <a:pt x="345" y="344"/>
                  </a:lnTo>
                  <a:lnTo>
                    <a:pt x="343" y="341"/>
                  </a:lnTo>
                  <a:lnTo>
                    <a:pt x="341" y="341"/>
                  </a:lnTo>
                  <a:lnTo>
                    <a:pt x="339" y="344"/>
                  </a:lnTo>
                  <a:lnTo>
                    <a:pt x="339" y="346"/>
                  </a:lnTo>
                  <a:lnTo>
                    <a:pt x="339" y="347"/>
                  </a:lnTo>
                  <a:lnTo>
                    <a:pt x="339" y="349"/>
                  </a:lnTo>
                  <a:lnTo>
                    <a:pt x="338" y="352"/>
                  </a:lnTo>
                  <a:lnTo>
                    <a:pt x="335" y="355"/>
                  </a:lnTo>
                  <a:lnTo>
                    <a:pt x="333" y="354"/>
                  </a:lnTo>
                  <a:lnTo>
                    <a:pt x="330" y="355"/>
                  </a:lnTo>
                  <a:lnTo>
                    <a:pt x="325" y="356"/>
                  </a:lnTo>
                  <a:lnTo>
                    <a:pt x="326" y="354"/>
                  </a:lnTo>
                  <a:lnTo>
                    <a:pt x="328" y="350"/>
                  </a:lnTo>
                  <a:lnTo>
                    <a:pt x="330" y="350"/>
                  </a:lnTo>
                  <a:lnTo>
                    <a:pt x="333" y="349"/>
                  </a:lnTo>
                  <a:lnTo>
                    <a:pt x="333" y="347"/>
                  </a:lnTo>
                  <a:lnTo>
                    <a:pt x="333" y="344"/>
                  </a:lnTo>
                  <a:lnTo>
                    <a:pt x="333" y="344"/>
                  </a:lnTo>
                  <a:lnTo>
                    <a:pt x="333" y="340"/>
                  </a:lnTo>
                  <a:lnTo>
                    <a:pt x="334" y="338"/>
                  </a:lnTo>
                  <a:lnTo>
                    <a:pt x="335" y="335"/>
                  </a:lnTo>
                  <a:lnTo>
                    <a:pt x="337" y="332"/>
                  </a:lnTo>
                  <a:lnTo>
                    <a:pt x="340" y="330"/>
                  </a:lnTo>
                  <a:lnTo>
                    <a:pt x="339" y="327"/>
                  </a:lnTo>
                  <a:lnTo>
                    <a:pt x="339" y="324"/>
                  </a:lnTo>
                  <a:lnTo>
                    <a:pt x="341" y="323"/>
                  </a:lnTo>
                  <a:lnTo>
                    <a:pt x="340" y="320"/>
                  </a:lnTo>
                  <a:lnTo>
                    <a:pt x="339" y="318"/>
                  </a:lnTo>
                  <a:lnTo>
                    <a:pt x="338" y="315"/>
                  </a:lnTo>
                  <a:lnTo>
                    <a:pt x="337" y="316"/>
                  </a:lnTo>
                  <a:lnTo>
                    <a:pt x="338" y="319"/>
                  </a:lnTo>
                  <a:lnTo>
                    <a:pt x="337" y="321"/>
                  </a:lnTo>
                  <a:lnTo>
                    <a:pt x="334" y="323"/>
                  </a:lnTo>
                  <a:lnTo>
                    <a:pt x="332" y="325"/>
                  </a:lnTo>
                  <a:lnTo>
                    <a:pt x="332" y="328"/>
                  </a:lnTo>
                  <a:lnTo>
                    <a:pt x="330" y="331"/>
                  </a:lnTo>
                  <a:lnTo>
                    <a:pt x="328" y="332"/>
                  </a:lnTo>
                  <a:lnTo>
                    <a:pt x="325" y="333"/>
                  </a:lnTo>
                  <a:lnTo>
                    <a:pt x="322" y="335"/>
                  </a:lnTo>
                  <a:lnTo>
                    <a:pt x="320" y="337"/>
                  </a:lnTo>
                  <a:lnTo>
                    <a:pt x="317" y="339"/>
                  </a:lnTo>
                  <a:lnTo>
                    <a:pt x="316" y="341"/>
                  </a:lnTo>
                  <a:lnTo>
                    <a:pt x="314" y="344"/>
                  </a:lnTo>
                  <a:lnTo>
                    <a:pt x="312" y="347"/>
                  </a:lnTo>
                  <a:lnTo>
                    <a:pt x="311" y="349"/>
                  </a:lnTo>
                  <a:lnTo>
                    <a:pt x="313" y="349"/>
                  </a:lnTo>
                  <a:lnTo>
                    <a:pt x="313" y="353"/>
                  </a:lnTo>
                  <a:lnTo>
                    <a:pt x="311" y="350"/>
                  </a:lnTo>
                  <a:lnTo>
                    <a:pt x="308" y="352"/>
                  </a:lnTo>
                  <a:lnTo>
                    <a:pt x="306" y="348"/>
                  </a:lnTo>
                  <a:lnTo>
                    <a:pt x="304" y="346"/>
                  </a:lnTo>
                  <a:lnTo>
                    <a:pt x="303" y="344"/>
                  </a:lnTo>
                  <a:lnTo>
                    <a:pt x="305" y="344"/>
                  </a:lnTo>
                  <a:lnTo>
                    <a:pt x="304" y="341"/>
                  </a:lnTo>
                  <a:lnTo>
                    <a:pt x="303" y="339"/>
                  </a:lnTo>
                  <a:lnTo>
                    <a:pt x="303" y="336"/>
                  </a:lnTo>
                  <a:lnTo>
                    <a:pt x="303" y="336"/>
                  </a:lnTo>
                  <a:lnTo>
                    <a:pt x="299" y="333"/>
                  </a:lnTo>
                  <a:lnTo>
                    <a:pt x="297" y="330"/>
                  </a:lnTo>
                  <a:lnTo>
                    <a:pt x="297" y="328"/>
                  </a:lnTo>
                  <a:lnTo>
                    <a:pt x="295" y="325"/>
                  </a:lnTo>
                  <a:lnTo>
                    <a:pt x="291" y="323"/>
                  </a:lnTo>
                  <a:lnTo>
                    <a:pt x="289" y="323"/>
                  </a:lnTo>
                  <a:lnTo>
                    <a:pt x="287" y="320"/>
                  </a:lnTo>
                  <a:lnTo>
                    <a:pt x="289" y="318"/>
                  </a:lnTo>
                  <a:lnTo>
                    <a:pt x="289" y="318"/>
                  </a:lnTo>
                  <a:lnTo>
                    <a:pt x="289" y="314"/>
                  </a:lnTo>
                  <a:lnTo>
                    <a:pt x="287" y="313"/>
                  </a:lnTo>
                  <a:lnTo>
                    <a:pt x="283" y="313"/>
                  </a:lnTo>
                  <a:lnTo>
                    <a:pt x="283" y="311"/>
                  </a:lnTo>
                  <a:lnTo>
                    <a:pt x="281" y="307"/>
                  </a:lnTo>
                  <a:lnTo>
                    <a:pt x="278" y="309"/>
                  </a:lnTo>
                  <a:lnTo>
                    <a:pt x="275" y="310"/>
                  </a:lnTo>
                  <a:lnTo>
                    <a:pt x="270" y="306"/>
                  </a:lnTo>
                  <a:lnTo>
                    <a:pt x="269" y="305"/>
                  </a:lnTo>
                  <a:lnTo>
                    <a:pt x="266" y="305"/>
                  </a:lnTo>
                  <a:lnTo>
                    <a:pt x="263" y="306"/>
                  </a:lnTo>
                  <a:lnTo>
                    <a:pt x="261" y="306"/>
                  </a:lnTo>
                  <a:lnTo>
                    <a:pt x="258" y="304"/>
                  </a:lnTo>
                  <a:lnTo>
                    <a:pt x="255" y="302"/>
                  </a:lnTo>
                  <a:lnTo>
                    <a:pt x="253" y="301"/>
                  </a:lnTo>
                  <a:lnTo>
                    <a:pt x="249" y="299"/>
                  </a:lnTo>
                  <a:lnTo>
                    <a:pt x="247" y="298"/>
                  </a:lnTo>
                  <a:lnTo>
                    <a:pt x="245" y="299"/>
                  </a:lnTo>
                  <a:lnTo>
                    <a:pt x="241" y="301"/>
                  </a:lnTo>
                  <a:lnTo>
                    <a:pt x="239" y="299"/>
                  </a:lnTo>
                  <a:lnTo>
                    <a:pt x="236" y="299"/>
                  </a:lnTo>
                  <a:lnTo>
                    <a:pt x="234" y="299"/>
                  </a:lnTo>
                  <a:lnTo>
                    <a:pt x="228" y="301"/>
                  </a:lnTo>
                  <a:lnTo>
                    <a:pt x="226" y="301"/>
                  </a:lnTo>
                  <a:lnTo>
                    <a:pt x="223" y="301"/>
                  </a:lnTo>
                  <a:lnTo>
                    <a:pt x="220" y="301"/>
                  </a:lnTo>
                  <a:lnTo>
                    <a:pt x="218" y="302"/>
                  </a:lnTo>
                  <a:lnTo>
                    <a:pt x="214" y="303"/>
                  </a:lnTo>
                  <a:lnTo>
                    <a:pt x="209" y="305"/>
                  </a:lnTo>
                  <a:lnTo>
                    <a:pt x="204" y="307"/>
                  </a:lnTo>
                  <a:lnTo>
                    <a:pt x="201" y="309"/>
                  </a:lnTo>
                  <a:lnTo>
                    <a:pt x="198" y="309"/>
                  </a:lnTo>
                  <a:lnTo>
                    <a:pt x="195" y="310"/>
                  </a:lnTo>
                  <a:lnTo>
                    <a:pt x="192" y="311"/>
                  </a:lnTo>
                  <a:lnTo>
                    <a:pt x="189" y="311"/>
                  </a:lnTo>
                  <a:lnTo>
                    <a:pt x="186" y="311"/>
                  </a:lnTo>
                  <a:lnTo>
                    <a:pt x="184" y="311"/>
                  </a:lnTo>
                  <a:lnTo>
                    <a:pt x="180" y="311"/>
                  </a:lnTo>
                  <a:lnTo>
                    <a:pt x="178" y="310"/>
                  </a:lnTo>
                  <a:lnTo>
                    <a:pt x="176" y="311"/>
                  </a:lnTo>
                  <a:lnTo>
                    <a:pt x="173" y="312"/>
                  </a:lnTo>
                  <a:lnTo>
                    <a:pt x="171" y="313"/>
                  </a:lnTo>
                  <a:lnTo>
                    <a:pt x="168" y="315"/>
                  </a:lnTo>
                  <a:lnTo>
                    <a:pt x="166" y="316"/>
                  </a:lnTo>
                  <a:lnTo>
                    <a:pt x="163" y="318"/>
                  </a:lnTo>
                  <a:lnTo>
                    <a:pt x="160" y="319"/>
                  </a:lnTo>
                  <a:lnTo>
                    <a:pt x="158" y="320"/>
                  </a:lnTo>
                  <a:lnTo>
                    <a:pt x="154" y="321"/>
                  </a:lnTo>
                  <a:lnTo>
                    <a:pt x="152" y="322"/>
                  </a:lnTo>
                  <a:lnTo>
                    <a:pt x="150" y="324"/>
                  </a:lnTo>
                  <a:lnTo>
                    <a:pt x="149" y="328"/>
                  </a:lnTo>
                  <a:lnTo>
                    <a:pt x="149" y="330"/>
                  </a:lnTo>
                  <a:lnTo>
                    <a:pt x="145" y="332"/>
                  </a:lnTo>
                  <a:lnTo>
                    <a:pt x="145" y="332"/>
                  </a:lnTo>
                  <a:lnTo>
                    <a:pt x="143" y="335"/>
                  </a:lnTo>
                  <a:lnTo>
                    <a:pt x="139" y="335"/>
                  </a:lnTo>
                  <a:lnTo>
                    <a:pt x="137" y="337"/>
                  </a:lnTo>
                  <a:lnTo>
                    <a:pt x="134" y="335"/>
                  </a:lnTo>
                  <a:lnTo>
                    <a:pt x="132" y="335"/>
                  </a:lnTo>
                  <a:lnTo>
                    <a:pt x="129" y="336"/>
                  </a:lnTo>
                  <a:lnTo>
                    <a:pt x="126" y="336"/>
                  </a:lnTo>
                  <a:lnTo>
                    <a:pt x="124" y="337"/>
                  </a:lnTo>
                  <a:lnTo>
                    <a:pt x="121" y="335"/>
                  </a:lnTo>
                  <a:lnTo>
                    <a:pt x="119" y="335"/>
                  </a:lnTo>
                  <a:lnTo>
                    <a:pt x="117" y="335"/>
                  </a:lnTo>
                  <a:lnTo>
                    <a:pt x="115" y="335"/>
                  </a:lnTo>
                  <a:lnTo>
                    <a:pt x="112" y="335"/>
                  </a:lnTo>
                  <a:lnTo>
                    <a:pt x="109" y="335"/>
                  </a:lnTo>
                  <a:lnTo>
                    <a:pt x="107" y="335"/>
                  </a:lnTo>
                  <a:lnTo>
                    <a:pt x="104" y="335"/>
                  </a:lnTo>
                  <a:lnTo>
                    <a:pt x="101" y="336"/>
                  </a:lnTo>
                  <a:lnTo>
                    <a:pt x="99" y="336"/>
                  </a:lnTo>
                  <a:lnTo>
                    <a:pt x="95" y="336"/>
                  </a:lnTo>
                  <a:lnTo>
                    <a:pt x="94" y="336"/>
                  </a:lnTo>
                  <a:lnTo>
                    <a:pt x="91" y="337"/>
                  </a:lnTo>
                  <a:lnTo>
                    <a:pt x="89" y="339"/>
                  </a:lnTo>
                  <a:lnTo>
                    <a:pt x="86" y="341"/>
                  </a:lnTo>
                  <a:lnTo>
                    <a:pt x="85" y="344"/>
                  </a:lnTo>
                  <a:lnTo>
                    <a:pt x="83" y="345"/>
                  </a:lnTo>
                  <a:lnTo>
                    <a:pt x="79" y="344"/>
                  </a:lnTo>
                  <a:lnTo>
                    <a:pt x="77" y="345"/>
                  </a:lnTo>
                  <a:lnTo>
                    <a:pt x="74" y="347"/>
                  </a:lnTo>
                  <a:lnTo>
                    <a:pt x="72" y="350"/>
                  </a:lnTo>
                  <a:lnTo>
                    <a:pt x="69" y="352"/>
                  </a:lnTo>
                  <a:lnTo>
                    <a:pt x="67" y="353"/>
                  </a:lnTo>
                  <a:lnTo>
                    <a:pt x="65" y="353"/>
                  </a:lnTo>
                  <a:lnTo>
                    <a:pt x="65" y="354"/>
                  </a:lnTo>
                  <a:lnTo>
                    <a:pt x="61" y="353"/>
                  </a:lnTo>
                  <a:lnTo>
                    <a:pt x="59" y="354"/>
                  </a:lnTo>
                  <a:lnTo>
                    <a:pt x="57" y="353"/>
                  </a:lnTo>
                  <a:lnTo>
                    <a:pt x="53" y="353"/>
                  </a:lnTo>
                  <a:lnTo>
                    <a:pt x="51" y="353"/>
                  </a:lnTo>
                  <a:lnTo>
                    <a:pt x="48" y="353"/>
                  </a:lnTo>
                  <a:lnTo>
                    <a:pt x="45" y="352"/>
                  </a:lnTo>
                  <a:lnTo>
                    <a:pt x="43" y="350"/>
                  </a:lnTo>
                  <a:lnTo>
                    <a:pt x="40" y="349"/>
                  </a:lnTo>
                  <a:lnTo>
                    <a:pt x="38" y="347"/>
                  </a:lnTo>
                  <a:lnTo>
                    <a:pt x="35" y="345"/>
                  </a:lnTo>
                  <a:lnTo>
                    <a:pt x="32" y="342"/>
                  </a:lnTo>
                  <a:lnTo>
                    <a:pt x="30" y="341"/>
                  </a:lnTo>
                  <a:lnTo>
                    <a:pt x="26" y="341"/>
                  </a:lnTo>
                  <a:lnTo>
                    <a:pt x="25" y="339"/>
                  </a:lnTo>
                  <a:lnTo>
                    <a:pt x="25" y="337"/>
                  </a:lnTo>
                  <a:lnTo>
                    <a:pt x="25" y="333"/>
                  </a:lnTo>
                  <a:lnTo>
                    <a:pt x="25" y="331"/>
                  </a:lnTo>
                  <a:lnTo>
                    <a:pt x="28" y="331"/>
                  </a:lnTo>
                  <a:lnTo>
                    <a:pt x="28" y="331"/>
                  </a:lnTo>
                  <a:lnTo>
                    <a:pt x="31" y="330"/>
                  </a:lnTo>
                  <a:lnTo>
                    <a:pt x="33" y="328"/>
                  </a:lnTo>
                  <a:lnTo>
                    <a:pt x="35" y="325"/>
                  </a:lnTo>
                  <a:lnTo>
                    <a:pt x="34" y="322"/>
                  </a:lnTo>
                  <a:lnTo>
                    <a:pt x="34" y="320"/>
                  </a:lnTo>
                  <a:lnTo>
                    <a:pt x="34" y="318"/>
                  </a:lnTo>
                  <a:lnTo>
                    <a:pt x="34" y="314"/>
                  </a:lnTo>
                  <a:lnTo>
                    <a:pt x="34" y="318"/>
                  </a:lnTo>
                  <a:lnTo>
                    <a:pt x="35" y="314"/>
                  </a:lnTo>
                  <a:lnTo>
                    <a:pt x="35" y="312"/>
                  </a:lnTo>
                  <a:lnTo>
                    <a:pt x="35" y="310"/>
                  </a:lnTo>
                  <a:lnTo>
                    <a:pt x="35" y="306"/>
                  </a:lnTo>
                  <a:lnTo>
                    <a:pt x="35" y="304"/>
                  </a:lnTo>
                  <a:lnTo>
                    <a:pt x="35" y="301"/>
                  </a:lnTo>
                  <a:lnTo>
                    <a:pt x="33" y="298"/>
                  </a:lnTo>
                  <a:lnTo>
                    <a:pt x="32" y="296"/>
                  </a:lnTo>
                  <a:lnTo>
                    <a:pt x="31" y="293"/>
                  </a:lnTo>
                  <a:lnTo>
                    <a:pt x="30" y="290"/>
                  </a:lnTo>
                  <a:lnTo>
                    <a:pt x="27" y="287"/>
                  </a:lnTo>
                  <a:lnTo>
                    <a:pt x="26" y="285"/>
                  </a:lnTo>
                  <a:lnTo>
                    <a:pt x="26" y="282"/>
                  </a:lnTo>
                  <a:lnTo>
                    <a:pt x="25" y="279"/>
                  </a:lnTo>
                  <a:lnTo>
                    <a:pt x="25" y="277"/>
                  </a:lnTo>
                  <a:lnTo>
                    <a:pt x="25" y="276"/>
                  </a:lnTo>
                  <a:lnTo>
                    <a:pt x="25" y="270"/>
                  </a:lnTo>
                  <a:lnTo>
                    <a:pt x="25" y="268"/>
                  </a:lnTo>
                  <a:lnTo>
                    <a:pt x="24" y="265"/>
                  </a:lnTo>
                  <a:lnTo>
                    <a:pt x="23" y="262"/>
                  </a:lnTo>
                  <a:lnTo>
                    <a:pt x="21" y="260"/>
                  </a:lnTo>
                  <a:lnTo>
                    <a:pt x="19" y="258"/>
                  </a:lnTo>
                  <a:lnTo>
                    <a:pt x="19" y="255"/>
                  </a:lnTo>
                  <a:lnTo>
                    <a:pt x="17" y="252"/>
                  </a:lnTo>
                  <a:lnTo>
                    <a:pt x="16" y="250"/>
                  </a:lnTo>
                  <a:lnTo>
                    <a:pt x="14" y="247"/>
                  </a:lnTo>
                  <a:lnTo>
                    <a:pt x="13" y="244"/>
                  </a:lnTo>
                  <a:lnTo>
                    <a:pt x="14" y="242"/>
                  </a:lnTo>
                  <a:lnTo>
                    <a:pt x="13" y="239"/>
                  </a:lnTo>
                  <a:lnTo>
                    <a:pt x="13" y="236"/>
                  </a:lnTo>
                  <a:lnTo>
                    <a:pt x="10" y="234"/>
                  </a:lnTo>
                  <a:lnTo>
                    <a:pt x="9" y="230"/>
                  </a:lnTo>
                  <a:lnTo>
                    <a:pt x="7" y="228"/>
                  </a:lnTo>
                  <a:lnTo>
                    <a:pt x="5" y="226"/>
                  </a:lnTo>
                  <a:lnTo>
                    <a:pt x="5" y="225"/>
                  </a:lnTo>
                  <a:lnTo>
                    <a:pt x="2" y="222"/>
                  </a:lnTo>
                  <a:lnTo>
                    <a:pt x="0" y="219"/>
                  </a:lnTo>
                  <a:lnTo>
                    <a:pt x="4" y="222"/>
                  </a:lnTo>
                  <a:lnTo>
                    <a:pt x="4" y="219"/>
                  </a:lnTo>
                  <a:lnTo>
                    <a:pt x="5" y="222"/>
                  </a:lnTo>
                  <a:lnTo>
                    <a:pt x="6" y="225"/>
                  </a:lnTo>
                  <a:lnTo>
                    <a:pt x="8" y="226"/>
                  </a:lnTo>
                  <a:lnTo>
                    <a:pt x="10" y="222"/>
                  </a:lnTo>
                  <a:lnTo>
                    <a:pt x="8" y="220"/>
                  </a:lnTo>
                  <a:lnTo>
                    <a:pt x="6" y="217"/>
                  </a:lnTo>
                  <a:lnTo>
                    <a:pt x="5" y="215"/>
                  </a:lnTo>
                  <a:lnTo>
                    <a:pt x="4" y="212"/>
                  </a:lnTo>
                  <a:lnTo>
                    <a:pt x="6" y="212"/>
                  </a:lnTo>
                  <a:lnTo>
                    <a:pt x="8" y="216"/>
                  </a:lnTo>
                  <a:lnTo>
                    <a:pt x="8" y="218"/>
                  </a:lnTo>
                  <a:lnTo>
                    <a:pt x="8" y="219"/>
                  </a:lnTo>
                  <a:lnTo>
                    <a:pt x="10" y="217"/>
                  </a:lnTo>
                  <a:lnTo>
                    <a:pt x="10" y="219"/>
                  </a:lnTo>
                  <a:lnTo>
                    <a:pt x="11" y="221"/>
                  </a:lnTo>
                  <a:lnTo>
                    <a:pt x="15" y="222"/>
                  </a:lnTo>
                  <a:lnTo>
                    <a:pt x="14" y="219"/>
                  </a:lnTo>
                  <a:lnTo>
                    <a:pt x="15" y="217"/>
                  </a:lnTo>
                  <a:lnTo>
                    <a:pt x="15" y="215"/>
                  </a:lnTo>
                  <a:lnTo>
                    <a:pt x="13" y="211"/>
                  </a:lnTo>
                  <a:lnTo>
                    <a:pt x="11" y="209"/>
                  </a:lnTo>
                  <a:lnTo>
                    <a:pt x="9" y="207"/>
                  </a:lnTo>
                  <a:lnTo>
                    <a:pt x="8" y="203"/>
                  </a:lnTo>
                  <a:lnTo>
                    <a:pt x="7" y="201"/>
                  </a:lnTo>
                  <a:lnTo>
                    <a:pt x="7" y="201"/>
                  </a:lnTo>
                  <a:lnTo>
                    <a:pt x="6" y="198"/>
                  </a:lnTo>
                  <a:lnTo>
                    <a:pt x="4" y="195"/>
                  </a:lnTo>
                  <a:lnTo>
                    <a:pt x="4" y="192"/>
                  </a:lnTo>
                  <a:lnTo>
                    <a:pt x="4" y="190"/>
                  </a:lnTo>
                  <a:lnTo>
                    <a:pt x="5" y="187"/>
                  </a:lnTo>
                  <a:lnTo>
                    <a:pt x="5" y="184"/>
                  </a:lnTo>
                  <a:lnTo>
                    <a:pt x="7" y="182"/>
                  </a:lnTo>
                  <a:lnTo>
                    <a:pt x="8" y="179"/>
                  </a:lnTo>
                  <a:lnTo>
                    <a:pt x="8" y="176"/>
                  </a:lnTo>
                  <a:lnTo>
                    <a:pt x="9" y="174"/>
                  </a:lnTo>
                  <a:lnTo>
                    <a:pt x="8" y="170"/>
                  </a:lnTo>
                  <a:lnTo>
                    <a:pt x="7" y="168"/>
                  </a:lnTo>
                  <a:lnTo>
                    <a:pt x="8" y="167"/>
                  </a:lnTo>
                  <a:lnTo>
                    <a:pt x="9" y="164"/>
                  </a:lnTo>
                  <a:lnTo>
                    <a:pt x="10" y="161"/>
                  </a:lnTo>
                  <a:lnTo>
                    <a:pt x="10" y="158"/>
                  </a:lnTo>
                  <a:lnTo>
                    <a:pt x="14" y="156"/>
                  </a:lnTo>
                  <a:lnTo>
                    <a:pt x="14" y="159"/>
                  </a:lnTo>
                  <a:lnTo>
                    <a:pt x="13" y="161"/>
                  </a:lnTo>
                  <a:lnTo>
                    <a:pt x="14" y="165"/>
                  </a:lnTo>
                  <a:lnTo>
                    <a:pt x="16" y="166"/>
                  </a:lnTo>
                  <a:lnTo>
                    <a:pt x="17" y="164"/>
                  </a:lnTo>
                  <a:lnTo>
                    <a:pt x="18" y="160"/>
                  </a:lnTo>
                  <a:lnTo>
                    <a:pt x="19" y="159"/>
                  </a:lnTo>
                  <a:lnTo>
                    <a:pt x="21" y="157"/>
                  </a:lnTo>
                  <a:lnTo>
                    <a:pt x="23" y="156"/>
                  </a:lnTo>
                  <a:lnTo>
                    <a:pt x="24" y="154"/>
                  </a:lnTo>
                  <a:lnTo>
                    <a:pt x="27" y="153"/>
                  </a:lnTo>
                  <a:lnTo>
                    <a:pt x="30" y="152"/>
                  </a:lnTo>
                  <a:lnTo>
                    <a:pt x="33" y="151"/>
                  </a:lnTo>
                  <a:lnTo>
                    <a:pt x="35" y="149"/>
                  </a:lnTo>
                  <a:lnTo>
                    <a:pt x="38" y="145"/>
                  </a:lnTo>
                  <a:lnTo>
                    <a:pt x="40" y="144"/>
                  </a:lnTo>
                  <a:lnTo>
                    <a:pt x="43" y="142"/>
                  </a:lnTo>
                  <a:lnTo>
                    <a:pt x="45" y="142"/>
                  </a:lnTo>
                  <a:lnTo>
                    <a:pt x="49" y="140"/>
                  </a:lnTo>
                  <a:lnTo>
                    <a:pt x="51" y="140"/>
                  </a:lnTo>
                  <a:lnTo>
                    <a:pt x="55" y="139"/>
                  </a:lnTo>
                  <a:lnTo>
                    <a:pt x="57" y="141"/>
                  </a:lnTo>
                  <a:lnTo>
                    <a:pt x="59" y="140"/>
                  </a:lnTo>
                  <a:lnTo>
                    <a:pt x="62" y="140"/>
                  </a:lnTo>
                  <a:lnTo>
                    <a:pt x="65" y="139"/>
                  </a:lnTo>
                  <a:lnTo>
                    <a:pt x="67" y="136"/>
                  </a:lnTo>
                  <a:lnTo>
                    <a:pt x="69" y="135"/>
                  </a:lnTo>
                  <a:lnTo>
                    <a:pt x="73" y="135"/>
                  </a:lnTo>
                  <a:lnTo>
                    <a:pt x="74" y="134"/>
                  </a:lnTo>
                  <a:lnTo>
                    <a:pt x="77" y="134"/>
                  </a:lnTo>
                  <a:lnTo>
                    <a:pt x="79" y="132"/>
                  </a:lnTo>
                  <a:lnTo>
                    <a:pt x="82" y="130"/>
                  </a:lnTo>
                  <a:lnTo>
                    <a:pt x="86" y="130"/>
                  </a:lnTo>
                  <a:lnTo>
                    <a:pt x="89" y="131"/>
                  </a:lnTo>
                  <a:lnTo>
                    <a:pt x="91" y="130"/>
                  </a:lnTo>
                  <a:lnTo>
                    <a:pt x="93" y="130"/>
                  </a:lnTo>
                  <a:lnTo>
                    <a:pt x="94" y="130"/>
                  </a:lnTo>
                  <a:lnTo>
                    <a:pt x="96" y="128"/>
                  </a:lnTo>
                  <a:lnTo>
                    <a:pt x="99" y="128"/>
                  </a:lnTo>
                  <a:lnTo>
                    <a:pt x="102" y="127"/>
                  </a:lnTo>
                  <a:lnTo>
                    <a:pt x="104" y="126"/>
                  </a:lnTo>
                  <a:lnTo>
                    <a:pt x="108" y="125"/>
                  </a:lnTo>
                  <a:lnTo>
                    <a:pt x="110" y="123"/>
                  </a:lnTo>
                  <a:lnTo>
                    <a:pt x="112" y="121"/>
                  </a:lnTo>
                  <a:lnTo>
                    <a:pt x="115" y="117"/>
                  </a:lnTo>
                  <a:lnTo>
                    <a:pt x="116" y="115"/>
                  </a:lnTo>
                  <a:lnTo>
                    <a:pt x="116" y="111"/>
                  </a:lnTo>
                  <a:lnTo>
                    <a:pt x="118" y="111"/>
                  </a:lnTo>
                  <a:lnTo>
                    <a:pt x="119" y="108"/>
                  </a:lnTo>
                  <a:lnTo>
                    <a:pt x="121" y="108"/>
                  </a:lnTo>
                  <a:lnTo>
                    <a:pt x="124" y="105"/>
                  </a:lnTo>
                  <a:lnTo>
                    <a:pt x="126" y="102"/>
                  </a:lnTo>
                  <a:lnTo>
                    <a:pt x="124" y="101"/>
                  </a:lnTo>
                  <a:lnTo>
                    <a:pt x="124" y="99"/>
                  </a:lnTo>
                  <a:lnTo>
                    <a:pt x="124" y="96"/>
                  </a:lnTo>
                  <a:lnTo>
                    <a:pt x="124" y="93"/>
                  </a:lnTo>
                  <a:lnTo>
                    <a:pt x="125" y="90"/>
                  </a:lnTo>
                  <a:lnTo>
                    <a:pt x="126" y="88"/>
                  </a:lnTo>
                  <a:lnTo>
                    <a:pt x="128" y="87"/>
                  </a:lnTo>
                  <a:lnTo>
                    <a:pt x="130" y="84"/>
                  </a:lnTo>
                  <a:lnTo>
                    <a:pt x="132" y="82"/>
                  </a:lnTo>
                  <a:lnTo>
                    <a:pt x="134" y="80"/>
                  </a:lnTo>
                  <a:lnTo>
                    <a:pt x="135" y="82"/>
                  </a:lnTo>
                  <a:lnTo>
                    <a:pt x="136" y="84"/>
                  </a:lnTo>
                  <a:lnTo>
                    <a:pt x="138" y="88"/>
                  </a:lnTo>
                  <a:lnTo>
                    <a:pt x="139" y="90"/>
                  </a:lnTo>
                  <a:lnTo>
                    <a:pt x="141" y="92"/>
                  </a:lnTo>
                  <a:lnTo>
                    <a:pt x="143" y="96"/>
                  </a:lnTo>
                  <a:lnTo>
                    <a:pt x="143" y="96"/>
                  </a:lnTo>
                  <a:lnTo>
                    <a:pt x="143" y="93"/>
                  </a:lnTo>
                  <a:lnTo>
                    <a:pt x="143" y="90"/>
                  </a:lnTo>
                  <a:lnTo>
                    <a:pt x="143" y="88"/>
                  </a:lnTo>
                  <a:lnTo>
                    <a:pt x="146" y="90"/>
                  </a:lnTo>
                  <a:lnTo>
                    <a:pt x="147" y="90"/>
                  </a:lnTo>
                  <a:lnTo>
                    <a:pt x="146" y="88"/>
                  </a:lnTo>
                  <a:lnTo>
                    <a:pt x="147" y="85"/>
                  </a:lnTo>
                  <a:lnTo>
                    <a:pt x="145" y="85"/>
                  </a:lnTo>
                  <a:lnTo>
                    <a:pt x="143" y="83"/>
                  </a:lnTo>
                  <a:lnTo>
                    <a:pt x="142" y="81"/>
                  </a:lnTo>
                  <a:lnTo>
                    <a:pt x="144" y="80"/>
                  </a:lnTo>
                  <a:lnTo>
                    <a:pt x="145" y="79"/>
                  </a:lnTo>
                  <a:lnTo>
                    <a:pt x="143" y="76"/>
                  </a:lnTo>
                  <a:lnTo>
                    <a:pt x="145" y="76"/>
                  </a:lnTo>
                  <a:lnTo>
                    <a:pt x="147" y="79"/>
                  </a:lnTo>
                  <a:lnTo>
                    <a:pt x="150" y="77"/>
                  </a:lnTo>
                  <a:lnTo>
                    <a:pt x="152" y="79"/>
                  </a:lnTo>
                  <a:lnTo>
                    <a:pt x="159" y="79"/>
                  </a:lnTo>
                  <a:lnTo>
                    <a:pt x="161" y="80"/>
                  </a:lnTo>
                  <a:lnTo>
                    <a:pt x="159" y="79"/>
                  </a:lnTo>
                  <a:lnTo>
                    <a:pt x="155" y="79"/>
                  </a:lnTo>
                  <a:lnTo>
                    <a:pt x="154" y="75"/>
                  </a:lnTo>
                  <a:lnTo>
                    <a:pt x="156" y="73"/>
                  </a:lnTo>
                  <a:lnTo>
                    <a:pt x="154" y="72"/>
                  </a:lnTo>
                  <a:lnTo>
                    <a:pt x="154" y="68"/>
                  </a:lnTo>
                  <a:lnTo>
                    <a:pt x="154" y="68"/>
                  </a:lnTo>
                  <a:lnTo>
                    <a:pt x="156" y="66"/>
                  </a:lnTo>
                  <a:lnTo>
                    <a:pt x="159" y="64"/>
                  </a:lnTo>
                  <a:lnTo>
                    <a:pt x="161" y="65"/>
                  </a:lnTo>
                  <a:lnTo>
                    <a:pt x="163" y="66"/>
                  </a:lnTo>
                  <a:lnTo>
                    <a:pt x="164" y="67"/>
                  </a:lnTo>
                  <a:lnTo>
                    <a:pt x="164" y="64"/>
                  </a:lnTo>
                  <a:lnTo>
                    <a:pt x="161" y="64"/>
                  </a:lnTo>
                  <a:lnTo>
                    <a:pt x="160" y="62"/>
                  </a:lnTo>
                  <a:lnTo>
                    <a:pt x="163" y="61"/>
                  </a:lnTo>
                  <a:lnTo>
                    <a:pt x="166" y="61"/>
                  </a:lnTo>
                  <a:lnTo>
                    <a:pt x="167" y="62"/>
                  </a:lnTo>
                  <a:lnTo>
                    <a:pt x="164" y="58"/>
                  </a:lnTo>
                  <a:lnTo>
                    <a:pt x="164" y="56"/>
                  </a:lnTo>
                  <a:lnTo>
                    <a:pt x="167" y="54"/>
                  </a:lnTo>
                  <a:lnTo>
                    <a:pt x="169" y="53"/>
                  </a:lnTo>
                  <a:lnTo>
                    <a:pt x="170" y="53"/>
                  </a:lnTo>
                  <a:lnTo>
                    <a:pt x="170" y="50"/>
                  </a:lnTo>
                  <a:lnTo>
                    <a:pt x="171" y="53"/>
                  </a:lnTo>
                  <a:lnTo>
                    <a:pt x="175" y="54"/>
                  </a:lnTo>
                  <a:lnTo>
                    <a:pt x="177" y="51"/>
                  </a:lnTo>
                  <a:lnTo>
                    <a:pt x="177" y="49"/>
                  </a:lnTo>
                  <a:lnTo>
                    <a:pt x="178" y="47"/>
                  </a:lnTo>
                  <a:lnTo>
                    <a:pt x="177" y="47"/>
                  </a:lnTo>
                  <a:lnTo>
                    <a:pt x="178" y="46"/>
                  </a:lnTo>
                  <a:lnTo>
                    <a:pt x="179" y="48"/>
                  </a:lnTo>
                  <a:lnTo>
                    <a:pt x="181" y="46"/>
                  </a:lnTo>
                  <a:lnTo>
                    <a:pt x="183" y="47"/>
                  </a:lnTo>
                  <a:lnTo>
                    <a:pt x="186" y="47"/>
                  </a:lnTo>
                  <a:lnTo>
                    <a:pt x="188" y="45"/>
                  </a:lnTo>
                  <a:lnTo>
                    <a:pt x="188" y="42"/>
                  </a:lnTo>
                  <a:lnTo>
                    <a:pt x="189" y="41"/>
                  </a:lnTo>
                  <a:lnTo>
                    <a:pt x="190" y="45"/>
                  </a:lnTo>
                  <a:lnTo>
                    <a:pt x="194" y="45"/>
                  </a:lnTo>
                  <a:lnTo>
                    <a:pt x="200" y="48"/>
                  </a:lnTo>
                  <a:lnTo>
                    <a:pt x="201" y="51"/>
                  </a:lnTo>
                  <a:lnTo>
                    <a:pt x="204" y="54"/>
                  </a:lnTo>
                  <a:lnTo>
                    <a:pt x="206" y="56"/>
                  </a:lnTo>
                  <a:lnTo>
                    <a:pt x="206" y="57"/>
                  </a:lnTo>
                  <a:lnTo>
                    <a:pt x="205" y="59"/>
                  </a:lnTo>
                  <a:lnTo>
                    <a:pt x="204" y="62"/>
                  </a:lnTo>
                  <a:lnTo>
                    <a:pt x="204" y="65"/>
                  </a:lnTo>
                  <a:lnTo>
                    <a:pt x="204" y="66"/>
                  </a:lnTo>
                  <a:lnTo>
                    <a:pt x="205" y="64"/>
                  </a:lnTo>
                  <a:lnTo>
                    <a:pt x="207" y="65"/>
                  </a:lnTo>
                  <a:lnTo>
                    <a:pt x="206" y="63"/>
                  </a:lnTo>
                  <a:lnTo>
                    <a:pt x="206" y="61"/>
                  </a:lnTo>
                  <a:lnTo>
                    <a:pt x="209" y="61"/>
                  </a:lnTo>
                  <a:lnTo>
                    <a:pt x="210" y="57"/>
                  </a:lnTo>
                  <a:lnTo>
                    <a:pt x="212" y="56"/>
                  </a:lnTo>
                  <a:lnTo>
                    <a:pt x="215" y="57"/>
                  </a:lnTo>
                  <a:lnTo>
                    <a:pt x="218" y="58"/>
                  </a:lnTo>
                  <a:lnTo>
                    <a:pt x="220" y="61"/>
                  </a:lnTo>
                  <a:lnTo>
                    <a:pt x="220" y="58"/>
                  </a:lnTo>
                  <a:lnTo>
                    <a:pt x="223" y="58"/>
                  </a:lnTo>
                  <a:lnTo>
                    <a:pt x="226" y="61"/>
                  </a:lnTo>
                  <a:lnTo>
                    <a:pt x="227" y="63"/>
                  </a:lnTo>
                  <a:lnTo>
                    <a:pt x="227" y="62"/>
                  </a:lnTo>
                  <a:lnTo>
                    <a:pt x="226" y="58"/>
                  </a:lnTo>
                  <a:lnTo>
                    <a:pt x="229" y="57"/>
                  </a:lnTo>
                  <a:lnTo>
                    <a:pt x="226" y="55"/>
                  </a:lnTo>
                  <a:lnTo>
                    <a:pt x="223" y="53"/>
                  </a:lnTo>
                  <a:lnTo>
                    <a:pt x="222" y="50"/>
                  </a:lnTo>
                  <a:lnTo>
                    <a:pt x="224" y="47"/>
                  </a:lnTo>
                  <a:lnTo>
                    <a:pt x="224" y="47"/>
                  </a:lnTo>
                  <a:lnTo>
                    <a:pt x="227" y="46"/>
                  </a:lnTo>
                  <a:lnTo>
                    <a:pt x="228" y="40"/>
                  </a:lnTo>
                  <a:lnTo>
                    <a:pt x="231" y="39"/>
                  </a:lnTo>
                  <a:lnTo>
                    <a:pt x="234" y="37"/>
                  </a:lnTo>
                  <a:lnTo>
                    <a:pt x="236" y="37"/>
                  </a:lnTo>
                  <a:lnTo>
                    <a:pt x="232" y="34"/>
                  </a:lnTo>
                  <a:lnTo>
                    <a:pt x="232" y="31"/>
                  </a:lnTo>
                  <a:lnTo>
                    <a:pt x="235" y="31"/>
                  </a:lnTo>
                  <a:lnTo>
                    <a:pt x="236" y="29"/>
                  </a:lnTo>
                  <a:lnTo>
                    <a:pt x="238" y="27"/>
                  </a:lnTo>
                  <a:lnTo>
                    <a:pt x="239" y="24"/>
                  </a:lnTo>
                  <a:lnTo>
                    <a:pt x="241" y="25"/>
                  </a:lnTo>
                  <a:lnTo>
                    <a:pt x="243" y="24"/>
                  </a:lnTo>
                  <a:lnTo>
                    <a:pt x="245" y="23"/>
                  </a:lnTo>
                  <a:lnTo>
                    <a:pt x="245" y="21"/>
                  </a:lnTo>
                  <a:lnTo>
                    <a:pt x="247" y="21"/>
                  </a:lnTo>
                  <a:lnTo>
                    <a:pt x="250" y="21"/>
                  </a:lnTo>
                  <a:lnTo>
                    <a:pt x="253" y="22"/>
                  </a:lnTo>
                  <a:lnTo>
                    <a:pt x="255" y="21"/>
                  </a:lnTo>
                  <a:lnTo>
                    <a:pt x="258" y="22"/>
                  </a:lnTo>
                  <a:lnTo>
                    <a:pt x="261" y="21"/>
                  </a:lnTo>
                  <a:lnTo>
                    <a:pt x="263" y="21"/>
                  </a:lnTo>
                  <a:lnTo>
                    <a:pt x="264" y="21"/>
                  </a:lnTo>
                  <a:lnTo>
                    <a:pt x="266" y="19"/>
                  </a:lnTo>
                  <a:lnTo>
                    <a:pt x="267" y="16"/>
                  </a:lnTo>
                  <a:lnTo>
                    <a:pt x="267" y="14"/>
                  </a:lnTo>
                  <a:lnTo>
                    <a:pt x="265" y="11"/>
                  </a:lnTo>
                  <a:lnTo>
                    <a:pt x="263" y="10"/>
                  </a:lnTo>
                  <a:lnTo>
                    <a:pt x="260" y="11"/>
                  </a:lnTo>
                  <a:lnTo>
                    <a:pt x="257" y="8"/>
                  </a:lnTo>
                  <a:lnTo>
                    <a:pt x="256" y="8"/>
                  </a:lnTo>
                  <a:lnTo>
                    <a:pt x="258" y="6"/>
                  </a:lnTo>
                  <a:lnTo>
                    <a:pt x="261" y="8"/>
                  </a:lnTo>
                  <a:lnTo>
                    <a:pt x="261" y="6"/>
                  </a:lnTo>
                  <a:lnTo>
                    <a:pt x="263" y="6"/>
                  </a:lnTo>
                  <a:lnTo>
                    <a:pt x="265" y="8"/>
                  </a:lnTo>
                  <a:lnTo>
                    <a:pt x="266" y="8"/>
                  </a:lnTo>
                  <a:lnTo>
                    <a:pt x="269" y="11"/>
                  </a:lnTo>
                  <a:lnTo>
                    <a:pt x="271" y="8"/>
                  </a:lnTo>
                  <a:lnTo>
                    <a:pt x="273" y="11"/>
                  </a:lnTo>
                  <a:lnTo>
                    <a:pt x="274" y="13"/>
                  </a:lnTo>
                  <a:lnTo>
                    <a:pt x="277" y="13"/>
                  </a:lnTo>
                  <a:lnTo>
                    <a:pt x="280" y="14"/>
                  </a:lnTo>
                  <a:lnTo>
                    <a:pt x="282" y="14"/>
                  </a:lnTo>
                  <a:lnTo>
                    <a:pt x="284" y="14"/>
                  </a:lnTo>
                  <a:lnTo>
                    <a:pt x="288" y="16"/>
                  </a:lnTo>
                  <a:lnTo>
                    <a:pt x="290" y="17"/>
                  </a:lnTo>
                  <a:lnTo>
                    <a:pt x="292" y="19"/>
                  </a:lnTo>
                  <a:lnTo>
                    <a:pt x="295" y="17"/>
                  </a:lnTo>
                  <a:lnTo>
                    <a:pt x="298" y="20"/>
                  </a:lnTo>
                  <a:lnTo>
                    <a:pt x="300" y="21"/>
                  </a:lnTo>
                  <a:lnTo>
                    <a:pt x="303" y="21"/>
                  </a:lnTo>
                  <a:lnTo>
                    <a:pt x="306" y="20"/>
                  </a:lnTo>
                  <a:lnTo>
                    <a:pt x="308" y="19"/>
                  </a:lnTo>
                  <a:lnTo>
                    <a:pt x="311" y="15"/>
                  </a:lnTo>
                  <a:lnTo>
                    <a:pt x="311" y="19"/>
                  </a:lnTo>
                  <a:lnTo>
                    <a:pt x="308" y="21"/>
                  </a:lnTo>
                  <a:lnTo>
                    <a:pt x="312" y="20"/>
                  </a:lnTo>
                  <a:lnTo>
                    <a:pt x="313" y="22"/>
                  </a:lnTo>
                  <a:lnTo>
                    <a:pt x="315" y="24"/>
                  </a:lnTo>
                  <a:lnTo>
                    <a:pt x="317" y="23"/>
                  </a:lnTo>
                  <a:lnTo>
                    <a:pt x="317" y="21"/>
                  </a:lnTo>
                  <a:lnTo>
                    <a:pt x="318" y="17"/>
                  </a:lnTo>
                  <a:lnTo>
                    <a:pt x="321" y="16"/>
                  </a:lnTo>
                  <a:lnTo>
                    <a:pt x="321" y="20"/>
                  </a:lnTo>
                  <a:lnTo>
                    <a:pt x="324" y="20"/>
                  </a:lnTo>
                  <a:lnTo>
                    <a:pt x="326" y="23"/>
                  </a:lnTo>
                  <a:lnTo>
                    <a:pt x="324" y="25"/>
                  </a:lnTo>
                  <a:lnTo>
                    <a:pt x="321" y="28"/>
                  </a:lnTo>
                  <a:lnTo>
                    <a:pt x="320" y="30"/>
                  </a:lnTo>
                  <a:lnTo>
                    <a:pt x="321" y="32"/>
                  </a:lnTo>
                  <a:lnTo>
                    <a:pt x="320" y="34"/>
                  </a:lnTo>
                  <a:lnTo>
                    <a:pt x="317" y="34"/>
                  </a:lnTo>
                  <a:lnTo>
                    <a:pt x="314" y="34"/>
                  </a:lnTo>
                  <a:lnTo>
                    <a:pt x="312" y="37"/>
                  </a:lnTo>
                  <a:lnTo>
                    <a:pt x="312" y="39"/>
                  </a:lnTo>
                  <a:lnTo>
                    <a:pt x="312" y="41"/>
                  </a:lnTo>
                  <a:lnTo>
                    <a:pt x="314" y="41"/>
                  </a:lnTo>
                  <a:lnTo>
                    <a:pt x="313" y="44"/>
                  </a:lnTo>
                  <a:lnTo>
                    <a:pt x="312" y="47"/>
                  </a:lnTo>
                  <a:lnTo>
                    <a:pt x="311" y="49"/>
                  </a:lnTo>
                  <a:lnTo>
                    <a:pt x="308" y="51"/>
                  </a:lnTo>
                  <a:lnTo>
                    <a:pt x="307" y="55"/>
                  </a:lnTo>
                  <a:lnTo>
                    <a:pt x="305" y="56"/>
                  </a:lnTo>
                  <a:lnTo>
                    <a:pt x="305" y="58"/>
                  </a:lnTo>
                  <a:lnTo>
                    <a:pt x="308" y="61"/>
                  </a:lnTo>
                  <a:lnTo>
                    <a:pt x="311" y="62"/>
                  </a:lnTo>
                  <a:lnTo>
                    <a:pt x="314" y="64"/>
                  </a:lnTo>
                  <a:lnTo>
                    <a:pt x="316" y="65"/>
                  </a:lnTo>
                  <a:lnTo>
                    <a:pt x="317" y="68"/>
                  </a:lnTo>
                  <a:lnTo>
                    <a:pt x="321" y="70"/>
                  </a:lnTo>
                  <a:lnTo>
                    <a:pt x="322" y="70"/>
                  </a:lnTo>
                  <a:lnTo>
                    <a:pt x="324" y="73"/>
                  </a:lnTo>
                  <a:lnTo>
                    <a:pt x="326" y="72"/>
                  </a:lnTo>
                  <a:lnTo>
                    <a:pt x="330" y="73"/>
                  </a:lnTo>
                  <a:lnTo>
                    <a:pt x="332" y="75"/>
                  </a:lnTo>
                  <a:lnTo>
                    <a:pt x="334" y="76"/>
                  </a:lnTo>
                  <a:lnTo>
                    <a:pt x="338" y="79"/>
                  </a:lnTo>
                  <a:lnTo>
                    <a:pt x="340" y="81"/>
                  </a:lnTo>
                  <a:lnTo>
                    <a:pt x="340" y="81"/>
                  </a:lnTo>
                  <a:lnTo>
                    <a:pt x="343" y="83"/>
                  </a:lnTo>
                  <a:lnTo>
                    <a:pt x="346" y="84"/>
                  </a:lnTo>
                  <a:lnTo>
                    <a:pt x="349" y="84"/>
                  </a:lnTo>
                  <a:lnTo>
                    <a:pt x="351" y="85"/>
                  </a:lnTo>
                  <a:lnTo>
                    <a:pt x="355" y="87"/>
                  </a:lnTo>
                  <a:lnTo>
                    <a:pt x="356" y="89"/>
                  </a:lnTo>
                  <a:lnTo>
                    <a:pt x="357" y="91"/>
                  </a:lnTo>
                  <a:lnTo>
                    <a:pt x="358" y="92"/>
                  </a:lnTo>
                  <a:lnTo>
                    <a:pt x="360" y="93"/>
                  </a:lnTo>
                  <a:lnTo>
                    <a:pt x="364" y="96"/>
                  </a:lnTo>
                  <a:lnTo>
                    <a:pt x="365" y="96"/>
                  </a:lnTo>
                  <a:lnTo>
                    <a:pt x="367" y="97"/>
                  </a:lnTo>
                  <a:lnTo>
                    <a:pt x="368" y="98"/>
                  </a:lnTo>
                  <a:lnTo>
                    <a:pt x="371" y="98"/>
                  </a:lnTo>
                  <a:lnTo>
                    <a:pt x="373" y="97"/>
                  </a:lnTo>
                  <a:lnTo>
                    <a:pt x="376" y="96"/>
                  </a:lnTo>
                  <a:lnTo>
                    <a:pt x="377" y="94"/>
                  </a:lnTo>
                  <a:lnTo>
                    <a:pt x="380" y="92"/>
                  </a:lnTo>
                  <a:lnTo>
                    <a:pt x="381" y="90"/>
                  </a:lnTo>
                  <a:lnTo>
                    <a:pt x="382" y="87"/>
                  </a:lnTo>
                  <a:lnTo>
                    <a:pt x="383" y="84"/>
                  </a:lnTo>
                  <a:lnTo>
                    <a:pt x="384" y="83"/>
                  </a:lnTo>
                  <a:lnTo>
                    <a:pt x="385" y="81"/>
                  </a:lnTo>
                  <a:lnTo>
                    <a:pt x="386" y="77"/>
                  </a:lnTo>
                  <a:lnTo>
                    <a:pt x="388" y="75"/>
                  </a:lnTo>
                  <a:lnTo>
                    <a:pt x="388" y="74"/>
                  </a:lnTo>
                  <a:lnTo>
                    <a:pt x="386" y="72"/>
                  </a:lnTo>
                  <a:lnTo>
                    <a:pt x="388" y="70"/>
                  </a:lnTo>
                  <a:lnTo>
                    <a:pt x="388" y="66"/>
                  </a:lnTo>
                  <a:lnTo>
                    <a:pt x="389" y="64"/>
                  </a:lnTo>
                  <a:lnTo>
                    <a:pt x="390" y="63"/>
                  </a:lnTo>
                  <a:lnTo>
                    <a:pt x="391" y="59"/>
                  </a:lnTo>
                  <a:lnTo>
                    <a:pt x="390" y="57"/>
                  </a:lnTo>
                  <a:lnTo>
                    <a:pt x="389" y="55"/>
                  </a:lnTo>
                  <a:lnTo>
                    <a:pt x="389" y="51"/>
                  </a:lnTo>
                  <a:lnTo>
                    <a:pt x="390" y="49"/>
                  </a:lnTo>
                  <a:lnTo>
                    <a:pt x="390" y="47"/>
                  </a:lnTo>
                  <a:lnTo>
                    <a:pt x="388" y="44"/>
                  </a:lnTo>
                  <a:lnTo>
                    <a:pt x="389" y="41"/>
                  </a:lnTo>
                  <a:lnTo>
                    <a:pt x="390" y="38"/>
                  </a:lnTo>
                  <a:lnTo>
                    <a:pt x="391" y="37"/>
                  </a:lnTo>
                  <a:lnTo>
                    <a:pt x="391" y="37"/>
                  </a:lnTo>
                  <a:lnTo>
                    <a:pt x="390" y="33"/>
                  </a:lnTo>
                  <a:lnTo>
                    <a:pt x="390" y="31"/>
                  </a:lnTo>
                  <a:lnTo>
                    <a:pt x="392" y="29"/>
                  </a:lnTo>
                  <a:lnTo>
                    <a:pt x="395" y="28"/>
                  </a:lnTo>
                  <a:lnTo>
                    <a:pt x="392" y="25"/>
                  </a:lnTo>
                  <a:lnTo>
                    <a:pt x="390" y="25"/>
                  </a:lnTo>
                  <a:lnTo>
                    <a:pt x="391" y="22"/>
                  </a:lnTo>
                  <a:lnTo>
                    <a:pt x="392" y="20"/>
                  </a:lnTo>
                  <a:lnTo>
                    <a:pt x="395" y="19"/>
                  </a:lnTo>
                  <a:lnTo>
                    <a:pt x="394" y="15"/>
                  </a:lnTo>
                  <a:lnTo>
                    <a:pt x="395" y="13"/>
                  </a:lnTo>
                  <a:lnTo>
                    <a:pt x="397" y="11"/>
                  </a:lnTo>
                  <a:lnTo>
                    <a:pt x="397" y="7"/>
                  </a:lnTo>
                  <a:lnTo>
                    <a:pt x="398" y="5"/>
                  </a:lnTo>
                  <a:lnTo>
                    <a:pt x="400" y="3"/>
                  </a:lnTo>
                  <a:lnTo>
                    <a:pt x="401" y="0"/>
                  </a:lnTo>
                  <a:lnTo>
                    <a:pt x="403" y="0"/>
                  </a:lnTo>
                  <a:lnTo>
                    <a:pt x="402" y="3"/>
                  </a:lnTo>
                  <a:lnTo>
                    <a:pt x="405" y="4"/>
                  </a:lnTo>
                  <a:lnTo>
                    <a:pt x="407" y="6"/>
                  </a:lnTo>
                  <a:lnTo>
                    <a:pt x="407" y="8"/>
                  </a:lnTo>
                  <a:lnTo>
                    <a:pt x="407" y="12"/>
                  </a:lnTo>
                  <a:lnTo>
                    <a:pt x="407" y="14"/>
                  </a:lnTo>
                  <a:lnTo>
                    <a:pt x="410" y="16"/>
                  </a:lnTo>
                  <a:lnTo>
                    <a:pt x="412" y="17"/>
                  </a:lnTo>
                  <a:lnTo>
                    <a:pt x="410" y="20"/>
                  </a:lnTo>
                  <a:lnTo>
                    <a:pt x="411" y="23"/>
                  </a:lnTo>
                  <a:lnTo>
                    <a:pt x="414" y="25"/>
                  </a:lnTo>
                  <a:lnTo>
                    <a:pt x="414" y="28"/>
                  </a:lnTo>
                  <a:lnTo>
                    <a:pt x="416" y="31"/>
                  </a:lnTo>
                  <a:lnTo>
                    <a:pt x="416" y="33"/>
                  </a:lnTo>
                  <a:lnTo>
                    <a:pt x="416" y="37"/>
                  </a:lnTo>
                  <a:lnTo>
                    <a:pt x="417" y="39"/>
                  </a:lnTo>
                  <a:lnTo>
                    <a:pt x="416" y="41"/>
                  </a:lnTo>
                  <a:lnTo>
                    <a:pt x="417" y="45"/>
                  </a:lnTo>
                  <a:lnTo>
                    <a:pt x="417" y="45"/>
                  </a:lnTo>
                  <a:lnTo>
                    <a:pt x="418" y="47"/>
                  </a:lnTo>
                  <a:lnTo>
                    <a:pt x="419" y="50"/>
                  </a:lnTo>
                  <a:lnTo>
                    <a:pt x="422" y="53"/>
                  </a:lnTo>
                  <a:lnTo>
                    <a:pt x="425" y="51"/>
                  </a:lnTo>
                  <a:lnTo>
                    <a:pt x="427" y="50"/>
                  </a:lnTo>
                  <a:lnTo>
                    <a:pt x="429" y="48"/>
                  </a:lnTo>
                  <a:lnTo>
                    <a:pt x="431" y="50"/>
                  </a:lnTo>
                  <a:lnTo>
                    <a:pt x="432" y="54"/>
                  </a:lnTo>
                  <a:lnTo>
                    <a:pt x="434" y="54"/>
                  </a:lnTo>
                  <a:lnTo>
                    <a:pt x="436" y="57"/>
                  </a:lnTo>
                  <a:lnTo>
                    <a:pt x="440" y="58"/>
                  </a:lnTo>
                  <a:lnTo>
                    <a:pt x="441" y="58"/>
                  </a:lnTo>
                  <a:lnTo>
                    <a:pt x="440" y="62"/>
                  </a:lnTo>
                  <a:lnTo>
                    <a:pt x="440" y="64"/>
                  </a:lnTo>
                  <a:lnTo>
                    <a:pt x="440" y="67"/>
                  </a:lnTo>
                  <a:lnTo>
                    <a:pt x="441" y="70"/>
                  </a:lnTo>
                  <a:lnTo>
                    <a:pt x="441" y="72"/>
                  </a:lnTo>
                  <a:lnTo>
                    <a:pt x="443" y="75"/>
                  </a:lnTo>
                  <a:lnTo>
                    <a:pt x="443" y="77"/>
                  </a:lnTo>
                  <a:lnTo>
                    <a:pt x="442" y="80"/>
                  </a:lnTo>
                  <a:lnTo>
                    <a:pt x="444" y="83"/>
                  </a:lnTo>
                  <a:lnTo>
                    <a:pt x="446" y="85"/>
                  </a:lnTo>
                  <a:lnTo>
                    <a:pt x="446" y="87"/>
                  </a:lnTo>
                  <a:lnTo>
                    <a:pt x="450" y="87"/>
                  </a:lnTo>
                  <a:lnTo>
                    <a:pt x="449" y="89"/>
                  </a:lnTo>
                  <a:lnTo>
                    <a:pt x="450" y="91"/>
                  </a:lnTo>
                  <a:lnTo>
                    <a:pt x="451" y="94"/>
                  </a:lnTo>
                  <a:lnTo>
                    <a:pt x="452" y="97"/>
                  </a:lnTo>
                  <a:lnTo>
                    <a:pt x="451" y="99"/>
                  </a:lnTo>
                  <a:lnTo>
                    <a:pt x="451" y="102"/>
                  </a:lnTo>
                  <a:lnTo>
                    <a:pt x="450" y="105"/>
                  </a:lnTo>
                  <a:lnTo>
                    <a:pt x="452" y="108"/>
                  </a:lnTo>
                  <a:lnTo>
                    <a:pt x="454" y="109"/>
                  </a:lnTo>
                  <a:lnTo>
                    <a:pt x="454" y="113"/>
                  </a:lnTo>
                  <a:lnTo>
                    <a:pt x="454" y="115"/>
                  </a:lnTo>
                  <a:lnTo>
                    <a:pt x="457" y="117"/>
                  </a:lnTo>
                  <a:lnTo>
                    <a:pt x="462" y="121"/>
                  </a:lnTo>
                  <a:lnTo>
                    <a:pt x="465" y="121"/>
                  </a:lnTo>
                  <a:lnTo>
                    <a:pt x="468" y="122"/>
                  </a:lnTo>
                  <a:lnTo>
                    <a:pt x="470" y="122"/>
                  </a:lnTo>
                  <a:lnTo>
                    <a:pt x="471" y="125"/>
                  </a:lnTo>
                  <a:lnTo>
                    <a:pt x="471" y="125"/>
                  </a:lnTo>
                  <a:lnTo>
                    <a:pt x="473" y="127"/>
                  </a:lnTo>
                  <a:lnTo>
                    <a:pt x="475" y="126"/>
                  </a:lnTo>
                  <a:lnTo>
                    <a:pt x="476" y="128"/>
                  </a:lnTo>
                  <a:lnTo>
                    <a:pt x="479" y="130"/>
                  </a:lnTo>
                  <a:lnTo>
                    <a:pt x="482" y="130"/>
                  </a:lnTo>
                  <a:lnTo>
                    <a:pt x="483" y="133"/>
                  </a:lnTo>
                  <a:lnTo>
                    <a:pt x="486" y="133"/>
                  </a:lnTo>
                  <a:lnTo>
                    <a:pt x="488" y="134"/>
                  </a:lnTo>
                  <a:lnTo>
                    <a:pt x="490" y="136"/>
                  </a:lnTo>
                  <a:lnTo>
                    <a:pt x="487" y="139"/>
                  </a:lnTo>
                  <a:lnTo>
                    <a:pt x="488" y="141"/>
                  </a:lnTo>
                  <a:lnTo>
                    <a:pt x="491" y="143"/>
                  </a:lnTo>
                  <a:lnTo>
                    <a:pt x="493" y="144"/>
                  </a:lnTo>
                  <a:lnTo>
                    <a:pt x="494" y="148"/>
                  </a:lnTo>
                  <a:lnTo>
                    <a:pt x="495" y="148"/>
                  </a:lnTo>
                  <a:lnTo>
                    <a:pt x="495" y="151"/>
                  </a:lnTo>
                  <a:lnTo>
                    <a:pt x="497" y="152"/>
                  </a:lnTo>
                  <a:lnTo>
                    <a:pt x="497" y="154"/>
                  </a:lnTo>
                  <a:lnTo>
                    <a:pt x="497" y="158"/>
                  </a:lnTo>
                  <a:lnTo>
                    <a:pt x="499" y="160"/>
                  </a:lnTo>
                  <a:lnTo>
                    <a:pt x="500" y="162"/>
                  </a:lnTo>
                  <a:lnTo>
                    <a:pt x="501" y="166"/>
                  </a:lnTo>
                  <a:lnTo>
                    <a:pt x="503" y="165"/>
                  </a:lnTo>
                  <a:lnTo>
                    <a:pt x="504" y="167"/>
                  </a:lnTo>
                  <a:lnTo>
                    <a:pt x="504" y="166"/>
                  </a:lnTo>
                  <a:lnTo>
                    <a:pt x="503" y="164"/>
                  </a:lnTo>
                  <a:lnTo>
                    <a:pt x="504" y="161"/>
                  </a:lnTo>
                  <a:lnTo>
                    <a:pt x="508" y="164"/>
                  </a:lnTo>
                  <a:lnTo>
                    <a:pt x="512" y="167"/>
                  </a:lnTo>
                  <a:lnTo>
                    <a:pt x="512" y="165"/>
                  </a:lnTo>
                  <a:lnTo>
                    <a:pt x="514" y="165"/>
                  </a:lnTo>
                  <a:lnTo>
                    <a:pt x="514" y="167"/>
                  </a:lnTo>
                  <a:lnTo>
                    <a:pt x="516" y="169"/>
                  </a:lnTo>
                  <a:lnTo>
                    <a:pt x="514" y="173"/>
                  </a:lnTo>
                  <a:lnTo>
                    <a:pt x="516" y="175"/>
                  </a:lnTo>
                  <a:lnTo>
                    <a:pt x="516" y="177"/>
                  </a:lnTo>
                  <a:lnTo>
                    <a:pt x="517" y="181"/>
                  </a:lnTo>
                  <a:lnTo>
                    <a:pt x="516" y="181"/>
                  </a:lnTo>
                  <a:lnTo>
                    <a:pt x="519" y="182"/>
                  </a:lnTo>
                  <a:lnTo>
                    <a:pt x="520" y="184"/>
                  </a:lnTo>
                  <a:lnTo>
                    <a:pt x="523" y="186"/>
                  </a:lnTo>
                  <a:lnTo>
                    <a:pt x="525" y="187"/>
                  </a:lnTo>
                  <a:lnTo>
                    <a:pt x="528" y="187"/>
                  </a:lnTo>
                  <a:lnTo>
                    <a:pt x="530" y="190"/>
                  </a:lnTo>
                  <a:lnTo>
                    <a:pt x="531" y="192"/>
                  </a:lnTo>
                  <a:lnTo>
                    <a:pt x="533" y="194"/>
                  </a:lnTo>
                  <a:lnTo>
                    <a:pt x="535" y="198"/>
                  </a:lnTo>
                  <a:lnTo>
                    <a:pt x="538" y="199"/>
                  </a:lnTo>
                  <a:lnTo>
                    <a:pt x="539" y="201"/>
                  </a:lnTo>
                  <a:lnTo>
                    <a:pt x="539" y="203"/>
                  </a:lnTo>
                  <a:lnTo>
                    <a:pt x="542" y="205"/>
                  </a:lnTo>
                  <a:lnTo>
                    <a:pt x="545" y="208"/>
                  </a:lnTo>
                  <a:lnTo>
                    <a:pt x="544" y="211"/>
                  </a:lnTo>
                  <a:lnTo>
                    <a:pt x="545" y="213"/>
                  </a:lnTo>
                  <a:lnTo>
                    <a:pt x="546" y="215"/>
                  </a:lnTo>
                  <a:lnTo>
                    <a:pt x="548" y="216"/>
                  </a:lnTo>
                  <a:lnTo>
                    <a:pt x="547" y="218"/>
                  </a:lnTo>
                  <a:lnTo>
                    <a:pt x="547" y="221"/>
                  </a:lnTo>
                  <a:lnTo>
                    <a:pt x="547" y="224"/>
                  </a:lnTo>
                  <a:lnTo>
                    <a:pt x="547" y="227"/>
                  </a:lnTo>
                  <a:lnTo>
                    <a:pt x="547" y="229"/>
                  </a:lnTo>
                  <a:lnTo>
                    <a:pt x="548" y="232"/>
                  </a:lnTo>
                  <a:lnTo>
                    <a:pt x="547" y="235"/>
                  </a:lnTo>
                  <a:lnTo>
                    <a:pt x="548" y="237"/>
                  </a:lnTo>
                  <a:lnTo>
                    <a:pt x="550" y="241"/>
                  </a:lnTo>
                  <a:lnTo>
                    <a:pt x="552" y="243"/>
                  </a:lnTo>
                  <a:lnTo>
                    <a:pt x="552" y="245"/>
                  </a:lnTo>
                  <a:lnTo>
                    <a:pt x="553" y="248"/>
                  </a:lnTo>
                  <a:lnTo>
                    <a:pt x="554" y="248"/>
                  </a:lnTo>
                  <a:lnTo>
                    <a:pt x="554" y="252"/>
                  </a:lnTo>
                  <a:lnTo>
                    <a:pt x="554" y="254"/>
                  </a:lnTo>
                  <a:lnTo>
                    <a:pt x="554" y="256"/>
                  </a:lnTo>
                  <a:lnTo>
                    <a:pt x="554" y="260"/>
                  </a:lnTo>
                  <a:lnTo>
                    <a:pt x="552" y="262"/>
                  </a:lnTo>
                  <a:lnTo>
                    <a:pt x="551" y="265"/>
                  </a:lnTo>
                  <a:lnTo>
                    <a:pt x="551" y="268"/>
                  </a:lnTo>
                  <a:lnTo>
                    <a:pt x="551" y="270"/>
                  </a:lnTo>
                  <a:lnTo>
                    <a:pt x="550" y="273"/>
                  </a:lnTo>
                  <a:lnTo>
                    <a:pt x="548" y="276"/>
                  </a:lnTo>
                  <a:lnTo>
                    <a:pt x="54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9" name="Freeform 239">
              <a:extLst>
                <a:ext uri="{FF2B5EF4-FFF2-40B4-BE49-F238E27FC236}">
                  <a16:creationId xmlns:a16="http://schemas.microsoft.com/office/drawing/2014/main" id="{8E3946E9-0D04-4E55-AB01-7EAD22995885}"/>
                </a:ext>
              </a:extLst>
            </p:cNvPr>
            <p:cNvSpPr>
              <a:spLocks noEditPoints="1"/>
            </p:cNvSpPr>
            <p:nvPr/>
          </p:nvSpPr>
          <p:spPr bwMode="auto">
            <a:xfrm>
              <a:off x="3175000" y="2281238"/>
              <a:ext cx="6811962" cy="2960688"/>
            </a:xfrm>
            <a:custGeom>
              <a:avLst/>
              <a:gdLst>
                <a:gd name="T0" fmla="*/ 4219 w 4291"/>
                <a:gd name="T1" fmla="*/ 276 h 1865"/>
                <a:gd name="T2" fmla="*/ 3874 w 4291"/>
                <a:gd name="T3" fmla="*/ 206 h 1865"/>
                <a:gd name="T4" fmla="*/ 3458 w 4291"/>
                <a:gd name="T5" fmla="*/ 175 h 1865"/>
                <a:gd name="T6" fmla="*/ 3144 w 4291"/>
                <a:gd name="T7" fmla="*/ 122 h 1865"/>
                <a:gd name="T8" fmla="*/ 3014 w 4291"/>
                <a:gd name="T9" fmla="*/ 50 h 1865"/>
                <a:gd name="T10" fmla="*/ 2764 w 4291"/>
                <a:gd name="T11" fmla="*/ 182 h 1865"/>
                <a:gd name="T12" fmla="*/ 2679 w 4291"/>
                <a:gd name="T13" fmla="*/ 213 h 1865"/>
                <a:gd name="T14" fmla="*/ 2405 w 4291"/>
                <a:gd name="T15" fmla="*/ 238 h 1865"/>
                <a:gd name="T16" fmla="*/ 2146 w 4291"/>
                <a:gd name="T17" fmla="*/ 293 h 1865"/>
                <a:gd name="T18" fmla="*/ 2066 w 4291"/>
                <a:gd name="T19" fmla="*/ 180 h 1865"/>
                <a:gd name="T20" fmla="*/ 1911 w 4291"/>
                <a:gd name="T21" fmla="*/ 248 h 1865"/>
                <a:gd name="T22" fmla="*/ 1822 w 4291"/>
                <a:gd name="T23" fmla="*/ 357 h 1865"/>
                <a:gd name="T24" fmla="*/ 1762 w 4291"/>
                <a:gd name="T25" fmla="*/ 416 h 1865"/>
                <a:gd name="T26" fmla="*/ 1905 w 4291"/>
                <a:gd name="T27" fmla="*/ 501 h 1865"/>
                <a:gd name="T28" fmla="*/ 1979 w 4291"/>
                <a:gd name="T29" fmla="*/ 392 h 1865"/>
                <a:gd name="T30" fmla="*/ 1877 w 4291"/>
                <a:gd name="T31" fmla="*/ 549 h 1865"/>
                <a:gd name="T32" fmla="*/ 1740 w 4291"/>
                <a:gd name="T33" fmla="*/ 592 h 1865"/>
                <a:gd name="T34" fmla="*/ 1565 w 4291"/>
                <a:gd name="T35" fmla="*/ 782 h 1865"/>
                <a:gd name="T36" fmla="*/ 1902 w 4291"/>
                <a:gd name="T37" fmla="*/ 811 h 1865"/>
                <a:gd name="T38" fmla="*/ 1982 w 4291"/>
                <a:gd name="T39" fmla="*/ 818 h 1865"/>
                <a:gd name="T40" fmla="*/ 2115 w 4291"/>
                <a:gd name="T41" fmla="*/ 677 h 1865"/>
                <a:gd name="T42" fmla="*/ 2071 w 4291"/>
                <a:gd name="T43" fmla="*/ 784 h 1865"/>
                <a:gd name="T44" fmla="*/ 2097 w 4291"/>
                <a:gd name="T45" fmla="*/ 925 h 1865"/>
                <a:gd name="T46" fmla="*/ 1563 w 4291"/>
                <a:gd name="T47" fmla="*/ 902 h 1865"/>
                <a:gd name="T48" fmla="*/ 1518 w 4291"/>
                <a:gd name="T49" fmla="*/ 1268 h 1865"/>
                <a:gd name="T50" fmla="*/ 1809 w 4291"/>
                <a:gd name="T51" fmla="*/ 1378 h 1865"/>
                <a:gd name="T52" fmla="*/ 2027 w 4291"/>
                <a:gd name="T53" fmla="*/ 1852 h 1865"/>
                <a:gd name="T54" fmla="*/ 2254 w 4291"/>
                <a:gd name="T55" fmla="*/ 1392 h 1865"/>
                <a:gd name="T56" fmla="*/ 2191 w 4291"/>
                <a:gd name="T57" fmla="*/ 1071 h 1865"/>
                <a:gd name="T58" fmla="*/ 2274 w 4291"/>
                <a:gd name="T59" fmla="*/ 1170 h 1865"/>
                <a:gd name="T60" fmla="*/ 2412 w 4291"/>
                <a:gd name="T61" fmla="*/ 1032 h 1865"/>
                <a:gd name="T62" fmla="*/ 2439 w 4291"/>
                <a:gd name="T63" fmla="*/ 996 h 1865"/>
                <a:gd name="T64" fmla="*/ 2683 w 4291"/>
                <a:gd name="T65" fmla="*/ 1097 h 1865"/>
                <a:gd name="T66" fmla="*/ 2798 w 4291"/>
                <a:gd name="T67" fmla="*/ 1143 h 1865"/>
                <a:gd name="T68" fmla="*/ 2926 w 4291"/>
                <a:gd name="T69" fmla="*/ 1048 h 1865"/>
                <a:gd name="T70" fmla="*/ 3035 w 4291"/>
                <a:gd name="T71" fmla="*/ 1197 h 1865"/>
                <a:gd name="T72" fmla="*/ 3044 w 4291"/>
                <a:gd name="T73" fmla="*/ 1223 h 1865"/>
                <a:gd name="T74" fmla="*/ 3166 w 4291"/>
                <a:gd name="T75" fmla="*/ 1219 h 1865"/>
                <a:gd name="T76" fmla="*/ 3197 w 4291"/>
                <a:gd name="T77" fmla="*/ 1074 h 1865"/>
                <a:gd name="T78" fmla="*/ 3350 w 4291"/>
                <a:gd name="T79" fmla="*/ 956 h 1865"/>
                <a:gd name="T80" fmla="*/ 3328 w 4291"/>
                <a:gd name="T81" fmla="*/ 789 h 1865"/>
                <a:gd name="T82" fmla="*/ 3457 w 4291"/>
                <a:gd name="T83" fmla="*/ 845 h 1865"/>
                <a:gd name="T84" fmla="*/ 3572 w 4291"/>
                <a:gd name="T85" fmla="*/ 549 h 1865"/>
                <a:gd name="T86" fmla="*/ 3865 w 4291"/>
                <a:gd name="T87" fmla="*/ 390 h 1865"/>
                <a:gd name="T88" fmla="*/ 3856 w 4291"/>
                <a:gd name="T89" fmla="*/ 565 h 1865"/>
                <a:gd name="T90" fmla="*/ 4091 w 4291"/>
                <a:gd name="T91" fmla="*/ 384 h 1865"/>
                <a:gd name="T92" fmla="*/ 4255 w 4291"/>
                <a:gd name="T93" fmla="*/ 324 h 1865"/>
                <a:gd name="T94" fmla="*/ 2431 w 4291"/>
                <a:gd name="T95" fmla="*/ 777 h 1865"/>
                <a:gd name="T96" fmla="*/ 2410 w 4291"/>
                <a:gd name="T97" fmla="*/ 792 h 1865"/>
                <a:gd name="T98" fmla="*/ 2419 w 4291"/>
                <a:gd name="T99" fmla="*/ 804 h 1865"/>
                <a:gd name="T100" fmla="*/ 2381 w 4291"/>
                <a:gd name="T101" fmla="*/ 842 h 1865"/>
                <a:gd name="T102" fmla="*/ 2361 w 4291"/>
                <a:gd name="T103" fmla="*/ 796 h 1865"/>
                <a:gd name="T104" fmla="*/ 2353 w 4291"/>
                <a:gd name="T105" fmla="*/ 763 h 1865"/>
                <a:gd name="T106" fmla="*/ 2326 w 4291"/>
                <a:gd name="T107" fmla="*/ 719 h 1865"/>
                <a:gd name="T108" fmla="*/ 2348 w 4291"/>
                <a:gd name="T109" fmla="*/ 693 h 1865"/>
                <a:gd name="T110" fmla="*/ 2372 w 4291"/>
                <a:gd name="T111" fmla="*/ 678 h 1865"/>
                <a:gd name="T112" fmla="*/ 2414 w 4291"/>
                <a:gd name="T113" fmla="*/ 691 h 1865"/>
                <a:gd name="T114" fmla="*/ 2397 w 4291"/>
                <a:gd name="T115" fmla="*/ 702 h 1865"/>
                <a:gd name="T116" fmla="*/ 2381 w 4291"/>
                <a:gd name="T117" fmla="*/ 722 h 1865"/>
                <a:gd name="T118" fmla="*/ 2405 w 4291"/>
                <a:gd name="T119" fmla="*/ 765 h 1865"/>
                <a:gd name="T120" fmla="*/ 2516 w 4291"/>
                <a:gd name="T121" fmla="*/ 714 h 1865"/>
                <a:gd name="T122" fmla="*/ 2504 w 4291"/>
                <a:gd name="T123" fmla="*/ 690 h 1865"/>
                <a:gd name="T124" fmla="*/ 2517 w 4291"/>
                <a:gd name="T125" fmla="*/ 682 h 1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1" h="1865">
                  <a:moveTo>
                    <a:pt x="98" y="9"/>
                  </a:moveTo>
                  <a:lnTo>
                    <a:pt x="95" y="8"/>
                  </a:lnTo>
                  <a:lnTo>
                    <a:pt x="92" y="6"/>
                  </a:lnTo>
                  <a:lnTo>
                    <a:pt x="89" y="5"/>
                  </a:lnTo>
                  <a:lnTo>
                    <a:pt x="86" y="6"/>
                  </a:lnTo>
                  <a:lnTo>
                    <a:pt x="83" y="6"/>
                  </a:lnTo>
                  <a:lnTo>
                    <a:pt x="81" y="8"/>
                  </a:lnTo>
                  <a:lnTo>
                    <a:pt x="83" y="9"/>
                  </a:lnTo>
                  <a:lnTo>
                    <a:pt x="86" y="9"/>
                  </a:lnTo>
                  <a:lnTo>
                    <a:pt x="84" y="12"/>
                  </a:lnTo>
                  <a:lnTo>
                    <a:pt x="81" y="10"/>
                  </a:lnTo>
                  <a:lnTo>
                    <a:pt x="78" y="13"/>
                  </a:lnTo>
                  <a:lnTo>
                    <a:pt x="75" y="12"/>
                  </a:lnTo>
                  <a:lnTo>
                    <a:pt x="73" y="12"/>
                  </a:lnTo>
                  <a:lnTo>
                    <a:pt x="69" y="10"/>
                  </a:lnTo>
                  <a:lnTo>
                    <a:pt x="67" y="10"/>
                  </a:lnTo>
                  <a:lnTo>
                    <a:pt x="64" y="10"/>
                  </a:lnTo>
                  <a:lnTo>
                    <a:pt x="58" y="12"/>
                  </a:lnTo>
                  <a:lnTo>
                    <a:pt x="56" y="12"/>
                  </a:lnTo>
                  <a:lnTo>
                    <a:pt x="52" y="12"/>
                  </a:lnTo>
                  <a:lnTo>
                    <a:pt x="50" y="15"/>
                  </a:lnTo>
                  <a:lnTo>
                    <a:pt x="48" y="17"/>
                  </a:lnTo>
                  <a:lnTo>
                    <a:pt x="44" y="18"/>
                  </a:lnTo>
                  <a:lnTo>
                    <a:pt x="42" y="21"/>
                  </a:lnTo>
                  <a:lnTo>
                    <a:pt x="41" y="21"/>
                  </a:lnTo>
                  <a:lnTo>
                    <a:pt x="39" y="24"/>
                  </a:lnTo>
                  <a:lnTo>
                    <a:pt x="36" y="25"/>
                  </a:lnTo>
                  <a:lnTo>
                    <a:pt x="35" y="27"/>
                  </a:lnTo>
                  <a:lnTo>
                    <a:pt x="33" y="28"/>
                  </a:lnTo>
                  <a:lnTo>
                    <a:pt x="30" y="30"/>
                  </a:lnTo>
                  <a:lnTo>
                    <a:pt x="26" y="31"/>
                  </a:lnTo>
                  <a:lnTo>
                    <a:pt x="24" y="32"/>
                  </a:lnTo>
                  <a:lnTo>
                    <a:pt x="22" y="35"/>
                  </a:lnTo>
                  <a:lnTo>
                    <a:pt x="19" y="38"/>
                  </a:lnTo>
                  <a:lnTo>
                    <a:pt x="16" y="38"/>
                  </a:lnTo>
                  <a:lnTo>
                    <a:pt x="14" y="38"/>
                  </a:lnTo>
                  <a:lnTo>
                    <a:pt x="10" y="38"/>
                  </a:lnTo>
                  <a:lnTo>
                    <a:pt x="8" y="39"/>
                  </a:lnTo>
                  <a:lnTo>
                    <a:pt x="5" y="41"/>
                  </a:lnTo>
                  <a:lnTo>
                    <a:pt x="2" y="43"/>
                  </a:lnTo>
                  <a:lnTo>
                    <a:pt x="0" y="45"/>
                  </a:lnTo>
                  <a:lnTo>
                    <a:pt x="6" y="44"/>
                  </a:lnTo>
                  <a:lnTo>
                    <a:pt x="7" y="48"/>
                  </a:lnTo>
                  <a:lnTo>
                    <a:pt x="5" y="50"/>
                  </a:lnTo>
                  <a:lnTo>
                    <a:pt x="7" y="52"/>
                  </a:lnTo>
                  <a:lnTo>
                    <a:pt x="10" y="51"/>
                  </a:lnTo>
                  <a:lnTo>
                    <a:pt x="13" y="49"/>
                  </a:lnTo>
                  <a:lnTo>
                    <a:pt x="16" y="48"/>
                  </a:lnTo>
                  <a:lnTo>
                    <a:pt x="18" y="49"/>
                  </a:lnTo>
                  <a:lnTo>
                    <a:pt x="22" y="50"/>
                  </a:lnTo>
                  <a:lnTo>
                    <a:pt x="24" y="51"/>
                  </a:lnTo>
                  <a:lnTo>
                    <a:pt x="26" y="50"/>
                  </a:lnTo>
                  <a:lnTo>
                    <a:pt x="27" y="47"/>
                  </a:lnTo>
                  <a:lnTo>
                    <a:pt x="29" y="44"/>
                  </a:lnTo>
                  <a:lnTo>
                    <a:pt x="32" y="45"/>
                  </a:lnTo>
                  <a:lnTo>
                    <a:pt x="31" y="48"/>
                  </a:lnTo>
                  <a:lnTo>
                    <a:pt x="34" y="50"/>
                  </a:lnTo>
                  <a:lnTo>
                    <a:pt x="35" y="52"/>
                  </a:lnTo>
                  <a:lnTo>
                    <a:pt x="35" y="55"/>
                  </a:lnTo>
                  <a:lnTo>
                    <a:pt x="39" y="53"/>
                  </a:lnTo>
                  <a:lnTo>
                    <a:pt x="41" y="55"/>
                  </a:lnTo>
                  <a:lnTo>
                    <a:pt x="41" y="53"/>
                  </a:lnTo>
                  <a:lnTo>
                    <a:pt x="44" y="53"/>
                  </a:lnTo>
                  <a:lnTo>
                    <a:pt x="46" y="50"/>
                  </a:lnTo>
                  <a:lnTo>
                    <a:pt x="47" y="48"/>
                  </a:lnTo>
                  <a:lnTo>
                    <a:pt x="44" y="47"/>
                  </a:lnTo>
                  <a:lnTo>
                    <a:pt x="47" y="47"/>
                  </a:lnTo>
                  <a:lnTo>
                    <a:pt x="47" y="43"/>
                  </a:lnTo>
                  <a:lnTo>
                    <a:pt x="47" y="41"/>
                  </a:lnTo>
                  <a:lnTo>
                    <a:pt x="49" y="42"/>
                  </a:lnTo>
                  <a:lnTo>
                    <a:pt x="51" y="45"/>
                  </a:lnTo>
                  <a:lnTo>
                    <a:pt x="53" y="48"/>
                  </a:lnTo>
                  <a:lnTo>
                    <a:pt x="57" y="44"/>
                  </a:lnTo>
                  <a:lnTo>
                    <a:pt x="57" y="42"/>
                  </a:lnTo>
                  <a:lnTo>
                    <a:pt x="59" y="42"/>
                  </a:lnTo>
                  <a:lnTo>
                    <a:pt x="60" y="39"/>
                  </a:lnTo>
                  <a:lnTo>
                    <a:pt x="58" y="36"/>
                  </a:lnTo>
                  <a:lnTo>
                    <a:pt x="57" y="34"/>
                  </a:lnTo>
                  <a:lnTo>
                    <a:pt x="60" y="35"/>
                  </a:lnTo>
                  <a:lnTo>
                    <a:pt x="63" y="34"/>
                  </a:lnTo>
                  <a:lnTo>
                    <a:pt x="64" y="31"/>
                  </a:lnTo>
                  <a:lnTo>
                    <a:pt x="65" y="28"/>
                  </a:lnTo>
                  <a:lnTo>
                    <a:pt x="67" y="28"/>
                  </a:lnTo>
                  <a:lnTo>
                    <a:pt x="70" y="26"/>
                  </a:lnTo>
                  <a:lnTo>
                    <a:pt x="70" y="30"/>
                  </a:lnTo>
                  <a:lnTo>
                    <a:pt x="69" y="32"/>
                  </a:lnTo>
                  <a:lnTo>
                    <a:pt x="69" y="35"/>
                  </a:lnTo>
                  <a:lnTo>
                    <a:pt x="68" y="38"/>
                  </a:lnTo>
                  <a:lnTo>
                    <a:pt x="70" y="40"/>
                  </a:lnTo>
                  <a:lnTo>
                    <a:pt x="74" y="42"/>
                  </a:lnTo>
                  <a:lnTo>
                    <a:pt x="77" y="42"/>
                  </a:lnTo>
                  <a:lnTo>
                    <a:pt x="79" y="42"/>
                  </a:lnTo>
                  <a:lnTo>
                    <a:pt x="82" y="40"/>
                  </a:lnTo>
                  <a:lnTo>
                    <a:pt x="82" y="38"/>
                  </a:lnTo>
                  <a:lnTo>
                    <a:pt x="82" y="35"/>
                  </a:lnTo>
                  <a:lnTo>
                    <a:pt x="84" y="34"/>
                  </a:lnTo>
                  <a:lnTo>
                    <a:pt x="87" y="33"/>
                  </a:lnTo>
                  <a:lnTo>
                    <a:pt x="90" y="33"/>
                  </a:lnTo>
                  <a:lnTo>
                    <a:pt x="93" y="33"/>
                  </a:lnTo>
                  <a:lnTo>
                    <a:pt x="95" y="31"/>
                  </a:lnTo>
                  <a:lnTo>
                    <a:pt x="96" y="28"/>
                  </a:lnTo>
                  <a:lnTo>
                    <a:pt x="94" y="26"/>
                  </a:lnTo>
                  <a:lnTo>
                    <a:pt x="92" y="24"/>
                  </a:lnTo>
                  <a:lnTo>
                    <a:pt x="94" y="24"/>
                  </a:lnTo>
                  <a:lnTo>
                    <a:pt x="98" y="24"/>
                  </a:lnTo>
                  <a:lnTo>
                    <a:pt x="98" y="22"/>
                  </a:lnTo>
                  <a:lnTo>
                    <a:pt x="94" y="21"/>
                  </a:lnTo>
                  <a:lnTo>
                    <a:pt x="92" y="18"/>
                  </a:lnTo>
                  <a:lnTo>
                    <a:pt x="95" y="16"/>
                  </a:lnTo>
                  <a:lnTo>
                    <a:pt x="98" y="15"/>
                  </a:lnTo>
                  <a:lnTo>
                    <a:pt x="101" y="14"/>
                  </a:lnTo>
                  <a:lnTo>
                    <a:pt x="103" y="13"/>
                  </a:lnTo>
                  <a:lnTo>
                    <a:pt x="101" y="9"/>
                  </a:lnTo>
                  <a:lnTo>
                    <a:pt x="98" y="9"/>
                  </a:lnTo>
                  <a:close/>
                  <a:moveTo>
                    <a:pt x="4288" y="297"/>
                  </a:moveTo>
                  <a:lnTo>
                    <a:pt x="4286" y="297"/>
                  </a:lnTo>
                  <a:lnTo>
                    <a:pt x="4286" y="297"/>
                  </a:lnTo>
                  <a:lnTo>
                    <a:pt x="4284" y="298"/>
                  </a:lnTo>
                  <a:lnTo>
                    <a:pt x="4283" y="295"/>
                  </a:lnTo>
                  <a:lnTo>
                    <a:pt x="4281" y="293"/>
                  </a:lnTo>
                  <a:lnTo>
                    <a:pt x="4279" y="296"/>
                  </a:lnTo>
                  <a:lnTo>
                    <a:pt x="4281" y="293"/>
                  </a:lnTo>
                  <a:lnTo>
                    <a:pt x="4279" y="292"/>
                  </a:lnTo>
                  <a:lnTo>
                    <a:pt x="4275" y="290"/>
                  </a:lnTo>
                  <a:lnTo>
                    <a:pt x="4273" y="288"/>
                  </a:lnTo>
                  <a:lnTo>
                    <a:pt x="4269" y="287"/>
                  </a:lnTo>
                  <a:lnTo>
                    <a:pt x="4267" y="284"/>
                  </a:lnTo>
                  <a:lnTo>
                    <a:pt x="4264" y="282"/>
                  </a:lnTo>
                  <a:lnTo>
                    <a:pt x="4264" y="280"/>
                  </a:lnTo>
                  <a:lnTo>
                    <a:pt x="4260" y="279"/>
                  </a:lnTo>
                  <a:lnTo>
                    <a:pt x="4258" y="279"/>
                  </a:lnTo>
                  <a:lnTo>
                    <a:pt x="4255" y="279"/>
                  </a:lnTo>
                  <a:lnTo>
                    <a:pt x="4250" y="278"/>
                  </a:lnTo>
                  <a:lnTo>
                    <a:pt x="4252" y="278"/>
                  </a:lnTo>
                  <a:lnTo>
                    <a:pt x="4250" y="278"/>
                  </a:lnTo>
                  <a:lnTo>
                    <a:pt x="4248" y="276"/>
                  </a:lnTo>
                  <a:lnTo>
                    <a:pt x="4245" y="276"/>
                  </a:lnTo>
                  <a:lnTo>
                    <a:pt x="4248" y="278"/>
                  </a:lnTo>
                  <a:lnTo>
                    <a:pt x="4250" y="279"/>
                  </a:lnTo>
                  <a:lnTo>
                    <a:pt x="4248" y="280"/>
                  </a:lnTo>
                  <a:lnTo>
                    <a:pt x="4246" y="280"/>
                  </a:lnTo>
                  <a:lnTo>
                    <a:pt x="4242" y="279"/>
                  </a:lnTo>
                  <a:lnTo>
                    <a:pt x="4243" y="281"/>
                  </a:lnTo>
                  <a:lnTo>
                    <a:pt x="4241" y="282"/>
                  </a:lnTo>
                  <a:lnTo>
                    <a:pt x="4241" y="279"/>
                  </a:lnTo>
                  <a:lnTo>
                    <a:pt x="4243" y="276"/>
                  </a:lnTo>
                  <a:lnTo>
                    <a:pt x="4241" y="276"/>
                  </a:lnTo>
                  <a:lnTo>
                    <a:pt x="4238" y="275"/>
                  </a:lnTo>
                  <a:lnTo>
                    <a:pt x="4235" y="275"/>
                  </a:lnTo>
                  <a:lnTo>
                    <a:pt x="4232" y="275"/>
                  </a:lnTo>
                  <a:lnTo>
                    <a:pt x="4230" y="275"/>
                  </a:lnTo>
                  <a:lnTo>
                    <a:pt x="4226" y="275"/>
                  </a:lnTo>
                  <a:lnTo>
                    <a:pt x="4224" y="275"/>
                  </a:lnTo>
                  <a:lnTo>
                    <a:pt x="4226" y="276"/>
                  </a:lnTo>
                  <a:lnTo>
                    <a:pt x="4230" y="278"/>
                  </a:lnTo>
                  <a:lnTo>
                    <a:pt x="4231" y="281"/>
                  </a:lnTo>
                  <a:lnTo>
                    <a:pt x="4232" y="283"/>
                  </a:lnTo>
                  <a:lnTo>
                    <a:pt x="4230" y="287"/>
                  </a:lnTo>
                  <a:lnTo>
                    <a:pt x="4228" y="288"/>
                  </a:lnTo>
                  <a:lnTo>
                    <a:pt x="4230" y="288"/>
                  </a:lnTo>
                  <a:lnTo>
                    <a:pt x="4233" y="289"/>
                  </a:lnTo>
                  <a:lnTo>
                    <a:pt x="4234" y="291"/>
                  </a:lnTo>
                  <a:lnTo>
                    <a:pt x="4232" y="295"/>
                  </a:lnTo>
                  <a:lnTo>
                    <a:pt x="4231" y="296"/>
                  </a:lnTo>
                  <a:lnTo>
                    <a:pt x="4231" y="293"/>
                  </a:lnTo>
                  <a:lnTo>
                    <a:pt x="4232" y="291"/>
                  </a:lnTo>
                  <a:lnTo>
                    <a:pt x="4229" y="290"/>
                  </a:lnTo>
                  <a:lnTo>
                    <a:pt x="4226" y="292"/>
                  </a:lnTo>
                  <a:lnTo>
                    <a:pt x="4225" y="290"/>
                  </a:lnTo>
                  <a:lnTo>
                    <a:pt x="4223" y="288"/>
                  </a:lnTo>
                  <a:lnTo>
                    <a:pt x="4220" y="287"/>
                  </a:lnTo>
                  <a:lnTo>
                    <a:pt x="4220" y="284"/>
                  </a:lnTo>
                  <a:lnTo>
                    <a:pt x="4221" y="281"/>
                  </a:lnTo>
                  <a:lnTo>
                    <a:pt x="4219" y="276"/>
                  </a:lnTo>
                  <a:lnTo>
                    <a:pt x="4220" y="273"/>
                  </a:lnTo>
                  <a:lnTo>
                    <a:pt x="4221" y="271"/>
                  </a:lnTo>
                  <a:lnTo>
                    <a:pt x="4219" y="267"/>
                  </a:lnTo>
                  <a:lnTo>
                    <a:pt x="4216" y="270"/>
                  </a:lnTo>
                  <a:lnTo>
                    <a:pt x="4213" y="270"/>
                  </a:lnTo>
                  <a:lnTo>
                    <a:pt x="4215" y="267"/>
                  </a:lnTo>
                  <a:lnTo>
                    <a:pt x="4214" y="265"/>
                  </a:lnTo>
                  <a:lnTo>
                    <a:pt x="4214" y="263"/>
                  </a:lnTo>
                  <a:lnTo>
                    <a:pt x="4212" y="262"/>
                  </a:lnTo>
                  <a:lnTo>
                    <a:pt x="4209" y="261"/>
                  </a:lnTo>
                  <a:lnTo>
                    <a:pt x="4207" y="260"/>
                  </a:lnTo>
                  <a:lnTo>
                    <a:pt x="4204" y="257"/>
                  </a:lnTo>
                  <a:lnTo>
                    <a:pt x="4202" y="256"/>
                  </a:lnTo>
                  <a:lnTo>
                    <a:pt x="4196" y="254"/>
                  </a:lnTo>
                  <a:lnTo>
                    <a:pt x="4192" y="253"/>
                  </a:lnTo>
                  <a:lnTo>
                    <a:pt x="4188" y="249"/>
                  </a:lnTo>
                  <a:lnTo>
                    <a:pt x="4185" y="248"/>
                  </a:lnTo>
                  <a:lnTo>
                    <a:pt x="4182" y="250"/>
                  </a:lnTo>
                  <a:lnTo>
                    <a:pt x="4181" y="248"/>
                  </a:lnTo>
                  <a:lnTo>
                    <a:pt x="4183" y="248"/>
                  </a:lnTo>
                  <a:lnTo>
                    <a:pt x="4181" y="246"/>
                  </a:lnTo>
                  <a:lnTo>
                    <a:pt x="4178" y="245"/>
                  </a:lnTo>
                  <a:lnTo>
                    <a:pt x="4175" y="244"/>
                  </a:lnTo>
                  <a:lnTo>
                    <a:pt x="4173" y="243"/>
                  </a:lnTo>
                  <a:lnTo>
                    <a:pt x="4175" y="244"/>
                  </a:lnTo>
                  <a:lnTo>
                    <a:pt x="4178" y="245"/>
                  </a:lnTo>
                  <a:lnTo>
                    <a:pt x="4181" y="247"/>
                  </a:lnTo>
                  <a:lnTo>
                    <a:pt x="4178" y="248"/>
                  </a:lnTo>
                  <a:lnTo>
                    <a:pt x="4177" y="245"/>
                  </a:lnTo>
                  <a:lnTo>
                    <a:pt x="4174" y="244"/>
                  </a:lnTo>
                  <a:lnTo>
                    <a:pt x="4171" y="243"/>
                  </a:lnTo>
                  <a:lnTo>
                    <a:pt x="4169" y="243"/>
                  </a:lnTo>
                  <a:lnTo>
                    <a:pt x="4166" y="239"/>
                  </a:lnTo>
                  <a:lnTo>
                    <a:pt x="4170" y="240"/>
                  </a:lnTo>
                  <a:lnTo>
                    <a:pt x="4168" y="238"/>
                  </a:lnTo>
                  <a:lnTo>
                    <a:pt x="4164" y="237"/>
                  </a:lnTo>
                  <a:lnTo>
                    <a:pt x="4162" y="236"/>
                  </a:lnTo>
                  <a:lnTo>
                    <a:pt x="4158" y="236"/>
                  </a:lnTo>
                  <a:lnTo>
                    <a:pt x="4157" y="232"/>
                  </a:lnTo>
                  <a:lnTo>
                    <a:pt x="4154" y="233"/>
                  </a:lnTo>
                  <a:lnTo>
                    <a:pt x="4152" y="232"/>
                  </a:lnTo>
                  <a:lnTo>
                    <a:pt x="4149" y="231"/>
                  </a:lnTo>
                  <a:lnTo>
                    <a:pt x="4147" y="231"/>
                  </a:lnTo>
                  <a:lnTo>
                    <a:pt x="4144" y="229"/>
                  </a:lnTo>
                  <a:lnTo>
                    <a:pt x="4147" y="230"/>
                  </a:lnTo>
                  <a:lnTo>
                    <a:pt x="4144" y="228"/>
                  </a:lnTo>
                  <a:lnTo>
                    <a:pt x="4141" y="226"/>
                  </a:lnTo>
                  <a:lnTo>
                    <a:pt x="4138" y="224"/>
                  </a:lnTo>
                  <a:lnTo>
                    <a:pt x="4136" y="224"/>
                  </a:lnTo>
                  <a:lnTo>
                    <a:pt x="4132" y="224"/>
                  </a:lnTo>
                  <a:lnTo>
                    <a:pt x="4136" y="223"/>
                  </a:lnTo>
                  <a:lnTo>
                    <a:pt x="4132" y="221"/>
                  </a:lnTo>
                  <a:lnTo>
                    <a:pt x="4130" y="220"/>
                  </a:lnTo>
                  <a:lnTo>
                    <a:pt x="4127" y="220"/>
                  </a:lnTo>
                  <a:lnTo>
                    <a:pt x="4124" y="220"/>
                  </a:lnTo>
                  <a:lnTo>
                    <a:pt x="4121" y="219"/>
                  </a:lnTo>
                  <a:lnTo>
                    <a:pt x="4119" y="218"/>
                  </a:lnTo>
                  <a:lnTo>
                    <a:pt x="4117" y="216"/>
                  </a:lnTo>
                  <a:lnTo>
                    <a:pt x="4113" y="216"/>
                  </a:lnTo>
                  <a:lnTo>
                    <a:pt x="4107" y="215"/>
                  </a:lnTo>
                  <a:lnTo>
                    <a:pt x="4105" y="214"/>
                  </a:lnTo>
                  <a:lnTo>
                    <a:pt x="4102" y="213"/>
                  </a:lnTo>
                  <a:lnTo>
                    <a:pt x="4100" y="212"/>
                  </a:lnTo>
                  <a:lnTo>
                    <a:pt x="4097" y="210"/>
                  </a:lnTo>
                  <a:lnTo>
                    <a:pt x="4094" y="209"/>
                  </a:lnTo>
                  <a:lnTo>
                    <a:pt x="4092" y="209"/>
                  </a:lnTo>
                  <a:lnTo>
                    <a:pt x="4088" y="210"/>
                  </a:lnTo>
                  <a:lnTo>
                    <a:pt x="4086" y="211"/>
                  </a:lnTo>
                  <a:lnTo>
                    <a:pt x="4083" y="210"/>
                  </a:lnTo>
                  <a:lnTo>
                    <a:pt x="4074" y="210"/>
                  </a:lnTo>
                  <a:lnTo>
                    <a:pt x="4071" y="210"/>
                  </a:lnTo>
                  <a:lnTo>
                    <a:pt x="4069" y="210"/>
                  </a:lnTo>
                  <a:lnTo>
                    <a:pt x="4066" y="210"/>
                  </a:lnTo>
                  <a:lnTo>
                    <a:pt x="4063" y="209"/>
                  </a:lnTo>
                  <a:lnTo>
                    <a:pt x="4060" y="207"/>
                  </a:lnTo>
                  <a:lnTo>
                    <a:pt x="4058" y="209"/>
                  </a:lnTo>
                  <a:lnTo>
                    <a:pt x="4060" y="211"/>
                  </a:lnTo>
                  <a:lnTo>
                    <a:pt x="4058" y="212"/>
                  </a:lnTo>
                  <a:lnTo>
                    <a:pt x="4057" y="212"/>
                  </a:lnTo>
                  <a:lnTo>
                    <a:pt x="4054" y="210"/>
                  </a:lnTo>
                  <a:lnTo>
                    <a:pt x="4051" y="209"/>
                  </a:lnTo>
                  <a:lnTo>
                    <a:pt x="4049" y="207"/>
                  </a:lnTo>
                  <a:lnTo>
                    <a:pt x="4046" y="207"/>
                  </a:lnTo>
                  <a:lnTo>
                    <a:pt x="4043" y="207"/>
                  </a:lnTo>
                  <a:lnTo>
                    <a:pt x="4041" y="206"/>
                  </a:lnTo>
                  <a:lnTo>
                    <a:pt x="4038" y="206"/>
                  </a:lnTo>
                  <a:lnTo>
                    <a:pt x="4036" y="206"/>
                  </a:lnTo>
                  <a:lnTo>
                    <a:pt x="4034" y="205"/>
                  </a:lnTo>
                  <a:lnTo>
                    <a:pt x="4030" y="205"/>
                  </a:lnTo>
                  <a:lnTo>
                    <a:pt x="4028" y="205"/>
                  </a:lnTo>
                  <a:lnTo>
                    <a:pt x="4025" y="204"/>
                  </a:lnTo>
                  <a:lnTo>
                    <a:pt x="4023" y="204"/>
                  </a:lnTo>
                  <a:lnTo>
                    <a:pt x="4019" y="203"/>
                  </a:lnTo>
                  <a:lnTo>
                    <a:pt x="4020" y="206"/>
                  </a:lnTo>
                  <a:lnTo>
                    <a:pt x="4020" y="206"/>
                  </a:lnTo>
                  <a:lnTo>
                    <a:pt x="4020" y="210"/>
                  </a:lnTo>
                  <a:lnTo>
                    <a:pt x="4020" y="212"/>
                  </a:lnTo>
                  <a:lnTo>
                    <a:pt x="4018" y="213"/>
                  </a:lnTo>
                  <a:lnTo>
                    <a:pt x="4015" y="214"/>
                  </a:lnTo>
                  <a:lnTo>
                    <a:pt x="4018" y="216"/>
                  </a:lnTo>
                  <a:lnTo>
                    <a:pt x="4020" y="216"/>
                  </a:lnTo>
                  <a:lnTo>
                    <a:pt x="4021" y="219"/>
                  </a:lnTo>
                  <a:lnTo>
                    <a:pt x="4024" y="222"/>
                  </a:lnTo>
                  <a:lnTo>
                    <a:pt x="4026" y="224"/>
                  </a:lnTo>
                  <a:lnTo>
                    <a:pt x="4026" y="228"/>
                  </a:lnTo>
                  <a:lnTo>
                    <a:pt x="4028" y="230"/>
                  </a:lnTo>
                  <a:lnTo>
                    <a:pt x="4026" y="231"/>
                  </a:lnTo>
                  <a:lnTo>
                    <a:pt x="4023" y="232"/>
                  </a:lnTo>
                  <a:lnTo>
                    <a:pt x="4023" y="235"/>
                  </a:lnTo>
                  <a:lnTo>
                    <a:pt x="4023" y="236"/>
                  </a:lnTo>
                  <a:lnTo>
                    <a:pt x="4019" y="233"/>
                  </a:lnTo>
                  <a:lnTo>
                    <a:pt x="4020" y="237"/>
                  </a:lnTo>
                  <a:lnTo>
                    <a:pt x="4021" y="237"/>
                  </a:lnTo>
                  <a:lnTo>
                    <a:pt x="4018" y="236"/>
                  </a:lnTo>
                  <a:lnTo>
                    <a:pt x="4016" y="236"/>
                  </a:lnTo>
                  <a:lnTo>
                    <a:pt x="4012" y="236"/>
                  </a:lnTo>
                  <a:lnTo>
                    <a:pt x="4012" y="236"/>
                  </a:lnTo>
                  <a:lnTo>
                    <a:pt x="4010" y="236"/>
                  </a:lnTo>
                  <a:lnTo>
                    <a:pt x="4007" y="236"/>
                  </a:lnTo>
                  <a:lnTo>
                    <a:pt x="4004" y="233"/>
                  </a:lnTo>
                  <a:lnTo>
                    <a:pt x="4004" y="230"/>
                  </a:lnTo>
                  <a:lnTo>
                    <a:pt x="4002" y="229"/>
                  </a:lnTo>
                  <a:lnTo>
                    <a:pt x="3999" y="228"/>
                  </a:lnTo>
                  <a:lnTo>
                    <a:pt x="3996" y="227"/>
                  </a:lnTo>
                  <a:lnTo>
                    <a:pt x="3993" y="226"/>
                  </a:lnTo>
                  <a:lnTo>
                    <a:pt x="3991" y="226"/>
                  </a:lnTo>
                  <a:lnTo>
                    <a:pt x="3989" y="223"/>
                  </a:lnTo>
                  <a:lnTo>
                    <a:pt x="3989" y="218"/>
                  </a:lnTo>
                  <a:lnTo>
                    <a:pt x="3985" y="216"/>
                  </a:lnTo>
                  <a:lnTo>
                    <a:pt x="3984" y="213"/>
                  </a:lnTo>
                  <a:lnTo>
                    <a:pt x="3981" y="212"/>
                  </a:lnTo>
                  <a:lnTo>
                    <a:pt x="3978" y="214"/>
                  </a:lnTo>
                  <a:lnTo>
                    <a:pt x="3975" y="216"/>
                  </a:lnTo>
                  <a:lnTo>
                    <a:pt x="3973" y="218"/>
                  </a:lnTo>
                  <a:lnTo>
                    <a:pt x="3969" y="219"/>
                  </a:lnTo>
                  <a:lnTo>
                    <a:pt x="3967" y="219"/>
                  </a:lnTo>
                  <a:lnTo>
                    <a:pt x="3959" y="219"/>
                  </a:lnTo>
                  <a:lnTo>
                    <a:pt x="3956" y="218"/>
                  </a:lnTo>
                  <a:lnTo>
                    <a:pt x="3953" y="216"/>
                  </a:lnTo>
                  <a:lnTo>
                    <a:pt x="3950" y="216"/>
                  </a:lnTo>
                  <a:lnTo>
                    <a:pt x="3949" y="216"/>
                  </a:lnTo>
                  <a:lnTo>
                    <a:pt x="3947" y="216"/>
                  </a:lnTo>
                  <a:lnTo>
                    <a:pt x="3943" y="216"/>
                  </a:lnTo>
                  <a:lnTo>
                    <a:pt x="3938" y="216"/>
                  </a:lnTo>
                  <a:lnTo>
                    <a:pt x="3935" y="215"/>
                  </a:lnTo>
                  <a:lnTo>
                    <a:pt x="3932" y="213"/>
                  </a:lnTo>
                  <a:lnTo>
                    <a:pt x="3930" y="213"/>
                  </a:lnTo>
                  <a:lnTo>
                    <a:pt x="3926" y="214"/>
                  </a:lnTo>
                  <a:lnTo>
                    <a:pt x="3924" y="214"/>
                  </a:lnTo>
                  <a:lnTo>
                    <a:pt x="3922" y="213"/>
                  </a:lnTo>
                  <a:lnTo>
                    <a:pt x="3918" y="214"/>
                  </a:lnTo>
                  <a:lnTo>
                    <a:pt x="3916" y="214"/>
                  </a:lnTo>
                  <a:lnTo>
                    <a:pt x="3913" y="215"/>
                  </a:lnTo>
                  <a:lnTo>
                    <a:pt x="3910" y="214"/>
                  </a:lnTo>
                  <a:lnTo>
                    <a:pt x="3909" y="214"/>
                  </a:lnTo>
                  <a:lnTo>
                    <a:pt x="3906" y="215"/>
                  </a:lnTo>
                  <a:lnTo>
                    <a:pt x="3905" y="215"/>
                  </a:lnTo>
                  <a:lnTo>
                    <a:pt x="3902" y="215"/>
                  </a:lnTo>
                  <a:lnTo>
                    <a:pt x="3900" y="215"/>
                  </a:lnTo>
                  <a:lnTo>
                    <a:pt x="3897" y="215"/>
                  </a:lnTo>
                  <a:lnTo>
                    <a:pt x="3895" y="216"/>
                  </a:lnTo>
                  <a:lnTo>
                    <a:pt x="3891" y="218"/>
                  </a:lnTo>
                  <a:lnTo>
                    <a:pt x="3887" y="215"/>
                  </a:lnTo>
                  <a:lnTo>
                    <a:pt x="3884" y="214"/>
                  </a:lnTo>
                  <a:lnTo>
                    <a:pt x="3881" y="214"/>
                  </a:lnTo>
                  <a:lnTo>
                    <a:pt x="3880" y="215"/>
                  </a:lnTo>
                  <a:lnTo>
                    <a:pt x="3878" y="213"/>
                  </a:lnTo>
                  <a:lnTo>
                    <a:pt x="3875" y="213"/>
                  </a:lnTo>
                  <a:lnTo>
                    <a:pt x="3873" y="212"/>
                  </a:lnTo>
                  <a:lnTo>
                    <a:pt x="3872" y="210"/>
                  </a:lnTo>
                  <a:lnTo>
                    <a:pt x="3873" y="209"/>
                  </a:lnTo>
                  <a:lnTo>
                    <a:pt x="3873" y="207"/>
                  </a:lnTo>
                  <a:lnTo>
                    <a:pt x="3874" y="206"/>
                  </a:lnTo>
                  <a:lnTo>
                    <a:pt x="3874" y="206"/>
                  </a:lnTo>
                  <a:lnTo>
                    <a:pt x="3874" y="206"/>
                  </a:lnTo>
                  <a:lnTo>
                    <a:pt x="3874" y="205"/>
                  </a:lnTo>
                  <a:lnTo>
                    <a:pt x="3873" y="204"/>
                  </a:lnTo>
                  <a:lnTo>
                    <a:pt x="3875" y="202"/>
                  </a:lnTo>
                  <a:lnTo>
                    <a:pt x="3878" y="199"/>
                  </a:lnTo>
                  <a:lnTo>
                    <a:pt x="3876" y="196"/>
                  </a:lnTo>
                  <a:lnTo>
                    <a:pt x="3874" y="194"/>
                  </a:lnTo>
                  <a:lnTo>
                    <a:pt x="3872" y="190"/>
                  </a:lnTo>
                  <a:lnTo>
                    <a:pt x="3867" y="187"/>
                  </a:lnTo>
                  <a:lnTo>
                    <a:pt x="3856" y="182"/>
                  </a:lnTo>
                  <a:lnTo>
                    <a:pt x="3847" y="180"/>
                  </a:lnTo>
                  <a:lnTo>
                    <a:pt x="3839" y="180"/>
                  </a:lnTo>
                  <a:lnTo>
                    <a:pt x="3820" y="179"/>
                  </a:lnTo>
                  <a:lnTo>
                    <a:pt x="3797" y="182"/>
                  </a:lnTo>
                  <a:lnTo>
                    <a:pt x="3789" y="186"/>
                  </a:lnTo>
                  <a:lnTo>
                    <a:pt x="3786" y="185"/>
                  </a:lnTo>
                  <a:lnTo>
                    <a:pt x="3776" y="186"/>
                  </a:lnTo>
                  <a:lnTo>
                    <a:pt x="3770" y="185"/>
                  </a:lnTo>
                  <a:lnTo>
                    <a:pt x="3761" y="182"/>
                  </a:lnTo>
                  <a:lnTo>
                    <a:pt x="3767" y="182"/>
                  </a:lnTo>
                  <a:lnTo>
                    <a:pt x="3768" y="180"/>
                  </a:lnTo>
                  <a:lnTo>
                    <a:pt x="3762" y="176"/>
                  </a:lnTo>
                  <a:lnTo>
                    <a:pt x="3759" y="173"/>
                  </a:lnTo>
                  <a:lnTo>
                    <a:pt x="3756" y="173"/>
                  </a:lnTo>
                  <a:lnTo>
                    <a:pt x="3753" y="172"/>
                  </a:lnTo>
                  <a:lnTo>
                    <a:pt x="3751" y="172"/>
                  </a:lnTo>
                  <a:lnTo>
                    <a:pt x="3748" y="175"/>
                  </a:lnTo>
                  <a:lnTo>
                    <a:pt x="3745" y="175"/>
                  </a:lnTo>
                  <a:lnTo>
                    <a:pt x="3743" y="175"/>
                  </a:lnTo>
                  <a:lnTo>
                    <a:pt x="3739" y="177"/>
                  </a:lnTo>
                  <a:lnTo>
                    <a:pt x="3742" y="175"/>
                  </a:lnTo>
                  <a:lnTo>
                    <a:pt x="3745" y="173"/>
                  </a:lnTo>
                  <a:lnTo>
                    <a:pt x="3747" y="171"/>
                  </a:lnTo>
                  <a:lnTo>
                    <a:pt x="3744" y="169"/>
                  </a:lnTo>
                  <a:lnTo>
                    <a:pt x="3742" y="169"/>
                  </a:lnTo>
                  <a:lnTo>
                    <a:pt x="3737" y="170"/>
                  </a:lnTo>
                  <a:lnTo>
                    <a:pt x="3738" y="168"/>
                  </a:lnTo>
                  <a:lnTo>
                    <a:pt x="3735" y="166"/>
                  </a:lnTo>
                  <a:lnTo>
                    <a:pt x="3727" y="164"/>
                  </a:lnTo>
                  <a:lnTo>
                    <a:pt x="3724" y="166"/>
                  </a:lnTo>
                  <a:lnTo>
                    <a:pt x="3724" y="162"/>
                  </a:lnTo>
                  <a:lnTo>
                    <a:pt x="3726" y="162"/>
                  </a:lnTo>
                  <a:lnTo>
                    <a:pt x="3729" y="161"/>
                  </a:lnTo>
                  <a:lnTo>
                    <a:pt x="3731" y="160"/>
                  </a:lnTo>
                  <a:lnTo>
                    <a:pt x="3735" y="162"/>
                  </a:lnTo>
                  <a:lnTo>
                    <a:pt x="3737" y="161"/>
                  </a:lnTo>
                  <a:lnTo>
                    <a:pt x="3739" y="159"/>
                  </a:lnTo>
                  <a:lnTo>
                    <a:pt x="3734" y="153"/>
                  </a:lnTo>
                  <a:lnTo>
                    <a:pt x="3726" y="151"/>
                  </a:lnTo>
                  <a:lnTo>
                    <a:pt x="3718" y="149"/>
                  </a:lnTo>
                  <a:lnTo>
                    <a:pt x="3712" y="149"/>
                  </a:lnTo>
                  <a:lnTo>
                    <a:pt x="3701" y="149"/>
                  </a:lnTo>
                  <a:lnTo>
                    <a:pt x="3693" y="155"/>
                  </a:lnTo>
                  <a:lnTo>
                    <a:pt x="3688" y="160"/>
                  </a:lnTo>
                  <a:lnTo>
                    <a:pt x="3686" y="161"/>
                  </a:lnTo>
                  <a:lnTo>
                    <a:pt x="3680" y="163"/>
                  </a:lnTo>
                  <a:lnTo>
                    <a:pt x="3677" y="163"/>
                  </a:lnTo>
                  <a:lnTo>
                    <a:pt x="3675" y="166"/>
                  </a:lnTo>
                  <a:lnTo>
                    <a:pt x="3673" y="164"/>
                  </a:lnTo>
                  <a:lnTo>
                    <a:pt x="3669" y="164"/>
                  </a:lnTo>
                  <a:lnTo>
                    <a:pt x="3673" y="162"/>
                  </a:lnTo>
                  <a:lnTo>
                    <a:pt x="3670" y="159"/>
                  </a:lnTo>
                  <a:lnTo>
                    <a:pt x="3673" y="159"/>
                  </a:lnTo>
                  <a:lnTo>
                    <a:pt x="3676" y="160"/>
                  </a:lnTo>
                  <a:lnTo>
                    <a:pt x="3682" y="159"/>
                  </a:lnTo>
                  <a:lnTo>
                    <a:pt x="3679" y="151"/>
                  </a:lnTo>
                  <a:lnTo>
                    <a:pt x="3682" y="151"/>
                  </a:lnTo>
                  <a:lnTo>
                    <a:pt x="3684" y="153"/>
                  </a:lnTo>
                  <a:lnTo>
                    <a:pt x="3686" y="153"/>
                  </a:lnTo>
                  <a:lnTo>
                    <a:pt x="3686" y="155"/>
                  </a:lnTo>
                  <a:lnTo>
                    <a:pt x="3684" y="158"/>
                  </a:lnTo>
                  <a:lnTo>
                    <a:pt x="3684" y="161"/>
                  </a:lnTo>
                  <a:lnTo>
                    <a:pt x="3688" y="156"/>
                  </a:lnTo>
                  <a:lnTo>
                    <a:pt x="3696" y="149"/>
                  </a:lnTo>
                  <a:lnTo>
                    <a:pt x="3688" y="149"/>
                  </a:lnTo>
                  <a:lnTo>
                    <a:pt x="3671" y="150"/>
                  </a:lnTo>
                  <a:lnTo>
                    <a:pt x="3666" y="151"/>
                  </a:lnTo>
                  <a:lnTo>
                    <a:pt x="3663" y="152"/>
                  </a:lnTo>
                  <a:lnTo>
                    <a:pt x="3660" y="152"/>
                  </a:lnTo>
                  <a:lnTo>
                    <a:pt x="3659" y="151"/>
                  </a:lnTo>
                  <a:lnTo>
                    <a:pt x="3659" y="150"/>
                  </a:lnTo>
                  <a:lnTo>
                    <a:pt x="3665" y="150"/>
                  </a:lnTo>
                  <a:lnTo>
                    <a:pt x="3667" y="146"/>
                  </a:lnTo>
                  <a:lnTo>
                    <a:pt x="3670" y="142"/>
                  </a:lnTo>
                  <a:lnTo>
                    <a:pt x="3665" y="141"/>
                  </a:lnTo>
                  <a:lnTo>
                    <a:pt x="3661" y="141"/>
                  </a:lnTo>
                  <a:lnTo>
                    <a:pt x="3653" y="139"/>
                  </a:lnTo>
                  <a:lnTo>
                    <a:pt x="3651" y="139"/>
                  </a:lnTo>
                  <a:lnTo>
                    <a:pt x="3634" y="138"/>
                  </a:lnTo>
                  <a:lnTo>
                    <a:pt x="3628" y="138"/>
                  </a:lnTo>
                  <a:lnTo>
                    <a:pt x="3623" y="136"/>
                  </a:lnTo>
                  <a:lnTo>
                    <a:pt x="3619" y="135"/>
                  </a:lnTo>
                  <a:lnTo>
                    <a:pt x="3611" y="134"/>
                  </a:lnTo>
                  <a:lnTo>
                    <a:pt x="3611" y="136"/>
                  </a:lnTo>
                  <a:lnTo>
                    <a:pt x="3615" y="138"/>
                  </a:lnTo>
                  <a:lnTo>
                    <a:pt x="3615" y="141"/>
                  </a:lnTo>
                  <a:lnTo>
                    <a:pt x="3612" y="143"/>
                  </a:lnTo>
                  <a:lnTo>
                    <a:pt x="3607" y="144"/>
                  </a:lnTo>
                  <a:lnTo>
                    <a:pt x="3602" y="144"/>
                  </a:lnTo>
                  <a:lnTo>
                    <a:pt x="3599" y="144"/>
                  </a:lnTo>
                  <a:lnTo>
                    <a:pt x="3597" y="144"/>
                  </a:lnTo>
                  <a:lnTo>
                    <a:pt x="3591" y="147"/>
                  </a:lnTo>
                  <a:lnTo>
                    <a:pt x="3590" y="151"/>
                  </a:lnTo>
                  <a:lnTo>
                    <a:pt x="3592" y="153"/>
                  </a:lnTo>
                  <a:lnTo>
                    <a:pt x="3594" y="153"/>
                  </a:lnTo>
                  <a:lnTo>
                    <a:pt x="3598" y="151"/>
                  </a:lnTo>
                  <a:lnTo>
                    <a:pt x="3602" y="151"/>
                  </a:lnTo>
                  <a:lnTo>
                    <a:pt x="3605" y="152"/>
                  </a:lnTo>
                  <a:lnTo>
                    <a:pt x="3599" y="153"/>
                  </a:lnTo>
                  <a:lnTo>
                    <a:pt x="3598" y="156"/>
                  </a:lnTo>
                  <a:lnTo>
                    <a:pt x="3594" y="158"/>
                  </a:lnTo>
                  <a:lnTo>
                    <a:pt x="3598" y="160"/>
                  </a:lnTo>
                  <a:lnTo>
                    <a:pt x="3598" y="162"/>
                  </a:lnTo>
                  <a:lnTo>
                    <a:pt x="3599" y="166"/>
                  </a:lnTo>
                  <a:lnTo>
                    <a:pt x="3601" y="168"/>
                  </a:lnTo>
                  <a:lnTo>
                    <a:pt x="3602" y="170"/>
                  </a:lnTo>
                  <a:lnTo>
                    <a:pt x="3601" y="170"/>
                  </a:lnTo>
                  <a:lnTo>
                    <a:pt x="3599" y="170"/>
                  </a:lnTo>
                  <a:lnTo>
                    <a:pt x="3596" y="170"/>
                  </a:lnTo>
                  <a:lnTo>
                    <a:pt x="3593" y="171"/>
                  </a:lnTo>
                  <a:lnTo>
                    <a:pt x="3590" y="170"/>
                  </a:lnTo>
                  <a:lnTo>
                    <a:pt x="3589" y="168"/>
                  </a:lnTo>
                  <a:lnTo>
                    <a:pt x="3586" y="167"/>
                  </a:lnTo>
                  <a:lnTo>
                    <a:pt x="3583" y="166"/>
                  </a:lnTo>
                  <a:lnTo>
                    <a:pt x="3577" y="167"/>
                  </a:lnTo>
                  <a:lnTo>
                    <a:pt x="3575" y="168"/>
                  </a:lnTo>
                  <a:lnTo>
                    <a:pt x="3574" y="173"/>
                  </a:lnTo>
                  <a:lnTo>
                    <a:pt x="3580" y="175"/>
                  </a:lnTo>
                  <a:lnTo>
                    <a:pt x="3576" y="176"/>
                  </a:lnTo>
                  <a:lnTo>
                    <a:pt x="3571" y="177"/>
                  </a:lnTo>
                  <a:lnTo>
                    <a:pt x="3574" y="178"/>
                  </a:lnTo>
                  <a:lnTo>
                    <a:pt x="3568" y="177"/>
                  </a:lnTo>
                  <a:lnTo>
                    <a:pt x="3571" y="176"/>
                  </a:lnTo>
                  <a:lnTo>
                    <a:pt x="3568" y="176"/>
                  </a:lnTo>
                  <a:lnTo>
                    <a:pt x="3565" y="173"/>
                  </a:lnTo>
                  <a:lnTo>
                    <a:pt x="3559" y="170"/>
                  </a:lnTo>
                  <a:lnTo>
                    <a:pt x="3557" y="169"/>
                  </a:lnTo>
                  <a:lnTo>
                    <a:pt x="3555" y="169"/>
                  </a:lnTo>
                  <a:lnTo>
                    <a:pt x="3552" y="168"/>
                  </a:lnTo>
                  <a:lnTo>
                    <a:pt x="3547" y="166"/>
                  </a:lnTo>
                  <a:lnTo>
                    <a:pt x="3543" y="166"/>
                  </a:lnTo>
                  <a:lnTo>
                    <a:pt x="3541" y="167"/>
                  </a:lnTo>
                  <a:lnTo>
                    <a:pt x="3539" y="169"/>
                  </a:lnTo>
                  <a:lnTo>
                    <a:pt x="3535" y="168"/>
                  </a:lnTo>
                  <a:lnTo>
                    <a:pt x="3533" y="169"/>
                  </a:lnTo>
                  <a:lnTo>
                    <a:pt x="3530" y="171"/>
                  </a:lnTo>
                  <a:lnTo>
                    <a:pt x="3530" y="172"/>
                  </a:lnTo>
                  <a:lnTo>
                    <a:pt x="3529" y="176"/>
                  </a:lnTo>
                  <a:lnTo>
                    <a:pt x="3530" y="172"/>
                  </a:lnTo>
                  <a:lnTo>
                    <a:pt x="3521" y="172"/>
                  </a:lnTo>
                  <a:lnTo>
                    <a:pt x="3516" y="171"/>
                  </a:lnTo>
                  <a:lnTo>
                    <a:pt x="3511" y="169"/>
                  </a:lnTo>
                  <a:lnTo>
                    <a:pt x="3507" y="167"/>
                  </a:lnTo>
                  <a:lnTo>
                    <a:pt x="3503" y="161"/>
                  </a:lnTo>
                  <a:lnTo>
                    <a:pt x="3503" y="158"/>
                  </a:lnTo>
                  <a:lnTo>
                    <a:pt x="3499" y="160"/>
                  </a:lnTo>
                  <a:lnTo>
                    <a:pt x="3496" y="166"/>
                  </a:lnTo>
                  <a:lnTo>
                    <a:pt x="3494" y="171"/>
                  </a:lnTo>
                  <a:lnTo>
                    <a:pt x="3492" y="173"/>
                  </a:lnTo>
                  <a:lnTo>
                    <a:pt x="3494" y="177"/>
                  </a:lnTo>
                  <a:lnTo>
                    <a:pt x="3490" y="178"/>
                  </a:lnTo>
                  <a:lnTo>
                    <a:pt x="3488" y="180"/>
                  </a:lnTo>
                  <a:lnTo>
                    <a:pt x="3488" y="182"/>
                  </a:lnTo>
                  <a:lnTo>
                    <a:pt x="3486" y="186"/>
                  </a:lnTo>
                  <a:lnTo>
                    <a:pt x="3482" y="187"/>
                  </a:lnTo>
                  <a:lnTo>
                    <a:pt x="3480" y="188"/>
                  </a:lnTo>
                  <a:lnTo>
                    <a:pt x="3478" y="186"/>
                  </a:lnTo>
                  <a:lnTo>
                    <a:pt x="3477" y="184"/>
                  </a:lnTo>
                  <a:lnTo>
                    <a:pt x="3473" y="185"/>
                  </a:lnTo>
                  <a:lnTo>
                    <a:pt x="3471" y="184"/>
                  </a:lnTo>
                  <a:lnTo>
                    <a:pt x="3465" y="180"/>
                  </a:lnTo>
                  <a:lnTo>
                    <a:pt x="3462" y="179"/>
                  </a:lnTo>
                  <a:lnTo>
                    <a:pt x="3461" y="177"/>
                  </a:lnTo>
                  <a:lnTo>
                    <a:pt x="3458" y="175"/>
                  </a:lnTo>
                  <a:lnTo>
                    <a:pt x="3456" y="172"/>
                  </a:lnTo>
                  <a:lnTo>
                    <a:pt x="3455" y="169"/>
                  </a:lnTo>
                  <a:lnTo>
                    <a:pt x="3452" y="167"/>
                  </a:lnTo>
                  <a:lnTo>
                    <a:pt x="3449" y="167"/>
                  </a:lnTo>
                  <a:lnTo>
                    <a:pt x="3451" y="164"/>
                  </a:lnTo>
                  <a:lnTo>
                    <a:pt x="3453" y="164"/>
                  </a:lnTo>
                  <a:lnTo>
                    <a:pt x="3455" y="163"/>
                  </a:lnTo>
                  <a:lnTo>
                    <a:pt x="3458" y="164"/>
                  </a:lnTo>
                  <a:lnTo>
                    <a:pt x="3455" y="162"/>
                  </a:lnTo>
                  <a:lnTo>
                    <a:pt x="3454" y="159"/>
                  </a:lnTo>
                  <a:lnTo>
                    <a:pt x="3452" y="156"/>
                  </a:lnTo>
                  <a:lnTo>
                    <a:pt x="3452" y="156"/>
                  </a:lnTo>
                  <a:lnTo>
                    <a:pt x="3453" y="160"/>
                  </a:lnTo>
                  <a:lnTo>
                    <a:pt x="3453" y="162"/>
                  </a:lnTo>
                  <a:lnTo>
                    <a:pt x="3451" y="163"/>
                  </a:lnTo>
                  <a:lnTo>
                    <a:pt x="3448" y="162"/>
                  </a:lnTo>
                  <a:lnTo>
                    <a:pt x="3446" y="160"/>
                  </a:lnTo>
                  <a:lnTo>
                    <a:pt x="3444" y="158"/>
                  </a:lnTo>
                  <a:lnTo>
                    <a:pt x="3440" y="152"/>
                  </a:lnTo>
                  <a:lnTo>
                    <a:pt x="3440" y="151"/>
                  </a:lnTo>
                  <a:lnTo>
                    <a:pt x="3445" y="152"/>
                  </a:lnTo>
                  <a:lnTo>
                    <a:pt x="3446" y="154"/>
                  </a:lnTo>
                  <a:lnTo>
                    <a:pt x="3452" y="155"/>
                  </a:lnTo>
                  <a:lnTo>
                    <a:pt x="3455" y="154"/>
                  </a:lnTo>
                  <a:lnTo>
                    <a:pt x="3457" y="153"/>
                  </a:lnTo>
                  <a:lnTo>
                    <a:pt x="3455" y="153"/>
                  </a:lnTo>
                  <a:lnTo>
                    <a:pt x="3458" y="151"/>
                  </a:lnTo>
                  <a:lnTo>
                    <a:pt x="3456" y="150"/>
                  </a:lnTo>
                  <a:lnTo>
                    <a:pt x="3457" y="147"/>
                  </a:lnTo>
                  <a:lnTo>
                    <a:pt x="3457" y="147"/>
                  </a:lnTo>
                  <a:lnTo>
                    <a:pt x="3455" y="146"/>
                  </a:lnTo>
                  <a:lnTo>
                    <a:pt x="3454" y="144"/>
                  </a:lnTo>
                  <a:lnTo>
                    <a:pt x="3448" y="145"/>
                  </a:lnTo>
                  <a:lnTo>
                    <a:pt x="3445" y="144"/>
                  </a:lnTo>
                  <a:lnTo>
                    <a:pt x="3443" y="143"/>
                  </a:lnTo>
                  <a:lnTo>
                    <a:pt x="3443" y="143"/>
                  </a:lnTo>
                  <a:lnTo>
                    <a:pt x="3448" y="143"/>
                  </a:lnTo>
                  <a:lnTo>
                    <a:pt x="3451" y="139"/>
                  </a:lnTo>
                  <a:lnTo>
                    <a:pt x="3454" y="139"/>
                  </a:lnTo>
                  <a:lnTo>
                    <a:pt x="3454" y="138"/>
                  </a:lnTo>
                  <a:lnTo>
                    <a:pt x="3448" y="137"/>
                  </a:lnTo>
                  <a:lnTo>
                    <a:pt x="3449" y="136"/>
                  </a:lnTo>
                  <a:lnTo>
                    <a:pt x="3452" y="136"/>
                  </a:lnTo>
                  <a:lnTo>
                    <a:pt x="3455" y="136"/>
                  </a:lnTo>
                  <a:lnTo>
                    <a:pt x="3452" y="135"/>
                  </a:lnTo>
                  <a:lnTo>
                    <a:pt x="3444" y="134"/>
                  </a:lnTo>
                  <a:lnTo>
                    <a:pt x="3444" y="133"/>
                  </a:lnTo>
                  <a:lnTo>
                    <a:pt x="3446" y="133"/>
                  </a:lnTo>
                  <a:lnTo>
                    <a:pt x="3449" y="132"/>
                  </a:lnTo>
                  <a:lnTo>
                    <a:pt x="3452" y="130"/>
                  </a:lnTo>
                  <a:lnTo>
                    <a:pt x="3451" y="128"/>
                  </a:lnTo>
                  <a:lnTo>
                    <a:pt x="3448" y="129"/>
                  </a:lnTo>
                  <a:lnTo>
                    <a:pt x="3449" y="128"/>
                  </a:lnTo>
                  <a:lnTo>
                    <a:pt x="3449" y="125"/>
                  </a:lnTo>
                  <a:lnTo>
                    <a:pt x="3446" y="124"/>
                  </a:lnTo>
                  <a:lnTo>
                    <a:pt x="3444" y="125"/>
                  </a:lnTo>
                  <a:lnTo>
                    <a:pt x="3440" y="124"/>
                  </a:lnTo>
                  <a:lnTo>
                    <a:pt x="3441" y="121"/>
                  </a:lnTo>
                  <a:lnTo>
                    <a:pt x="3439" y="121"/>
                  </a:lnTo>
                  <a:lnTo>
                    <a:pt x="3436" y="119"/>
                  </a:lnTo>
                  <a:lnTo>
                    <a:pt x="3436" y="118"/>
                  </a:lnTo>
                  <a:lnTo>
                    <a:pt x="3430" y="118"/>
                  </a:lnTo>
                  <a:lnTo>
                    <a:pt x="3426" y="117"/>
                  </a:lnTo>
                  <a:lnTo>
                    <a:pt x="3422" y="117"/>
                  </a:lnTo>
                  <a:lnTo>
                    <a:pt x="3420" y="119"/>
                  </a:lnTo>
                  <a:lnTo>
                    <a:pt x="3418" y="121"/>
                  </a:lnTo>
                  <a:lnTo>
                    <a:pt x="3415" y="121"/>
                  </a:lnTo>
                  <a:lnTo>
                    <a:pt x="3415" y="120"/>
                  </a:lnTo>
                  <a:lnTo>
                    <a:pt x="3412" y="119"/>
                  </a:lnTo>
                  <a:lnTo>
                    <a:pt x="3415" y="119"/>
                  </a:lnTo>
                  <a:lnTo>
                    <a:pt x="3414" y="117"/>
                  </a:lnTo>
                  <a:lnTo>
                    <a:pt x="3412" y="117"/>
                  </a:lnTo>
                  <a:lnTo>
                    <a:pt x="3409" y="119"/>
                  </a:lnTo>
                  <a:lnTo>
                    <a:pt x="3410" y="117"/>
                  </a:lnTo>
                  <a:lnTo>
                    <a:pt x="3407" y="118"/>
                  </a:lnTo>
                  <a:lnTo>
                    <a:pt x="3404" y="119"/>
                  </a:lnTo>
                  <a:lnTo>
                    <a:pt x="3405" y="117"/>
                  </a:lnTo>
                  <a:lnTo>
                    <a:pt x="3402" y="116"/>
                  </a:lnTo>
                  <a:lnTo>
                    <a:pt x="3400" y="117"/>
                  </a:lnTo>
                  <a:lnTo>
                    <a:pt x="3400" y="113"/>
                  </a:lnTo>
                  <a:lnTo>
                    <a:pt x="3388" y="110"/>
                  </a:lnTo>
                  <a:lnTo>
                    <a:pt x="3385" y="112"/>
                  </a:lnTo>
                  <a:lnTo>
                    <a:pt x="3383" y="110"/>
                  </a:lnTo>
                  <a:lnTo>
                    <a:pt x="3381" y="113"/>
                  </a:lnTo>
                  <a:lnTo>
                    <a:pt x="3379" y="115"/>
                  </a:lnTo>
                  <a:lnTo>
                    <a:pt x="3377" y="112"/>
                  </a:lnTo>
                  <a:lnTo>
                    <a:pt x="3375" y="113"/>
                  </a:lnTo>
                  <a:lnTo>
                    <a:pt x="3373" y="116"/>
                  </a:lnTo>
                  <a:lnTo>
                    <a:pt x="3375" y="118"/>
                  </a:lnTo>
                  <a:lnTo>
                    <a:pt x="3373" y="121"/>
                  </a:lnTo>
                  <a:lnTo>
                    <a:pt x="3376" y="124"/>
                  </a:lnTo>
                  <a:lnTo>
                    <a:pt x="3377" y="127"/>
                  </a:lnTo>
                  <a:lnTo>
                    <a:pt x="3375" y="127"/>
                  </a:lnTo>
                  <a:lnTo>
                    <a:pt x="3373" y="129"/>
                  </a:lnTo>
                  <a:lnTo>
                    <a:pt x="3372" y="133"/>
                  </a:lnTo>
                  <a:lnTo>
                    <a:pt x="3369" y="133"/>
                  </a:lnTo>
                  <a:lnTo>
                    <a:pt x="3367" y="130"/>
                  </a:lnTo>
                  <a:lnTo>
                    <a:pt x="3363" y="130"/>
                  </a:lnTo>
                  <a:lnTo>
                    <a:pt x="3361" y="132"/>
                  </a:lnTo>
                  <a:lnTo>
                    <a:pt x="3359" y="132"/>
                  </a:lnTo>
                  <a:lnTo>
                    <a:pt x="3346" y="132"/>
                  </a:lnTo>
                  <a:lnTo>
                    <a:pt x="3343" y="133"/>
                  </a:lnTo>
                  <a:lnTo>
                    <a:pt x="3341" y="133"/>
                  </a:lnTo>
                  <a:lnTo>
                    <a:pt x="3335" y="132"/>
                  </a:lnTo>
                  <a:lnTo>
                    <a:pt x="3329" y="130"/>
                  </a:lnTo>
                  <a:lnTo>
                    <a:pt x="3325" y="130"/>
                  </a:lnTo>
                  <a:lnTo>
                    <a:pt x="3324" y="130"/>
                  </a:lnTo>
                  <a:lnTo>
                    <a:pt x="3320" y="129"/>
                  </a:lnTo>
                  <a:lnTo>
                    <a:pt x="3316" y="128"/>
                  </a:lnTo>
                  <a:lnTo>
                    <a:pt x="3307" y="126"/>
                  </a:lnTo>
                  <a:lnTo>
                    <a:pt x="3306" y="122"/>
                  </a:lnTo>
                  <a:lnTo>
                    <a:pt x="3306" y="120"/>
                  </a:lnTo>
                  <a:lnTo>
                    <a:pt x="3308" y="118"/>
                  </a:lnTo>
                  <a:lnTo>
                    <a:pt x="3311" y="119"/>
                  </a:lnTo>
                  <a:lnTo>
                    <a:pt x="3313" y="119"/>
                  </a:lnTo>
                  <a:lnTo>
                    <a:pt x="3310" y="116"/>
                  </a:lnTo>
                  <a:lnTo>
                    <a:pt x="3308" y="116"/>
                  </a:lnTo>
                  <a:lnTo>
                    <a:pt x="3294" y="116"/>
                  </a:lnTo>
                  <a:lnTo>
                    <a:pt x="3279" y="113"/>
                  </a:lnTo>
                  <a:lnTo>
                    <a:pt x="3277" y="113"/>
                  </a:lnTo>
                  <a:lnTo>
                    <a:pt x="3272" y="112"/>
                  </a:lnTo>
                  <a:lnTo>
                    <a:pt x="3262" y="112"/>
                  </a:lnTo>
                  <a:lnTo>
                    <a:pt x="3257" y="115"/>
                  </a:lnTo>
                  <a:lnTo>
                    <a:pt x="3247" y="116"/>
                  </a:lnTo>
                  <a:lnTo>
                    <a:pt x="3241" y="117"/>
                  </a:lnTo>
                  <a:lnTo>
                    <a:pt x="3240" y="120"/>
                  </a:lnTo>
                  <a:lnTo>
                    <a:pt x="3243" y="121"/>
                  </a:lnTo>
                  <a:lnTo>
                    <a:pt x="3245" y="121"/>
                  </a:lnTo>
                  <a:lnTo>
                    <a:pt x="3240" y="125"/>
                  </a:lnTo>
                  <a:lnTo>
                    <a:pt x="3239" y="125"/>
                  </a:lnTo>
                  <a:lnTo>
                    <a:pt x="3238" y="121"/>
                  </a:lnTo>
                  <a:lnTo>
                    <a:pt x="3235" y="118"/>
                  </a:lnTo>
                  <a:lnTo>
                    <a:pt x="3238" y="113"/>
                  </a:lnTo>
                  <a:lnTo>
                    <a:pt x="3234" y="108"/>
                  </a:lnTo>
                  <a:lnTo>
                    <a:pt x="3231" y="105"/>
                  </a:lnTo>
                  <a:lnTo>
                    <a:pt x="3231" y="111"/>
                  </a:lnTo>
                  <a:lnTo>
                    <a:pt x="3228" y="112"/>
                  </a:lnTo>
                  <a:lnTo>
                    <a:pt x="3222" y="112"/>
                  </a:lnTo>
                  <a:lnTo>
                    <a:pt x="3219" y="112"/>
                  </a:lnTo>
                  <a:lnTo>
                    <a:pt x="3213" y="111"/>
                  </a:lnTo>
                  <a:lnTo>
                    <a:pt x="3209" y="109"/>
                  </a:lnTo>
                  <a:lnTo>
                    <a:pt x="3208" y="108"/>
                  </a:lnTo>
                  <a:lnTo>
                    <a:pt x="3202" y="111"/>
                  </a:lnTo>
                  <a:lnTo>
                    <a:pt x="3204" y="112"/>
                  </a:lnTo>
                  <a:lnTo>
                    <a:pt x="3198" y="113"/>
                  </a:lnTo>
                  <a:lnTo>
                    <a:pt x="3195" y="116"/>
                  </a:lnTo>
                  <a:lnTo>
                    <a:pt x="3192" y="116"/>
                  </a:lnTo>
                  <a:lnTo>
                    <a:pt x="3190" y="118"/>
                  </a:lnTo>
                  <a:lnTo>
                    <a:pt x="3188" y="119"/>
                  </a:lnTo>
                  <a:lnTo>
                    <a:pt x="3185" y="119"/>
                  </a:lnTo>
                  <a:lnTo>
                    <a:pt x="3182" y="118"/>
                  </a:lnTo>
                  <a:lnTo>
                    <a:pt x="3180" y="117"/>
                  </a:lnTo>
                  <a:lnTo>
                    <a:pt x="3182" y="119"/>
                  </a:lnTo>
                  <a:lnTo>
                    <a:pt x="3180" y="118"/>
                  </a:lnTo>
                  <a:lnTo>
                    <a:pt x="3178" y="121"/>
                  </a:lnTo>
                  <a:lnTo>
                    <a:pt x="3175" y="121"/>
                  </a:lnTo>
                  <a:lnTo>
                    <a:pt x="3167" y="122"/>
                  </a:lnTo>
                  <a:lnTo>
                    <a:pt x="3162" y="126"/>
                  </a:lnTo>
                  <a:lnTo>
                    <a:pt x="3158" y="126"/>
                  </a:lnTo>
                  <a:lnTo>
                    <a:pt x="3153" y="127"/>
                  </a:lnTo>
                  <a:lnTo>
                    <a:pt x="3150" y="126"/>
                  </a:lnTo>
                  <a:lnTo>
                    <a:pt x="3147" y="127"/>
                  </a:lnTo>
                  <a:lnTo>
                    <a:pt x="3142" y="126"/>
                  </a:lnTo>
                  <a:lnTo>
                    <a:pt x="3139" y="127"/>
                  </a:lnTo>
                  <a:lnTo>
                    <a:pt x="3137" y="133"/>
                  </a:lnTo>
                  <a:lnTo>
                    <a:pt x="3129" y="137"/>
                  </a:lnTo>
                  <a:lnTo>
                    <a:pt x="3122" y="137"/>
                  </a:lnTo>
                  <a:lnTo>
                    <a:pt x="3122" y="136"/>
                  </a:lnTo>
                  <a:lnTo>
                    <a:pt x="3124" y="136"/>
                  </a:lnTo>
                  <a:lnTo>
                    <a:pt x="3130" y="134"/>
                  </a:lnTo>
                  <a:lnTo>
                    <a:pt x="3132" y="130"/>
                  </a:lnTo>
                  <a:lnTo>
                    <a:pt x="3133" y="128"/>
                  </a:lnTo>
                  <a:lnTo>
                    <a:pt x="3138" y="122"/>
                  </a:lnTo>
                  <a:lnTo>
                    <a:pt x="3144" y="122"/>
                  </a:lnTo>
                  <a:lnTo>
                    <a:pt x="3146" y="121"/>
                  </a:lnTo>
                  <a:lnTo>
                    <a:pt x="3148" y="119"/>
                  </a:lnTo>
                  <a:lnTo>
                    <a:pt x="3154" y="115"/>
                  </a:lnTo>
                  <a:lnTo>
                    <a:pt x="3159" y="115"/>
                  </a:lnTo>
                  <a:lnTo>
                    <a:pt x="3162" y="113"/>
                  </a:lnTo>
                  <a:lnTo>
                    <a:pt x="3165" y="113"/>
                  </a:lnTo>
                  <a:lnTo>
                    <a:pt x="3170" y="110"/>
                  </a:lnTo>
                  <a:lnTo>
                    <a:pt x="3173" y="107"/>
                  </a:lnTo>
                  <a:lnTo>
                    <a:pt x="3179" y="103"/>
                  </a:lnTo>
                  <a:lnTo>
                    <a:pt x="3184" y="102"/>
                  </a:lnTo>
                  <a:lnTo>
                    <a:pt x="3190" y="99"/>
                  </a:lnTo>
                  <a:lnTo>
                    <a:pt x="3187" y="96"/>
                  </a:lnTo>
                  <a:lnTo>
                    <a:pt x="3190" y="94"/>
                  </a:lnTo>
                  <a:lnTo>
                    <a:pt x="3193" y="94"/>
                  </a:lnTo>
                  <a:lnTo>
                    <a:pt x="3196" y="92"/>
                  </a:lnTo>
                  <a:lnTo>
                    <a:pt x="3198" y="92"/>
                  </a:lnTo>
                  <a:lnTo>
                    <a:pt x="3201" y="91"/>
                  </a:lnTo>
                  <a:lnTo>
                    <a:pt x="3204" y="90"/>
                  </a:lnTo>
                  <a:lnTo>
                    <a:pt x="3209" y="86"/>
                  </a:lnTo>
                  <a:lnTo>
                    <a:pt x="3213" y="86"/>
                  </a:lnTo>
                  <a:lnTo>
                    <a:pt x="3215" y="86"/>
                  </a:lnTo>
                  <a:lnTo>
                    <a:pt x="3219" y="81"/>
                  </a:lnTo>
                  <a:lnTo>
                    <a:pt x="3228" y="78"/>
                  </a:lnTo>
                  <a:lnTo>
                    <a:pt x="3231" y="77"/>
                  </a:lnTo>
                  <a:lnTo>
                    <a:pt x="3239" y="70"/>
                  </a:lnTo>
                  <a:lnTo>
                    <a:pt x="3241" y="68"/>
                  </a:lnTo>
                  <a:lnTo>
                    <a:pt x="3242" y="65"/>
                  </a:lnTo>
                  <a:lnTo>
                    <a:pt x="3236" y="62"/>
                  </a:lnTo>
                  <a:lnTo>
                    <a:pt x="3236" y="59"/>
                  </a:lnTo>
                  <a:lnTo>
                    <a:pt x="3233" y="60"/>
                  </a:lnTo>
                  <a:lnTo>
                    <a:pt x="3231" y="62"/>
                  </a:lnTo>
                  <a:lnTo>
                    <a:pt x="3230" y="57"/>
                  </a:lnTo>
                  <a:lnTo>
                    <a:pt x="3226" y="57"/>
                  </a:lnTo>
                  <a:lnTo>
                    <a:pt x="3224" y="55"/>
                  </a:lnTo>
                  <a:lnTo>
                    <a:pt x="3226" y="55"/>
                  </a:lnTo>
                  <a:lnTo>
                    <a:pt x="3235" y="58"/>
                  </a:lnTo>
                  <a:lnTo>
                    <a:pt x="3238" y="59"/>
                  </a:lnTo>
                  <a:lnTo>
                    <a:pt x="3240" y="60"/>
                  </a:lnTo>
                  <a:lnTo>
                    <a:pt x="3242" y="58"/>
                  </a:lnTo>
                  <a:lnTo>
                    <a:pt x="3243" y="55"/>
                  </a:lnTo>
                  <a:lnTo>
                    <a:pt x="3243" y="52"/>
                  </a:lnTo>
                  <a:lnTo>
                    <a:pt x="3238" y="51"/>
                  </a:lnTo>
                  <a:lnTo>
                    <a:pt x="3239" y="49"/>
                  </a:lnTo>
                  <a:lnTo>
                    <a:pt x="3239" y="45"/>
                  </a:lnTo>
                  <a:lnTo>
                    <a:pt x="3235" y="43"/>
                  </a:lnTo>
                  <a:lnTo>
                    <a:pt x="3233" y="42"/>
                  </a:lnTo>
                  <a:lnTo>
                    <a:pt x="3235" y="44"/>
                  </a:lnTo>
                  <a:lnTo>
                    <a:pt x="3233" y="45"/>
                  </a:lnTo>
                  <a:lnTo>
                    <a:pt x="3231" y="48"/>
                  </a:lnTo>
                  <a:lnTo>
                    <a:pt x="3228" y="48"/>
                  </a:lnTo>
                  <a:lnTo>
                    <a:pt x="3230" y="45"/>
                  </a:lnTo>
                  <a:lnTo>
                    <a:pt x="3227" y="44"/>
                  </a:lnTo>
                  <a:lnTo>
                    <a:pt x="3228" y="42"/>
                  </a:lnTo>
                  <a:lnTo>
                    <a:pt x="3226" y="39"/>
                  </a:lnTo>
                  <a:lnTo>
                    <a:pt x="3223" y="38"/>
                  </a:lnTo>
                  <a:lnTo>
                    <a:pt x="3221" y="38"/>
                  </a:lnTo>
                  <a:lnTo>
                    <a:pt x="3217" y="39"/>
                  </a:lnTo>
                  <a:lnTo>
                    <a:pt x="3221" y="36"/>
                  </a:lnTo>
                  <a:lnTo>
                    <a:pt x="3215" y="32"/>
                  </a:lnTo>
                  <a:lnTo>
                    <a:pt x="3212" y="32"/>
                  </a:lnTo>
                  <a:lnTo>
                    <a:pt x="3209" y="30"/>
                  </a:lnTo>
                  <a:lnTo>
                    <a:pt x="3206" y="31"/>
                  </a:lnTo>
                  <a:lnTo>
                    <a:pt x="3204" y="28"/>
                  </a:lnTo>
                  <a:lnTo>
                    <a:pt x="3200" y="30"/>
                  </a:lnTo>
                  <a:lnTo>
                    <a:pt x="3198" y="28"/>
                  </a:lnTo>
                  <a:lnTo>
                    <a:pt x="3195" y="28"/>
                  </a:lnTo>
                  <a:lnTo>
                    <a:pt x="3192" y="30"/>
                  </a:lnTo>
                  <a:lnTo>
                    <a:pt x="3188" y="30"/>
                  </a:lnTo>
                  <a:lnTo>
                    <a:pt x="3185" y="28"/>
                  </a:lnTo>
                  <a:lnTo>
                    <a:pt x="3182" y="28"/>
                  </a:lnTo>
                  <a:lnTo>
                    <a:pt x="3174" y="30"/>
                  </a:lnTo>
                  <a:lnTo>
                    <a:pt x="3168" y="30"/>
                  </a:lnTo>
                  <a:lnTo>
                    <a:pt x="3163" y="28"/>
                  </a:lnTo>
                  <a:lnTo>
                    <a:pt x="3163" y="32"/>
                  </a:lnTo>
                  <a:lnTo>
                    <a:pt x="3161" y="34"/>
                  </a:lnTo>
                  <a:lnTo>
                    <a:pt x="3158" y="35"/>
                  </a:lnTo>
                  <a:lnTo>
                    <a:pt x="3153" y="35"/>
                  </a:lnTo>
                  <a:lnTo>
                    <a:pt x="3145" y="35"/>
                  </a:lnTo>
                  <a:lnTo>
                    <a:pt x="3141" y="35"/>
                  </a:lnTo>
                  <a:lnTo>
                    <a:pt x="3140" y="35"/>
                  </a:lnTo>
                  <a:lnTo>
                    <a:pt x="3144" y="34"/>
                  </a:lnTo>
                  <a:lnTo>
                    <a:pt x="3146" y="31"/>
                  </a:lnTo>
                  <a:lnTo>
                    <a:pt x="3148" y="30"/>
                  </a:lnTo>
                  <a:lnTo>
                    <a:pt x="3150" y="27"/>
                  </a:lnTo>
                  <a:lnTo>
                    <a:pt x="3154" y="25"/>
                  </a:lnTo>
                  <a:lnTo>
                    <a:pt x="3154" y="23"/>
                  </a:lnTo>
                  <a:lnTo>
                    <a:pt x="3150" y="21"/>
                  </a:lnTo>
                  <a:lnTo>
                    <a:pt x="3148" y="21"/>
                  </a:lnTo>
                  <a:lnTo>
                    <a:pt x="3145" y="21"/>
                  </a:lnTo>
                  <a:lnTo>
                    <a:pt x="3142" y="21"/>
                  </a:lnTo>
                  <a:lnTo>
                    <a:pt x="3140" y="19"/>
                  </a:lnTo>
                  <a:lnTo>
                    <a:pt x="3137" y="19"/>
                  </a:lnTo>
                  <a:lnTo>
                    <a:pt x="3134" y="22"/>
                  </a:lnTo>
                  <a:lnTo>
                    <a:pt x="3129" y="22"/>
                  </a:lnTo>
                  <a:lnTo>
                    <a:pt x="3131" y="21"/>
                  </a:lnTo>
                  <a:lnTo>
                    <a:pt x="3133" y="17"/>
                  </a:lnTo>
                  <a:lnTo>
                    <a:pt x="3125" y="18"/>
                  </a:lnTo>
                  <a:lnTo>
                    <a:pt x="3123" y="18"/>
                  </a:lnTo>
                  <a:lnTo>
                    <a:pt x="3120" y="18"/>
                  </a:lnTo>
                  <a:lnTo>
                    <a:pt x="3117" y="17"/>
                  </a:lnTo>
                  <a:lnTo>
                    <a:pt x="3111" y="19"/>
                  </a:lnTo>
                  <a:lnTo>
                    <a:pt x="3108" y="18"/>
                  </a:lnTo>
                  <a:lnTo>
                    <a:pt x="3111" y="17"/>
                  </a:lnTo>
                  <a:lnTo>
                    <a:pt x="3114" y="17"/>
                  </a:lnTo>
                  <a:lnTo>
                    <a:pt x="3116" y="16"/>
                  </a:lnTo>
                  <a:lnTo>
                    <a:pt x="3122" y="16"/>
                  </a:lnTo>
                  <a:lnTo>
                    <a:pt x="3125" y="15"/>
                  </a:lnTo>
                  <a:lnTo>
                    <a:pt x="3128" y="14"/>
                  </a:lnTo>
                  <a:lnTo>
                    <a:pt x="3131" y="12"/>
                  </a:lnTo>
                  <a:lnTo>
                    <a:pt x="3133" y="10"/>
                  </a:lnTo>
                  <a:lnTo>
                    <a:pt x="3137" y="12"/>
                  </a:lnTo>
                  <a:lnTo>
                    <a:pt x="3134" y="8"/>
                  </a:lnTo>
                  <a:lnTo>
                    <a:pt x="3132" y="6"/>
                  </a:lnTo>
                  <a:lnTo>
                    <a:pt x="3130" y="5"/>
                  </a:lnTo>
                  <a:lnTo>
                    <a:pt x="3127" y="6"/>
                  </a:lnTo>
                  <a:lnTo>
                    <a:pt x="3124" y="5"/>
                  </a:lnTo>
                  <a:lnTo>
                    <a:pt x="3119" y="4"/>
                  </a:lnTo>
                  <a:lnTo>
                    <a:pt x="3115" y="1"/>
                  </a:lnTo>
                  <a:lnTo>
                    <a:pt x="3113" y="1"/>
                  </a:lnTo>
                  <a:lnTo>
                    <a:pt x="3110" y="0"/>
                  </a:lnTo>
                  <a:lnTo>
                    <a:pt x="3107" y="0"/>
                  </a:lnTo>
                  <a:lnTo>
                    <a:pt x="3098" y="4"/>
                  </a:lnTo>
                  <a:lnTo>
                    <a:pt x="3096" y="2"/>
                  </a:lnTo>
                  <a:lnTo>
                    <a:pt x="3093" y="4"/>
                  </a:lnTo>
                  <a:lnTo>
                    <a:pt x="3090" y="6"/>
                  </a:lnTo>
                  <a:lnTo>
                    <a:pt x="3087" y="7"/>
                  </a:lnTo>
                  <a:lnTo>
                    <a:pt x="3085" y="8"/>
                  </a:lnTo>
                  <a:lnTo>
                    <a:pt x="3081" y="10"/>
                  </a:lnTo>
                  <a:lnTo>
                    <a:pt x="3079" y="10"/>
                  </a:lnTo>
                  <a:lnTo>
                    <a:pt x="3079" y="13"/>
                  </a:lnTo>
                  <a:lnTo>
                    <a:pt x="3077" y="14"/>
                  </a:lnTo>
                  <a:lnTo>
                    <a:pt x="3072" y="17"/>
                  </a:lnTo>
                  <a:lnTo>
                    <a:pt x="3071" y="21"/>
                  </a:lnTo>
                  <a:lnTo>
                    <a:pt x="3068" y="22"/>
                  </a:lnTo>
                  <a:lnTo>
                    <a:pt x="3065" y="24"/>
                  </a:lnTo>
                  <a:lnTo>
                    <a:pt x="3068" y="27"/>
                  </a:lnTo>
                  <a:lnTo>
                    <a:pt x="3070" y="27"/>
                  </a:lnTo>
                  <a:lnTo>
                    <a:pt x="3069" y="31"/>
                  </a:lnTo>
                  <a:lnTo>
                    <a:pt x="3069" y="33"/>
                  </a:lnTo>
                  <a:lnTo>
                    <a:pt x="3072" y="35"/>
                  </a:lnTo>
                  <a:lnTo>
                    <a:pt x="3084" y="38"/>
                  </a:lnTo>
                  <a:lnTo>
                    <a:pt x="3081" y="39"/>
                  </a:lnTo>
                  <a:lnTo>
                    <a:pt x="3078" y="36"/>
                  </a:lnTo>
                  <a:lnTo>
                    <a:pt x="3074" y="36"/>
                  </a:lnTo>
                  <a:lnTo>
                    <a:pt x="3072" y="36"/>
                  </a:lnTo>
                  <a:lnTo>
                    <a:pt x="3069" y="36"/>
                  </a:lnTo>
                  <a:lnTo>
                    <a:pt x="3067" y="35"/>
                  </a:lnTo>
                  <a:lnTo>
                    <a:pt x="3057" y="36"/>
                  </a:lnTo>
                  <a:lnTo>
                    <a:pt x="3054" y="35"/>
                  </a:lnTo>
                  <a:lnTo>
                    <a:pt x="3046" y="36"/>
                  </a:lnTo>
                  <a:lnTo>
                    <a:pt x="3043" y="35"/>
                  </a:lnTo>
                  <a:lnTo>
                    <a:pt x="3040" y="35"/>
                  </a:lnTo>
                  <a:lnTo>
                    <a:pt x="3040" y="38"/>
                  </a:lnTo>
                  <a:lnTo>
                    <a:pt x="3046" y="42"/>
                  </a:lnTo>
                  <a:lnTo>
                    <a:pt x="3048" y="42"/>
                  </a:lnTo>
                  <a:lnTo>
                    <a:pt x="3052" y="48"/>
                  </a:lnTo>
                  <a:lnTo>
                    <a:pt x="3052" y="48"/>
                  </a:lnTo>
                  <a:lnTo>
                    <a:pt x="3048" y="48"/>
                  </a:lnTo>
                  <a:lnTo>
                    <a:pt x="3048" y="45"/>
                  </a:lnTo>
                  <a:lnTo>
                    <a:pt x="3043" y="47"/>
                  </a:lnTo>
                  <a:lnTo>
                    <a:pt x="3040" y="43"/>
                  </a:lnTo>
                  <a:lnTo>
                    <a:pt x="3038" y="44"/>
                  </a:lnTo>
                  <a:lnTo>
                    <a:pt x="3036" y="43"/>
                  </a:lnTo>
                  <a:lnTo>
                    <a:pt x="3033" y="44"/>
                  </a:lnTo>
                  <a:lnTo>
                    <a:pt x="3027" y="45"/>
                  </a:lnTo>
                  <a:lnTo>
                    <a:pt x="3029" y="47"/>
                  </a:lnTo>
                  <a:lnTo>
                    <a:pt x="3027" y="48"/>
                  </a:lnTo>
                  <a:lnTo>
                    <a:pt x="3025" y="48"/>
                  </a:lnTo>
                  <a:lnTo>
                    <a:pt x="3021" y="48"/>
                  </a:lnTo>
                  <a:lnTo>
                    <a:pt x="3025" y="49"/>
                  </a:lnTo>
                  <a:lnTo>
                    <a:pt x="3019" y="50"/>
                  </a:lnTo>
                  <a:lnTo>
                    <a:pt x="3016" y="51"/>
                  </a:lnTo>
                  <a:lnTo>
                    <a:pt x="3018" y="49"/>
                  </a:lnTo>
                  <a:lnTo>
                    <a:pt x="3014" y="50"/>
                  </a:lnTo>
                  <a:lnTo>
                    <a:pt x="3012" y="51"/>
                  </a:lnTo>
                  <a:lnTo>
                    <a:pt x="3006" y="53"/>
                  </a:lnTo>
                  <a:lnTo>
                    <a:pt x="3009" y="50"/>
                  </a:lnTo>
                  <a:lnTo>
                    <a:pt x="3005" y="49"/>
                  </a:lnTo>
                  <a:lnTo>
                    <a:pt x="3003" y="51"/>
                  </a:lnTo>
                  <a:lnTo>
                    <a:pt x="3000" y="51"/>
                  </a:lnTo>
                  <a:lnTo>
                    <a:pt x="2994" y="53"/>
                  </a:lnTo>
                  <a:lnTo>
                    <a:pt x="3000" y="48"/>
                  </a:lnTo>
                  <a:lnTo>
                    <a:pt x="2997" y="45"/>
                  </a:lnTo>
                  <a:lnTo>
                    <a:pt x="2992" y="45"/>
                  </a:lnTo>
                  <a:lnTo>
                    <a:pt x="2989" y="47"/>
                  </a:lnTo>
                  <a:lnTo>
                    <a:pt x="2986" y="47"/>
                  </a:lnTo>
                  <a:lnTo>
                    <a:pt x="2980" y="45"/>
                  </a:lnTo>
                  <a:lnTo>
                    <a:pt x="2980" y="48"/>
                  </a:lnTo>
                  <a:lnTo>
                    <a:pt x="2977" y="47"/>
                  </a:lnTo>
                  <a:lnTo>
                    <a:pt x="2968" y="47"/>
                  </a:lnTo>
                  <a:lnTo>
                    <a:pt x="2971" y="48"/>
                  </a:lnTo>
                  <a:lnTo>
                    <a:pt x="2969" y="49"/>
                  </a:lnTo>
                  <a:lnTo>
                    <a:pt x="2963" y="48"/>
                  </a:lnTo>
                  <a:lnTo>
                    <a:pt x="2960" y="47"/>
                  </a:lnTo>
                  <a:lnTo>
                    <a:pt x="2958" y="48"/>
                  </a:lnTo>
                  <a:lnTo>
                    <a:pt x="2956" y="51"/>
                  </a:lnTo>
                  <a:lnTo>
                    <a:pt x="2959" y="52"/>
                  </a:lnTo>
                  <a:lnTo>
                    <a:pt x="2962" y="50"/>
                  </a:lnTo>
                  <a:lnTo>
                    <a:pt x="2963" y="53"/>
                  </a:lnTo>
                  <a:lnTo>
                    <a:pt x="2965" y="51"/>
                  </a:lnTo>
                  <a:lnTo>
                    <a:pt x="2968" y="52"/>
                  </a:lnTo>
                  <a:lnTo>
                    <a:pt x="2974" y="51"/>
                  </a:lnTo>
                  <a:lnTo>
                    <a:pt x="2971" y="52"/>
                  </a:lnTo>
                  <a:lnTo>
                    <a:pt x="2962" y="55"/>
                  </a:lnTo>
                  <a:lnTo>
                    <a:pt x="2946" y="57"/>
                  </a:lnTo>
                  <a:lnTo>
                    <a:pt x="2941" y="57"/>
                  </a:lnTo>
                  <a:lnTo>
                    <a:pt x="2939" y="60"/>
                  </a:lnTo>
                  <a:lnTo>
                    <a:pt x="2936" y="59"/>
                  </a:lnTo>
                  <a:lnTo>
                    <a:pt x="2931" y="60"/>
                  </a:lnTo>
                  <a:lnTo>
                    <a:pt x="2928" y="59"/>
                  </a:lnTo>
                  <a:lnTo>
                    <a:pt x="2925" y="60"/>
                  </a:lnTo>
                  <a:lnTo>
                    <a:pt x="2917" y="61"/>
                  </a:lnTo>
                  <a:lnTo>
                    <a:pt x="2917" y="64"/>
                  </a:lnTo>
                  <a:lnTo>
                    <a:pt x="2915" y="64"/>
                  </a:lnTo>
                  <a:lnTo>
                    <a:pt x="2911" y="65"/>
                  </a:lnTo>
                  <a:lnTo>
                    <a:pt x="2906" y="65"/>
                  </a:lnTo>
                  <a:lnTo>
                    <a:pt x="2903" y="65"/>
                  </a:lnTo>
                  <a:lnTo>
                    <a:pt x="2898" y="69"/>
                  </a:lnTo>
                  <a:lnTo>
                    <a:pt x="2894" y="70"/>
                  </a:lnTo>
                  <a:lnTo>
                    <a:pt x="2892" y="74"/>
                  </a:lnTo>
                  <a:lnTo>
                    <a:pt x="2889" y="75"/>
                  </a:lnTo>
                  <a:lnTo>
                    <a:pt x="2883" y="74"/>
                  </a:lnTo>
                  <a:lnTo>
                    <a:pt x="2877" y="73"/>
                  </a:lnTo>
                  <a:lnTo>
                    <a:pt x="2875" y="74"/>
                  </a:lnTo>
                  <a:lnTo>
                    <a:pt x="2876" y="75"/>
                  </a:lnTo>
                  <a:lnTo>
                    <a:pt x="2882" y="76"/>
                  </a:lnTo>
                  <a:lnTo>
                    <a:pt x="2885" y="76"/>
                  </a:lnTo>
                  <a:lnTo>
                    <a:pt x="2884" y="79"/>
                  </a:lnTo>
                  <a:lnTo>
                    <a:pt x="2881" y="77"/>
                  </a:lnTo>
                  <a:lnTo>
                    <a:pt x="2878" y="77"/>
                  </a:lnTo>
                  <a:lnTo>
                    <a:pt x="2881" y="78"/>
                  </a:lnTo>
                  <a:lnTo>
                    <a:pt x="2878" y="81"/>
                  </a:lnTo>
                  <a:lnTo>
                    <a:pt x="2877" y="83"/>
                  </a:lnTo>
                  <a:lnTo>
                    <a:pt x="2874" y="84"/>
                  </a:lnTo>
                  <a:lnTo>
                    <a:pt x="2875" y="87"/>
                  </a:lnTo>
                  <a:lnTo>
                    <a:pt x="2872" y="87"/>
                  </a:lnTo>
                  <a:lnTo>
                    <a:pt x="2869" y="85"/>
                  </a:lnTo>
                  <a:lnTo>
                    <a:pt x="2867" y="85"/>
                  </a:lnTo>
                  <a:lnTo>
                    <a:pt x="2865" y="83"/>
                  </a:lnTo>
                  <a:lnTo>
                    <a:pt x="2863" y="85"/>
                  </a:lnTo>
                  <a:lnTo>
                    <a:pt x="2860" y="86"/>
                  </a:lnTo>
                  <a:lnTo>
                    <a:pt x="2863" y="87"/>
                  </a:lnTo>
                  <a:lnTo>
                    <a:pt x="2872" y="90"/>
                  </a:lnTo>
                  <a:lnTo>
                    <a:pt x="2872" y="92"/>
                  </a:lnTo>
                  <a:lnTo>
                    <a:pt x="2875" y="93"/>
                  </a:lnTo>
                  <a:lnTo>
                    <a:pt x="2877" y="94"/>
                  </a:lnTo>
                  <a:lnTo>
                    <a:pt x="2876" y="96"/>
                  </a:lnTo>
                  <a:lnTo>
                    <a:pt x="2874" y="96"/>
                  </a:lnTo>
                  <a:lnTo>
                    <a:pt x="2872" y="94"/>
                  </a:lnTo>
                  <a:lnTo>
                    <a:pt x="2868" y="92"/>
                  </a:lnTo>
                  <a:lnTo>
                    <a:pt x="2866" y="93"/>
                  </a:lnTo>
                  <a:lnTo>
                    <a:pt x="2863" y="93"/>
                  </a:lnTo>
                  <a:lnTo>
                    <a:pt x="2866" y="94"/>
                  </a:lnTo>
                  <a:lnTo>
                    <a:pt x="2863" y="95"/>
                  </a:lnTo>
                  <a:lnTo>
                    <a:pt x="2865" y="98"/>
                  </a:lnTo>
                  <a:lnTo>
                    <a:pt x="2871" y="98"/>
                  </a:lnTo>
                  <a:lnTo>
                    <a:pt x="2873" y="100"/>
                  </a:lnTo>
                  <a:lnTo>
                    <a:pt x="2874" y="102"/>
                  </a:lnTo>
                  <a:lnTo>
                    <a:pt x="2880" y="103"/>
                  </a:lnTo>
                  <a:lnTo>
                    <a:pt x="2876" y="103"/>
                  </a:lnTo>
                  <a:lnTo>
                    <a:pt x="2878" y="108"/>
                  </a:lnTo>
                  <a:lnTo>
                    <a:pt x="2877" y="108"/>
                  </a:lnTo>
                  <a:lnTo>
                    <a:pt x="2876" y="108"/>
                  </a:lnTo>
                  <a:lnTo>
                    <a:pt x="2874" y="108"/>
                  </a:lnTo>
                  <a:lnTo>
                    <a:pt x="2863" y="108"/>
                  </a:lnTo>
                  <a:lnTo>
                    <a:pt x="2859" y="109"/>
                  </a:lnTo>
                  <a:lnTo>
                    <a:pt x="2857" y="109"/>
                  </a:lnTo>
                  <a:lnTo>
                    <a:pt x="2855" y="112"/>
                  </a:lnTo>
                  <a:lnTo>
                    <a:pt x="2851" y="112"/>
                  </a:lnTo>
                  <a:lnTo>
                    <a:pt x="2849" y="112"/>
                  </a:lnTo>
                  <a:lnTo>
                    <a:pt x="2847" y="111"/>
                  </a:lnTo>
                  <a:lnTo>
                    <a:pt x="2843" y="111"/>
                  </a:lnTo>
                  <a:lnTo>
                    <a:pt x="2838" y="112"/>
                  </a:lnTo>
                  <a:lnTo>
                    <a:pt x="2832" y="112"/>
                  </a:lnTo>
                  <a:lnTo>
                    <a:pt x="2826" y="113"/>
                  </a:lnTo>
                  <a:lnTo>
                    <a:pt x="2815" y="113"/>
                  </a:lnTo>
                  <a:lnTo>
                    <a:pt x="2806" y="113"/>
                  </a:lnTo>
                  <a:lnTo>
                    <a:pt x="2800" y="113"/>
                  </a:lnTo>
                  <a:lnTo>
                    <a:pt x="2798" y="115"/>
                  </a:lnTo>
                  <a:lnTo>
                    <a:pt x="2795" y="115"/>
                  </a:lnTo>
                  <a:lnTo>
                    <a:pt x="2792" y="116"/>
                  </a:lnTo>
                  <a:lnTo>
                    <a:pt x="2789" y="118"/>
                  </a:lnTo>
                  <a:lnTo>
                    <a:pt x="2787" y="120"/>
                  </a:lnTo>
                  <a:lnTo>
                    <a:pt x="2784" y="124"/>
                  </a:lnTo>
                  <a:lnTo>
                    <a:pt x="2788" y="125"/>
                  </a:lnTo>
                  <a:lnTo>
                    <a:pt x="2784" y="126"/>
                  </a:lnTo>
                  <a:lnTo>
                    <a:pt x="2788" y="129"/>
                  </a:lnTo>
                  <a:lnTo>
                    <a:pt x="2790" y="130"/>
                  </a:lnTo>
                  <a:lnTo>
                    <a:pt x="2791" y="133"/>
                  </a:lnTo>
                  <a:lnTo>
                    <a:pt x="2790" y="136"/>
                  </a:lnTo>
                  <a:lnTo>
                    <a:pt x="2789" y="138"/>
                  </a:lnTo>
                  <a:lnTo>
                    <a:pt x="2791" y="141"/>
                  </a:lnTo>
                  <a:lnTo>
                    <a:pt x="2791" y="144"/>
                  </a:lnTo>
                  <a:lnTo>
                    <a:pt x="2797" y="147"/>
                  </a:lnTo>
                  <a:lnTo>
                    <a:pt x="2805" y="149"/>
                  </a:lnTo>
                  <a:lnTo>
                    <a:pt x="2807" y="150"/>
                  </a:lnTo>
                  <a:lnTo>
                    <a:pt x="2811" y="150"/>
                  </a:lnTo>
                  <a:lnTo>
                    <a:pt x="2812" y="153"/>
                  </a:lnTo>
                  <a:lnTo>
                    <a:pt x="2812" y="155"/>
                  </a:lnTo>
                  <a:lnTo>
                    <a:pt x="2815" y="156"/>
                  </a:lnTo>
                  <a:lnTo>
                    <a:pt x="2817" y="161"/>
                  </a:lnTo>
                  <a:lnTo>
                    <a:pt x="2817" y="162"/>
                  </a:lnTo>
                  <a:lnTo>
                    <a:pt x="2809" y="164"/>
                  </a:lnTo>
                  <a:lnTo>
                    <a:pt x="2804" y="164"/>
                  </a:lnTo>
                  <a:lnTo>
                    <a:pt x="2798" y="162"/>
                  </a:lnTo>
                  <a:lnTo>
                    <a:pt x="2796" y="160"/>
                  </a:lnTo>
                  <a:lnTo>
                    <a:pt x="2791" y="156"/>
                  </a:lnTo>
                  <a:lnTo>
                    <a:pt x="2789" y="154"/>
                  </a:lnTo>
                  <a:lnTo>
                    <a:pt x="2787" y="153"/>
                  </a:lnTo>
                  <a:lnTo>
                    <a:pt x="2781" y="152"/>
                  </a:lnTo>
                  <a:lnTo>
                    <a:pt x="2778" y="150"/>
                  </a:lnTo>
                  <a:lnTo>
                    <a:pt x="2775" y="149"/>
                  </a:lnTo>
                  <a:lnTo>
                    <a:pt x="2772" y="147"/>
                  </a:lnTo>
                  <a:lnTo>
                    <a:pt x="2766" y="147"/>
                  </a:lnTo>
                  <a:lnTo>
                    <a:pt x="2760" y="146"/>
                  </a:lnTo>
                  <a:lnTo>
                    <a:pt x="2760" y="147"/>
                  </a:lnTo>
                  <a:lnTo>
                    <a:pt x="2754" y="147"/>
                  </a:lnTo>
                  <a:lnTo>
                    <a:pt x="2752" y="149"/>
                  </a:lnTo>
                  <a:lnTo>
                    <a:pt x="2749" y="152"/>
                  </a:lnTo>
                  <a:lnTo>
                    <a:pt x="2746" y="151"/>
                  </a:lnTo>
                  <a:lnTo>
                    <a:pt x="2745" y="154"/>
                  </a:lnTo>
                  <a:lnTo>
                    <a:pt x="2747" y="154"/>
                  </a:lnTo>
                  <a:lnTo>
                    <a:pt x="2750" y="154"/>
                  </a:lnTo>
                  <a:lnTo>
                    <a:pt x="2753" y="154"/>
                  </a:lnTo>
                  <a:lnTo>
                    <a:pt x="2755" y="156"/>
                  </a:lnTo>
                  <a:lnTo>
                    <a:pt x="2755" y="159"/>
                  </a:lnTo>
                  <a:lnTo>
                    <a:pt x="2749" y="161"/>
                  </a:lnTo>
                  <a:lnTo>
                    <a:pt x="2747" y="161"/>
                  </a:lnTo>
                  <a:lnTo>
                    <a:pt x="2741" y="158"/>
                  </a:lnTo>
                  <a:lnTo>
                    <a:pt x="2737" y="155"/>
                  </a:lnTo>
                  <a:lnTo>
                    <a:pt x="2735" y="155"/>
                  </a:lnTo>
                  <a:lnTo>
                    <a:pt x="2729" y="158"/>
                  </a:lnTo>
                  <a:lnTo>
                    <a:pt x="2727" y="159"/>
                  </a:lnTo>
                  <a:lnTo>
                    <a:pt x="2727" y="161"/>
                  </a:lnTo>
                  <a:lnTo>
                    <a:pt x="2729" y="167"/>
                  </a:lnTo>
                  <a:lnTo>
                    <a:pt x="2735" y="170"/>
                  </a:lnTo>
                  <a:lnTo>
                    <a:pt x="2737" y="171"/>
                  </a:lnTo>
                  <a:lnTo>
                    <a:pt x="2740" y="171"/>
                  </a:lnTo>
                  <a:lnTo>
                    <a:pt x="2746" y="175"/>
                  </a:lnTo>
                  <a:lnTo>
                    <a:pt x="2748" y="175"/>
                  </a:lnTo>
                  <a:lnTo>
                    <a:pt x="2752" y="173"/>
                  </a:lnTo>
                  <a:lnTo>
                    <a:pt x="2754" y="175"/>
                  </a:lnTo>
                  <a:lnTo>
                    <a:pt x="2757" y="176"/>
                  </a:lnTo>
                  <a:lnTo>
                    <a:pt x="2756" y="178"/>
                  </a:lnTo>
                  <a:lnTo>
                    <a:pt x="2760" y="181"/>
                  </a:lnTo>
                  <a:lnTo>
                    <a:pt x="2758" y="184"/>
                  </a:lnTo>
                  <a:lnTo>
                    <a:pt x="2762" y="182"/>
                  </a:lnTo>
                  <a:lnTo>
                    <a:pt x="2764" y="182"/>
                  </a:lnTo>
                  <a:lnTo>
                    <a:pt x="2767" y="181"/>
                  </a:lnTo>
                  <a:lnTo>
                    <a:pt x="2764" y="184"/>
                  </a:lnTo>
                  <a:lnTo>
                    <a:pt x="2758" y="185"/>
                  </a:lnTo>
                  <a:lnTo>
                    <a:pt x="2756" y="184"/>
                  </a:lnTo>
                  <a:lnTo>
                    <a:pt x="2753" y="182"/>
                  </a:lnTo>
                  <a:lnTo>
                    <a:pt x="2752" y="180"/>
                  </a:lnTo>
                  <a:lnTo>
                    <a:pt x="2748" y="178"/>
                  </a:lnTo>
                  <a:lnTo>
                    <a:pt x="2739" y="177"/>
                  </a:lnTo>
                  <a:lnTo>
                    <a:pt x="2738" y="180"/>
                  </a:lnTo>
                  <a:lnTo>
                    <a:pt x="2738" y="178"/>
                  </a:lnTo>
                  <a:lnTo>
                    <a:pt x="2735" y="177"/>
                  </a:lnTo>
                  <a:lnTo>
                    <a:pt x="2727" y="177"/>
                  </a:lnTo>
                  <a:lnTo>
                    <a:pt x="2723" y="176"/>
                  </a:lnTo>
                  <a:lnTo>
                    <a:pt x="2719" y="175"/>
                  </a:lnTo>
                  <a:lnTo>
                    <a:pt x="2715" y="173"/>
                  </a:lnTo>
                  <a:lnTo>
                    <a:pt x="2715" y="170"/>
                  </a:lnTo>
                  <a:lnTo>
                    <a:pt x="2719" y="169"/>
                  </a:lnTo>
                  <a:lnTo>
                    <a:pt x="2718" y="166"/>
                  </a:lnTo>
                  <a:lnTo>
                    <a:pt x="2715" y="163"/>
                  </a:lnTo>
                  <a:lnTo>
                    <a:pt x="2715" y="161"/>
                  </a:lnTo>
                  <a:lnTo>
                    <a:pt x="2715" y="158"/>
                  </a:lnTo>
                  <a:lnTo>
                    <a:pt x="2718" y="156"/>
                  </a:lnTo>
                  <a:lnTo>
                    <a:pt x="2721" y="149"/>
                  </a:lnTo>
                  <a:lnTo>
                    <a:pt x="2719" y="141"/>
                  </a:lnTo>
                  <a:lnTo>
                    <a:pt x="2719" y="137"/>
                  </a:lnTo>
                  <a:lnTo>
                    <a:pt x="2715" y="135"/>
                  </a:lnTo>
                  <a:lnTo>
                    <a:pt x="2713" y="135"/>
                  </a:lnTo>
                  <a:lnTo>
                    <a:pt x="2711" y="135"/>
                  </a:lnTo>
                  <a:lnTo>
                    <a:pt x="2710" y="137"/>
                  </a:lnTo>
                  <a:lnTo>
                    <a:pt x="2712" y="139"/>
                  </a:lnTo>
                  <a:lnTo>
                    <a:pt x="2713" y="149"/>
                  </a:lnTo>
                  <a:lnTo>
                    <a:pt x="2713" y="151"/>
                  </a:lnTo>
                  <a:lnTo>
                    <a:pt x="2711" y="153"/>
                  </a:lnTo>
                  <a:lnTo>
                    <a:pt x="2709" y="155"/>
                  </a:lnTo>
                  <a:lnTo>
                    <a:pt x="2705" y="156"/>
                  </a:lnTo>
                  <a:lnTo>
                    <a:pt x="2694" y="160"/>
                  </a:lnTo>
                  <a:lnTo>
                    <a:pt x="2692" y="161"/>
                  </a:lnTo>
                  <a:lnTo>
                    <a:pt x="2692" y="164"/>
                  </a:lnTo>
                  <a:lnTo>
                    <a:pt x="2689" y="167"/>
                  </a:lnTo>
                  <a:lnTo>
                    <a:pt x="2687" y="169"/>
                  </a:lnTo>
                  <a:lnTo>
                    <a:pt x="2685" y="172"/>
                  </a:lnTo>
                  <a:lnTo>
                    <a:pt x="2690" y="175"/>
                  </a:lnTo>
                  <a:lnTo>
                    <a:pt x="2693" y="178"/>
                  </a:lnTo>
                  <a:lnTo>
                    <a:pt x="2694" y="180"/>
                  </a:lnTo>
                  <a:lnTo>
                    <a:pt x="2697" y="182"/>
                  </a:lnTo>
                  <a:lnTo>
                    <a:pt x="2697" y="186"/>
                  </a:lnTo>
                  <a:lnTo>
                    <a:pt x="2702" y="190"/>
                  </a:lnTo>
                  <a:lnTo>
                    <a:pt x="2703" y="193"/>
                  </a:lnTo>
                  <a:lnTo>
                    <a:pt x="2698" y="198"/>
                  </a:lnTo>
                  <a:lnTo>
                    <a:pt x="2696" y="201"/>
                  </a:lnTo>
                  <a:lnTo>
                    <a:pt x="2694" y="206"/>
                  </a:lnTo>
                  <a:lnTo>
                    <a:pt x="2694" y="207"/>
                  </a:lnTo>
                  <a:lnTo>
                    <a:pt x="2693" y="210"/>
                  </a:lnTo>
                  <a:lnTo>
                    <a:pt x="2692" y="213"/>
                  </a:lnTo>
                  <a:lnTo>
                    <a:pt x="2693" y="215"/>
                  </a:lnTo>
                  <a:lnTo>
                    <a:pt x="2695" y="218"/>
                  </a:lnTo>
                  <a:lnTo>
                    <a:pt x="2696" y="221"/>
                  </a:lnTo>
                  <a:lnTo>
                    <a:pt x="2696" y="223"/>
                  </a:lnTo>
                  <a:lnTo>
                    <a:pt x="2695" y="227"/>
                  </a:lnTo>
                  <a:lnTo>
                    <a:pt x="2697" y="229"/>
                  </a:lnTo>
                  <a:lnTo>
                    <a:pt x="2702" y="228"/>
                  </a:lnTo>
                  <a:lnTo>
                    <a:pt x="2705" y="228"/>
                  </a:lnTo>
                  <a:lnTo>
                    <a:pt x="2707" y="229"/>
                  </a:lnTo>
                  <a:lnTo>
                    <a:pt x="2711" y="229"/>
                  </a:lnTo>
                  <a:lnTo>
                    <a:pt x="2717" y="226"/>
                  </a:lnTo>
                  <a:lnTo>
                    <a:pt x="2720" y="224"/>
                  </a:lnTo>
                  <a:lnTo>
                    <a:pt x="2722" y="226"/>
                  </a:lnTo>
                  <a:lnTo>
                    <a:pt x="2724" y="226"/>
                  </a:lnTo>
                  <a:lnTo>
                    <a:pt x="2730" y="227"/>
                  </a:lnTo>
                  <a:lnTo>
                    <a:pt x="2736" y="228"/>
                  </a:lnTo>
                  <a:lnTo>
                    <a:pt x="2738" y="230"/>
                  </a:lnTo>
                  <a:lnTo>
                    <a:pt x="2746" y="232"/>
                  </a:lnTo>
                  <a:lnTo>
                    <a:pt x="2748" y="236"/>
                  </a:lnTo>
                  <a:lnTo>
                    <a:pt x="2749" y="238"/>
                  </a:lnTo>
                  <a:lnTo>
                    <a:pt x="2749" y="240"/>
                  </a:lnTo>
                  <a:lnTo>
                    <a:pt x="2752" y="244"/>
                  </a:lnTo>
                  <a:lnTo>
                    <a:pt x="2754" y="246"/>
                  </a:lnTo>
                  <a:lnTo>
                    <a:pt x="2754" y="248"/>
                  </a:lnTo>
                  <a:lnTo>
                    <a:pt x="2748" y="249"/>
                  </a:lnTo>
                  <a:lnTo>
                    <a:pt x="2746" y="253"/>
                  </a:lnTo>
                  <a:lnTo>
                    <a:pt x="2746" y="258"/>
                  </a:lnTo>
                  <a:lnTo>
                    <a:pt x="2746" y="261"/>
                  </a:lnTo>
                  <a:lnTo>
                    <a:pt x="2752" y="261"/>
                  </a:lnTo>
                  <a:lnTo>
                    <a:pt x="2753" y="262"/>
                  </a:lnTo>
                  <a:lnTo>
                    <a:pt x="2761" y="264"/>
                  </a:lnTo>
                  <a:lnTo>
                    <a:pt x="2763" y="263"/>
                  </a:lnTo>
                  <a:lnTo>
                    <a:pt x="2766" y="265"/>
                  </a:lnTo>
                  <a:lnTo>
                    <a:pt x="2763" y="264"/>
                  </a:lnTo>
                  <a:lnTo>
                    <a:pt x="2761" y="265"/>
                  </a:lnTo>
                  <a:lnTo>
                    <a:pt x="2760" y="265"/>
                  </a:lnTo>
                  <a:lnTo>
                    <a:pt x="2757" y="265"/>
                  </a:lnTo>
                  <a:lnTo>
                    <a:pt x="2754" y="265"/>
                  </a:lnTo>
                  <a:lnTo>
                    <a:pt x="2750" y="265"/>
                  </a:lnTo>
                  <a:lnTo>
                    <a:pt x="2741" y="261"/>
                  </a:lnTo>
                  <a:lnTo>
                    <a:pt x="2743" y="258"/>
                  </a:lnTo>
                  <a:lnTo>
                    <a:pt x="2741" y="255"/>
                  </a:lnTo>
                  <a:lnTo>
                    <a:pt x="2741" y="253"/>
                  </a:lnTo>
                  <a:lnTo>
                    <a:pt x="2744" y="249"/>
                  </a:lnTo>
                  <a:lnTo>
                    <a:pt x="2741" y="247"/>
                  </a:lnTo>
                  <a:lnTo>
                    <a:pt x="2743" y="245"/>
                  </a:lnTo>
                  <a:lnTo>
                    <a:pt x="2743" y="241"/>
                  </a:lnTo>
                  <a:lnTo>
                    <a:pt x="2740" y="241"/>
                  </a:lnTo>
                  <a:lnTo>
                    <a:pt x="2737" y="238"/>
                  </a:lnTo>
                  <a:lnTo>
                    <a:pt x="2735" y="237"/>
                  </a:lnTo>
                  <a:lnTo>
                    <a:pt x="2735" y="235"/>
                  </a:lnTo>
                  <a:lnTo>
                    <a:pt x="2732" y="231"/>
                  </a:lnTo>
                  <a:lnTo>
                    <a:pt x="2728" y="231"/>
                  </a:lnTo>
                  <a:lnTo>
                    <a:pt x="2715" y="233"/>
                  </a:lnTo>
                  <a:lnTo>
                    <a:pt x="2705" y="237"/>
                  </a:lnTo>
                  <a:lnTo>
                    <a:pt x="2704" y="240"/>
                  </a:lnTo>
                  <a:lnTo>
                    <a:pt x="2704" y="243"/>
                  </a:lnTo>
                  <a:lnTo>
                    <a:pt x="2703" y="246"/>
                  </a:lnTo>
                  <a:lnTo>
                    <a:pt x="2707" y="250"/>
                  </a:lnTo>
                  <a:lnTo>
                    <a:pt x="2710" y="256"/>
                  </a:lnTo>
                  <a:lnTo>
                    <a:pt x="2709" y="260"/>
                  </a:lnTo>
                  <a:lnTo>
                    <a:pt x="2707" y="262"/>
                  </a:lnTo>
                  <a:lnTo>
                    <a:pt x="2703" y="266"/>
                  </a:lnTo>
                  <a:lnTo>
                    <a:pt x="2700" y="267"/>
                  </a:lnTo>
                  <a:lnTo>
                    <a:pt x="2697" y="271"/>
                  </a:lnTo>
                  <a:lnTo>
                    <a:pt x="2697" y="275"/>
                  </a:lnTo>
                  <a:lnTo>
                    <a:pt x="2695" y="279"/>
                  </a:lnTo>
                  <a:lnTo>
                    <a:pt x="2693" y="280"/>
                  </a:lnTo>
                  <a:lnTo>
                    <a:pt x="2690" y="282"/>
                  </a:lnTo>
                  <a:lnTo>
                    <a:pt x="2685" y="284"/>
                  </a:lnTo>
                  <a:lnTo>
                    <a:pt x="2681" y="287"/>
                  </a:lnTo>
                  <a:lnTo>
                    <a:pt x="2679" y="287"/>
                  </a:lnTo>
                  <a:lnTo>
                    <a:pt x="2676" y="288"/>
                  </a:lnTo>
                  <a:lnTo>
                    <a:pt x="2676" y="293"/>
                  </a:lnTo>
                  <a:lnTo>
                    <a:pt x="2671" y="296"/>
                  </a:lnTo>
                  <a:lnTo>
                    <a:pt x="2668" y="296"/>
                  </a:lnTo>
                  <a:lnTo>
                    <a:pt x="2666" y="293"/>
                  </a:lnTo>
                  <a:lnTo>
                    <a:pt x="2662" y="292"/>
                  </a:lnTo>
                  <a:lnTo>
                    <a:pt x="2656" y="292"/>
                  </a:lnTo>
                  <a:lnTo>
                    <a:pt x="2649" y="293"/>
                  </a:lnTo>
                  <a:lnTo>
                    <a:pt x="2641" y="290"/>
                  </a:lnTo>
                  <a:lnTo>
                    <a:pt x="2635" y="289"/>
                  </a:lnTo>
                  <a:lnTo>
                    <a:pt x="2633" y="288"/>
                  </a:lnTo>
                  <a:lnTo>
                    <a:pt x="2632" y="284"/>
                  </a:lnTo>
                  <a:lnTo>
                    <a:pt x="2629" y="282"/>
                  </a:lnTo>
                  <a:lnTo>
                    <a:pt x="2635" y="282"/>
                  </a:lnTo>
                  <a:lnTo>
                    <a:pt x="2637" y="283"/>
                  </a:lnTo>
                  <a:lnTo>
                    <a:pt x="2643" y="282"/>
                  </a:lnTo>
                  <a:lnTo>
                    <a:pt x="2643" y="283"/>
                  </a:lnTo>
                  <a:lnTo>
                    <a:pt x="2646" y="284"/>
                  </a:lnTo>
                  <a:lnTo>
                    <a:pt x="2649" y="286"/>
                  </a:lnTo>
                  <a:lnTo>
                    <a:pt x="2654" y="283"/>
                  </a:lnTo>
                  <a:lnTo>
                    <a:pt x="2654" y="283"/>
                  </a:lnTo>
                  <a:lnTo>
                    <a:pt x="2656" y="282"/>
                  </a:lnTo>
                  <a:lnTo>
                    <a:pt x="2660" y="281"/>
                  </a:lnTo>
                  <a:lnTo>
                    <a:pt x="2668" y="279"/>
                  </a:lnTo>
                  <a:lnTo>
                    <a:pt x="2671" y="276"/>
                  </a:lnTo>
                  <a:lnTo>
                    <a:pt x="2672" y="274"/>
                  </a:lnTo>
                  <a:lnTo>
                    <a:pt x="2671" y="271"/>
                  </a:lnTo>
                  <a:lnTo>
                    <a:pt x="2673" y="271"/>
                  </a:lnTo>
                  <a:lnTo>
                    <a:pt x="2677" y="270"/>
                  </a:lnTo>
                  <a:lnTo>
                    <a:pt x="2677" y="266"/>
                  </a:lnTo>
                  <a:lnTo>
                    <a:pt x="2680" y="263"/>
                  </a:lnTo>
                  <a:lnTo>
                    <a:pt x="2686" y="261"/>
                  </a:lnTo>
                  <a:lnTo>
                    <a:pt x="2686" y="258"/>
                  </a:lnTo>
                  <a:lnTo>
                    <a:pt x="2687" y="256"/>
                  </a:lnTo>
                  <a:lnTo>
                    <a:pt x="2686" y="253"/>
                  </a:lnTo>
                  <a:lnTo>
                    <a:pt x="2686" y="250"/>
                  </a:lnTo>
                  <a:lnTo>
                    <a:pt x="2690" y="245"/>
                  </a:lnTo>
                  <a:lnTo>
                    <a:pt x="2693" y="244"/>
                  </a:lnTo>
                  <a:lnTo>
                    <a:pt x="2693" y="241"/>
                  </a:lnTo>
                  <a:lnTo>
                    <a:pt x="2687" y="238"/>
                  </a:lnTo>
                  <a:lnTo>
                    <a:pt x="2681" y="235"/>
                  </a:lnTo>
                  <a:lnTo>
                    <a:pt x="2679" y="232"/>
                  </a:lnTo>
                  <a:lnTo>
                    <a:pt x="2677" y="227"/>
                  </a:lnTo>
                  <a:lnTo>
                    <a:pt x="2679" y="224"/>
                  </a:lnTo>
                  <a:lnTo>
                    <a:pt x="2678" y="222"/>
                  </a:lnTo>
                  <a:lnTo>
                    <a:pt x="2679" y="219"/>
                  </a:lnTo>
                  <a:lnTo>
                    <a:pt x="2678" y="216"/>
                  </a:lnTo>
                  <a:lnTo>
                    <a:pt x="2679" y="213"/>
                  </a:lnTo>
                  <a:lnTo>
                    <a:pt x="2680" y="211"/>
                  </a:lnTo>
                  <a:lnTo>
                    <a:pt x="2678" y="206"/>
                  </a:lnTo>
                  <a:lnTo>
                    <a:pt x="2678" y="204"/>
                  </a:lnTo>
                  <a:lnTo>
                    <a:pt x="2678" y="202"/>
                  </a:lnTo>
                  <a:lnTo>
                    <a:pt x="2678" y="198"/>
                  </a:lnTo>
                  <a:lnTo>
                    <a:pt x="2680" y="196"/>
                  </a:lnTo>
                  <a:lnTo>
                    <a:pt x="2681" y="194"/>
                  </a:lnTo>
                  <a:lnTo>
                    <a:pt x="2680" y="192"/>
                  </a:lnTo>
                  <a:lnTo>
                    <a:pt x="2683" y="186"/>
                  </a:lnTo>
                  <a:lnTo>
                    <a:pt x="2680" y="182"/>
                  </a:lnTo>
                  <a:lnTo>
                    <a:pt x="2679" y="180"/>
                  </a:lnTo>
                  <a:lnTo>
                    <a:pt x="2677" y="178"/>
                  </a:lnTo>
                  <a:lnTo>
                    <a:pt x="2671" y="175"/>
                  </a:lnTo>
                  <a:lnTo>
                    <a:pt x="2669" y="171"/>
                  </a:lnTo>
                  <a:lnTo>
                    <a:pt x="2668" y="169"/>
                  </a:lnTo>
                  <a:lnTo>
                    <a:pt x="2673" y="166"/>
                  </a:lnTo>
                  <a:lnTo>
                    <a:pt x="2676" y="163"/>
                  </a:lnTo>
                  <a:lnTo>
                    <a:pt x="2676" y="161"/>
                  </a:lnTo>
                  <a:lnTo>
                    <a:pt x="2678" y="159"/>
                  </a:lnTo>
                  <a:lnTo>
                    <a:pt x="2678" y="156"/>
                  </a:lnTo>
                  <a:lnTo>
                    <a:pt x="2680" y="154"/>
                  </a:lnTo>
                  <a:lnTo>
                    <a:pt x="2683" y="149"/>
                  </a:lnTo>
                  <a:lnTo>
                    <a:pt x="2681" y="145"/>
                  </a:lnTo>
                  <a:lnTo>
                    <a:pt x="2681" y="141"/>
                  </a:lnTo>
                  <a:lnTo>
                    <a:pt x="2680" y="137"/>
                  </a:lnTo>
                  <a:lnTo>
                    <a:pt x="2671" y="135"/>
                  </a:lnTo>
                  <a:lnTo>
                    <a:pt x="2669" y="136"/>
                  </a:lnTo>
                  <a:lnTo>
                    <a:pt x="2666" y="134"/>
                  </a:lnTo>
                  <a:lnTo>
                    <a:pt x="2663" y="133"/>
                  </a:lnTo>
                  <a:lnTo>
                    <a:pt x="2660" y="134"/>
                  </a:lnTo>
                  <a:lnTo>
                    <a:pt x="2646" y="134"/>
                  </a:lnTo>
                  <a:lnTo>
                    <a:pt x="2637" y="134"/>
                  </a:lnTo>
                  <a:lnTo>
                    <a:pt x="2641" y="133"/>
                  </a:lnTo>
                  <a:lnTo>
                    <a:pt x="2637" y="132"/>
                  </a:lnTo>
                  <a:lnTo>
                    <a:pt x="2635" y="132"/>
                  </a:lnTo>
                  <a:lnTo>
                    <a:pt x="2634" y="135"/>
                  </a:lnTo>
                  <a:lnTo>
                    <a:pt x="2630" y="137"/>
                  </a:lnTo>
                  <a:lnTo>
                    <a:pt x="2629" y="141"/>
                  </a:lnTo>
                  <a:lnTo>
                    <a:pt x="2628" y="143"/>
                  </a:lnTo>
                  <a:lnTo>
                    <a:pt x="2627" y="149"/>
                  </a:lnTo>
                  <a:lnTo>
                    <a:pt x="2624" y="159"/>
                  </a:lnTo>
                  <a:lnTo>
                    <a:pt x="2620" y="164"/>
                  </a:lnTo>
                  <a:lnTo>
                    <a:pt x="2611" y="170"/>
                  </a:lnTo>
                  <a:lnTo>
                    <a:pt x="2603" y="175"/>
                  </a:lnTo>
                  <a:lnTo>
                    <a:pt x="2600" y="176"/>
                  </a:lnTo>
                  <a:lnTo>
                    <a:pt x="2598" y="181"/>
                  </a:lnTo>
                  <a:lnTo>
                    <a:pt x="2600" y="179"/>
                  </a:lnTo>
                  <a:lnTo>
                    <a:pt x="2600" y="182"/>
                  </a:lnTo>
                  <a:lnTo>
                    <a:pt x="2596" y="185"/>
                  </a:lnTo>
                  <a:lnTo>
                    <a:pt x="2599" y="187"/>
                  </a:lnTo>
                  <a:lnTo>
                    <a:pt x="2604" y="186"/>
                  </a:lnTo>
                  <a:lnTo>
                    <a:pt x="2607" y="187"/>
                  </a:lnTo>
                  <a:lnTo>
                    <a:pt x="2605" y="193"/>
                  </a:lnTo>
                  <a:lnTo>
                    <a:pt x="2605" y="196"/>
                  </a:lnTo>
                  <a:lnTo>
                    <a:pt x="2603" y="201"/>
                  </a:lnTo>
                  <a:lnTo>
                    <a:pt x="2607" y="204"/>
                  </a:lnTo>
                  <a:lnTo>
                    <a:pt x="2605" y="206"/>
                  </a:lnTo>
                  <a:lnTo>
                    <a:pt x="2602" y="206"/>
                  </a:lnTo>
                  <a:lnTo>
                    <a:pt x="2600" y="207"/>
                  </a:lnTo>
                  <a:lnTo>
                    <a:pt x="2599" y="213"/>
                  </a:lnTo>
                  <a:lnTo>
                    <a:pt x="2599" y="215"/>
                  </a:lnTo>
                  <a:lnTo>
                    <a:pt x="2602" y="218"/>
                  </a:lnTo>
                  <a:lnTo>
                    <a:pt x="2601" y="215"/>
                  </a:lnTo>
                  <a:lnTo>
                    <a:pt x="2603" y="214"/>
                  </a:lnTo>
                  <a:lnTo>
                    <a:pt x="2605" y="215"/>
                  </a:lnTo>
                  <a:lnTo>
                    <a:pt x="2609" y="215"/>
                  </a:lnTo>
                  <a:lnTo>
                    <a:pt x="2611" y="218"/>
                  </a:lnTo>
                  <a:lnTo>
                    <a:pt x="2615" y="219"/>
                  </a:lnTo>
                  <a:lnTo>
                    <a:pt x="2617" y="219"/>
                  </a:lnTo>
                  <a:lnTo>
                    <a:pt x="2617" y="221"/>
                  </a:lnTo>
                  <a:lnTo>
                    <a:pt x="2617" y="223"/>
                  </a:lnTo>
                  <a:lnTo>
                    <a:pt x="2618" y="227"/>
                  </a:lnTo>
                  <a:lnTo>
                    <a:pt x="2624" y="232"/>
                  </a:lnTo>
                  <a:lnTo>
                    <a:pt x="2626" y="233"/>
                  </a:lnTo>
                  <a:lnTo>
                    <a:pt x="2629" y="232"/>
                  </a:lnTo>
                  <a:lnTo>
                    <a:pt x="2632" y="232"/>
                  </a:lnTo>
                  <a:lnTo>
                    <a:pt x="2629" y="233"/>
                  </a:lnTo>
                  <a:lnTo>
                    <a:pt x="2629" y="237"/>
                  </a:lnTo>
                  <a:lnTo>
                    <a:pt x="2627" y="241"/>
                  </a:lnTo>
                  <a:lnTo>
                    <a:pt x="2625" y="245"/>
                  </a:lnTo>
                  <a:lnTo>
                    <a:pt x="2625" y="247"/>
                  </a:lnTo>
                  <a:lnTo>
                    <a:pt x="2624" y="247"/>
                  </a:lnTo>
                  <a:lnTo>
                    <a:pt x="2621" y="249"/>
                  </a:lnTo>
                  <a:lnTo>
                    <a:pt x="2619" y="248"/>
                  </a:lnTo>
                  <a:lnTo>
                    <a:pt x="2618" y="245"/>
                  </a:lnTo>
                  <a:lnTo>
                    <a:pt x="2612" y="243"/>
                  </a:lnTo>
                  <a:lnTo>
                    <a:pt x="2604" y="237"/>
                  </a:lnTo>
                  <a:lnTo>
                    <a:pt x="2603" y="235"/>
                  </a:lnTo>
                  <a:lnTo>
                    <a:pt x="2598" y="233"/>
                  </a:lnTo>
                  <a:lnTo>
                    <a:pt x="2592" y="231"/>
                  </a:lnTo>
                  <a:lnTo>
                    <a:pt x="2586" y="229"/>
                  </a:lnTo>
                  <a:lnTo>
                    <a:pt x="2584" y="228"/>
                  </a:lnTo>
                  <a:lnTo>
                    <a:pt x="2586" y="228"/>
                  </a:lnTo>
                  <a:lnTo>
                    <a:pt x="2581" y="227"/>
                  </a:lnTo>
                  <a:lnTo>
                    <a:pt x="2575" y="224"/>
                  </a:lnTo>
                  <a:lnTo>
                    <a:pt x="2574" y="227"/>
                  </a:lnTo>
                  <a:lnTo>
                    <a:pt x="2573" y="227"/>
                  </a:lnTo>
                  <a:lnTo>
                    <a:pt x="2572" y="226"/>
                  </a:lnTo>
                  <a:lnTo>
                    <a:pt x="2573" y="222"/>
                  </a:lnTo>
                  <a:lnTo>
                    <a:pt x="2565" y="219"/>
                  </a:lnTo>
                  <a:lnTo>
                    <a:pt x="2550" y="214"/>
                  </a:lnTo>
                  <a:lnTo>
                    <a:pt x="2539" y="213"/>
                  </a:lnTo>
                  <a:lnTo>
                    <a:pt x="2533" y="213"/>
                  </a:lnTo>
                  <a:lnTo>
                    <a:pt x="2527" y="212"/>
                  </a:lnTo>
                  <a:lnTo>
                    <a:pt x="2519" y="210"/>
                  </a:lnTo>
                  <a:lnTo>
                    <a:pt x="2516" y="211"/>
                  </a:lnTo>
                  <a:lnTo>
                    <a:pt x="2516" y="213"/>
                  </a:lnTo>
                  <a:lnTo>
                    <a:pt x="2513" y="214"/>
                  </a:lnTo>
                  <a:lnTo>
                    <a:pt x="2510" y="214"/>
                  </a:lnTo>
                  <a:lnTo>
                    <a:pt x="2509" y="218"/>
                  </a:lnTo>
                  <a:lnTo>
                    <a:pt x="2510" y="220"/>
                  </a:lnTo>
                  <a:lnTo>
                    <a:pt x="2514" y="223"/>
                  </a:lnTo>
                  <a:lnTo>
                    <a:pt x="2516" y="229"/>
                  </a:lnTo>
                  <a:lnTo>
                    <a:pt x="2519" y="228"/>
                  </a:lnTo>
                  <a:lnTo>
                    <a:pt x="2519" y="231"/>
                  </a:lnTo>
                  <a:lnTo>
                    <a:pt x="2517" y="233"/>
                  </a:lnTo>
                  <a:lnTo>
                    <a:pt x="2515" y="237"/>
                  </a:lnTo>
                  <a:lnTo>
                    <a:pt x="2511" y="238"/>
                  </a:lnTo>
                  <a:lnTo>
                    <a:pt x="2509" y="238"/>
                  </a:lnTo>
                  <a:lnTo>
                    <a:pt x="2506" y="238"/>
                  </a:lnTo>
                  <a:lnTo>
                    <a:pt x="2502" y="239"/>
                  </a:lnTo>
                  <a:lnTo>
                    <a:pt x="2506" y="243"/>
                  </a:lnTo>
                  <a:lnTo>
                    <a:pt x="2505" y="245"/>
                  </a:lnTo>
                  <a:lnTo>
                    <a:pt x="2502" y="247"/>
                  </a:lnTo>
                  <a:lnTo>
                    <a:pt x="2499" y="246"/>
                  </a:lnTo>
                  <a:lnTo>
                    <a:pt x="2497" y="246"/>
                  </a:lnTo>
                  <a:lnTo>
                    <a:pt x="2493" y="244"/>
                  </a:lnTo>
                  <a:lnTo>
                    <a:pt x="2493" y="240"/>
                  </a:lnTo>
                  <a:lnTo>
                    <a:pt x="2496" y="238"/>
                  </a:lnTo>
                  <a:lnTo>
                    <a:pt x="2498" y="238"/>
                  </a:lnTo>
                  <a:lnTo>
                    <a:pt x="2497" y="235"/>
                  </a:lnTo>
                  <a:lnTo>
                    <a:pt x="2493" y="233"/>
                  </a:lnTo>
                  <a:lnTo>
                    <a:pt x="2491" y="232"/>
                  </a:lnTo>
                  <a:lnTo>
                    <a:pt x="2493" y="231"/>
                  </a:lnTo>
                  <a:lnTo>
                    <a:pt x="2491" y="231"/>
                  </a:lnTo>
                  <a:lnTo>
                    <a:pt x="2489" y="231"/>
                  </a:lnTo>
                  <a:lnTo>
                    <a:pt x="2485" y="232"/>
                  </a:lnTo>
                  <a:lnTo>
                    <a:pt x="2483" y="233"/>
                  </a:lnTo>
                  <a:lnTo>
                    <a:pt x="2483" y="237"/>
                  </a:lnTo>
                  <a:lnTo>
                    <a:pt x="2481" y="233"/>
                  </a:lnTo>
                  <a:lnTo>
                    <a:pt x="2479" y="237"/>
                  </a:lnTo>
                  <a:lnTo>
                    <a:pt x="2473" y="238"/>
                  </a:lnTo>
                  <a:lnTo>
                    <a:pt x="2471" y="240"/>
                  </a:lnTo>
                  <a:lnTo>
                    <a:pt x="2468" y="241"/>
                  </a:lnTo>
                  <a:lnTo>
                    <a:pt x="2465" y="241"/>
                  </a:lnTo>
                  <a:lnTo>
                    <a:pt x="2459" y="239"/>
                  </a:lnTo>
                  <a:lnTo>
                    <a:pt x="2455" y="240"/>
                  </a:lnTo>
                  <a:lnTo>
                    <a:pt x="2451" y="239"/>
                  </a:lnTo>
                  <a:lnTo>
                    <a:pt x="2449" y="240"/>
                  </a:lnTo>
                  <a:lnTo>
                    <a:pt x="2444" y="241"/>
                  </a:lnTo>
                  <a:lnTo>
                    <a:pt x="2438" y="245"/>
                  </a:lnTo>
                  <a:lnTo>
                    <a:pt x="2437" y="245"/>
                  </a:lnTo>
                  <a:lnTo>
                    <a:pt x="2437" y="248"/>
                  </a:lnTo>
                  <a:lnTo>
                    <a:pt x="2436" y="250"/>
                  </a:lnTo>
                  <a:lnTo>
                    <a:pt x="2430" y="248"/>
                  </a:lnTo>
                  <a:lnTo>
                    <a:pt x="2428" y="249"/>
                  </a:lnTo>
                  <a:lnTo>
                    <a:pt x="2425" y="248"/>
                  </a:lnTo>
                  <a:lnTo>
                    <a:pt x="2423" y="249"/>
                  </a:lnTo>
                  <a:lnTo>
                    <a:pt x="2422" y="249"/>
                  </a:lnTo>
                  <a:lnTo>
                    <a:pt x="2420" y="248"/>
                  </a:lnTo>
                  <a:lnTo>
                    <a:pt x="2414" y="248"/>
                  </a:lnTo>
                  <a:lnTo>
                    <a:pt x="2415" y="246"/>
                  </a:lnTo>
                  <a:lnTo>
                    <a:pt x="2421" y="246"/>
                  </a:lnTo>
                  <a:lnTo>
                    <a:pt x="2423" y="245"/>
                  </a:lnTo>
                  <a:lnTo>
                    <a:pt x="2422" y="243"/>
                  </a:lnTo>
                  <a:lnTo>
                    <a:pt x="2420" y="239"/>
                  </a:lnTo>
                  <a:lnTo>
                    <a:pt x="2423" y="233"/>
                  </a:lnTo>
                  <a:lnTo>
                    <a:pt x="2421" y="232"/>
                  </a:lnTo>
                  <a:lnTo>
                    <a:pt x="2427" y="232"/>
                  </a:lnTo>
                  <a:lnTo>
                    <a:pt x="2429" y="231"/>
                  </a:lnTo>
                  <a:lnTo>
                    <a:pt x="2427" y="231"/>
                  </a:lnTo>
                  <a:lnTo>
                    <a:pt x="2421" y="231"/>
                  </a:lnTo>
                  <a:lnTo>
                    <a:pt x="2415" y="233"/>
                  </a:lnTo>
                  <a:lnTo>
                    <a:pt x="2405" y="238"/>
                  </a:lnTo>
                  <a:lnTo>
                    <a:pt x="2403" y="240"/>
                  </a:lnTo>
                  <a:lnTo>
                    <a:pt x="2406" y="239"/>
                  </a:lnTo>
                  <a:lnTo>
                    <a:pt x="2405" y="245"/>
                  </a:lnTo>
                  <a:lnTo>
                    <a:pt x="2402" y="247"/>
                  </a:lnTo>
                  <a:lnTo>
                    <a:pt x="2399" y="247"/>
                  </a:lnTo>
                  <a:lnTo>
                    <a:pt x="2400" y="244"/>
                  </a:lnTo>
                  <a:lnTo>
                    <a:pt x="2399" y="241"/>
                  </a:lnTo>
                  <a:lnTo>
                    <a:pt x="2394" y="243"/>
                  </a:lnTo>
                  <a:lnTo>
                    <a:pt x="2391" y="244"/>
                  </a:lnTo>
                  <a:lnTo>
                    <a:pt x="2386" y="246"/>
                  </a:lnTo>
                  <a:lnTo>
                    <a:pt x="2383" y="246"/>
                  </a:lnTo>
                  <a:lnTo>
                    <a:pt x="2380" y="246"/>
                  </a:lnTo>
                  <a:lnTo>
                    <a:pt x="2378" y="248"/>
                  </a:lnTo>
                  <a:lnTo>
                    <a:pt x="2372" y="250"/>
                  </a:lnTo>
                  <a:lnTo>
                    <a:pt x="2370" y="254"/>
                  </a:lnTo>
                  <a:lnTo>
                    <a:pt x="2369" y="253"/>
                  </a:lnTo>
                  <a:lnTo>
                    <a:pt x="2364" y="255"/>
                  </a:lnTo>
                  <a:lnTo>
                    <a:pt x="2359" y="257"/>
                  </a:lnTo>
                  <a:lnTo>
                    <a:pt x="2353" y="258"/>
                  </a:lnTo>
                  <a:lnTo>
                    <a:pt x="2354" y="261"/>
                  </a:lnTo>
                  <a:lnTo>
                    <a:pt x="2356" y="263"/>
                  </a:lnTo>
                  <a:lnTo>
                    <a:pt x="2354" y="262"/>
                  </a:lnTo>
                  <a:lnTo>
                    <a:pt x="2351" y="262"/>
                  </a:lnTo>
                  <a:lnTo>
                    <a:pt x="2348" y="263"/>
                  </a:lnTo>
                  <a:lnTo>
                    <a:pt x="2345" y="262"/>
                  </a:lnTo>
                  <a:lnTo>
                    <a:pt x="2343" y="263"/>
                  </a:lnTo>
                  <a:lnTo>
                    <a:pt x="2340" y="264"/>
                  </a:lnTo>
                  <a:lnTo>
                    <a:pt x="2340" y="266"/>
                  </a:lnTo>
                  <a:lnTo>
                    <a:pt x="2339" y="270"/>
                  </a:lnTo>
                  <a:lnTo>
                    <a:pt x="2339" y="272"/>
                  </a:lnTo>
                  <a:lnTo>
                    <a:pt x="2338" y="278"/>
                  </a:lnTo>
                  <a:lnTo>
                    <a:pt x="2336" y="281"/>
                  </a:lnTo>
                  <a:lnTo>
                    <a:pt x="2334" y="280"/>
                  </a:lnTo>
                  <a:lnTo>
                    <a:pt x="2322" y="282"/>
                  </a:lnTo>
                  <a:lnTo>
                    <a:pt x="2320" y="283"/>
                  </a:lnTo>
                  <a:lnTo>
                    <a:pt x="2321" y="281"/>
                  </a:lnTo>
                  <a:lnTo>
                    <a:pt x="2316" y="282"/>
                  </a:lnTo>
                  <a:lnTo>
                    <a:pt x="2312" y="280"/>
                  </a:lnTo>
                  <a:lnTo>
                    <a:pt x="2310" y="276"/>
                  </a:lnTo>
                  <a:lnTo>
                    <a:pt x="2310" y="274"/>
                  </a:lnTo>
                  <a:lnTo>
                    <a:pt x="2301" y="271"/>
                  </a:lnTo>
                  <a:lnTo>
                    <a:pt x="2300" y="269"/>
                  </a:lnTo>
                  <a:lnTo>
                    <a:pt x="2301" y="266"/>
                  </a:lnTo>
                  <a:lnTo>
                    <a:pt x="2302" y="265"/>
                  </a:lnTo>
                  <a:lnTo>
                    <a:pt x="2305" y="264"/>
                  </a:lnTo>
                  <a:lnTo>
                    <a:pt x="2305" y="262"/>
                  </a:lnTo>
                  <a:lnTo>
                    <a:pt x="2308" y="261"/>
                  </a:lnTo>
                  <a:lnTo>
                    <a:pt x="2319" y="258"/>
                  </a:lnTo>
                  <a:lnTo>
                    <a:pt x="2325" y="258"/>
                  </a:lnTo>
                  <a:lnTo>
                    <a:pt x="2322" y="253"/>
                  </a:lnTo>
                  <a:lnTo>
                    <a:pt x="2320" y="250"/>
                  </a:lnTo>
                  <a:lnTo>
                    <a:pt x="2318" y="249"/>
                  </a:lnTo>
                  <a:lnTo>
                    <a:pt x="2314" y="247"/>
                  </a:lnTo>
                  <a:lnTo>
                    <a:pt x="2314" y="244"/>
                  </a:lnTo>
                  <a:lnTo>
                    <a:pt x="2306" y="241"/>
                  </a:lnTo>
                  <a:lnTo>
                    <a:pt x="2301" y="241"/>
                  </a:lnTo>
                  <a:lnTo>
                    <a:pt x="2289" y="243"/>
                  </a:lnTo>
                  <a:lnTo>
                    <a:pt x="2286" y="241"/>
                  </a:lnTo>
                  <a:lnTo>
                    <a:pt x="2284" y="240"/>
                  </a:lnTo>
                  <a:lnTo>
                    <a:pt x="2282" y="239"/>
                  </a:lnTo>
                  <a:lnTo>
                    <a:pt x="2278" y="240"/>
                  </a:lnTo>
                  <a:lnTo>
                    <a:pt x="2284" y="244"/>
                  </a:lnTo>
                  <a:lnTo>
                    <a:pt x="2286" y="245"/>
                  </a:lnTo>
                  <a:lnTo>
                    <a:pt x="2289" y="247"/>
                  </a:lnTo>
                  <a:lnTo>
                    <a:pt x="2291" y="248"/>
                  </a:lnTo>
                  <a:lnTo>
                    <a:pt x="2289" y="252"/>
                  </a:lnTo>
                  <a:lnTo>
                    <a:pt x="2291" y="254"/>
                  </a:lnTo>
                  <a:lnTo>
                    <a:pt x="2291" y="256"/>
                  </a:lnTo>
                  <a:lnTo>
                    <a:pt x="2289" y="260"/>
                  </a:lnTo>
                  <a:lnTo>
                    <a:pt x="2288" y="262"/>
                  </a:lnTo>
                  <a:lnTo>
                    <a:pt x="2285" y="267"/>
                  </a:lnTo>
                  <a:lnTo>
                    <a:pt x="2284" y="270"/>
                  </a:lnTo>
                  <a:lnTo>
                    <a:pt x="2284" y="273"/>
                  </a:lnTo>
                  <a:lnTo>
                    <a:pt x="2289" y="274"/>
                  </a:lnTo>
                  <a:lnTo>
                    <a:pt x="2292" y="275"/>
                  </a:lnTo>
                  <a:lnTo>
                    <a:pt x="2293" y="279"/>
                  </a:lnTo>
                  <a:lnTo>
                    <a:pt x="2294" y="281"/>
                  </a:lnTo>
                  <a:lnTo>
                    <a:pt x="2293" y="284"/>
                  </a:lnTo>
                  <a:lnTo>
                    <a:pt x="2292" y="290"/>
                  </a:lnTo>
                  <a:lnTo>
                    <a:pt x="2289" y="293"/>
                  </a:lnTo>
                  <a:lnTo>
                    <a:pt x="2288" y="296"/>
                  </a:lnTo>
                  <a:lnTo>
                    <a:pt x="2289" y="298"/>
                  </a:lnTo>
                  <a:lnTo>
                    <a:pt x="2289" y="301"/>
                  </a:lnTo>
                  <a:lnTo>
                    <a:pt x="2289" y="304"/>
                  </a:lnTo>
                  <a:lnTo>
                    <a:pt x="2288" y="301"/>
                  </a:lnTo>
                  <a:lnTo>
                    <a:pt x="2287" y="298"/>
                  </a:lnTo>
                  <a:lnTo>
                    <a:pt x="2284" y="297"/>
                  </a:lnTo>
                  <a:lnTo>
                    <a:pt x="2282" y="297"/>
                  </a:lnTo>
                  <a:lnTo>
                    <a:pt x="2278" y="300"/>
                  </a:lnTo>
                  <a:lnTo>
                    <a:pt x="2279" y="297"/>
                  </a:lnTo>
                  <a:lnTo>
                    <a:pt x="2283" y="296"/>
                  </a:lnTo>
                  <a:lnTo>
                    <a:pt x="2280" y="293"/>
                  </a:lnTo>
                  <a:lnTo>
                    <a:pt x="2276" y="291"/>
                  </a:lnTo>
                  <a:lnTo>
                    <a:pt x="2270" y="291"/>
                  </a:lnTo>
                  <a:lnTo>
                    <a:pt x="2267" y="290"/>
                  </a:lnTo>
                  <a:lnTo>
                    <a:pt x="2265" y="289"/>
                  </a:lnTo>
                  <a:lnTo>
                    <a:pt x="2261" y="289"/>
                  </a:lnTo>
                  <a:lnTo>
                    <a:pt x="2257" y="295"/>
                  </a:lnTo>
                  <a:lnTo>
                    <a:pt x="2251" y="299"/>
                  </a:lnTo>
                  <a:lnTo>
                    <a:pt x="2249" y="300"/>
                  </a:lnTo>
                  <a:lnTo>
                    <a:pt x="2246" y="300"/>
                  </a:lnTo>
                  <a:lnTo>
                    <a:pt x="2243" y="301"/>
                  </a:lnTo>
                  <a:lnTo>
                    <a:pt x="2237" y="306"/>
                  </a:lnTo>
                  <a:lnTo>
                    <a:pt x="2232" y="309"/>
                  </a:lnTo>
                  <a:lnTo>
                    <a:pt x="2229" y="312"/>
                  </a:lnTo>
                  <a:lnTo>
                    <a:pt x="2228" y="314"/>
                  </a:lnTo>
                  <a:lnTo>
                    <a:pt x="2234" y="322"/>
                  </a:lnTo>
                  <a:lnTo>
                    <a:pt x="2236" y="323"/>
                  </a:lnTo>
                  <a:lnTo>
                    <a:pt x="2237" y="325"/>
                  </a:lnTo>
                  <a:lnTo>
                    <a:pt x="2238" y="327"/>
                  </a:lnTo>
                  <a:lnTo>
                    <a:pt x="2238" y="330"/>
                  </a:lnTo>
                  <a:lnTo>
                    <a:pt x="2240" y="333"/>
                  </a:lnTo>
                  <a:lnTo>
                    <a:pt x="2240" y="333"/>
                  </a:lnTo>
                  <a:lnTo>
                    <a:pt x="2235" y="333"/>
                  </a:lnTo>
                  <a:lnTo>
                    <a:pt x="2233" y="331"/>
                  </a:lnTo>
                  <a:lnTo>
                    <a:pt x="2228" y="333"/>
                  </a:lnTo>
                  <a:lnTo>
                    <a:pt x="2225" y="332"/>
                  </a:lnTo>
                  <a:lnTo>
                    <a:pt x="2223" y="331"/>
                  </a:lnTo>
                  <a:lnTo>
                    <a:pt x="2217" y="329"/>
                  </a:lnTo>
                  <a:lnTo>
                    <a:pt x="2215" y="329"/>
                  </a:lnTo>
                  <a:lnTo>
                    <a:pt x="2211" y="329"/>
                  </a:lnTo>
                  <a:lnTo>
                    <a:pt x="2209" y="330"/>
                  </a:lnTo>
                  <a:lnTo>
                    <a:pt x="2206" y="331"/>
                  </a:lnTo>
                  <a:lnTo>
                    <a:pt x="2207" y="329"/>
                  </a:lnTo>
                  <a:lnTo>
                    <a:pt x="2210" y="326"/>
                  </a:lnTo>
                  <a:lnTo>
                    <a:pt x="2207" y="326"/>
                  </a:lnTo>
                  <a:lnTo>
                    <a:pt x="2205" y="326"/>
                  </a:lnTo>
                  <a:lnTo>
                    <a:pt x="2200" y="322"/>
                  </a:lnTo>
                  <a:lnTo>
                    <a:pt x="2192" y="318"/>
                  </a:lnTo>
                  <a:lnTo>
                    <a:pt x="2190" y="321"/>
                  </a:lnTo>
                  <a:lnTo>
                    <a:pt x="2189" y="323"/>
                  </a:lnTo>
                  <a:lnTo>
                    <a:pt x="2184" y="326"/>
                  </a:lnTo>
                  <a:lnTo>
                    <a:pt x="2186" y="329"/>
                  </a:lnTo>
                  <a:lnTo>
                    <a:pt x="2194" y="337"/>
                  </a:lnTo>
                  <a:lnTo>
                    <a:pt x="2197" y="338"/>
                  </a:lnTo>
                  <a:lnTo>
                    <a:pt x="2202" y="337"/>
                  </a:lnTo>
                  <a:lnTo>
                    <a:pt x="2206" y="339"/>
                  </a:lnTo>
                  <a:lnTo>
                    <a:pt x="2205" y="341"/>
                  </a:lnTo>
                  <a:lnTo>
                    <a:pt x="2206" y="344"/>
                  </a:lnTo>
                  <a:lnTo>
                    <a:pt x="2205" y="347"/>
                  </a:lnTo>
                  <a:lnTo>
                    <a:pt x="2201" y="347"/>
                  </a:lnTo>
                  <a:lnTo>
                    <a:pt x="2199" y="349"/>
                  </a:lnTo>
                  <a:lnTo>
                    <a:pt x="2197" y="349"/>
                  </a:lnTo>
                  <a:lnTo>
                    <a:pt x="2193" y="348"/>
                  </a:lnTo>
                  <a:lnTo>
                    <a:pt x="2190" y="347"/>
                  </a:lnTo>
                  <a:lnTo>
                    <a:pt x="2188" y="347"/>
                  </a:lnTo>
                  <a:lnTo>
                    <a:pt x="2184" y="346"/>
                  </a:lnTo>
                  <a:lnTo>
                    <a:pt x="2181" y="343"/>
                  </a:lnTo>
                  <a:lnTo>
                    <a:pt x="2180" y="341"/>
                  </a:lnTo>
                  <a:lnTo>
                    <a:pt x="2177" y="340"/>
                  </a:lnTo>
                  <a:lnTo>
                    <a:pt x="2175" y="338"/>
                  </a:lnTo>
                  <a:lnTo>
                    <a:pt x="2169" y="339"/>
                  </a:lnTo>
                  <a:lnTo>
                    <a:pt x="2164" y="335"/>
                  </a:lnTo>
                  <a:lnTo>
                    <a:pt x="2161" y="333"/>
                  </a:lnTo>
                  <a:lnTo>
                    <a:pt x="2163" y="331"/>
                  </a:lnTo>
                  <a:lnTo>
                    <a:pt x="2164" y="329"/>
                  </a:lnTo>
                  <a:lnTo>
                    <a:pt x="2161" y="329"/>
                  </a:lnTo>
                  <a:lnTo>
                    <a:pt x="2163" y="326"/>
                  </a:lnTo>
                  <a:lnTo>
                    <a:pt x="2160" y="324"/>
                  </a:lnTo>
                  <a:lnTo>
                    <a:pt x="2160" y="323"/>
                  </a:lnTo>
                  <a:lnTo>
                    <a:pt x="2158" y="317"/>
                  </a:lnTo>
                  <a:lnTo>
                    <a:pt x="2156" y="315"/>
                  </a:lnTo>
                  <a:lnTo>
                    <a:pt x="2158" y="314"/>
                  </a:lnTo>
                  <a:lnTo>
                    <a:pt x="2160" y="310"/>
                  </a:lnTo>
                  <a:lnTo>
                    <a:pt x="2159" y="305"/>
                  </a:lnTo>
                  <a:lnTo>
                    <a:pt x="2163" y="307"/>
                  </a:lnTo>
                  <a:lnTo>
                    <a:pt x="2163" y="305"/>
                  </a:lnTo>
                  <a:lnTo>
                    <a:pt x="2159" y="303"/>
                  </a:lnTo>
                  <a:lnTo>
                    <a:pt x="2159" y="300"/>
                  </a:lnTo>
                  <a:lnTo>
                    <a:pt x="2157" y="298"/>
                  </a:lnTo>
                  <a:lnTo>
                    <a:pt x="2154" y="297"/>
                  </a:lnTo>
                  <a:lnTo>
                    <a:pt x="2151" y="296"/>
                  </a:lnTo>
                  <a:lnTo>
                    <a:pt x="2149" y="296"/>
                  </a:lnTo>
                  <a:lnTo>
                    <a:pt x="2146" y="293"/>
                  </a:lnTo>
                  <a:lnTo>
                    <a:pt x="2141" y="293"/>
                  </a:lnTo>
                  <a:lnTo>
                    <a:pt x="2143" y="292"/>
                  </a:lnTo>
                  <a:lnTo>
                    <a:pt x="2146" y="292"/>
                  </a:lnTo>
                  <a:lnTo>
                    <a:pt x="2140" y="289"/>
                  </a:lnTo>
                  <a:lnTo>
                    <a:pt x="2137" y="289"/>
                  </a:lnTo>
                  <a:lnTo>
                    <a:pt x="2139" y="288"/>
                  </a:lnTo>
                  <a:lnTo>
                    <a:pt x="2142" y="289"/>
                  </a:lnTo>
                  <a:lnTo>
                    <a:pt x="2139" y="288"/>
                  </a:lnTo>
                  <a:lnTo>
                    <a:pt x="2138" y="288"/>
                  </a:lnTo>
                  <a:lnTo>
                    <a:pt x="2134" y="288"/>
                  </a:lnTo>
                  <a:lnTo>
                    <a:pt x="2140" y="287"/>
                  </a:lnTo>
                  <a:lnTo>
                    <a:pt x="2138" y="286"/>
                  </a:lnTo>
                  <a:lnTo>
                    <a:pt x="2134" y="284"/>
                  </a:lnTo>
                  <a:lnTo>
                    <a:pt x="2132" y="282"/>
                  </a:lnTo>
                  <a:lnTo>
                    <a:pt x="2130" y="281"/>
                  </a:lnTo>
                  <a:lnTo>
                    <a:pt x="2131" y="278"/>
                  </a:lnTo>
                  <a:lnTo>
                    <a:pt x="2127" y="276"/>
                  </a:lnTo>
                  <a:lnTo>
                    <a:pt x="2125" y="275"/>
                  </a:lnTo>
                  <a:lnTo>
                    <a:pt x="2122" y="275"/>
                  </a:lnTo>
                  <a:lnTo>
                    <a:pt x="2125" y="274"/>
                  </a:lnTo>
                  <a:lnTo>
                    <a:pt x="2132" y="275"/>
                  </a:lnTo>
                  <a:lnTo>
                    <a:pt x="2134" y="275"/>
                  </a:lnTo>
                  <a:lnTo>
                    <a:pt x="2134" y="279"/>
                  </a:lnTo>
                  <a:lnTo>
                    <a:pt x="2140" y="283"/>
                  </a:lnTo>
                  <a:lnTo>
                    <a:pt x="2142" y="284"/>
                  </a:lnTo>
                  <a:lnTo>
                    <a:pt x="2146" y="282"/>
                  </a:lnTo>
                  <a:lnTo>
                    <a:pt x="2148" y="284"/>
                  </a:lnTo>
                  <a:lnTo>
                    <a:pt x="2154" y="286"/>
                  </a:lnTo>
                  <a:lnTo>
                    <a:pt x="2157" y="287"/>
                  </a:lnTo>
                  <a:lnTo>
                    <a:pt x="2159" y="288"/>
                  </a:lnTo>
                  <a:lnTo>
                    <a:pt x="2163" y="287"/>
                  </a:lnTo>
                  <a:lnTo>
                    <a:pt x="2169" y="291"/>
                  </a:lnTo>
                  <a:lnTo>
                    <a:pt x="2183" y="293"/>
                  </a:lnTo>
                  <a:lnTo>
                    <a:pt x="2193" y="295"/>
                  </a:lnTo>
                  <a:lnTo>
                    <a:pt x="2195" y="296"/>
                  </a:lnTo>
                  <a:lnTo>
                    <a:pt x="2198" y="297"/>
                  </a:lnTo>
                  <a:lnTo>
                    <a:pt x="2205" y="299"/>
                  </a:lnTo>
                  <a:lnTo>
                    <a:pt x="2212" y="300"/>
                  </a:lnTo>
                  <a:lnTo>
                    <a:pt x="2218" y="298"/>
                  </a:lnTo>
                  <a:lnTo>
                    <a:pt x="2220" y="298"/>
                  </a:lnTo>
                  <a:lnTo>
                    <a:pt x="2224" y="298"/>
                  </a:lnTo>
                  <a:lnTo>
                    <a:pt x="2226" y="296"/>
                  </a:lnTo>
                  <a:lnTo>
                    <a:pt x="2233" y="295"/>
                  </a:lnTo>
                  <a:lnTo>
                    <a:pt x="2235" y="292"/>
                  </a:lnTo>
                  <a:lnTo>
                    <a:pt x="2237" y="291"/>
                  </a:lnTo>
                  <a:lnTo>
                    <a:pt x="2249" y="282"/>
                  </a:lnTo>
                  <a:lnTo>
                    <a:pt x="2250" y="279"/>
                  </a:lnTo>
                  <a:lnTo>
                    <a:pt x="2250" y="278"/>
                  </a:lnTo>
                  <a:lnTo>
                    <a:pt x="2251" y="275"/>
                  </a:lnTo>
                  <a:lnTo>
                    <a:pt x="2250" y="273"/>
                  </a:lnTo>
                  <a:lnTo>
                    <a:pt x="2248" y="270"/>
                  </a:lnTo>
                  <a:lnTo>
                    <a:pt x="2246" y="267"/>
                  </a:lnTo>
                  <a:lnTo>
                    <a:pt x="2246" y="262"/>
                  </a:lnTo>
                  <a:lnTo>
                    <a:pt x="2243" y="261"/>
                  </a:lnTo>
                  <a:lnTo>
                    <a:pt x="2241" y="260"/>
                  </a:lnTo>
                  <a:lnTo>
                    <a:pt x="2237" y="260"/>
                  </a:lnTo>
                  <a:lnTo>
                    <a:pt x="2236" y="257"/>
                  </a:lnTo>
                  <a:lnTo>
                    <a:pt x="2233" y="254"/>
                  </a:lnTo>
                  <a:lnTo>
                    <a:pt x="2231" y="252"/>
                  </a:lnTo>
                  <a:lnTo>
                    <a:pt x="2227" y="253"/>
                  </a:lnTo>
                  <a:lnTo>
                    <a:pt x="2225" y="253"/>
                  </a:lnTo>
                  <a:lnTo>
                    <a:pt x="2214" y="246"/>
                  </a:lnTo>
                  <a:lnTo>
                    <a:pt x="2211" y="246"/>
                  </a:lnTo>
                  <a:lnTo>
                    <a:pt x="2202" y="239"/>
                  </a:lnTo>
                  <a:lnTo>
                    <a:pt x="2200" y="238"/>
                  </a:lnTo>
                  <a:lnTo>
                    <a:pt x="2194" y="236"/>
                  </a:lnTo>
                  <a:lnTo>
                    <a:pt x="2186" y="230"/>
                  </a:lnTo>
                  <a:lnTo>
                    <a:pt x="2184" y="230"/>
                  </a:lnTo>
                  <a:lnTo>
                    <a:pt x="2181" y="228"/>
                  </a:lnTo>
                  <a:lnTo>
                    <a:pt x="2178" y="228"/>
                  </a:lnTo>
                  <a:lnTo>
                    <a:pt x="2175" y="227"/>
                  </a:lnTo>
                  <a:lnTo>
                    <a:pt x="2169" y="224"/>
                  </a:lnTo>
                  <a:lnTo>
                    <a:pt x="2167" y="224"/>
                  </a:lnTo>
                  <a:lnTo>
                    <a:pt x="2164" y="226"/>
                  </a:lnTo>
                  <a:lnTo>
                    <a:pt x="2161" y="226"/>
                  </a:lnTo>
                  <a:lnTo>
                    <a:pt x="2156" y="223"/>
                  </a:lnTo>
                  <a:lnTo>
                    <a:pt x="2150" y="223"/>
                  </a:lnTo>
                  <a:lnTo>
                    <a:pt x="2144" y="223"/>
                  </a:lnTo>
                  <a:lnTo>
                    <a:pt x="2144" y="227"/>
                  </a:lnTo>
                  <a:lnTo>
                    <a:pt x="2141" y="229"/>
                  </a:lnTo>
                  <a:lnTo>
                    <a:pt x="2139" y="229"/>
                  </a:lnTo>
                  <a:lnTo>
                    <a:pt x="2137" y="232"/>
                  </a:lnTo>
                  <a:lnTo>
                    <a:pt x="2137" y="229"/>
                  </a:lnTo>
                  <a:lnTo>
                    <a:pt x="2140" y="229"/>
                  </a:lnTo>
                  <a:lnTo>
                    <a:pt x="2142" y="227"/>
                  </a:lnTo>
                  <a:lnTo>
                    <a:pt x="2143" y="224"/>
                  </a:lnTo>
                  <a:lnTo>
                    <a:pt x="2140" y="224"/>
                  </a:lnTo>
                  <a:lnTo>
                    <a:pt x="2143" y="222"/>
                  </a:lnTo>
                  <a:lnTo>
                    <a:pt x="2140" y="221"/>
                  </a:lnTo>
                  <a:lnTo>
                    <a:pt x="2138" y="221"/>
                  </a:lnTo>
                  <a:lnTo>
                    <a:pt x="2135" y="223"/>
                  </a:lnTo>
                  <a:lnTo>
                    <a:pt x="2137" y="221"/>
                  </a:lnTo>
                  <a:lnTo>
                    <a:pt x="2133" y="221"/>
                  </a:lnTo>
                  <a:lnTo>
                    <a:pt x="2131" y="219"/>
                  </a:lnTo>
                  <a:lnTo>
                    <a:pt x="2127" y="220"/>
                  </a:lnTo>
                  <a:lnTo>
                    <a:pt x="2129" y="218"/>
                  </a:lnTo>
                  <a:lnTo>
                    <a:pt x="2123" y="215"/>
                  </a:lnTo>
                  <a:lnTo>
                    <a:pt x="2124" y="213"/>
                  </a:lnTo>
                  <a:lnTo>
                    <a:pt x="2127" y="215"/>
                  </a:lnTo>
                  <a:lnTo>
                    <a:pt x="2135" y="216"/>
                  </a:lnTo>
                  <a:lnTo>
                    <a:pt x="2138" y="214"/>
                  </a:lnTo>
                  <a:lnTo>
                    <a:pt x="2135" y="212"/>
                  </a:lnTo>
                  <a:lnTo>
                    <a:pt x="2130" y="212"/>
                  </a:lnTo>
                  <a:lnTo>
                    <a:pt x="2127" y="210"/>
                  </a:lnTo>
                  <a:lnTo>
                    <a:pt x="2124" y="209"/>
                  </a:lnTo>
                  <a:lnTo>
                    <a:pt x="2122" y="209"/>
                  </a:lnTo>
                  <a:lnTo>
                    <a:pt x="2124" y="211"/>
                  </a:lnTo>
                  <a:lnTo>
                    <a:pt x="2121" y="211"/>
                  </a:lnTo>
                  <a:lnTo>
                    <a:pt x="2118" y="213"/>
                  </a:lnTo>
                  <a:lnTo>
                    <a:pt x="2116" y="214"/>
                  </a:lnTo>
                  <a:lnTo>
                    <a:pt x="2113" y="216"/>
                  </a:lnTo>
                  <a:lnTo>
                    <a:pt x="2115" y="213"/>
                  </a:lnTo>
                  <a:lnTo>
                    <a:pt x="2107" y="212"/>
                  </a:lnTo>
                  <a:lnTo>
                    <a:pt x="2105" y="211"/>
                  </a:lnTo>
                  <a:lnTo>
                    <a:pt x="2103" y="214"/>
                  </a:lnTo>
                  <a:lnTo>
                    <a:pt x="2101" y="211"/>
                  </a:lnTo>
                  <a:lnTo>
                    <a:pt x="2099" y="210"/>
                  </a:lnTo>
                  <a:lnTo>
                    <a:pt x="2099" y="212"/>
                  </a:lnTo>
                  <a:lnTo>
                    <a:pt x="2098" y="214"/>
                  </a:lnTo>
                  <a:lnTo>
                    <a:pt x="2096" y="214"/>
                  </a:lnTo>
                  <a:lnTo>
                    <a:pt x="2096" y="213"/>
                  </a:lnTo>
                  <a:lnTo>
                    <a:pt x="2092" y="213"/>
                  </a:lnTo>
                  <a:lnTo>
                    <a:pt x="2089" y="213"/>
                  </a:lnTo>
                  <a:lnTo>
                    <a:pt x="2092" y="212"/>
                  </a:lnTo>
                  <a:lnTo>
                    <a:pt x="2091" y="209"/>
                  </a:lnTo>
                  <a:lnTo>
                    <a:pt x="2088" y="210"/>
                  </a:lnTo>
                  <a:lnTo>
                    <a:pt x="2089" y="206"/>
                  </a:lnTo>
                  <a:lnTo>
                    <a:pt x="2087" y="206"/>
                  </a:lnTo>
                  <a:lnTo>
                    <a:pt x="2083" y="205"/>
                  </a:lnTo>
                  <a:lnTo>
                    <a:pt x="2078" y="204"/>
                  </a:lnTo>
                  <a:lnTo>
                    <a:pt x="2081" y="203"/>
                  </a:lnTo>
                  <a:lnTo>
                    <a:pt x="2092" y="205"/>
                  </a:lnTo>
                  <a:lnTo>
                    <a:pt x="2098" y="205"/>
                  </a:lnTo>
                  <a:lnTo>
                    <a:pt x="2101" y="203"/>
                  </a:lnTo>
                  <a:lnTo>
                    <a:pt x="2104" y="201"/>
                  </a:lnTo>
                  <a:lnTo>
                    <a:pt x="2109" y="199"/>
                  </a:lnTo>
                  <a:lnTo>
                    <a:pt x="2110" y="197"/>
                  </a:lnTo>
                  <a:lnTo>
                    <a:pt x="2101" y="193"/>
                  </a:lnTo>
                  <a:lnTo>
                    <a:pt x="2099" y="194"/>
                  </a:lnTo>
                  <a:lnTo>
                    <a:pt x="2097" y="194"/>
                  </a:lnTo>
                  <a:lnTo>
                    <a:pt x="2099" y="193"/>
                  </a:lnTo>
                  <a:lnTo>
                    <a:pt x="2099" y="190"/>
                  </a:lnTo>
                  <a:lnTo>
                    <a:pt x="2096" y="189"/>
                  </a:lnTo>
                  <a:lnTo>
                    <a:pt x="2092" y="192"/>
                  </a:lnTo>
                  <a:lnTo>
                    <a:pt x="2092" y="188"/>
                  </a:lnTo>
                  <a:lnTo>
                    <a:pt x="2089" y="189"/>
                  </a:lnTo>
                  <a:lnTo>
                    <a:pt x="2087" y="190"/>
                  </a:lnTo>
                  <a:lnTo>
                    <a:pt x="2088" y="187"/>
                  </a:lnTo>
                  <a:lnTo>
                    <a:pt x="2084" y="186"/>
                  </a:lnTo>
                  <a:lnTo>
                    <a:pt x="2082" y="185"/>
                  </a:lnTo>
                  <a:lnTo>
                    <a:pt x="2079" y="186"/>
                  </a:lnTo>
                  <a:lnTo>
                    <a:pt x="2077" y="188"/>
                  </a:lnTo>
                  <a:lnTo>
                    <a:pt x="2075" y="190"/>
                  </a:lnTo>
                  <a:lnTo>
                    <a:pt x="2075" y="194"/>
                  </a:lnTo>
                  <a:lnTo>
                    <a:pt x="2072" y="196"/>
                  </a:lnTo>
                  <a:lnTo>
                    <a:pt x="2071" y="199"/>
                  </a:lnTo>
                  <a:lnTo>
                    <a:pt x="2071" y="196"/>
                  </a:lnTo>
                  <a:lnTo>
                    <a:pt x="2073" y="194"/>
                  </a:lnTo>
                  <a:lnTo>
                    <a:pt x="2069" y="195"/>
                  </a:lnTo>
                  <a:lnTo>
                    <a:pt x="2071" y="192"/>
                  </a:lnTo>
                  <a:lnTo>
                    <a:pt x="2073" y="189"/>
                  </a:lnTo>
                  <a:lnTo>
                    <a:pt x="2066" y="192"/>
                  </a:lnTo>
                  <a:lnTo>
                    <a:pt x="2064" y="192"/>
                  </a:lnTo>
                  <a:lnTo>
                    <a:pt x="2066" y="190"/>
                  </a:lnTo>
                  <a:lnTo>
                    <a:pt x="2070" y="189"/>
                  </a:lnTo>
                  <a:lnTo>
                    <a:pt x="2066" y="188"/>
                  </a:lnTo>
                  <a:lnTo>
                    <a:pt x="2069" y="186"/>
                  </a:lnTo>
                  <a:lnTo>
                    <a:pt x="2071" y="187"/>
                  </a:lnTo>
                  <a:lnTo>
                    <a:pt x="2075" y="185"/>
                  </a:lnTo>
                  <a:lnTo>
                    <a:pt x="2074" y="181"/>
                  </a:lnTo>
                  <a:lnTo>
                    <a:pt x="2071" y="182"/>
                  </a:lnTo>
                  <a:lnTo>
                    <a:pt x="2072" y="180"/>
                  </a:lnTo>
                  <a:lnTo>
                    <a:pt x="2069" y="180"/>
                  </a:lnTo>
                  <a:lnTo>
                    <a:pt x="2066" y="180"/>
                  </a:lnTo>
                  <a:lnTo>
                    <a:pt x="2064" y="179"/>
                  </a:lnTo>
                  <a:lnTo>
                    <a:pt x="2061" y="181"/>
                  </a:lnTo>
                  <a:lnTo>
                    <a:pt x="2058" y="181"/>
                  </a:lnTo>
                  <a:lnTo>
                    <a:pt x="2058" y="185"/>
                  </a:lnTo>
                  <a:lnTo>
                    <a:pt x="2062" y="187"/>
                  </a:lnTo>
                  <a:lnTo>
                    <a:pt x="2058" y="188"/>
                  </a:lnTo>
                  <a:lnTo>
                    <a:pt x="2056" y="189"/>
                  </a:lnTo>
                  <a:lnTo>
                    <a:pt x="2057" y="192"/>
                  </a:lnTo>
                  <a:lnTo>
                    <a:pt x="2055" y="192"/>
                  </a:lnTo>
                  <a:lnTo>
                    <a:pt x="2056" y="195"/>
                  </a:lnTo>
                  <a:lnTo>
                    <a:pt x="2054" y="195"/>
                  </a:lnTo>
                  <a:lnTo>
                    <a:pt x="2048" y="197"/>
                  </a:lnTo>
                  <a:lnTo>
                    <a:pt x="2049" y="195"/>
                  </a:lnTo>
                  <a:lnTo>
                    <a:pt x="2049" y="193"/>
                  </a:lnTo>
                  <a:lnTo>
                    <a:pt x="2048" y="189"/>
                  </a:lnTo>
                  <a:lnTo>
                    <a:pt x="2050" y="188"/>
                  </a:lnTo>
                  <a:lnTo>
                    <a:pt x="2049" y="182"/>
                  </a:lnTo>
                  <a:lnTo>
                    <a:pt x="2047" y="185"/>
                  </a:lnTo>
                  <a:lnTo>
                    <a:pt x="2041" y="189"/>
                  </a:lnTo>
                  <a:lnTo>
                    <a:pt x="2040" y="192"/>
                  </a:lnTo>
                  <a:lnTo>
                    <a:pt x="2038" y="194"/>
                  </a:lnTo>
                  <a:lnTo>
                    <a:pt x="2036" y="196"/>
                  </a:lnTo>
                  <a:lnTo>
                    <a:pt x="2035" y="199"/>
                  </a:lnTo>
                  <a:lnTo>
                    <a:pt x="2032" y="202"/>
                  </a:lnTo>
                  <a:lnTo>
                    <a:pt x="2029" y="203"/>
                  </a:lnTo>
                  <a:lnTo>
                    <a:pt x="2027" y="203"/>
                  </a:lnTo>
                  <a:lnTo>
                    <a:pt x="2028" y="201"/>
                  </a:lnTo>
                  <a:lnTo>
                    <a:pt x="2029" y="197"/>
                  </a:lnTo>
                  <a:lnTo>
                    <a:pt x="2031" y="195"/>
                  </a:lnTo>
                  <a:lnTo>
                    <a:pt x="2029" y="195"/>
                  </a:lnTo>
                  <a:lnTo>
                    <a:pt x="2030" y="193"/>
                  </a:lnTo>
                  <a:lnTo>
                    <a:pt x="2038" y="187"/>
                  </a:lnTo>
                  <a:lnTo>
                    <a:pt x="2038" y="185"/>
                  </a:lnTo>
                  <a:lnTo>
                    <a:pt x="2036" y="185"/>
                  </a:lnTo>
                  <a:lnTo>
                    <a:pt x="2032" y="184"/>
                  </a:lnTo>
                  <a:lnTo>
                    <a:pt x="2031" y="187"/>
                  </a:lnTo>
                  <a:lnTo>
                    <a:pt x="2029" y="184"/>
                  </a:lnTo>
                  <a:lnTo>
                    <a:pt x="2027" y="184"/>
                  </a:lnTo>
                  <a:lnTo>
                    <a:pt x="2024" y="182"/>
                  </a:lnTo>
                  <a:lnTo>
                    <a:pt x="2021" y="182"/>
                  </a:lnTo>
                  <a:lnTo>
                    <a:pt x="2023" y="185"/>
                  </a:lnTo>
                  <a:lnTo>
                    <a:pt x="2020" y="186"/>
                  </a:lnTo>
                  <a:lnTo>
                    <a:pt x="2018" y="187"/>
                  </a:lnTo>
                  <a:lnTo>
                    <a:pt x="2020" y="188"/>
                  </a:lnTo>
                  <a:lnTo>
                    <a:pt x="2023" y="190"/>
                  </a:lnTo>
                  <a:lnTo>
                    <a:pt x="2018" y="190"/>
                  </a:lnTo>
                  <a:lnTo>
                    <a:pt x="2015" y="193"/>
                  </a:lnTo>
                  <a:lnTo>
                    <a:pt x="2019" y="195"/>
                  </a:lnTo>
                  <a:lnTo>
                    <a:pt x="2014" y="194"/>
                  </a:lnTo>
                  <a:lnTo>
                    <a:pt x="2011" y="195"/>
                  </a:lnTo>
                  <a:lnTo>
                    <a:pt x="2009" y="196"/>
                  </a:lnTo>
                  <a:lnTo>
                    <a:pt x="2007" y="199"/>
                  </a:lnTo>
                  <a:lnTo>
                    <a:pt x="2005" y="199"/>
                  </a:lnTo>
                  <a:lnTo>
                    <a:pt x="2004" y="203"/>
                  </a:lnTo>
                  <a:lnTo>
                    <a:pt x="2003" y="205"/>
                  </a:lnTo>
                  <a:lnTo>
                    <a:pt x="2006" y="206"/>
                  </a:lnTo>
                  <a:lnTo>
                    <a:pt x="2006" y="206"/>
                  </a:lnTo>
                  <a:lnTo>
                    <a:pt x="2003" y="207"/>
                  </a:lnTo>
                  <a:lnTo>
                    <a:pt x="2002" y="206"/>
                  </a:lnTo>
                  <a:lnTo>
                    <a:pt x="2001" y="206"/>
                  </a:lnTo>
                  <a:lnTo>
                    <a:pt x="1999" y="203"/>
                  </a:lnTo>
                  <a:lnTo>
                    <a:pt x="1997" y="204"/>
                  </a:lnTo>
                  <a:lnTo>
                    <a:pt x="1992" y="205"/>
                  </a:lnTo>
                  <a:lnTo>
                    <a:pt x="1996" y="204"/>
                  </a:lnTo>
                  <a:lnTo>
                    <a:pt x="1999" y="202"/>
                  </a:lnTo>
                  <a:lnTo>
                    <a:pt x="1993" y="201"/>
                  </a:lnTo>
                  <a:lnTo>
                    <a:pt x="1990" y="201"/>
                  </a:lnTo>
                  <a:lnTo>
                    <a:pt x="1993" y="203"/>
                  </a:lnTo>
                  <a:lnTo>
                    <a:pt x="1989" y="202"/>
                  </a:lnTo>
                  <a:lnTo>
                    <a:pt x="1988" y="199"/>
                  </a:lnTo>
                  <a:lnTo>
                    <a:pt x="1985" y="198"/>
                  </a:lnTo>
                  <a:lnTo>
                    <a:pt x="1984" y="202"/>
                  </a:lnTo>
                  <a:lnTo>
                    <a:pt x="1980" y="198"/>
                  </a:lnTo>
                  <a:lnTo>
                    <a:pt x="1976" y="201"/>
                  </a:lnTo>
                  <a:lnTo>
                    <a:pt x="1978" y="203"/>
                  </a:lnTo>
                  <a:lnTo>
                    <a:pt x="1981" y="205"/>
                  </a:lnTo>
                  <a:lnTo>
                    <a:pt x="1984" y="205"/>
                  </a:lnTo>
                  <a:lnTo>
                    <a:pt x="1987" y="204"/>
                  </a:lnTo>
                  <a:lnTo>
                    <a:pt x="1984" y="205"/>
                  </a:lnTo>
                  <a:lnTo>
                    <a:pt x="1987" y="206"/>
                  </a:lnTo>
                  <a:lnTo>
                    <a:pt x="1987" y="206"/>
                  </a:lnTo>
                  <a:lnTo>
                    <a:pt x="1985" y="207"/>
                  </a:lnTo>
                  <a:lnTo>
                    <a:pt x="1985" y="211"/>
                  </a:lnTo>
                  <a:lnTo>
                    <a:pt x="1986" y="213"/>
                  </a:lnTo>
                  <a:lnTo>
                    <a:pt x="1985" y="211"/>
                  </a:lnTo>
                  <a:lnTo>
                    <a:pt x="1982" y="209"/>
                  </a:lnTo>
                  <a:lnTo>
                    <a:pt x="1979" y="206"/>
                  </a:lnTo>
                  <a:lnTo>
                    <a:pt x="1976" y="206"/>
                  </a:lnTo>
                  <a:lnTo>
                    <a:pt x="1976" y="211"/>
                  </a:lnTo>
                  <a:lnTo>
                    <a:pt x="1973" y="212"/>
                  </a:lnTo>
                  <a:lnTo>
                    <a:pt x="1971" y="210"/>
                  </a:lnTo>
                  <a:lnTo>
                    <a:pt x="1973" y="207"/>
                  </a:lnTo>
                  <a:lnTo>
                    <a:pt x="1971" y="209"/>
                  </a:lnTo>
                  <a:lnTo>
                    <a:pt x="1969" y="212"/>
                  </a:lnTo>
                  <a:lnTo>
                    <a:pt x="1967" y="213"/>
                  </a:lnTo>
                  <a:lnTo>
                    <a:pt x="1967" y="216"/>
                  </a:lnTo>
                  <a:lnTo>
                    <a:pt x="1970" y="219"/>
                  </a:lnTo>
                  <a:lnTo>
                    <a:pt x="1967" y="218"/>
                  </a:lnTo>
                  <a:lnTo>
                    <a:pt x="1964" y="219"/>
                  </a:lnTo>
                  <a:lnTo>
                    <a:pt x="1962" y="222"/>
                  </a:lnTo>
                  <a:lnTo>
                    <a:pt x="1959" y="224"/>
                  </a:lnTo>
                  <a:lnTo>
                    <a:pt x="1959" y="223"/>
                  </a:lnTo>
                  <a:lnTo>
                    <a:pt x="1961" y="221"/>
                  </a:lnTo>
                  <a:lnTo>
                    <a:pt x="1964" y="215"/>
                  </a:lnTo>
                  <a:lnTo>
                    <a:pt x="1963" y="213"/>
                  </a:lnTo>
                  <a:lnTo>
                    <a:pt x="1964" y="210"/>
                  </a:lnTo>
                  <a:lnTo>
                    <a:pt x="1963" y="207"/>
                  </a:lnTo>
                  <a:lnTo>
                    <a:pt x="1962" y="210"/>
                  </a:lnTo>
                  <a:lnTo>
                    <a:pt x="1959" y="212"/>
                  </a:lnTo>
                  <a:lnTo>
                    <a:pt x="1959" y="211"/>
                  </a:lnTo>
                  <a:lnTo>
                    <a:pt x="1956" y="213"/>
                  </a:lnTo>
                  <a:lnTo>
                    <a:pt x="1958" y="216"/>
                  </a:lnTo>
                  <a:lnTo>
                    <a:pt x="1959" y="216"/>
                  </a:lnTo>
                  <a:lnTo>
                    <a:pt x="1955" y="216"/>
                  </a:lnTo>
                  <a:lnTo>
                    <a:pt x="1955" y="219"/>
                  </a:lnTo>
                  <a:lnTo>
                    <a:pt x="1953" y="221"/>
                  </a:lnTo>
                  <a:lnTo>
                    <a:pt x="1955" y="215"/>
                  </a:lnTo>
                  <a:lnTo>
                    <a:pt x="1955" y="213"/>
                  </a:lnTo>
                  <a:lnTo>
                    <a:pt x="1953" y="212"/>
                  </a:lnTo>
                  <a:lnTo>
                    <a:pt x="1950" y="212"/>
                  </a:lnTo>
                  <a:lnTo>
                    <a:pt x="1947" y="213"/>
                  </a:lnTo>
                  <a:lnTo>
                    <a:pt x="1945" y="215"/>
                  </a:lnTo>
                  <a:lnTo>
                    <a:pt x="1945" y="218"/>
                  </a:lnTo>
                  <a:lnTo>
                    <a:pt x="1949" y="218"/>
                  </a:lnTo>
                  <a:lnTo>
                    <a:pt x="1945" y="219"/>
                  </a:lnTo>
                  <a:lnTo>
                    <a:pt x="1946" y="222"/>
                  </a:lnTo>
                  <a:lnTo>
                    <a:pt x="1950" y="222"/>
                  </a:lnTo>
                  <a:lnTo>
                    <a:pt x="1951" y="224"/>
                  </a:lnTo>
                  <a:lnTo>
                    <a:pt x="1949" y="222"/>
                  </a:lnTo>
                  <a:lnTo>
                    <a:pt x="1945" y="222"/>
                  </a:lnTo>
                  <a:lnTo>
                    <a:pt x="1944" y="219"/>
                  </a:lnTo>
                  <a:lnTo>
                    <a:pt x="1941" y="218"/>
                  </a:lnTo>
                  <a:lnTo>
                    <a:pt x="1938" y="219"/>
                  </a:lnTo>
                  <a:lnTo>
                    <a:pt x="1939" y="221"/>
                  </a:lnTo>
                  <a:lnTo>
                    <a:pt x="1945" y="224"/>
                  </a:lnTo>
                  <a:lnTo>
                    <a:pt x="1943" y="223"/>
                  </a:lnTo>
                  <a:lnTo>
                    <a:pt x="1939" y="223"/>
                  </a:lnTo>
                  <a:lnTo>
                    <a:pt x="1938" y="226"/>
                  </a:lnTo>
                  <a:lnTo>
                    <a:pt x="1938" y="224"/>
                  </a:lnTo>
                  <a:lnTo>
                    <a:pt x="1937" y="221"/>
                  </a:lnTo>
                  <a:lnTo>
                    <a:pt x="1935" y="220"/>
                  </a:lnTo>
                  <a:lnTo>
                    <a:pt x="1932" y="226"/>
                  </a:lnTo>
                  <a:lnTo>
                    <a:pt x="1933" y="228"/>
                  </a:lnTo>
                  <a:lnTo>
                    <a:pt x="1928" y="228"/>
                  </a:lnTo>
                  <a:lnTo>
                    <a:pt x="1925" y="230"/>
                  </a:lnTo>
                  <a:lnTo>
                    <a:pt x="1925" y="233"/>
                  </a:lnTo>
                  <a:lnTo>
                    <a:pt x="1927" y="233"/>
                  </a:lnTo>
                  <a:lnTo>
                    <a:pt x="1927" y="236"/>
                  </a:lnTo>
                  <a:lnTo>
                    <a:pt x="1924" y="236"/>
                  </a:lnTo>
                  <a:lnTo>
                    <a:pt x="1922" y="236"/>
                  </a:lnTo>
                  <a:lnTo>
                    <a:pt x="1927" y="239"/>
                  </a:lnTo>
                  <a:lnTo>
                    <a:pt x="1921" y="237"/>
                  </a:lnTo>
                  <a:lnTo>
                    <a:pt x="1918" y="238"/>
                  </a:lnTo>
                  <a:lnTo>
                    <a:pt x="1912" y="239"/>
                  </a:lnTo>
                  <a:lnTo>
                    <a:pt x="1912" y="241"/>
                  </a:lnTo>
                  <a:lnTo>
                    <a:pt x="1913" y="244"/>
                  </a:lnTo>
                  <a:lnTo>
                    <a:pt x="1919" y="244"/>
                  </a:lnTo>
                  <a:lnTo>
                    <a:pt x="1922" y="244"/>
                  </a:lnTo>
                  <a:lnTo>
                    <a:pt x="1928" y="244"/>
                  </a:lnTo>
                  <a:lnTo>
                    <a:pt x="1924" y="245"/>
                  </a:lnTo>
                  <a:lnTo>
                    <a:pt x="1921" y="246"/>
                  </a:lnTo>
                  <a:lnTo>
                    <a:pt x="1921" y="247"/>
                  </a:lnTo>
                  <a:lnTo>
                    <a:pt x="1924" y="249"/>
                  </a:lnTo>
                  <a:lnTo>
                    <a:pt x="1921" y="247"/>
                  </a:lnTo>
                  <a:lnTo>
                    <a:pt x="1921" y="246"/>
                  </a:lnTo>
                  <a:lnTo>
                    <a:pt x="1919" y="246"/>
                  </a:lnTo>
                  <a:lnTo>
                    <a:pt x="1916" y="247"/>
                  </a:lnTo>
                  <a:lnTo>
                    <a:pt x="1913" y="245"/>
                  </a:lnTo>
                  <a:lnTo>
                    <a:pt x="1910" y="245"/>
                  </a:lnTo>
                  <a:lnTo>
                    <a:pt x="1911" y="248"/>
                  </a:lnTo>
                  <a:lnTo>
                    <a:pt x="1915" y="250"/>
                  </a:lnTo>
                  <a:lnTo>
                    <a:pt x="1911" y="248"/>
                  </a:lnTo>
                  <a:lnTo>
                    <a:pt x="1908" y="247"/>
                  </a:lnTo>
                  <a:lnTo>
                    <a:pt x="1911" y="248"/>
                  </a:lnTo>
                  <a:lnTo>
                    <a:pt x="1910" y="250"/>
                  </a:lnTo>
                  <a:lnTo>
                    <a:pt x="1913" y="253"/>
                  </a:lnTo>
                  <a:lnTo>
                    <a:pt x="1910" y="253"/>
                  </a:lnTo>
                  <a:lnTo>
                    <a:pt x="1911" y="255"/>
                  </a:lnTo>
                  <a:lnTo>
                    <a:pt x="1909" y="254"/>
                  </a:lnTo>
                  <a:lnTo>
                    <a:pt x="1910" y="257"/>
                  </a:lnTo>
                  <a:lnTo>
                    <a:pt x="1908" y="254"/>
                  </a:lnTo>
                  <a:lnTo>
                    <a:pt x="1908" y="257"/>
                  </a:lnTo>
                  <a:lnTo>
                    <a:pt x="1910" y="258"/>
                  </a:lnTo>
                  <a:lnTo>
                    <a:pt x="1908" y="257"/>
                  </a:lnTo>
                  <a:lnTo>
                    <a:pt x="1908" y="257"/>
                  </a:lnTo>
                  <a:lnTo>
                    <a:pt x="1907" y="255"/>
                  </a:lnTo>
                  <a:lnTo>
                    <a:pt x="1905" y="249"/>
                  </a:lnTo>
                  <a:lnTo>
                    <a:pt x="1902" y="249"/>
                  </a:lnTo>
                  <a:lnTo>
                    <a:pt x="1901" y="253"/>
                  </a:lnTo>
                  <a:lnTo>
                    <a:pt x="1899" y="252"/>
                  </a:lnTo>
                  <a:lnTo>
                    <a:pt x="1896" y="252"/>
                  </a:lnTo>
                  <a:lnTo>
                    <a:pt x="1895" y="254"/>
                  </a:lnTo>
                  <a:lnTo>
                    <a:pt x="1899" y="253"/>
                  </a:lnTo>
                  <a:lnTo>
                    <a:pt x="1901" y="254"/>
                  </a:lnTo>
                  <a:lnTo>
                    <a:pt x="1901" y="254"/>
                  </a:lnTo>
                  <a:lnTo>
                    <a:pt x="1901" y="254"/>
                  </a:lnTo>
                  <a:lnTo>
                    <a:pt x="1903" y="255"/>
                  </a:lnTo>
                  <a:lnTo>
                    <a:pt x="1901" y="255"/>
                  </a:lnTo>
                  <a:lnTo>
                    <a:pt x="1893" y="257"/>
                  </a:lnTo>
                  <a:lnTo>
                    <a:pt x="1890" y="257"/>
                  </a:lnTo>
                  <a:lnTo>
                    <a:pt x="1890" y="261"/>
                  </a:lnTo>
                  <a:lnTo>
                    <a:pt x="1887" y="262"/>
                  </a:lnTo>
                  <a:lnTo>
                    <a:pt x="1890" y="263"/>
                  </a:lnTo>
                  <a:lnTo>
                    <a:pt x="1896" y="258"/>
                  </a:lnTo>
                  <a:lnTo>
                    <a:pt x="1899" y="260"/>
                  </a:lnTo>
                  <a:lnTo>
                    <a:pt x="1901" y="262"/>
                  </a:lnTo>
                  <a:lnTo>
                    <a:pt x="1899" y="261"/>
                  </a:lnTo>
                  <a:lnTo>
                    <a:pt x="1896" y="261"/>
                  </a:lnTo>
                  <a:lnTo>
                    <a:pt x="1899" y="262"/>
                  </a:lnTo>
                  <a:lnTo>
                    <a:pt x="1896" y="262"/>
                  </a:lnTo>
                  <a:lnTo>
                    <a:pt x="1893" y="263"/>
                  </a:lnTo>
                  <a:lnTo>
                    <a:pt x="1896" y="265"/>
                  </a:lnTo>
                  <a:lnTo>
                    <a:pt x="1901" y="265"/>
                  </a:lnTo>
                  <a:lnTo>
                    <a:pt x="1899" y="266"/>
                  </a:lnTo>
                  <a:lnTo>
                    <a:pt x="1900" y="269"/>
                  </a:lnTo>
                  <a:lnTo>
                    <a:pt x="1898" y="269"/>
                  </a:lnTo>
                  <a:lnTo>
                    <a:pt x="1895" y="266"/>
                  </a:lnTo>
                  <a:lnTo>
                    <a:pt x="1893" y="265"/>
                  </a:lnTo>
                  <a:lnTo>
                    <a:pt x="1890" y="266"/>
                  </a:lnTo>
                  <a:lnTo>
                    <a:pt x="1893" y="265"/>
                  </a:lnTo>
                  <a:lnTo>
                    <a:pt x="1890" y="264"/>
                  </a:lnTo>
                  <a:lnTo>
                    <a:pt x="1887" y="266"/>
                  </a:lnTo>
                  <a:lnTo>
                    <a:pt x="1890" y="267"/>
                  </a:lnTo>
                  <a:lnTo>
                    <a:pt x="1890" y="267"/>
                  </a:lnTo>
                  <a:lnTo>
                    <a:pt x="1887" y="267"/>
                  </a:lnTo>
                  <a:lnTo>
                    <a:pt x="1882" y="272"/>
                  </a:lnTo>
                  <a:lnTo>
                    <a:pt x="1887" y="271"/>
                  </a:lnTo>
                  <a:lnTo>
                    <a:pt x="1887" y="272"/>
                  </a:lnTo>
                  <a:lnTo>
                    <a:pt x="1893" y="270"/>
                  </a:lnTo>
                  <a:lnTo>
                    <a:pt x="1895" y="272"/>
                  </a:lnTo>
                  <a:lnTo>
                    <a:pt x="1900" y="272"/>
                  </a:lnTo>
                  <a:lnTo>
                    <a:pt x="1898" y="272"/>
                  </a:lnTo>
                  <a:lnTo>
                    <a:pt x="1896" y="275"/>
                  </a:lnTo>
                  <a:lnTo>
                    <a:pt x="1894" y="273"/>
                  </a:lnTo>
                  <a:lnTo>
                    <a:pt x="1891" y="273"/>
                  </a:lnTo>
                  <a:lnTo>
                    <a:pt x="1890" y="273"/>
                  </a:lnTo>
                  <a:lnTo>
                    <a:pt x="1890" y="272"/>
                  </a:lnTo>
                  <a:lnTo>
                    <a:pt x="1884" y="274"/>
                  </a:lnTo>
                  <a:lnTo>
                    <a:pt x="1882" y="275"/>
                  </a:lnTo>
                  <a:lnTo>
                    <a:pt x="1884" y="276"/>
                  </a:lnTo>
                  <a:lnTo>
                    <a:pt x="1882" y="276"/>
                  </a:lnTo>
                  <a:lnTo>
                    <a:pt x="1879" y="278"/>
                  </a:lnTo>
                  <a:lnTo>
                    <a:pt x="1876" y="278"/>
                  </a:lnTo>
                  <a:lnTo>
                    <a:pt x="1874" y="279"/>
                  </a:lnTo>
                  <a:lnTo>
                    <a:pt x="1870" y="280"/>
                  </a:lnTo>
                  <a:lnTo>
                    <a:pt x="1876" y="282"/>
                  </a:lnTo>
                  <a:lnTo>
                    <a:pt x="1874" y="282"/>
                  </a:lnTo>
                  <a:lnTo>
                    <a:pt x="1870" y="283"/>
                  </a:lnTo>
                  <a:lnTo>
                    <a:pt x="1874" y="283"/>
                  </a:lnTo>
                  <a:lnTo>
                    <a:pt x="1870" y="283"/>
                  </a:lnTo>
                  <a:lnTo>
                    <a:pt x="1871" y="284"/>
                  </a:lnTo>
                  <a:lnTo>
                    <a:pt x="1874" y="284"/>
                  </a:lnTo>
                  <a:lnTo>
                    <a:pt x="1871" y="284"/>
                  </a:lnTo>
                  <a:lnTo>
                    <a:pt x="1868" y="284"/>
                  </a:lnTo>
                  <a:lnTo>
                    <a:pt x="1869" y="286"/>
                  </a:lnTo>
                  <a:lnTo>
                    <a:pt x="1866" y="286"/>
                  </a:lnTo>
                  <a:lnTo>
                    <a:pt x="1867" y="288"/>
                  </a:lnTo>
                  <a:lnTo>
                    <a:pt x="1869" y="288"/>
                  </a:lnTo>
                  <a:lnTo>
                    <a:pt x="1873" y="289"/>
                  </a:lnTo>
                  <a:lnTo>
                    <a:pt x="1869" y="288"/>
                  </a:lnTo>
                  <a:lnTo>
                    <a:pt x="1867" y="290"/>
                  </a:lnTo>
                  <a:lnTo>
                    <a:pt x="1864" y="288"/>
                  </a:lnTo>
                  <a:lnTo>
                    <a:pt x="1865" y="291"/>
                  </a:lnTo>
                  <a:lnTo>
                    <a:pt x="1865" y="293"/>
                  </a:lnTo>
                  <a:lnTo>
                    <a:pt x="1870" y="293"/>
                  </a:lnTo>
                  <a:lnTo>
                    <a:pt x="1868" y="293"/>
                  </a:lnTo>
                  <a:lnTo>
                    <a:pt x="1865" y="296"/>
                  </a:lnTo>
                  <a:lnTo>
                    <a:pt x="1868" y="295"/>
                  </a:lnTo>
                  <a:lnTo>
                    <a:pt x="1870" y="295"/>
                  </a:lnTo>
                  <a:lnTo>
                    <a:pt x="1874" y="295"/>
                  </a:lnTo>
                  <a:lnTo>
                    <a:pt x="1879" y="293"/>
                  </a:lnTo>
                  <a:lnTo>
                    <a:pt x="1875" y="296"/>
                  </a:lnTo>
                  <a:lnTo>
                    <a:pt x="1871" y="297"/>
                  </a:lnTo>
                  <a:lnTo>
                    <a:pt x="1873" y="297"/>
                  </a:lnTo>
                  <a:lnTo>
                    <a:pt x="1874" y="297"/>
                  </a:lnTo>
                  <a:lnTo>
                    <a:pt x="1875" y="297"/>
                  </a:lnTo>
                  <a:lnTo>
                    <a:pt x="1873" y="297"/>
                  </a:lnTo>
                  <a:lnTo>
                    <a:pt x="1870" y="298"/>
                  </a:lnTo>
                  <a:lnTo>
                    <a:pt x="1869" y="296"/>
                  </a:lnTo>
                  <a:lnTo>
                    <a:pt x="1864" y="297"/>
                  </a:lnTo>
                  <a:lnTo>
                    <a:pt x="1861" y="298"/>
                  </a:lnTo>
                  <a:lnTo>
                    <a:pt x="1859" y="300"/>
                  </a:lnTo>
                  <a:lnTo>
                    <a:pt x="1864" y="299"/>
                  </a:lnTo>
                  <a:lnTo>
                    <a:pt x="1862" y="301"/>
                  </a:lnTo>
                  <a:lnTo>
                    <a:pt x="1864" y="303"/>
                  </a:lnTo>
                  <a:lnTo>
                    <a:pt x="1861" y="301"/>
                  </a:lnTo>
                  <a:lnTo>
                    <a:pt x="1859" y="303"/>
                  </a:lnTo>
                  <a:lnTo>
                    <a:pt x="1858" y="308"/>
                  </a:lnTo>
                  <a:lnTo>
                    <a:pt x="1856" y="308"/>
                  </a:lnTo>
                  <a:lnTo>
                    <a:pt x="1854" y="310"/>
                  </a:lnTo>
                  <a:lnTo>
                    <a:pt x="1858" y="310"/>
                  </a:lnTo>
                  <a:lnTo>
                    <a:pt x="1858" y="314"/>
                  </a:lnTo>
                  <a:lnTo>
                    <a:pt x="1856" y="313"/>
                  </a:lnTo>
                  <a:lnTo>
                    <a:pt x="1853" y="310"/>
                  </a:lnTo>
                  <a:lnTo>
                    <a:pt x="1854" y="313"/>
                  </a:lnTo>
                  <a:lnTo>
                    <a:pt x="1851" y="315"/>
                  </a:lnTo>
                  <a:lnTo>
                    <a:pt x="1852" y="318"/>
                  </a:lnTo>
                  <a:lnTo>
                    <a:pt x="1854" y="316"/>
                  </a:lnTo>
                  <a:lnTo>
                    <a:pt x="1854" y="320"/>
                  </a:lnTo>
                  <a:lnTo>
                    <a:pt x="1857" y="320"/>
                  </a:lnTo>
                  <a:lnTo>
                    <a:pt x="1862" y="316"/>
                  </a:lnTo>
                  <a:lnTo>
                    <a:pt x="1859" y="318"/>
                  </a:lnTo>
                  <a:lnTo>
                    <a:pt x="1853" y="322"/>
                  </a:lnTo>
                  <a:lnTo>
                    <a:pt x="1851" y="322"/>
                  </a:lnTo>
                  <a:lnTo>
                    <a:pt x="1854" y="321"/>
                  </a:lnTo>
                  <a:lnTo>
                    <a:pt x="1849" y="320"/>
                  </a:lnTo>
                  <a:lnTo>
                    <a:pt x="1847" y="323"/>
                  </a:lnTo>
                  <a:lnTo>
                    <a:pt x="1849" y="322"/>
                  </a:lnTo>
                  <a:lnTo>
                    <a:pt x="1847" y="323"/>
                  </a:lnTo>
                  <a:lnTo>
                    <a:pt x="1844" y="323"/>
                  </a:lnTo>
                  <a:lnTo>
                    <a:pt x="1842" y="325"/>
                  </a:lnTo>
                  <a:lnTo>
                    <a:pt x="1844" y="325"/>
                  </a:lnTo>
                  <a:lnTo>
                    <a:pt x="1840" y="326"/>
                  </a:lnTo>
                  <a:lnTo>
                    <a:pt x="1842" y="327"/>
                  </a:lnTo>
                  <a:lnTo>
                    <a:pt x="1844" y="326"/>
                  </a:lnTo>
                  <a:lnTo>
                    <a:pt x="1850" y="324"/>
                  </a:lnTo>
                  <a:lnTo>
                    <a:pt x="1852" y="324"/>
                  </a:lnTo>
                  <a:lnTo>
                    <a:pt x="1849" y="324"/>
                  </a:lnTo>
                  <a:lnTo>
                    <a:pt x="1847" y="325"/>
                  </a:lnTo>
                  <a:lnTo>
                    <a:pt x="1844" y="327"/>
                  </a:lnTo>
                  <a:lnTo>
                    <a:pt x="1847" y="327"/>
                  </a:lnTo>
                  <a:lnTo>
                    <a:pt x="1841" y="330"/>
                  </a:lnTo>
                  <a:lnTo>
                    <a:pt x="1842" y="332"/>
                  </a:lnTo>
                  <a:lnTo>
                    <a:pt x="1845" y="332"/>
                  </a:lnTo>
                  <a:lnTo>
                    <a:pt x="1843" y="335"/>
                  </a:lnTo>
                  <a:lnTo>
                    <a:pt x="1844" y="335"/>
                  </a:lnTo>
                  <a:lnTo>
                    <a:pt x="1843" y="335"/>
                  </a:lnTo>
                  <a:lnTo>
                    <a:pt x="1840" y="338"/>
                  </a:lnTo>
                  <a:lnTo>
                    <a:pt x="1838" y="334"/>
                  </a:lnTo>
                  <a:lnTo>
                    <a:pt x="1832" y="334"/>
                  </a:lnTo>
                  <a:lnTo>
                    <a:pt x="1833" y="337"/>
                  </a:lnTo>
                  <a:lnTo>
                    <a:pt x="1831" y="337"/>
                  </a:lnTo>
                  <a:lnTo>
                    <a:pt x="1827" y="339"/>
                  </a:lnTo>
                  <a:lnTo>
                    <a:pt x="1827" y="341"/>
                  </a:lnTo>
                  <a:lnTo>
                    <a:pt x="1824" y="341"/>
                  </a:lnTo>
                  <a:lnTo>
                    <a:pt x="1823" y="344"/>
                  </a:lnTo>
                  <a:lnTo>
                    <a:pt x="1822" y="347"/>
                  </a:lnTo>
                  <a:lnTo>
                    <a:pt x="1824" y="346"/>
                  </a:lnTo>
                  <a:lnTo>
                    <a:pt x="1822" y="347"/>
                  </a:lnTo>
                  <a:lnTo>
                    <a:pt x="1822" y="348"/>
                  </a:lnTo>
                  <a:lnTo>
                    <a:pt x="1824" y="347"/>
                  </a:lnTo>
                  <a:lnTo>
                    <a:pt x="1816" y="350"/>
                  </a:lnTo>
                  <a:lnTo>
                    <a:pt x="1819" y="350"/>
                  </a:lnTo>
                  <a:lnTo>
                    <a:pt x="1816" y="352"/>
                  </a:lnTo>
                  <a:lnTo>
                    <a:pt x="1822" y="351"/>
                  </a:lnTo>
                  <a:lnTo>
                    <a:pt x="1822" y="351"/>
                  </a:lnTo>
                  <a:lnTo>
                    <a:pt x="1819" y="353"/>
                  </a:lnTo>
                  <a:lnTo>
                    <a:pt x="1822" y="357"/>
                  </a:lnTo>
                  <a:lnTo>
                    <a:pt x="1828" y="355"/>
                  </a:lnTo>
                  <a:lnTo>
                    <a:pt x="1831" y="352"/>
                  </a:lnTo>
                  <a:lnTo>
                    <a:pt x="1834" y="351"/>
                  </a:lnTo>
                  <a:lnTo>
                    <a:pt x="1836" y="349"/>
                  </a:lnTo>
                  <a:lnTo>
                    <a:pt x="1834" y="348"/>
                  </a:lnTo>
                  <a:lnTo>
                    <a:pt x="1832" y="349"/>
                  </a:lnTo>
                  <a:lnTo>
                    <a:pt x="1840" y="344"/>
                  </a:lnTo>
                  <a:lnTo>
                    <a:pt x="1843" y="344"/>
                  </a:lnTo>
                  <a:lnTo>
                    <a:pt x="1842" y="346"/>
                  </a:lnTo>
                  <a:lnTo>
                    <a:pt x="1840" y="346"/>
                  </a:lnTo>
                  <a:lnTo>
                    <a:pt x="1838" y="349"/>
                  </a:lnTo>
                  <a:lnTo>
                    <a:pt x="1840" y="350"/>
                  </a:lnTo>
                  <a:lnTo>
                    <a:pt x="1838" y="351"/>
                  </a:lnTo>
                  <a:lnTo>
                    <a:pt x="1834" y="352"/>
                  </a:lnTo>
                  <a:lnTo>
                    <a:pt x="1832" y="355"/>
                  </a:lnTo>
                  <a:lnTo>
                    <a:pt x="1835" y="355"/>
                  </a:lnTo>
                  <a:lnTo>
                    <a:pt x="1834" y="357"/>
                  </a:lnTo>
                  <a:lnTo>
                    <a:pt x="1824" y="357"/>
                  </a:lnTo>
                  <a:lnTo>
                    <a:pt x="1824" y="360"/>
                  </a:lnTo>
                  <a:lnTo>
                    <a:pt x="1822" y="359"/>
                  </a:lnTo>
                  <a:lnTo>
                    <a:pt x="1819" y="360"/>
                  </a:lnTo>
                  <a:lnTo>
                    <a:pt x="1822" y="358"/>
                  </a:lnTo>
                  <a:lnTo>
                    <a:pt x="1822" y="357"/>
                  </a:lnTo>
                  <a:lnTo>
                    <a:pt x="1817" y="353"/>
                  </a:lnTo>
                  <a:lnTo>
                    <a:pt x="1815" y="356"/>
                  </a:lnTo>
                  <a:lnTo>
                    <a:pt x="1811" y="357"/>
                  </a:lnTo>
                  <a:lnTo>
                    <a:pt x="1815" y="357"/>
                  </a:lnTo>
                  <a:lnTo>
                    <a:pt x="1811" y="359"/>
                  </a:lnTo>
                  <a:lnTo>
                    <a:pt x="1815" y="359"/>
                  </a:lnTo>
                  <a:lnTo>
                    <a:pt x="1811" y="359"/>
                  </a:lnTo>
                  <a:lnTo>
                    <a:pt x="1809" y="361"/>
                  </a:lnTo>
                  <a:lnTo>
                    <a:pt x="1810" y="358"/>
                  </a:lnTo>
                  <a:lnTo>
                    <a:pt x="1805" y="358"/>
                  </a:lnTo>
                  <a:lnTo>
                    <a:pt x="1804" y="360"/>
                  </a:lnTo>
                  <a:lnTo>
                    <a:pt x="1804" y="363"/>
                  </a:lnTo>
                  <a:lnTo>
                    <a:pt x="1806" y="363"/>
                  </a:lnTo>
                  <a:lnTo>
                    <a:pt x="1801" y="364"/>
                  </a:lnTo>
                  <a:lnTo>
                    <a:pt x="1797" y="365"/>
                  </a:lnTo>
                  <a:lnTo>
                    <a:pt x="1800" y="366"/>
                  </a:lnTo>
                  <a:lnTo>
                    <a:pt x="1802" y="366"/>
                  </a:lnTo>
                  <a:lnTo>
                    <a:pt x="1801" y="369"/>
                  </a:lnTo>
                  <a:lnTo>
                    <a:pt x="1805" y="370"/>
                  </a:lnTo>
                  <a:lnTo>
                    <a:pt x="1801" y="369"/>
                  </a:lnTo>
                  <a:lnTo>
                    <a:pt x="1799" y="367"/>
                  </a:lnTo>
                  <a:lnTo>
                    <a:pt x="1797" y="365"/>
                  </a:lnTo>
                  <a:lnTo>
                    <a:pt x="1794" y="365"/>
                  </a:lnTo>
                  <a:lnTo>
                    <a:pt x="1798" y="370"/>
                  </a:lnTo>
                  <a:lnTo>
                    <a:pt x="1800" y="372"/>
                  </a:lnTo>
                  <a:lnTo>
                    <a:pt x="1801" y="373"/>
                  </a:lnTo>
                  <a:lnTo>
                    <a:pt x="1802" y="373"/>
                  </a:lnTo>
                  <a:lnTo>
                    <a:pt x="1802" y="374"/>
                  </a:lnTo>
                  <a:lnTo>
                    <a:pt x="1801" y="373"/>
                  </a:lnTo>
                  <a:lnTo>
                    <a:pt x="1797" y="370"/>
                  </a:lnTo>
                  <a:lnTo>
                    <a:pt x="1794" y="367"/>
                  </a:lnTo>
                  <a:lnTo>
                    <a:pt x="1792" y="368"/>
                  </a:lnTo>
                  <a:lnTo>
                    <a:pt x="1788" y="367"/>
                  </a:lnTo>
                  <a:lnTo>
                    <a:pt x="1787" y="367"/>
                  </a:lnTo>
                  <a:lnTo>
                    <a:pt x="1784" y="367"/>
                  </a:lnTo>
                  <a:lnTo>
                    <a:pt x="1781" y="368"/>
                  </a:lnTo>
                  <a:lnTo>
                    <a:pt x="1784" y="370"/>
                  </a:lnTo>
                  <a:lnTo>
                    <a:pt x="1781" y="370"/>
                  </a:lnTo>
                  <a:lnTo>
                    <a:pt x="1784" y="373"/>
                  </a:lnTo>
                  <a:lnTo>
                    <a:pt x="1789" y="372"/>
                  </a:lnTo>
                  <a:lnTo>
                    <a:pt x="1787" y="373"/>
                  </a:lnTo>
                  <a:lnTo>
                    <a:pt x="1790" y="373"/>
                  </a:lnTo>
                  <a:lnTo>
                    <a:pt x="1794" y="372"/>
                  </a:lnTo>
                  <a:lnTo>
                    <a:pt x="1789" y="374"/>
                  </a:lnTo>
                  <a:lnTo>
                    <a:pt x="1791" y="376"/>
                  </a:lnTo>
                  <a:lnTo>
                    <a:pt x="1791" y="376"/>
                  </a:lnTo>
                  <a:lnTo>
                    <a:pt x="1788" y="376"/>
                  </a:lnTo>
                  <a:lnTo>
                    <a:pt x="1785" y="375"/>
                  </a:lnTo>
                  <a:lnTo>
                    <a:pt x="1782" y="375"/>
                  </a:lnTo>
                  <a:lnTo>
                    <a:pt x="1780" y="375"/>
                  </a:lnTo>
                  <a:lnTo>
                    <a:pt x="1776" y="375"/>
                  </a:lnTo>
                  <a:lnTo>
                    <a:pt x="1771" y="375"/>
                  </a:lnTo>
                  <a:lnTo>
                    <a:pt x="1774" y="376"/>
                  </a:lnTo>
                  <a:lnTo>
                    <a:pt x="1771" y="378"/>
                  </a:lnTo>
                  <a:lnTo>
                    <a:pt x="1775" y="378"/>
                  </a:lnTo>
                  <a:lnTo>
                    <a:pt x="1777" y="378"/>
                  </a:lnTo>
                  <a:lnTo>
                    <a:pt x="1780" y="380"/>
                  </a:lnTo>
                  <a:lnTo>
                    <a:pt x="1782" y="382"/>
                  </a:lnTo>
                  <a:lnTo>
                    <a:pt x="1785" y="382"/>
                  </a:lnTo>
                  <a:lnTo>
                    <a:pt x="1782" y="382"/>
                  </a:lnTo>
                  <a:lnTo>
                    <a:pt x="1781" y="385"/>
                  </a:lnTo>
                  <a:lnTo>
                    <a:pt x="1784" y="385"/>
                  </a:lnTo>
                  <a:lnTo>
                    <a:pt x="1781" y="386"/>
                  </a:lnTo>
                  <a:lnTo>
                    <a:pt x="1781" y="385"/>
                  </a:lnTo>
                  <a:lnTo>
                    <a:pt x="1781" y="383"/>
                  </a:lnTo>
                  <a:lnTo>
                    <a:pt x="1780" y="381"/>
                  </a:lnTo>
                  <a:lnTo>
                    <a:pt x="1777" y="378"/>
                  </a:lnTo>
                  <a:lnTo>
                    <a:pt x="1774" y="380"/>
                  </a:lnTo>
                  <a:lnTo>
                    <a:pt x="1774" y="382"/>
                  </a:lnTo>
                  <a:lnTo>
                    <a:pt x="1775" y="384"/>
                  </a:lnTo>
                  <a:lnTo>
                    <a:pt x="1773" y="381"/>
                  </a:lnTo>
                  <a:lnTo>
                    <a:pt x="1770" y="381"/>
                  </a:lnTo>
                  <a:lnTo>
                    <a:pt x="1767" y="383"/>
                  </a:lnTo>
                  <a:lnTo>
                    <a:pt x="1768" y="385"/>
                  </a:lnTo>
                  <a:lnTo>
                    <a:pt x="1772" y="386"/>
                  </a:lnTo>
                  <a:lnTo>
                    <a:pt x="1766" y="386"/>
                  </a:lnTo>
                  <a:lnTo>
                    <a:pt x="1765" y="384"/>
                  </a:lnTo>
                  <a:lnTo>
                    <a:pt x="1759" y="385"/>
                  </a:lnTo>
                  <a:lnTo>
                    <a:pt x="1760" y="387"/>
                  </a:lnTo>
                  <a:lnTo>
                    <a:pt x="1758" y="385"/>
                  </a:lnTo>
                  <a:lnTo>
                    <a:pt x="1756" y="386"/>
                  </a:lnTo>
                  <a:lnTo>
                    <a:pt x="1758" y="387"/>
                  </a:lnTo>
                  <a:lnTo>
                    <a:pt x="1756" y="390"/>
                  </a:lnTo>
                  <a:lnTo>
                    <a:pt x="1758" y="390"/>
                  </a:lnTo>
                  <a:lnTo>
                    <a:pt x="1764" y="390"/>
                  </a:lnTo>
                  <a:lnTo>
                    <a:pt x="1770" y="391"/>
                  </a:lnTo>
                  <a:lnTo>
                    <a:pt x="1775" y="391"/>
                  </a:lnTo>
                  <a:lnTo>
                    <a:pt x="1777" y="391"/>
                  </a:lnTo>
                  <a:lnTo>
                    <a:pt x="1775" y="392"/>
                  </a:lnTo>
                  <a:lnTo>
                    <a:pt x="1772" y="392"/>
                  </a:lnTo>
                  <a:lnTo>
                    <a:pt x="1766" y="393"/>
                  </a:lnTo>
                  <a:lnTo>
                    <a:pt x="1764" y="392"/>
                  </a:lnTo>
                  <a:lnTo>
                    <a:pt x="1760" y="390"/>
                  </a:lnTo>
                  <a:lnTo>
                    <a:pt x="1758" y="391"/>
                  </a:lnTo>
                  <a:lnTo>
                    <a:pt x="1756" y="392"/>
                  </a:lnTo>
                  <a:lnTo>
                    <a:pt x="1754" y="395"/>
                  </a:lnTo>
                  <a:lnTo>
                    <a:pt x="1756" y="397"/>
                  </a:lnTo>
                  <a:lnTo>
                    <a:pt x="1759" y="395"/>
                  </a:lnTo>
                  <a:lnTo>
                    <a:pt x="1754" y="397"/>
                  </a:lnTo>
                  <a:lnTo>
                    <a:pt x="1756" y="397"/>
                  </a:lnTo>
                  <a:lnTo>
                    <a:pt x="1759" y="397"/>
                  </a:lnTo>
                  <a:lnTo>
                    <a:pt x="1756" y="397"/>
                  </a:lnTo>
                  <a:lnTo>
                    <a:pt x="1759" y="398"/>
                  </a:lnTo>
                  <a:lnTo>
                    <a:pt x="1757" y="399"/>
                  </a:lnTo>
                  <a:lnTo>
                    <a:pt x="1762" y="400"/>
                  </a:lnTo>
                  <a:lnTo>
                    <a:pt x="1765" y="400"/>
                  </a:lnTo>
                  <a:lnTo>
                    <a:pt x="1762" y="400"/>
                  </a:lnTo>
                  <a:lnTo>
                    <a:pt x="1759" y="399"/>
                  </a:lnTo>
                  <a:lnTo>
                    <a:pt x="1754" y="401"/>
                  </a:lnTo>
                  <a:lnTo>
                    <a:pt x="1756" y="401"/>
                  </a:lnTo>
                  <a:lnTo>
                    <a:pt x="1762" y="401"/>
                  </a:lnTo>
                  <a:lnTo>
                    <a:pt x="1757" y="402"/>
                  </a:lnTo>
                  <a:lnTo>
                    <a:pt x="1754" y="403"/>
                  </a:lnTo>
                  <a:lnTo>
                    <a:pt x="1756" y="404"/>
                  </a:lnTo>
                  <a:lnTo>
                    <a:pt x="1759" y="408"/>
                  </a:lnTo>
                  <a:lnTo>
                    <a:pt x="1765" y="404"/>
                  </a:lnTo>
                  <a:lnTo>
                    <a:pt x="1771" y="404"/>
                  </a:lnTo>
                  <a:lnTo>
                    <a:pt x="1773" y="407"/>
                  </a:lnTo>
                  <a:lnTo>
                    <a:pt x="1776" y="402"/>
                  </a:lnTo>
                  <a:lnTo>
                    <a:pt x="1775" y="404"/>
                  </a:lnTo>
                  <a:lnTo>
                    <a:pt x="1776" y="404"/>
                  </a:lnTo>
                  <a:lnTo>
                    <a:pt x="1782" y="404"/>
                  </a:lnTo>
                  <a:lnTo>
                    <a:pt x="1780" y="406"/>
                  </a:lnTo>
                  <a:lnTo>
                    <a:pt x="1783" y="406"/>
                  </a:lnTo>
                  <a:lnTo>
                    <a:pt x="1785" y="406"/>
                  </a:lnTo>
                  <a:lnTo>
                    <a:pt x="1784" y="403"/>
                  </a:lnTo>
                  <a:lnTo>
                    <a:pt x="1787" y="401"/>
                  </a:lnTo>
                  <a:lnTo>
                    <a:pt x="1785" y="403"/>
                  </a:lnTo>
                  <a:lnTo>
                    <a:pt x="1787" y="404"/>
                  </a:lnTo>
                  <a:lnTo>
                    <a:pt x="1788" y="404"/>
                  </a:lnTo>
                  <a:lnTo>
                    <a:pt x="1790" y="404"/>
                  </a:lnTo>
                  <a:lnTo>
                    <a:pt x="1788" y="407"/>
                  </a:lnTo>
                  <a:lnTo>
                    <a:pt x="1784" y="406"/>
                  </a:lnTo>
                  <a:lnTo>
                    <a:pt x="1781" y="408"/>
                  </a:lnTo>
                  <a:lnTo>
                    <a:pt x="1782" y="410"/>
                  </a:lnTo>
                  <a:lnTo>
                    <a:pt x="1780" y="410"/>
                  </a:lnTo>
                  <a:lnTo>
                    <a:pt x="1780" y="408"/>
                  </a:lnTo>
                  <a:lnTo>
                    <a:pt x="1777" y="406"/>
                  </a:lnTo>
                  <a:lnTo>
                    <a:pt x="1774" y="407"/>
                  </a:lnTo>
                  <a:lnTo>
                    <a:pt x="1764" y="407"/>
                  </a:lnTo>
                  <a:lnTo>
                    <a:pt x="1756" y="409"/>
                  </a:lnTo>
                  <a:lnTo>
                    <a:pt x="1755" y="412"/>
                  </a:lnTo>
                  <a:lnTo>
                    <a:pt x="1757" y="412"/>
                  </a:lnTo>
                  <a:lnTo>
                    <a:pt x="1760" y="412"/>
                  </a:lnTo>
                  <a:lnTo>
                    <a:pt x="1758" y="414"/>
                  </a:lnTo>
                  <a:lnTo>
                    <a:pt x="1759" y="416"/>
                  </a:lnTo>
                  <a:lnTo>
                    <a:pt x="1757" y="415"/>
                  </a:lnTo>
                  <a:lnTo>
                    <a:pt x="1754" y="414"/>
                  </a:lnTo>
                  <a:lnTo>
                    <a:pt x="1756" y="416"/>
                  </a:lnTo>
                  <a:lnTo>
                    <a:pt x="1757" y="418"/>
                  </a:lnTo>
                  <a:lnTo>
                    <a:pt x="1762" y="416"/>
                  </a:lnTo>
                  <a:lnTo>
                    <a:pt x="1764" y="416"/>
                  </a:lnTo>
                  <a:lnTo>
                    <a:pt x="1764" y="418"/>
                  </a:lnTo>
                  <a:lnTo>
                    <a:pt x="1763" y="419"/>
                  </a:lnTo>
                  <a:lnTo>
                    <a:pt x="1763" y="419"/>
                  </a:lnTo>
                  <a:lnTo>
                    <a:pt x="1762" y="420"/>
                  </a:lnTo>
                  <a:lnTo>
                    <a:pt x="1762" y="420"/>
                  </a:lnTo>
                  <a:lnTo>
                    <a:pt x="1762" y="420"/>
                  </a:lnTo>
                  <a:lnTo>
                    <a:pt x="1758" y="419"/>
                  </a:lnTo>
                  <a:lnTo>
                    <a:pt x="1756" y="421"/>
                  </a:lnTo>
                  <a:lnTo>
                    <a:pt x="1757" y="425"/>
                  </a:lnTo>
                  <a:lnTo>
                    <a:pt x="1759" y="426"/>
                  </a:lnTo>
                  <a:lnTo>
                    <a:pt x="1762" y="424"/>
                  </a:lnTo>
                  <a:lnTo>
                    <a:pt x="1762" y="426"/>
                  </a:lnTo>
                  <a:lnTo>
                    <a:pt x="1764" y="426"/>
                  </a:lnTo>
                  <a:lnTo>
                    <a:pt x="1764" y="429"/>
                  </a:lnTo>
                  <a:lnTo>
                    <a:pt x="1765" y="429"/>
                  </a:lnTo>
                  <a:lnTo>
                    <a:pt x="1767" y="425"/>
                  </a:lnTo>
                  <a:lnTo>
                    <a:pt x="1770" y="424"/>
                  </a:lnTo>
                  <a:lnTo>
                    <a:pt x="1772" y="421"/>
                  </a:lnTo>
                  <a:lnTo>
                    <a:pt x="1774" y="420"/>
                  </a:lnTo>
                  <a:lnTo>
                    <a:pt x="1780" y="420"/>
                  </a:lnTo>
                  <a:lnTo>
                    <a:pt x="1777" y="421"/>
                  </a:lnTo>
                  <a:lnTo>
                    <a:pt x="1775" y="426"/>
                  </a:lnTo>
                  <a:lnTo>
                    <a:pt x="1775" y="424"/>
                  </a:lnTo>
                  <a:lnTo>
                    <a:pt x="1775" y="421"/>
                  </a:lnTo>
                  <a:lnTo>
                    <a:pt x="1773" y="423"/>
                  </a:lnTo>
                  <a:lnTo>
                    <a:pt x="1770" y="425"/>
                  </a:lnTo>
                  <a:lnTo>
                    <a:pt x="1770" y="427"/>
                  </a:lnTo>
                  <a:lnTo>
                    <a:pt x="1766" y="429"/>
                  </a:lnTo>
                  <a:lnTo>
                    <a:pt x="1767" y="430"/>
                  </a:lnTo>
                  <a:lnTo>
                    <a:pt x="1764" y="432"/>
                  </a:lnTo>
                  <a:lnTo>
                    <a:pt x="1763" y="433"/>
                  </a:lnTo>
                  <a:lnTo>
                    <a:pt x="1766" y="434"/>
                  </a:lnTo>
                  <a:lnTo>
                    <a:pt x="1768" y="435"/>
                  </a:lnTo>
                  <a:lnTo>
                    <a:pt x="1771" y="433"/>
                  </a:lnTo>
                  <a:lnTo>
                    <a:pt x="1768" y="435"/>
                  </a:lnTo>
                  <a:lnTo>
                    <a:pt x="1766" y="435"/>
                  </a:lnTo>
                  <a:lnTo>
                    <a:pt x="1765" y="437"/>
                  </a:lnTo>
                  <a:lnTo>
                    <a:pt x="1762" y="436"/>
                  </a:lnTo>
                  <a:lnTo>
                    <a:pt x="1762" y="438"/>
                  </a:lnTo>
                  <a:lnTo>
                    <a:pt x="1758" y="440"/>
                  </a:lnTo>
                  <a:lnTo>
                    <a:pt x="1760" y="437"/>
                  </a:lnTo>
                  <a:lnTo>
                    <a:pt x="1758" y="437"/>
                  </a:lnTo>
                  <a:lnTo>
                    <a:pt x="1757" y="440"/>
                  </a:lnTo>
                  <a:lnTo>
                    <a:pt x="1758" y="443"/>
                  </a:lnTo>
                  <a:lnTo>
                    <a:pt x="1759" y="444"/>
                  </a:lnTo>
                  <a:lnTo>
                    <a:pt x="1762" y="442"/>
                  </a:lnTo>
                  <a:lnTo>
                    <a:pt x="1763" y="444"/>
                  </a:lnTo>
                  <a:lnTo>
                    <a:pt x="1765" y="443"/>
                  </a:lnTo>
                  <a:lnTo>
                    <a:pt x="1764" y="441"/>
                  </a:lnTo>
                  <a:lnTo>
                    <a:pt x="1770" y="441"/>
                  </a:lnTo>
                  <a:lnTo>
                    <a:pt x="1766" y="441"/>
                  </a:lnTo>
                  <a:lnTo>
                    <a:pt x="1770" y="442"/>
                  </a:lnTo>
                  <a:lnTo>
                    <a:pt x="1771" y="440"/>
                  </a:lnTo>
                  <a:lnTo>
                    <a:pt x="1771" y="437"/>
                  </a:lnTo>
                  <a:lnTo>
                    <a:pt x="1774" y="438"/>
                  </a:lnTo>
                  <a:lnTo>
                    <a:pt x="1771" y="440"/>
                  </a:lnTo>
                  <a:lnTo>
                    <a:pt x="1770" y="442"/>
                  </a:lnTo>
                  <a:lnTo>
                    <a:pt x="1768" y="442"/>
                  </a:lnTo>
                  <a:lnTo>
                    <a:pt x="1771" y="443"/>
                  </a:lnTo>
                  <a:lnTo>
                    <a:pt x="1770" y="444"/>
                  </a:lnTo>
                  <a:lnTo>
                    <a:pt x="1772" y="444"/>
                  </a:lnTo>
                  <a:lnTo>
                    <a:pt x="1770" y="445"/>
                  </a:lnTo>
                  <a:lnTo>
                    <a:pt x="1766" y="447"/>
                  </a:lnTo>
                  <a:lnTo>
                    <a:pt x="1767" y="450"/>
                  </a:lnTo>
                  <a:lnTo>
                    <a:pt x="1768" y="452"/>
                  </a:lnTo>
                  <a:lnTo>
                    <a:pt x="1771" y="450"/>
                  </a:lnTo>
                  <a:lnTo>
                    <a:pt x="1774" y="449"/>
                  </a:lnTo>
                  <a:lnTo>
                    <a:pt x="1771" y="450"/>
                  </a:lnTo>
                  <a:lnTo>
                    <a:pt x="1770" y="453"/>
                  </a:lnTo>
                  <a:lnTo>
                    <a:pt x="1767" y="452"/>
                  </a:lnTo>
                  <a:lnTo>
                    <a:pt x="1765" y="452"/>
                  </a:lnTo>
                  <a:lnTo>
                    <a:pt x="1763" y="450"/>
                  </a:lnTo>
                  <a:lnTo>
                    <a:pt x="1762" y="452"/>
                  </a:lnTo>
                  <a:lnTo>
                    <a:pt x="1760" y="455"/>
                  </a:lnTo>
                  <a:lnTo>
                    <a:pt x="1760" y="457"/>
                  </a:lnTo>
                  <a:lnTo>
                    <a:pt x="1763" y="460"/>
                  </a:lnTo>
                  <a:lnTo>
                    <a:pt x="1766" y="461"/>
                  </a:lnTo>
                  <a:lnTo>
                    <a:pt x="1768" y="463"/>
                  </a:lnTo>
                  <a:lnTo>
                    <a:pt x="1772" y="463"/>
                  </a:lnTo>
                  <a:lnTo>
                    <a:pt x="1772" y="464"/>
                  </a:lnTo>
                  <a:lnTo>
                    <a:pt x="1779" y="466"/>
                  </a:lnTo>
                  <a:lnTo>
                    <a:pt x="1780" y="464"/>
                  </a:lnTo>
                  <a:lnTo>
                    <a:pt x="1777" y="466"/>
                  </a:lnTo>
                  <a:lnTo>
                    <a:pt x="1775" y="469"/>
                  </a:lnTo>
                  <a:lnTo>
                    <a:pt x="1781" y="468"/>
                  </a:lnTo>
                  <a:lnTo>
                    <a:pt x="1784" y="469"/>
                  </a:lnTo>
                  <a:lnTo>
                    <a:pt x="1788" y="470"/>
                  </a:lnTo>
                  <a:lnTo>
                    <a:pt x="1789" y="470"/>
                  </a:lnTo>
                  <a:lnTo>
                    <a:pt x="1794" y="468"/>
                  </a:lnTo>
                  <a:lnTo>
                    <a:pt x="1796" y="467"/>
                  </a:lnTo>
                  <a:lnTo>
                    <a:pt x="1797" y="467"/>
                  </a:lnTo>
                  <a:lnTo>
                    <a:pt x="1802" y="464"/>
                  </a:lnTo>
                  <a:lnTo>
                    <a:pt x="1805" y="461"/>
                  </a:lnTo>
                  <a:lnTo>
                    <a:pt x="1814" y="454"/>
                  </a:lnTo>
                  <a:lnTo>
                    <a:pt x="1815" y="452"/>
                  </a:lnTo>
                  <a:lnTo>
                    <a:pt x="1817" y="451"/>
                  </a:lnTo>
                  <a:lnTo>
                    <a:pt x="1817" y="449"/>
                  </a:lnTo>
                  <a:lnTo>
                    <a:pt x="1817" y="447"/>
                  </a:lnTo>
                  <a:lnTo>
                    <a:pt x="1817" y="449"/>
                  </a:lnTo>
                  <a:lnTo>
                    <a:pt x="1819" y="450"/>
                  </a:lnTo>
                  <a:lnTo>
                    <a:pt x="1822" y="451"/>
                  </a:lnTo>
                  <a:lnTo>
                    <a:pt x="1823" y="449"/>
                  </a:lnTo>
                  <a:lnTo>
                    <a:pt x="1825" y="447"/>
                  </a:lnTo>
                  <a:lnTo>
                    <a:pt x="1827" y="445"/>
                  </a:lnTo>
                  <a:lnTo>
                    <a:pt x="1828" y="442"/>
                  </a:lnTo>
                  <a:lnTo>
                    <a:pt x="1826" y="440"/>
                  </a:lnTo>
                  <a:lnTo>
                    <a:pt x="1827" y="437"/>
                  </a:lnTo>
                  <a:lnTo>
                    <a:pt x="1831" y="438"/>
                  </a:lnTo>
                  <a:lnTo>
                    <a:pt x="1830" y="436"/>
                  </a:lnTo>
                  <a:lnTo>
                    <a:pt x="1828" y="434"/>
                  </a:lnTo>
                  <a:lnTo>
                    <a:pt x="1831" y="432"/>
                  </a:lnTo>
                  <a:lnTo>
                    <a:pt x="1833" y="433"/>
                  </a:lnTo>
                  <a:lnTo>
                    <a:pt x="1831" y="436"/>
                  </a:lnTo>
                  <a:lnTo>
                    <a:pt x="1832" y="440"/>
                  </a:lnTo>
                  <a:lnTo>
                    <a:pt x="1832" y="443"/>
                  </a:lnTo>
                  <a:lnTo>
                    <a:pt x="1832" y="445"/>
                  </a:lnTo>
                  <a:lnTo>
                    <a:pt x="1834" y="445"/>
                  </a:lnTo>
                  <a:lnTo>
                    <a:pt x="1838" y="446"/>
                  </a:lnTo>
                  <a:lnTo>
                    <a:pt x="1839" y="449"/>
                  </a:lnTo>
                  <a:lnTo>
                    <a:pt x="1838" y="451"/>
                  </a:lnTo>
                  <a:lnTo>
                    <a:pt x="1839" y="453"/>
                  </a:lnTo>
                  <a:lnTo>
                    <a:pt x="1839" y="457"/>
                  </a:lnTo>
                  <a:lnTo>
                    <a:pt x="1840" y="461"/>
                  </a:lnTo>
                  <a:lnTo>
                    <a:pt x="1842" y="464"/>
                  </a:lnTo>
                  <a:lnTo>
                    <a:pt x="1843" y="461"/>
                  </a:lnTo>
                  <a:lnTo>
                    <a:pt x="1843" y="464"/>
                  </a:lnTo>
                  <a:lnTo>
                    <a:pt x="1845" y="463"/>
                  </a:lnTo>
                  <a:lnTo>
                    <a:pt x="1847" y="466"/>
                  </a:lnTo>
                  <a:lnTo>
                    <a:pt x="1847" y="466"/>
                  </a:lnTo>
                  <a:lnTo>
                    <a:pt x="1847" y="466"/>
                  </a:lnTo>
                  <a:lnTo>
                    <a:pt x="1848" y="467"/>
                  </a:lnTo>
                  <a:lnTo>
                    <a:pt x="1847" y="469"/>
                  </a:lnTo>
                  <a:lnTo>
                    <a:pt x="1845" y="474"/>
                  </a:lnTo>
                  <a:lnTo>
                    <a:pt x="1848" y="474"/>
                  </a:lnTo>
                  <a:lnTo>
                    <a:pt x="1848" y="477"/>
                  </a:lnTo>
                  <a:lnTo>
                    <a:pt x="1849" y="478"/>
                  </a:lnTo>
                  <a:lnTo>
                    <a:pt x="1848" y="481"/>
                  </a:lnTo>
                  <a:lnTo>
                    <a:pt x="1851" y="481"/>
                  </a:lnTo>
                  <a:lnTo>
                    <a:pt x="1852" y="487"/>
                  </a:lnTo>
                  <a:lnTo>
                    <a:pt x="1853" y="489"/>
                  </a:lnTo>
                  <a:lnTo>
                    <a:pt x="1856" y="492"/>
                  </a:lnTo>
                  <a:lnTo>
                    <a:pt x="1856" y="492"/>
                  </a:lnTo>
                  <a:lnTo>
                    <a:pt x="1857" y="493"/>
                  </a:lnTo>
                  <a:lnTo>
                    <a:pt x="1859" y="496"/>
                  </a:lnTo>
                  <a:lnTo>
                    <a:pt x="1861" y="496"/>
                  </a:lnTo>
                  <a:lnTo>
                    <a:pt x="1862" y="498"/>
                  </a:lnTo>
                  <a:lnTo>
                    <a:pt x="1861" y="501"/>
                  </a:lnTo>
                  <a:lnTo>
                    <a:pt x="1859" y="500"/>
                  </a:lnTo>
                  <a:lnTo>
                    <a:pt x="1860" y="505"/>
                  </a:lnTo>
                  <a:lnTo>
                    <a:pt x="1858" y="504"/>
                  </a:lnTo>
                  <a:lnTo>
                    <a:pt x="1858" y="506"/>
                  </a:lnTo>
                  <a:lnTo>
                    <a:pt x="1859" y="509"/>
                  </a:lnTo>
                  <a:lnTo>
                    <a:pt x="1861" y="514"/>
                  </a:lnTo>
                  <a:lnTo>
                    <a:pt x="1862" y="517"/>
                  </a:lnTo>
                  <a:lnTo>
                    <a:pt x="1862" y="519"/>
                  </a:lnTo>
                  <a:lnTo>
                    <a:pt x="1865" y="521"/>
                  </a:lnTo>
                  <a:lnTo>
                    <a:pt x="1868" y="522"/>
                  </a:lnTo>
                  <a:lnTo>
                    <a:pt x="1874" y="520"/>
                  </a:lnTo>
                  <a:lnTo>
                    <a:pt x="1879" y="521"/>
                  </a:lnTo>
                  <a:lnTo>
                    <a:pt x="1882" y="518"/>
                  </a:lnTo>
                  <a:lnTo>
                    <a:pt x="1879" y="515"/>
                  </a:lnTo>
                  <a:lnTo>
                    <a:pt x="1879" y="512"/>
                  </a:lnTo>
                  <a:lnTo>
                    <a:pt x="1882" y="511"/>
                  </a:lnTo>
                  <a:lnTo>
                    <a:pt x="1884" y="509"/>
                  </a:lnTo>
                  <a:lnTo>
                    <a:pt x="1886" y="510"/>
                  </a:lnTo>
                  <a:lnTo>
                    <a:pt x="1886" y="506"/>
                  </a:lnTo>
                  <a:lnTo>
                    <a:pt x="1890" y="506"/>
                  </a:lnTo>
                  <a:lnTo>
                    <a:pt x="1895" y="506"/>
                  </a:lnTo>
                  <a:lnTo>
                    <a:pt x="1899" y="505"/>
                  </a:lnTo>
                  <a:lnTo>
                    <a:pt x="1900" y="505"/>
                  </a:lnTo>
                  <a:lnTo>
                    <a:pt x="1902" y="508"/>
                  </a:lnTo>
                  <a:lnTo>
                    <a:pt x="1904" y="505"/>
                  </a:lnTo>
                  <a:lnTo>
                    <a:pt x="1905" y="501"/>
                  </a:lnTo>
                  <a:lnTo>
                    <a:pt x="1909" y="496"/>
                  </a:lnTo>
                  <a:lnTo>
                    <a:pt x="1910" y="491"/>
                  </a:lnTo>
                  <a:lnTo>
                    <a:pt x="1910" y="491"/>
                  </a:lnTo>
                  <a:lnTo>
                    <a:pt x="1911" y="487"/>
                  </a:lnTo>
                  <a:lnTo>
                    <a:pt x="1911" y="487"/>
                  </a:lnTo>
                  <a:lnTo>
                    <a:pt x="1910" y="485"/>
                  </a:lnTo>
                  <a:lnTo>
                    <a:pt x="1912" y="483"/>
                  </a:lnTo>
                  <a:lnTo>
                    <a:pt x="1913" y="475"/>
                  </a:lnTo>
                  <a:lnTo>
                    <a:pt x="1911" y="472"/>
                  </a:lnTo>
                  <a:lnTo>
                    <a:pt x="1915" y="472"/>
                  </a:lnTo>
                  <a:lnTo>
                    <a:pt x="1913" y="470"/>
                  </a:lnTo>
                  <a:lnTo>
                    <a:pt x="1915" y="462"/>
                  </a:lnTo>
                  <a:lnTo>
                    <a:pt x="1910" y="461"/>
                  </a:lnTo>
                  <a:lnTo>
                    <a:pt x="1912" y="461"/>
                  </a:lnTo>
                  <a:lnTo>
                    <a:pt x="1916" y="461"/>
                  </a:lnTo>
                  <a:lnTo>
                    <a:pt x="1915" y="459"/>
                  </a:lnTo>
                  <a:lnTo>
                    <a:pt x="1912" y="458"/>
                  </a:lnTo>
                  <a:lnTo>
                    <a:pt x="1912" y="458"/>
                  </a:lnTo>
                  <a:lnTo>
                    <a:pt x="1918" y="458"/>
                  </a:lnTo>
                  <a:lnTo>
                    <a:pt x="1919" y="455"/>
                  </a:lnTo>
                  <a:lnTo>
                    <a:pt x="1921" y="455"/>
                  </a:lnTo>
                  <a:lnTo>
                    <a:pt x="1925" y="454"/>
                  </a:lnTo>
                  <a:lnTo>
                    <a:pt x="1927" y="452"/>
                  </a:lnTo>
                  <a:lnTo>
                    <a:pt x="1926" y="451"/>
                  </a:lnTo>
                  <a:lnTo>
                    <a:pt x="1927" y="449"/>
                  </a:lnTo>
                  <a:lnTo>
                    <a:pt x="1929" y="454"/>
                  </a:lnTo>
                  <a:lnTo>
                    <a:pt x="1930" y="451"/>
                  </a:lnTo>
                  <a:lnTo>
                    <a:pt x="1935" y="447"/>
                  </a:lnTo>
                  <a:lnTo>
                    <a:pt x="1937" y="447"/>
                  </a:lnTo>
                  <a:lnTo>
                    <a:pt x="1936" y="444"/>
                  </a:lnTo>
                  <a:lnTo>
                    <a:pt x="1938" y="446"/>
                  </a:lnTo>
                  <a:lnTo>
                    <a:pt x="1939" y="445"/>
                  </a:lnTo>
                  <a:lnTo>
                    <a:pt x="1938" y="443"/>
                  </a:lnTo>
                  <a:lnTo>
                    <a:pt x="1936" y="443"/>
                  </a:lnTo>
                  <a:lnTo>
                    <a:pt x="1934" y="444"/>
                  </a:lnTo>
                  <a:lnTo>
                    <a:pt x="1933" y="441"/>
                  </a:lnTo>
                  <a:lnTo>
                    <a:pt x="1936" y="443"/>
                  </a:lnTo>
                  <a:lnTo>
                    <a:pt x="1938" y="440"/>
                  </a:lnTo>
                  <a:lnTo>
                    <a:pt x="1941" y="438"/>
                  </a:lnTo>
                  <a:lnTo>
                    <a:pt x="1942" y="436"/>
                  </a:lnTo>
                  <a:lnTo>
                    <a:pt x="1944" y="435"/>
                  </a:lnTo>
                  <a:lnTo>
                    <a:pt x="1945" y="433"/>
                  </a:lnTo>
                  <a:lnTo>
                    <a:pt x="1943" y="429"/>
                  </a:lnTo>
                  <a:lnTo>
                    <a:pt x="1941" y="427"/>
                  </a:lnTo>
                  <a:lnTo>
                    <a:pt x="1939" y="427"/>
                  </a:lnTo>
                  <a:lnTo>
                    <a:pt x="1938" y="426"/>
                  </a:lnTo>
                  <a:lnTo>
                    <a:pt x="1937" y="423"/>
                  </a:lnTo>
                  <a:lnTo>
                    <a:pt x="1935" y="423"/>
                  </a:lnTo>
                  <a:lnTo>
                    <a:pt x="1929" y="418"/>
                  </a:lnTo>
                  <a:lnTo>
                    <a:pt x="1927" y="418"/>
                  </a:lnTo>
                  <a:lnTo>
                    <a:pt x="1924" y="417"/>
                  </a:lnTo>
                  <a:lnTo>
                    <a:pt x="1920" y="416"/>
                  </a:lnTo>
                  <a:lnTo>
                    <a:pt x="1921" y="414"/>
                  </a:lnTo>
                  <a:lnTo>
                    <a:pt x="1919" y="410"/>
                  </a:lnTo>
                  <a:lnTo>
                    <a:pt x="1920" y="408"/>
                  </a:lnTo>
                  <a:lnTo>
                    <a:pt x="1920" y="403"/>
                  </a:lnTo>
                  <a:lnTo>
                    <a:pt x="1919" y="401"/>
                  </a:lnTo>
                  <a:lnTo>
                    <a:pt x="1920" y="398"/>
                  </a:lnTo>
                  <a:lnTo>
                    <a:pt x="1921" y="397"/>
                  </a:lnTo>
                  <a:lnTo>
                    <a:pt x="1920" y="394"/>
                  </a:lnTo>
                  <a:lnTo>
                    <a:pt x="1922" y="393"/>
                  </a:lnTo>
                  <a:lnTo>
                    <a:pt x="1922" y="391"/>
                  </a:lnTo>
                  <a:lnTo>
                    <a:pt x="1926" y="383"/>
                  </a:lnTo>
                  <a:lnTo>
                    <a:pt x="1924" y="382"/>
                  </a:lnTo>
                  <a:lnTo>
                    <a:pt x="1924" y="377"/>
                  </a:lnTo>
                  <a:lnTo>
                    <a:pt x="1925" y="378"/>
                  </a:lnTo>
                  <a:lnTo>
                    <a:pt x="1927" y="377"/>
                  </a:lnTo>
                  <a:lnTo>
                    <a:pt x="1930" y="376"/>
                  </a:lnTo>
                  <a:lnTo>
                    <a:pt x="1932" y="373"/>
                  </a:lnTo>
                  <a:lnTo>
                    <a:pt x="1929" y="369"/>
                  </a:lnTo>
                  <a:lnTo>
                    <a:pt x="1928" y="368"/>
                  </a:lnTo>
                  <a:lnTo>
                    <a:pt x="1928" y="365"/>
                  </a:lnTo>
                  <a:lnTo>
                    <a:pt x="1930" y="369"/>
                  </a:lnTo>
                  <a:lnTo>
                    <a:pt x="1933" y="370"/>
                  </a:lnTo>
                  <a:lnTo>
                    <a:pt x="1937" y="368"/>
                  </a:lnTo>
                  <a:lnTo>
                    <a:pt x="1937" y="366"/>
                  </a:lnTo>
                  <a:lnTo>
                    <a:pt x="1939" y="365"/>
                  </a:lnTo>
                  <a:lnTo>
                    <a:pt x="1941" y="361"/>
                  </a:lnTo>
                  <a:lnTo>
                    <a:pt x="1944" y="361"/>
                  </a:lnTo>
                  <a:lnTo>
                    <a:pt x="1943" y="360"/>
                  </a:lnTo>
                  <a:lnTo>
                    <a:pt x="1946" y="361"/>
                  </a:lnTo>
                  <a:lnTo>
                    <a:pt x="1949" y="359"/>
                  </a:lnTo>
                  <a:lnTo>
                    <a:pt x="1950" y="357"/>
                  </a:lnTo>
                  <a:lnTo>
                    <a:pt x="1951" y="357"/>
                  </a:lnTo>
                  <a:lnTo>
                    <a:pt x="1953" y="356"/>
                  </a:lnTo>
                  <a:lnTo>
                    <a:pt x="1955" y="356"/>
                  </a:lnTo>
                  <a:lnTo>
                    <a:pt x="1961" y="352"/>
                  </a:lnTo>
                  <a:lnTo>
                    <a:pt x="1963" y="350"/>
                  </a:lnTo>
                  <a:lnTo>
                    <a:pt x="1967" y="350"/>
                  </a:lnTo>
                  <a:lnTo>
                    <a:pt x="1969" y="349"/>
                  </a:lnTo>
                  <a:lnTo>
                    <a:pt x="1972" y="343"/>
                  </a:lnTo>
                  <a:lnTo>
                    <a:pt x="1975" y="341"/>
                  </a:lnTo>
                  <a:lnTo>
                    <a:pt x="1979" y="337"/>
                  </a:lnTo>
                  <a:lnTo>
                    <a:pt x="1980" y="333"/>
                  </a:lnTo>
                  <a:lnTo>
                    <a:pt x="1978" y="332"/>
                  </a:lnTo>
                  <a:lnTo>
                    <a:pt x="1975" y="330"/>
                  </a:lnTo>
                  <a:lnTo>
                    <a:pt x="1977" y="331"/>
                  </a:lnTo>
                  <a:lnTo>
                    <a:pt x="1976" y="327"/>
                  </a:lnTo>
                  <a:lnTo>
                    <a:pt x="1973" y="326"/>
                  </a:lnTo>
                  <a:lnTo>
                    <a:pt x="1976" y="326"/>
                  </a:lnTo>
                  <a:lnTo>
                    <a:pt x="1978" y="323"/>
                  </a:lnTo>
                  <a:lnTo>
                    <a:pt x="1980" y="322"/>
                  </a:lnTo>
                  <a:lnTo>
                    <a:pt x="1980" y="318"/>
                  </a:lnTo>
                  <a:lnTo>
                    <a:pt x="1982" y="316"/>
                  </a:lnTo>
                  <a:lnTo>
                    <a:pt x="1979" y="316"/>
                  </a:lnTo>
                  <a:lnTo>
                    <a:pt x="1980" y="314"/>
                  </a:lnTo>
                  <a:lnTo>
                    <a:pt x="1984" y="314"/>
                  </a:lnTo>
                  <a:lnTo>
                    <a:pt x="1986" y="314"/>
                  </a:lnTo>
                  <a:lnTo>
                    <a:pt x="1985" y="312"/>
                  </a:lnTo>
                  <a:lnTo>
                    <a:pt x="1987" y="310"/>
                  </a:lnTo>
                  <a:lnTo>
                    <a:pt x="1989" y="310"/>
                  </a:lnTo>
                  <a:lnTo>
                    <a:pt x="1992" y="309"/>
                  </a:lnTo>
                  <a:lnTo>
                    <a:pt x="1990" y="305"/>
                  </a:lnTo>
                  <a:lnTo>
                    <a:pt x="1996" y="306"/>
                  </a:lnTo>
                  <a:lnTo>
                    <a:pt x="1996" y="304"/>
                  </a:lnTo>
                  <a:lnTo>
                    <a:pt x="1998" y="306"/>
                  </a:lnTo>
                  <a:lnTo>
                    <a:pt x="2002" y="307"/>
                  </a:lnTo>
                  <a:lnTo>
                    <a:pt x="2004" y="307"/>
                  </a:lnTo>
                  <a:lnTo>
                    <a:pt x="2002" y="305"/>
                  </a:lnTo>
                  <a:lnTo>
                    <a:pt x="2005" y="306"/>
                  </a:lnTo>
                  <a:lnTo>
                    <a:pt x="2011" y="305"/>
                  </a:lnTo>
                  <a:lnTo>
                    <a:pt x="2015" y="305"/>
                  </a:lnTo>
                  <a:lnTo>
                    <a:pt x="2016" y="306"/>
                  </a:lnTo>
                  <a:lnTo>
                    <a:pt x="2021" y="306"/>
                  </a:lnTo>
                  <a:lnTo>
                    <a:pt x="2021" y="306"/>
                  </a:lnTo>
                  <a:lnTo>
                    <a:pt x="2022" y="307"/>
                  </a:lnTo>
                  <a:lnTo>
                    <a:pt x="2024" y="309"/>
                  </a:lnTo>
                  <a:lnTo>
                    <a:pt x="2027" y="309"/>
                  </a:lnTo>
                  <a:lnTo>
                    <a:pt x="2031" y="314"/>
                  </a:lnTo>
                  <a:lnTo>
                    <a:pt x="2031" y="316"/>
                  </a:lnTo>
                  <a:lnTo>
                    <a:pt x="2031" y="318"/>
                  </a:lnTo>
                  <a:lnTo>
                    <a:pt x="2030" y="321"/>
                  </a:lnTo>
                  <a:lnTo>
                    <a:pt x="2033" y="323"/>
                  </a:lnTo>
                  <a:lnTo>
                    <a:pt x="2033" y="323"/>
                  </a:lnTo>
                  <a:lnTo>
                    <a:pt x="2032" y="324"/>
                  </a:lnTo>
                  <a:lnTo>
                    <a:pt x="2030" y="324"/>
                  </a:lnTo>
                  <a:lnTo>
                    <a:pt x="2032" y="326"/>
                  </a:lnTo>
                  <a:lnTo>
                    <a:pt x="2030" y="325"/>
                  </a:lnTo>
                  <a:lnTo>
                    <a:pt x="2027" y="325"/>
                  </a:lnTo>
                  <a:lnTo>
                    <a:pt x="2023" y="326"/>
                  </a:lnTo>
                  <a:lnTo>
                    <a:pt x="2021" y="329"/>
                  </a:lnTo>
                  <a:lnTo>
                    <a:pt x="2016" y="335"/>
                  </a:lnTo>
                  <a:lnTo>
                    <a:pt x="2014" y="337"/>
                  </a:lnTo>
                  <a:lnTo>
                    <a:pt x="2013" y="340"/>
                  </a:lnTo>
                  <a:lnTo>
                    <a:pt x="2010" y="341"/>
                  </a:lnTo>
                  <a:lnTo>
                    <a:pt x="2007" y="344"/>
                  </a:lnTo>
                  <a:lnTo>
                    <a:pt x="2005" y="344"/>
                  </a:lnTo>
                  <a:lnTo>
                    <a:pt x="2005" y="347"/>
                  </a:lnTo>
                  <a:lnTo>
                    <a:pt x="2002" y="348"/>
                  </a:lnTo>
                  <a:lnTo>
                    <a:pt x="2002" y="348"/>
                  </a:lnTo>
                  <a:lnTo>
                    <a:pt x="1998" y="353"/>
                  </a:lnTo>
                  <a:lnTo>
                    <a:pt x="1995" y="351"/>
                  </a:lnTo>
                  <a:lnTo>
                    <a:pt x="1993" y="355"/>
                  </a:lnTo>
                  <a:lnTo>
                    <a:pt x="1992" y="357"/>
                  </a:lnTo>
                  <a:lnTo>
                    <a:pt x="1992" y="360"/>
                  </a:lnTo>
                  <a:lnTo>
                    <a:pt x="1992" y="361"/>
                  </a:lnTo>
                  <a:lnTo>
                    <a:pt x="1986" y="363"/>
                  </a:lnTo>
                  <a:lnTo>
                    <a:pt x="1986" y="361"/>
                  </a:lnTo>
                  <a:lnTo>
                    <a:pt x="1984" y="363"/>
                  </a:lnTo>
                  <a:lnTo>
                    <a:pt x="1980" y="360"/>
                  </a:lnTo>
                  <a:lnTo>
                    <a:pt x="1980" y="363"/>
                  </a:lnTo>
                  <a:lnTo>
                    <a:pt x="1980" y="365"/>
                  </a:lnTo>
                  <a:lnTo>
                    <a:pt x="1979" y="368"/>
                  </a:lnTo>
                  <a:lnTo>
                    <a:pt x="1976" y="370"/>
                  </a:lnTo>
                  <a:lnTo>
                    <a:pt x="1976" y="373"/>
                  </a:lnTo>
                  <a:lnTo>
                    <a:pt x="1976" y="375"/>
                  </a:lnTo>
                  <a:lnTo>
                    <a:pt x="1975" y="378"/>
                  </a:lnTo>
                  <a:lnTo>
                    <a:pt x="1976" y="381"/>
                  </a:lnTo>
                  <a:lnTo>
                    <a:pt x="1977" y="380"/>
                  </a:lnTo>
                  <a:lnTo>
                    <a:pt x="1978" y="383"/>
                  </a:lnTo>
                  <a:lnTo>
                    <a:pt x="1978" y="385"/>
                  </a:lnTo>
                  <a:lnTo>
                    <a:pt x="1977" y="387"/>
                  </a:lnTo>
                  <a:lnTo>
                    <a:pt x="1977" y="389"/>
                  </a:lnTo>
                  <a:lnTo>
                    <a:pt x="1979" y="392"/>
                  </a:lnTo>
                  <a:lnTo>
                    <a:pt x="1982" y="398"/>
                  </a:lnTo>
                  <a:lnTo>
                    <a:pt x="1980" y="397"/>
                  </a:lnTo>
                  <a:lnTo>
                    <a:pt x="1980" y="402"/>
                  </a:lnTo>
                  <a:lnTo>
                    <a:pt x="1980" y="406"/>
                  </a:lnTo>
                  <a:lnTo>
                    <a:pt x="1978" y="408"/>
                  </a:lnTo>
                  <a:lnTo>
                    <a:pt x="1979" y="410"/>
                  </a:lnTo>
                  <a:lnTo>
                    <a:pt x="1978" y="416"/>
                  </a:lnTo>
                  <a:lnTo>
                    <a:pt x="1980" y="418"/>
                  </a:lnTo>
                  <a:lnTo>
                    <a:pt x="1980" y="418"/>
                  </a:lnTo>
                  <a:lnTo>
                    <a:pt x="1982" y="417"/>
                  </a:lnTo>
                  <a:lnTo>
                    <a:pt x="1984" y="419"/>
                  </a:lnTo>
                  <a:lnTo>
                    <a:pt x="1986" y="419"/>
                  </a:lnTo>
                  <a:lnTo>
                    <a:pt x="1987" y="420"/>
                  </a:lnTo>
                  <a:lnTo>
                    <a:pt x="1989" y="421"/>
                  </a:lnTo>
                  <a:lnTo>
                    <a:pt x="1995" y="421"/>
                  </a:lnTo>
                  <a:lnTo>
                    <a:pt x="1993" y="425"/>
                  </a:lnTo>
                  <a:lnTo>
                    <a:pt x="1997" y="425"/>
                  </a:lnTo>
                  <a:lnTo>
                    <a:pt x="1999" y="423"/>
                  </a:lnTo>
                  <a:lnTo>
                    <a:pt x="1999" y="425"/>
                  </a:lnTo>
                  <a:lnTo>
                    <a:pt x="1998" y="426"/>
                  </a:lnTo>
                  <a:lnTo>
                    <a:pt x="1999" y="428"/>
                  </a:lnTo>
                  <a:lnTo>
                    <a:pt x="2003" y="428"/>
                  </a:lnTo>
                  <a:lnTo>
                    <a:pt x="2003" y="429"/>
                  </a:lnTo>
                  <a:lnTo>
                    <a:pt x="2002" y="429"/>
                  </a:lnTo>
                  <a:lnTo>
                    <a:pt x="2002" y="430"/>
                  </a:lnTo>
                  <a:lnTo>
                    <a:pt x="2004" y="429"/>
                  </a:lnTo>
                  <a:lnTo>
                    <a:pt x="2003" y="432"/>
                  </a:lnTo>
                  <a:lnTo>
                    <a:pt x="2006" y="430"/>
                  </a:lnTo>
                  <a:lnTo>
                    <a:pt x="2006" y="429"/>
                  </a:lnTo>
                  <a:lnTo>
                    <a:pt x="2010" y="430"/>
                  </a:lnTo>
                  <a:lnTo>
                    <a:pt x="2012" y="429"/>
                  </a:lnTo>
                  <a:lnTo>
                    <a:pt x="2018" y="428"/>
                  </a:lnTo>
                  <a:lnTo>
                    <a:pt x="2018" y="429"/>
                  </a:lnTo>
                  <a:lnTo>
                    <a:pt x="2020" y="429"/>
                  </a:lnTo>
                  <a:lnTo>
                    <a:pt x="2022" y="427"/>
                  </a:lnTo>
                  <a:lnTo>
                    <a:pt x="2024" y="427"/>
                  </a:lnTo>
                  <a:lnTo>
                    <a:pt x="2027" y="426"/>
                  </a:lnTo>
                  <a:lnTo>
                    <a:pt x="2030" y="426"/>
                  </a:lnTo>
                  <a:lnTo>
                    <a:pt x="2032" y="425"/>
                  </a:lnTo>
                  <a:lnTo>
                    <a:pt x="2037" y="423"/>
                  </a:lnTo>
                  <a:lnTo>
                    <a:pt x="2038" y="425"/>
                  </a:lnTo>
                  <a:lnTo>
                    <a:pt x="2039" y="423"/>
                  </a:lnTo>
                  <a:lnTo>
                    <a:pt x="2043" y="424"/>
                  </a:lnTo>
                  <a:lnTo>
                    <a:pt x="2041" y="420"/>
                  </a:lnTo>
                  <a:lnTo>
                    <a:pt x="2044" y="421"/>
                  </a:lnTo>
                  <a:lnTo>
                    <a:pt x="2046" y="421"/>
                  </a:lnTo>
                  <a:lnTo>
                    <a:pt x="2047" y="420"/>
                  </a:lnTo>
                  <a:lnTo>
                    <a:pt x="2049" y="420"/>
                  </a:lnTo>
                  <a:lnTo>
                    <a:pt x="2054" y="420"/>
                  </a:lnTo>
                  <a:lnTo>
                    <a:pt x="2057" y="418"/>
                  </a:lnTo>
                  <a:lnTo>
                    <a:pt x="2060" y="419"/>
                  </a:lnTo>
                  <a:lnTo>
                    <a:pt x="2065" y="419"/>
                  </a:lnTo>
                  <a:lnTo>
                    <a:pt x="2065" y="418"/>
                  </a:lnTo>
                  <a:lnTo>
                    <a:pt x="2069" y="419"/>
                  </a:lnTo>
                  <a:lnTo>
                    <a:pt x="2072" y="418"/>
                  </a:lnTo>
                  <a:lnTo>
                    <a:pt x="2078" y="415"/>
                  </a:lnTo>
                  <a:lnTo>
                    <a:pt x="2078" y="416"/>
                  </a:lnTo>
                  <a:lnTo>
                    <a:pt x="2078" y="418"/>
                  </a:lnTo>
                  <a:lnTo>
                    <a:pt x="2078" y="420"/>
                  </a:lnTo>
                  <a:lnTo>
                    <a:pt x="2075" y="419"/>
                  </a:lnTo>
                  <a:lnTo>
                    <a:pt x="2077" y="423"/>
                  </a:lnTo>
                  <a:lnTo>
                    <a:pt x="2082" y="426"/>
                  </a:lnTo>
                  <a:lnTo>
                    <a:pt x="2088" y="426"/>
                  </a:lnTo>
                  <a:lnTo>
                    <a:pt x="2091" y="426"/>
                  </a:lnTo>
                  <a:lnTo>
                    <a:pt x="2093" y="427"/>
                  </a:lnTo>
                  <a:lnTo>
                    <a:pt x="2096" y="429"/>
                  </a:lnTo>
                  <a:lnTo>
                    <a:pt x="2098" y="429"/>
                  </a:lnTo>
                  <a:lnTo>
                    <a:pt x="2098" y="432"/>
                  </a:lnTo>
                  <a:lnTo>
                    <a:pt x="2098" y="433"/>
                  </a:lnTo>
                  <a:lnTo>
                    <a:pt x="2084" y="429"/>
                  </a:lnTo>
                  <a:lnTo>
                    <a:pt x="2082" y="433"/>
                  </a:lnTo>
                  <a:lnTo>
                    <a:pt x="2080" y="434"/>
                  </a:lnTo>
                  <a:lnTo>
                    <a:pt x="2077" y="434"/>
                  </a:lnTo>
                  <a:lnTo>
                    <a:pt x="2074" y="434"/>
                  </a:lnTo>
                  <a:lnTo>
                    <a:pt x="2073" y="436"/>
                  </a:lnTo>
                  <a:lnTo>
                    <a:pt x="2071" y="435"/>
                  </a:lnTo>
                  <a:lnTo>
                    <a:pt x="2069" y="435"/>
                  </a:lnTo>
                  <a:lnTo>
                    <a:pt x="2069" y="437"/>
                  </a:lnTo>
                  <a:lnTo>
                    <a:pt x="2069" y="441"/>
                  </a:lnTo>
                  <a:lnTo>
                    <a:pt x="2066" y="442"/>
                  </a:lnTo>
                  <a:lnTo>
                    <a:pt x="2053" y="441"/>
                  </a:lnTo>
                  <a:lnTo>
                    <a:pt x="2050" y="440"/>
                  </a:lnTo>
                  <a:lnTo>
                    <a:pt x="2047" y="440"/>
                  </a:lnTo>
                  <a:lnTo>
                    <a:pt x="2045" y="438"/>
                  </a:lnTo>
                  <a:lnTo>
                    <a:pt x="2039" y="437"/>
                  </a:lnTo>
                  <a:lnTo>
                    <a:pt x="2037" y="438"/>
                  </a:lnTo>
                  <a:lnTo>
                    <a:pt x="2033" y="437"/>
                  </a:lnTo>
                  <a:lnTo>
                    <a:pt x="2032" y="441"/>
                  </a:lnTo>
                  <a:lnTo>
                    <a:pt x="2030" y="440"/>
                  </a:lnTo>
                  <a:lnTo>
                    <a:pt x="2024" y="440"/>
                  </a:lnTo>
                  <a:lnTo>
                    <a:pt x="2022" y="441"/>
                  </a:lnTo>
                  <a:lnTo>
                    <a:pt x="2019" y="441"/>
                  </a:lnTo>
                  <a:lnTo>
                    <a:pt x="2016" y="443"/>
                  </a:lnTo>
                  <a:lnTo>
                    <a:pt x="2014" y="442"/>
                  </a:lnTo>
                  <a:lnTo>
                    <a:pt x="2014" y="444"/>
                  </a:lnTo>
                  <a:lnTo>
                    <a:pt x="2010" y="445"/>
                  </a:lnTo>
                  <a:lnTo>
                    <a:pt x="2006" y="447"/>
                  </a:lnTo>
                  <a:lnTo>
                    <a:pt x="2005" y="450"/>
                  </a:lnTo>
                  <a:lnTo>
                    <a:pt x="2009" y="451"/>
                  </a:lnTo>
                  <a:lnTo>
                    <a:pt x="2005" y="452"/>
                  </a:lnTo>
                  <a:lnTo>
                    <a:pt x="2007" y="454"/>
                  </a:lnTo>
                  <a:lnTo>
                    <a:pt x="2010" y="455"/>
                  </a:lnTo>
                  <a:lnTo>
                    <a:pt x="2007" y="455"/>
                  </a:lnTo>
                  <a:lnTo>
                    <a:pt x="2006" y="459"/>
                  </a:lnTo>
                  <a:lnTo>
                    <a:pt x="2009" y="461"/>
                  </a:lnTo>
                  <a:lnTo>
                    <a:pt x="2010" y="463"/>
                  </a:lnTo>
                  <a:lnTo>
                    <a:pt x="2013" y="463"/>
                  </a:lnTo>
                  <a:lnTo>
                    <a:pt x="2015" y="464"/>
                  </a:lnTo>
                  <a:lnTo>
                    <a:pt x="2018" y="462"/>
                  </a:lnTo>
                  <a:lnTo>
                    <a:pt x="2021" y="464"/>
                  </a:lnTo>
                  <a:lnTo>
                    <a:pt x="2018" y="474"/>
                  </a:lnTo>
                  <a:lnTo>
                    <a:pt x="2018" y="476"/>
                  </a:lnTo>
                  <a:lnTo>
                    <a:pt x="2019" y="484"/>
                  </a:lnTo>
                  <a:lnTo>
                    <a:pt x="2016" y="487"/>
                  </a:lnTo>
                  <a:lnTo>
                    <a:pt x="2014" y="488"/>
                  </a:lnTo>
                  <a:lnTo>
                    <a:pt x="2011" y="491"/>
                  </a:lnTo>
                  <a:lnTo>
                    <a:pt x="2009" y="491"/>
                  </a:lnTo>
                  <a:lnTo>
                    <a:pt x="2003" y="487"/>
                  </a:lnTo>
                  <a:lnTo>
                    <a:pt x="2002" y="485"/>
                  </a:lnTo>
                  <a:lnTo>
                    <a:pt x="1997" y="479"/>
                  </a:lnTo>
                  <a:lnTo>
                    <a:pt x="1995" y="478"/>
                  </a:lnTo>
                  <a:lnTo>
                    <a:pt x="1993" y="475"/>
                  </a:lnTo>
                  <a:lnTo>
                    <a:pt x="1986" y="478"/>
                  </a:lnTo>
                  <a:lnTo>
                    <a:pt x="1984" y="478"/>
                  </a:lnTo>
                  <a:lnTo>
                    <a:pt x="1980" y="480"/>
                  </a:lnTo>
                  <a:lnTo>
                    <a:pt x="1979" y="484"/>
                  </a:lnTo>
                  <a:lnTo>
                    <a:pt x="1978" y="486"/>
                  </a:lnTo>
                  <a:lnTo>
                    <a:pt x="1978" y="488"/>
                  </a:lnTo>
                  <a:lnTo>
                    <a:pt x="1976" y="492"/>
                  </a:lnTo>
                  <a:lnTo>
                    <a:pt x="1973" y="494"/>
                  </a:lnTo>
                  <a:lnTo>
                    <a:pt x="1972" y="500"/>
                  </a:lnTo>
                  <a:lnTo>
                    <a:pt x="1972" y="505"/>
                  </a:lnTo>
                  <a:lnTo>
                    <a:pt x="1973" y="508"/>
                  </a:lnTo>
                  <a:lnTo>
                    <a:pt x="1973" y="512"/>
                  </a:lnTo>
                  <a:lnTo>
                    <a:pt x="1973" y="514"/>
                  </a:lnTo>
                  <a:lnTo>
                    <a:pt x="1975" y="515"/>
                  </a:lnTo>
                  <a:lnTo>
                    <a:pt x="1975" y="517"/>
                  </a:lnTo>
                  <a:lnTo>
                    <a:pt x="1975" y="517"/>
                  </a:lnTo>
                  <a:lnTo>
                    <a:pt x="1976" y="519"/>
                  </a:lnTo>
                  <a:lnTo>
                    <a:pt x="1976" y="522"/>
                  </a:lnTo>
                  <a:lnTo>
                    <a:pt x="1976" y="523"/>
                  </a:lnTo>
                  <a:lnTo>
                    <a:pt x="1975" y="526"/>
                  </a:lnTo>
                  <a:lnTo>
                    <a:pt x="1976" y="528"/>
                  </a:lnTo>
                  <a:lnTo>
                    <a:pt x="1972" y="530"/>
                  </a:lnTo>
                  <a:lnTo>
                    <a:pt x="1967" y="530"/>
                  </a:lnTo>
                  <a:lnTo>
                    <a:pt x="1967" y="530"/>
                  </a:lnTo>
                  <a:lnTo>
                    <a:pt x="1962" y="529"/>
                  </a:lnTo>
                  <a:lnTo>
                    <a:pt x="1962" y="529"/>
                  </a:lnTo>
                  <a:lnTo>
                    <a:pt x="1961" y="529"/>
                  </a:lnTo>
                  <a:lnTo>
                    <a:pt x="1959" y="529"/>
                  </a:lnTo>
                  <a:lnTo>
                    <a:pt x="1958" y="530"/>
                  </a:lnTo>
                  <a:lnTo>
                    <a:pt x="1959" y="532"/>
                  </a:lnTo>
                  <a:lnTo>
                    <a:pt x="1956" y="536"/>
                  </a:lnTo>
                  <a:lnTo>
                    <a:pt x="1953" y="538"/>
                  </a:lnTo>
                  <a:lnTo>
                    <a:pt x="1951" y="540"/>
                  </a:lnTo>
                  <a:lnTo>
                    <a:pt x="1945" y="540"/>
                  </a:lnTo>
                  <a:lnTo>
                    <a:pt x="1942" y="540"/>
                  </a:lnTo>
                  <a:lnTo>
                    <a:pt x="1941" y="539"/>
                  </a:lnTo>
                  <a:lnTo>
                    <a:pt x="1937" y="532"/>
                  </a:lnTo>
                  <a:lnTo>
                    <a:pt x="1937" y="532"/>
                  </a:lnTo>
                  <a:lnTo>
                    <a:pt x="1935" y="531"/>
                  </a:lnTo>
                  <a:lnTo>
                    <a:pt x="1929" y="531"/>
                  </a:lnTo>
                  <a:lnTo>
                    <a:pt x="1921" y="534"/>
                  </a:lnTo>
                  <a:lnTo>
                    <a:pt x="1916" y="536"/>
                  </a:lnTo>
                  <a:lnTo>
                    <a:pt x="1911" y="537"/>
                  </a:lnTo>
                  <a:lnTo>
                    <a:pt x="1910" y="538"/>
                  </a:lnTo>
                  <a:lnTo>
                    <a:pt x="1907" y="543"/>
                  </a:lnTo>
                  <a:lnTo>
                    <a:pt x="1895" y="544"/>
                  </a:lnTo>
                  <a:lnTo>
                    <a:pt x="1881" y="548"/>
                  </a:lnTo>
                  <a:lnTo>
                    <a:pt x="1879" y="548"/>
                  </a:lnTo>
                  <a:lnTo>
                    <a:pt x="1876" y="546"/>
                  </a:lnTo>
                  <a:lnTo>
                    <a:pt x="1875" y="549"/>
                  </a:lnTo>
                  <a:lnTo>
                    <a:pt x="1874" y="551"/>
                  </a:lnTo>
                  <a:lnTo>
                    <a:pt x="1877" y="549"/>
                  </a:lnTo>
                  <a:lnTo>
                    <a:pt x="1879" y="549"/>
                  </a:lnTo>
                  <a:lnTo>
                    <a:pt x="1881" y="551"/>
                  </a:lnTo>
                  <a:lnTo>
                    <a:pt x="1882" y="549"/>
                  </a:lnTo>
                  <a:lnTo>
                    <a:pt x="1882" y="549"/>
                  </a:lnTo>
                  <a:lnTo>
                    <a:pt x="1885" y="551"/>
                  </a:lnTo>
                  <a:lnTo>
                    <a:pt x="1884" y="553"/>
                  </a:lnTo>
                  <a:lnTo>
                    <a:pt x="1884" y="555"/>
                  </a:lnTo>
                  <a:lnTo>
                    <a:pt x="1882" y="553"/>
                  </a:lnTo>
                  <a:lnTo>
                    <a:pt x="1881" y="553"/>
                  </a:lnTo>
                  <a:lnTo>
                    <a:pt x="1875" y="551"/>
                  </a:lnTo>
                  <a:lnTo>
                    <a:pt x="1874" y="551"/>
                  </a:lnTo>
                  <a:lnTo>
                    <a:pt x="1874" y="549"/>
                  </a:lnTo>
                  <a:lnTo>
                    <a:pt x="1873" y="544"/>
                  </a:lnTo>
                  <a:lnTo>
                    <a:pt x="1870" y="545"/>
                  </a:lnTo>
                  <a:lnTo>
                    <a:pt x="1869" y="546"/>
                  </a:lnTo>
                  <a:lnTo>
                    <a:pt x="1865" y="541"/>
                  </a:lnTo>
                  <a:lnTo>
                    <a:pt x="1865" y="541"/>
                  </a:lnTo>
                  <a:lnTo>
                    <a:pt x="1861" y="540"/>
                  </a:lnTo>
                  <a:lnTo>
                    <a:pt x="1859" y="540"/>
                  </a:lnTo>
                  <a:lnTo>
                    <a:pt x="1856" y="541"/>
                  </a:lnTo>
                  <a:lnTo>
                    <a:pt x="1856" y="540"/>
                  </a:lnTo>
                  <a:lnTo>
                    <a:pt x="1858" y="539"/>
                  </a:lnTo>
                  <a:lnTo>
                    <a:pt x="1861" y="539"/>
                  </a:lnTo>
                  <a:lnTo>
                    <a:pt x="1856" y="538"/>
                  </a:lnTo>
                  <a:lnTo>
                    <a:pt x="1854" y="541"/>
                  </a:lnTo>
                  <a:lnTo>
                    <a:pt x="1851" y="543"/>
                  </a:lnTo>
                  <a:lnTo>
                    <a:pt x="1850" y="545"/>
                  </a:lnTo>
                  <a:lnTo>
                    <a:pt x="1850" y="544"/>
                  </a:lnTo>
                  <a:lnTo>
                    <a:pt x="1848" y="544"/>
                  </a:lnTo>
                  <a:lnTo>
                    <a:pt x="1844" y="544"/>
                  </a:lnTo>
                  <a:lnTo>
                    <a:pt x="1842" y="547"/>
                  </a:lnTo>
                  <a:lnTo>
                    <a:pt x="1841" y="549"/>
                  </a:lnTo>
                  <a:lnTo>
                    <a:pt x="1839" y="548"/>
                  </a:lnTo>
                  <a:lnTo>
                    <a:pt x="1836" y="547"/>
                  </a:lnTo>
                  <a:lnTo>
                    <a:pt x="1834" y="548"/>
                  </a:lnTo>
                  <a:lnTo>
                    <a:pt x="1834" y="545"/>
                  </a:lnTo>
                  <a:lnTo>
                    <a:pt x="1836" y="543"/>
                  </a:lnTo>
                  <a:lnTo>
                    <a:pt x="1836" y="540"/>
                  </a:lnTo>
                  <a:lnTo>
                    <a:pt x="1834" y="540"/>
                  </a:lnTo>
                  <a:lnTo>
                    <a:pt x="1832" y="541"/>
                  </a:lnTo>
                  <a:lnTo>
                    <a:pt x="1826" y="539"/>
                  </a:lnTo>
                  <a:lnTo>
                    <a:pt x="1824" y="540"/>
                  </a:lnTo>
                  <a:lnTo>
                    <a:pt x="1822" y="538"/>
                  </a:lnTo>
                  <a:lnTo>
                    <a:pt x="1822" y="535"/>
                  </a:lnTo>
                  <a:lnTo>
                    <a:pt x="1821" y="535"/>
                  </a:lnTo>
                  <a:lnTo>
                    <a:pt x="1822" y="534"/>
                  </a:lnTo>
                  <a:lnTo>
                    <a:pt x="1817" y="531"/>
                  </a:lnTo>
                  <a:lnTo>
                    <a:pt x="1814" y="531"/>
                  </a:lnTo>
                  <a:lnTo>
                    <a:pt x="1816" y="530"/>
                  </a:lnTo>
                  <a:lnTo>
                    <a:pt x="1818" y="530"/>
                  </a:lnTo>
                  <a:lnTo>
                    <a:pt x="1815" y="526"/>
                  </a:lnTo>
                  <a:lnTo>
                    <a:pt x="1817" y="523"/>
                  </a:lnTo>
                  <a:lnTo>
                    <a:pt x="1815" y="519"/>
                  </a:lnTo>
                  <a:lnTo>
                    <a:pt x="1817" y="518"/>
                  </a:lnTo>
                  <a:lnTo>
                    <a:pt x="1819" y="517"/>
                  </a:lnTo>
                  <a:lnTo>
                    <a:pt x="1816" y="514"/>
                  </a:lnTo>
                  <a:lnTo>
                    <a:pt x="1819" y="515"/>
                  </a:lnTo>
                  <a:lnTo>
                    <a:pt x="1822" y="515"/>
                  </a:lnTo>
                  <a:lnTo>
                    <a:pt x="1822" y="512"/>
                  </a:lnTo>
                  <a:lnTo>
                    <a:pt x="1825" y="511"/>
                  </a:lnTo>
                  <a:lnTo>
                    <a:pt x="1825" y="505"/>
                  </a:lnTo>
                  <a:lnTo>
                    <a:pt x="1828" y="505"/>
                  </a:lnTo>
                  <a:lnTo>
                    <a:pt x="1828" y="508"/>
                  </a:lnTo>
                  <a:lnTo>
                    <a:pt x="1831" y="505"/>
                  </a:lnTo>
                  <a:lnTo>
                    <a:pt x="1833" y="504"/>
                  </a:lnTo>
                  <a:lnTo>
                    <a:pt x="1834" y="502"/>
                  </a:lnTo>
                  <a:lnTo>
                    <a:pt x="1832" y="498"/>
                  </a:lnTo>
                  <a:lnTo>
                    <a:pt x="1830" y="500"/>
                  </a:lnTo>
                  <a:lnTo>
                    <a:pt x="1827" y="498"/>
                  </a:lnTo>
                  <a:lnTo>
                    <a:pt x="1824" y="501"/>
                  </a:lnTo>
                  <a:lnTo>
                    <a:pt x="1826" y="497"/>
                  </a:lnTo>
                  <a:lnTo>
                    <a:pt x="1823" y="495"/>
                  </a:lnTo>
                  <a:lnTo>
                    <a:pt x="1822" y="496"/>
                  </a:lnTo>
                  <a:lnTo>
                    <a:pt x="1819" y="496"/>
                  </a:lnTo>
                  <a:lnTo>
                    <a:pt x="1823" y="495"/>
                  </a:lnTo>
                  <a:lnTo>
                    <a:pt x="1826" y="495"/>
                  </a:lnTo>
                  <a:lnTo>
                    <a:pt x="1825" y="493"/>
                  </a:lnTo>
                  <a:lnTo>
                    <a:pt x="1824" y="491"/>
                  </a:lnTo>
                  <a:lnTo>
                    <a:pt x="1822" y="488"/>
                  </a:lnTo>
                  <a:lnTo>
                    <a:pt x="1821" y="488"/>
                  </a:lnTo>
                  <a:lnTo>
                    <a:pt x="1811" y="489"/>
                  </a:lnTo>
                  <a:lnTo>
                    <a:pt x="1810" y="493"/>
                  </a:lnTo>
                  <a:lnTo>
                    <a:pt x="1813" y="496"/>
                  </a:lnTo>
                  <a:lnTo>
                    <a:pt x="1811" y="498"/>
                  </a:lnTo>
                  <a:lnTo>
                    <a:pt x="1809" y="496"/>
                  </a:lnTo>
                  <a:lnTo>
                    <a:pt x="1808" y="494"/>
                  </a:lnTo>
                  <a:lnTo>
                    <a:pt x="1806" y="496"/>
                  </a:lnTo>
                  <a:lnTo>
                    <a:pt x="1805" y="498"/>
                  </a:lnTo>
                  <a:lnTo>
                    <a:pt x="1798" y="498"/>
                  </a:lnTo>
                  <a:lnTo>
                    <a:pt x="1797" y="496"/>
                  </a:lnTo>
                  <a:lnTo>
                    <a:pt x="1796" y="498"/>
                  </a:lnTo>
                  <a:lnTo>
                    <a:pt x="1796" y="510"/>
                  </a:lnTo>
                  <a:lnTo>
                    <a:pt x="1798" y="509"/>
                  </a:lnTo>
                  <a:lnTo>
                    <a:pt x="1800" y="511"/>
                  </a:lnTo>
                  <a:lnTo>
                    <a:pt x="1799" y="512"/>
                  </a:lnTo>
                  <a:lnTo>
                    <a:pt x="1797" y="510"/>
                  </a:lnTo>
                  <a:lnTo>
                    <a:pt x="1797" y="515"/>
                  </a:lnTo>
                  <a:lnTo>
                    <a:pt x="1796" y="518"/>
                  </a:lnTo>
                  <a:lnTo>
                    <a:pt x="1799" y="518"/>
                  </a:lnTo>
                  <a:lnTo>
                    <a:pt x="1800" y="520"/>
                  </a:lnTo>
                  <a:lnTo>
                    <a:pt x="1804" y="522"/>
                  </a:lnTo>
                  <a:lnTo>
                    <a:pt x="1804" y="524"/>
                  </a:lnTo>
                  <a:lnTo>
                    <a:pt x="1802" y="526"/>
                  </a:lnTo>
                  <a:lnTo>
                    <a:pt x="1804" y="530"/>
                  </a:lnTo>
                  <a:lnTo>
                    <a:pt x="1802" y="530"/>
                  </a:lnTo>
                  <a:lnTo>
                    <a:pt x="1800" y="528"/>
                  </a:lnTo>
                  <a:lnTo>
                    <a:pt x="1799" y="528"/>
                  </a:lnTo>
                  <a:lnTo>
                    <a:pt x="1800" y="531"/>
                  </a:lnTo>
                  <a:lnTo>
                    <a:pt x="1804" y="531"/>
                  </a:lnTo>
                  <a:lnTo>
                    <a:pt x="1804" y="531"/>
                  </a:lnTo>
                  <a:lnTo>
                    <a:pt x="1808" y="537"/>
                  </a:lnTo>
                  <a:lnTo>
                    <a:pt x="1807" y="538"/>
                  </a:lnTo>
                  <a:lnTo>
                    <a:pt x="1805" y="539"/>
                  </a:lnTo>
                  <a:lnTo>
                    <a:pt x="1804" y="543"/>
                  </a:lnTo>
                  <a:lnTo>
                    <a:pt x="1806" y="541"/>
                  </a:lnTo>
                  <a:lnTo>
                    <a:pt x="1807" y="545"/>
                  </a:lnTo>
                  <a:lnTo>
                    <a:pt x="1806" y="547"/>
                  </a:lnTo>
                  <a:lnTo>
                    <a:pt x="1809" y="549"/>
                  </a:lnTo>
                  <a:lnTo>
                    <a:pt x="1813" y="549"/>
                  </a:lnTo>
                  <a:lnTo>
                    <a:pt x="1817" y="555"/>
                  </a:lnTo>
                  <a:lnTo>
                    <a:pt x="1819" y="556"/>
                  </a:lnTo>
                  <a:lnTo>
                    <a:pt x="1819" y="556"/>
                  </a:lnTo>
                  <a:lnTo>
                    <a:pt x="1816" y="555"/>
                  </a:lnTo>
                  <a:lnTo>
                    <a:pt x="1814" y="553"/>
                  </a:lnTo>
                  <a:lnTo>
                    <a:pt x="1810" y="549"/>
                  </a:lnTo>
                  <a:lnTo>
                    <a:pt x="1808" y="551"/>
                  </a:lnTo>
                  <a:lnTo>
                    <a:pt x="1806" y="551"/>
                  </a:lnTo>
                  <a:lnTo>
                    <a:pt x="1805" y="549"/>
                  </a:lnTo>
                  <a:lnTo>
                    <a:pt x="1801" y="551"/>
                  </a:lnTo>
                  <a:lnTo>
                    <a:pt x="1801" y="553"/>
                  </a:lnTo>
                  <a:lnTo>
                    <a:pt x="1801" y="556"/>
                  </a:lnTo>
                  <a:lnTo>
                    <a:pt x="1801" y="560"/>
                  </a:lnTo>
                  <a:lnTo>
                    <a:pt x="1800" y="555"/>
                  </a:lnTo>
                  <a:lnTo>
                    <a:pt x="1798" y="555"/>
                  </a:lnTo>
                  <a:lnTo>
                    <a:pt x="1798" y="557"/>
                  </a:lnTo>
                  <a:lnTo>
                    <a:pt x="1796" y="557"/>
                  </a:lnTo>
                  <a:lnTo>
                    <a:pt x="1796" y="555"/>
                  </a:lnTo>
                  <a:lnTo>
                    <a:pt x="1793" y="553"/>
                  </a:lnTo>
                  <a:lnTo>
                    <a:pt x="1789" y="553"/>
                  </a:lnTo>
                  <a:lnTo>
                    <a:pt x="1788" y="553"/>
                  </a:lnTo>
                  <a:lnTo>
                    <a:pt x="1785" y="553"/>
                  </a:lnTo>
                  <a:lnTo>
                    <a:pt x="1783" y="554"/>
                  </a:lnTo>
                  <a:lnTo>
                    <a:pt x="1781" y="556"/>
                  </a:lnTo>
                  <a:lnTo>
                    <a:pt x="1781" y="560"/>
                  </a:lnTo>
                  <a:lnTo>
                    <a:pt x="1784" y="560"/>
                  </a:lnTo>
                  <a:lnTo>
                    <a:pt x="1785" y="561"/>
                  </a:lnTo>
                  <a:lnTo>
                    <a:pt x="1783" y="562"/>
                  </a:lnTo>
                  <a:lnTo>
                    <a:pt x="1780" y="560"/>
                  </a:lnTo>
                  <a:lnTo>
                    <a:pt x="1777" y="557"/>
                  </a:lnTo>
                  <a:lnTo>
                    <a:pt x="1772" y="558"/>
                  </a:lnTo>
                  <a:lnTo>
                    <a:pt x="1766" y="558"/>
                  </a:lnTo>
                  <a:lnTo>
                    <a:pt x="1762" y="561"/>
                  </a:lnTo>
                  <a:lnTo>
                    <a:pt x="1758" y="563"/>
                  </a:lnTo>
                  <a:lnTo>
                    <a:pt x="1758" y="564"/>
                  </a:lnTo>
                  <a:lnTo>
                    <a:pt x="1756" y="566"/>
                  </a:lnTo>
                  <a:lnTo>
                    <a:pt x="1753" y="568"/>
                  </a:lnTo>
                  <a:lnTo>
                    <a:pt x="1749" y="568"/>
                  </a:lnTo>
                  <a:lnTo>
                    <a:pt x="1748" y="570"/>
                  </a:lnTo>
                  <a:lnTo>
                    <a:pt x="1748" y="575"/>
                  </a:lnTo>
                  <a:lnTo>
                    <a:pt x="1746" y="579"/>
                  </a:lnTo>
                  <a:lnTo>
                    <a:pt x="1741" y="585"/>
                  </a:lnTo>
                  <a:lnTo>
                    <a:pt x="1740" y="585"/>
                  </a:lnTo>
                  <a:lnTo>
                    <a:pt x="1740" y="588"/>
                  </a:lnTo>
                  <a:lnTo>
                    <a:pt x="1745" y="589"/>
                  </a:lnTo>
                  <a:lnTo>
                    <a:pt x="1748" y="589"/>
                  </a:lnTo>
                  <a:lnTo>
                    <a:pt x="1750" y="588"/>
                  </a:lnTo>
                  <a:lnTo>
                    <a:pt x="1750" y="590"/>
                  </a:lnTo>
                  <a:lnTo>
                    <a:pt x="1748" y="589"/>
                  </a:lnTo>
                  <a:lnTo>
                    <a:pt x="1748" y="589"/>
                  </a:lnTo>
                  <a:lnTo>
                    <a:pt x="1745" y="590"/>
                  </a:lnTo>
                  <a:lnTo>
                    <a:pt x="1742" y="591"/>
                  </a:lnTo>
                  <a:lnTo>
                    <a:pt x="1741" y="591"/>
                  </a:lnTo>
                  <a:lnTo>
                    <a:pt x="1742" y="592"/>
                  </a:lnTo>
                  <a:lnTo>
                    <a:pt x="1740" y="592"/>
                  </a:lnTo>
                  <a:lnTo>
                    <a:pt x="1742" y="594"/>
                  </a:lnTo>
                  <a:lnTo>
                    <a:pt x="1743" y="595"/>
                  </a:lnTo>
                  <a:lnTo>
                    <a:pt x="1740" y="594"/>
                  </a:lnTo>
                  <a:lnTo>
                    <a:pt x="1738" y="591"/>
                  </a:lnTo>
                  <a:lnTo>
                    <a:pt x="1733" y="592"/>
                  </a:lnTo>
                  <a:lnTo>
                    <a:pt x="1734" y="595"/>
                  </a:lnTo>
                  <a:lnTo>
                    <a:pt x="1737" y="596"/>
                  </a:lnTo>
                  <a:lnTo>
                    <a:pt x="1740" y="595"/>
                  </a:lnTo>
                  <a:lnTo>
                    <a:pt x="1742" y="596"/>
                  </a:lnTo>
                  <a:lnTo>
                    <a:pt x="1743" y="598"/>
                  </a:lnTo>
                  <a:lnTo>
                    <a:pt x="1742" y="596"/>
                  </a:lnTo>
                  <a:lnTo>
                    <a:pt x="1739" y="596"/>
                  </a:lnTo>
                  <a:lnTo>
                    <a:pt x="1736" y="597"/>
                  </a:lnTo>
                  <a:lnTo>
                    <a:pt x="1733" y="596"/>
                  </a:lnTo>
                  <a:lnTo>
                    <a:pt x="1728" y="597"/>
                  </a:lnTo>
                  <a:lnTo>
                    <a:pt x="1719" y="601"/>
                  </a:lnTo>
                  <a:lnTo>
                    <a:pt x="1710" y="604"/>
                  </a:lnTo>
                  <a:lnTo>
                    <a:pt x="1706" y="606"/>
                  </a:lnTo>
                  <a:lnTo>
                    <a:pt x="1706" y="608"/>
                  </a:lnTo>
                  <a:lnTo>
                    <a:pt x="1706" y="614"/>
                  </a:lnTo>
                  <a:lnTo>
                    <a:pt x="1706" y="614"/>
                  </a:lnTo>
                  <a:lnTo>
                    <a:pt x="1707" y="617"/>
                  </a:lnTo>
                  <a:lnTo>
                    <a:pt x="1706" y="616"/>
                  </a:lnTo>
                  <a:lnTo>
                    <a:pt x="1704" y="620"/>
                  </a:lnTo>
                  <a:lnTo>
                    <a:pt x="1700" y="622"/>
                  </a:lnTo>
                  <a:lnTo>
                    <a:pt x="1695" y="623"/>
                  </a:lnTo>
                  <a:lnTo>
                    <a:pt x="1689" y="625"/>
                  </a:lnTo>
                  <a:lnTo>
                    <a:pt x="1687" y="628"/>
                  </a:lnTo>
                  <a:lnTo>
                    <a:pt x="1688" y="630"/>
                  </a:lnTo>
                  <a:lnTo>
                    <a:pt x="1691" y="630"/>
                  </a:lnTo>
                  <a:lnTo>
                    <a:pt x="1691" y="630"/>
                  </a:lnTo>
                  <a:lnTo>
                    <a:pt x="1688" y="631"/>
                  </a:lnTo>
                  <a:lnTo>
                    <a:pt x="1682" y="633"/>
                  </a:lnTo>
                  <a:lnTo>
                    <a:pt x="1678" y="632"/>
                  </a:lnTo>
                  <a:lnTo>
                    <a:pt x="1674" y="632"/>
                  </a:lnTo>
                  <a:lnTo>
                    <a:pt x="1672" y="631"/>
                  </a:lnTo>
                  <a:lnTo>
                    <a:pt x="1669" y="632"/>
                  </a:lnTo>
                  <a:lnTo>
                    <a:pt x="1666" y="629"/>
                  </a:lnTo>
                  <a:lnTo>
                    <a:pt x="1666" y="626"/>
                  </a:lnTo>
                  <a:lnTo>
                    <a:pt x="1662" y="626"/>
                  </a:lnTo>
                  <a:lnTo>
                    <a:pt x="1657" y="626"/>
                  </a:lnTo>
                  <a:lnTo>
                    <a:pt x="1660" y="631"/>
                  </a:lnTo>
                  <a:lnTo>
                    <a:pt x="1662" y="634"/>
                  </a:lnTo>
                  <a:lnTo>
                    <a:pt x="1663" y="640"/>
                  </a:lnTo>
                  <a:lnTo>
                    <a:pt x="1663" y="642"/>
                  </a:lnTo>
                  <a:lnTo>
                    <a:pt x="1665" y="645"/>
                  </a:lnTo>
                  <a:lnTo>
                    <a:pt x="1657" y="646"/>
                  </a:lnTo>
                  <a:lnTo>
                    <a:pt x="1657" y="647"/>
                  </a:lnTo>
                  <a:lnTo>
                    <a:pt x="1657" y="647"/>
                  </a:lnTo>
                  <a:lnTo>
                    <a:pt x="1657" y="646"/>
                  </a:lnTo>
                  <a:lnTo>
                    <a:pt x="1653" y="643"/>
                  </a:lnTo>
                  <a:lnTo>
                    <a:pt x="1649" y="646"/>
                  </a:lnTo>
                  <a:lnTo>
                    <a:pt x="1647" y="646"/>
                  </a:lnTo>
                  <a:lnTo>
                    <a:pt x="1643" y="640"/>
                  </a:lnTo>
                  <a:lnTo>
                    <a:pt x="1639" y="641"/>
                  </a:lnTo>
                  <a:lnTo>
                    <a:pt x="1637" y="641"/>
                  </a:lnTo>
                  <a:lnTo>
                    <a:pt x="1635" y="645"/>
                  </a:lnTo>
                  <a:lnTo>
                    <a:pt x="1630" y="643"/>
                  </a:lnTo>
                  <a:lnTo>
                    <a:pt x="1625" y="645"/>
                  </a:lnTo>
                  <a:lnTo>
                    <a:pt x="1622" y="646"/>
                  </a:lnTo>
                  <a:lnTo>
                    <a:pt x="1619" y="648"/>
                  </a:lnTo>
                  <a:lnTo>
                    <a:pt x="1620" y="650"/>
                  </a:lnTo>
                  <a:lnTo>
                    <a:pt x="1625" y="649"/>
                  </a:lnTo>
                  <a:lnTo>
                    <a:pt x="1626" y="651"/>
                  </a:lnTo>
                  <a:lnTo>
                    <a:pt x="1622" y="650"/>
                  </a:lnTo>
                  <a:lnTo>
                    <a:pt x="1622" y="652"/>
                  </a:lnTo>
                  <a:lnTo>
                    <a:pt x="1626" y="654"/>
                  </a:lnTo>
                  <a:lnTo>
                    <a:pt x="1620" y="655"/>
                  </a:lnTo>
                  <a:lnTo>
                    <a:pt x="1621" y="656"/>
                  </a:lnTo>
                  <a:lnTo>
                    <a:pt x="1625" y="657"/>
                  </a:lnTo>
                  <a:lnTo>
                    <a:pt x="1627" y="659"/>
                  </a:lnTo>
                  <a:lnTo>
                    <a:pt x="1629" y="658"/>
                  </a:lnTo>
                  <a:lnTo>
                    <a:pt x="1638" y="660"/>
                  </a:lnTo>
                  <a:lnTo>
                    <a:pt x="1640" y="663"/>
                  </a:lnTo>
                  <a:lnTo>
                    <a:pt x="1643" y="665"/>
                  </a:lnTo>
                  <a:lnTo>
                    <a:pt x="1644" y="663"/>
                  </a:lnTo>
                  <a:lnTo>
                    <a:pt x="1647" y="665"/>
                  </a:lnTo>
                  <a:lnTo>
                    <a:pt x="1653" y="665"/>
                  </a:lnTo>
                  <a:lnTo>
                    <a:pt x="1651" y="666"/>
                  </a:lnTo>
                  <a:lnTo>
                    <a:pt x="1652" y="668"/>
                  </a:lnTo>
                  <a:lnTo>
                    <a:pt x="1655" y="668"/>
                  </a:lnTo>
                  <a:lnTo>
                    <a:pt x="1659" y="668"/>
                  </a:lnTo>
                  <a:lnTo>
                    <a:pt x="1661" y="669"/>
                  </a:lnTo>
                  <a:lnTo>
                    <a:pt x="1657" y="668"/>
                  </a:lnTo>
                  <a:lnTo>
                    <a:pt x="1655" y="668"/>
                  </a:lnTo>
                  <a:lnTo>
                    <a:pt x="1655" y="671"/>
                  </a:lnTo>
                  <a:lnTo>
                    <a:pt x="1657" y="673"/>
                  </a:lnTo>
                  <a:lnTo>
                    <a:pt x="1655" y="676"/>
                  </a:lnTo>
                  <a:lnTo>
                    <a:pt x="1659" y="678"/>
                  </a:lnTo>
                  <a:lnTo>
                    <a:pt x="1661" y="682"/>
                  </a:lnTo>
                  <a:lnTo>
                    <a:pt x="1662" y="683"/>
                  </a:lnTo>
                  <a:lnTo>
                    <a:pt x="1664" y="683"/>
                  </a:lnTo>
                  <a:lnTo>
                    <a:pt x="1666" y="685"/>
                  </a:lnTo>
                  <a:lnTo>
                    <a:pt x="1670" y="685"/>
                  </a:lnTo>
                  <a:lnTo>
                    <a:pt x="1669" y="686"/>
                  </a:lnTo>
                  <a:lnTo>
                    <a:pt x="1670" y="692"/>
                  </a:lnTo>
                  <a:lnTo>
                    <a:pt x="1670" y="694"/>
                  </a:lnTo>
                  <a:lnTo>
                    <a:pt x="1668" y="695"/>
                  </a:lnTo>
                  <a:lnTo>
                    <a:pt x="1669" y="695"/>
                  </a:lnTo>
                  <a:lnTo>
                    <a:pt x="1671" y="697"/>
                  </a:lnTo>
                  <a:lnTo>
                    <a:pt x="1673" y="699"/>
                  </a:lnTo>
                  <a:lnTo>
                    <a:pt x="1676" y="702"/>
                  </a:lnTo>
                  <a:lnTo>
                    <a:pt x="1676" y="705"/>
                  </a:lnTo>
                  <a:lnTo>
                    <a:pt x="1677" y="708"/>
                  </a:lnTo>
                  <a:lnTo>
                    <a:pt x="1678" y="709"/>
                  </a:lnTo>
                  <a:lnTo>
                    <a:pt x="1677" y="708"/>
                  </a:lnTo>
                  <a:lnTo>
                    <a:pt x="1674" y="706"/>
                  </a:lnTo>
                  <a:lnTo>
                    <a:pt x="1674" y="702"/>
                  </a:lnTo>
                  <a:lnTo>
                    <a:pt x="1672" y="700"/>
                  </a:lnTo>
                  <a:lnTo>
                    <a:pt x="1669" y="699"/>
                  </a:lnTo>
                  <a:lnTo>
                    <a:pt x="1668" y="711"/>
                  </a:lnTo>
                  <a:lnTo>
                    <a:pt x="1668" y="714"/>
                  </a:lnTo>
                  <a:lnTo>
                    <a:pt x="1668" y="718"/>
                  </a:lnTo>
                  <a:lnTo>
                    <a:pt x="1665" y="727"/>
                  </a:lnTo>
                  <a:lnTo>
                    <a:pt x="1663" y="734"/>
                  </a:lnTo>
                  <a:lnTo>
                    <a:pt x="1661" y="735"/>
                  </a:lnTo>
                  <a:lnTo>
                    <a:pt x="1657" y="736"/>
                  </a:lnTo>
                  <a:lnTo>
                    <a:pt x="1654" y="736"/>
                  </a:lnTo>
                  <a:lnTo>
                    <a:pt x="1652" y="736"/>
                  </a:lnTo>
                  <a:lnTo>
                    <a:pt x="1647" y="733"/>
                  </a:lnTo>
                  <a:lnTo>
                    <a:pt x="1645" y="734"/>
                  </a:lnTo>
                  <a:lnTo>
                    <a:pt x="1644" y="735"/>
                  </a:lnTo>
                  <a:lnTo>
                    <a:pt x="1642" y="735"/>
                  </a:lnTo>
                  <a:lnTo>
                    <a:pt x="1637" y="733"/>
                  </a:lnTo>
                  <a:lnTo>
                    <a:pt x="1635" y="733"/>
                  </a:lnTo>
                  <a:lnTo>
                    <a:pt x="1632" y="733"/>
                  </a:lnTo>
                  <a:lnTo>
                    <a:pt x="1629" y="734"/>
                  </a:lnTo>
                  <a:lnTo>
                    <a:pt x="1629" y="734"/>
                  </a:lnTo>
                  <a:lnTo>
                    <a:pt x="1627" y="734"/>
                  </a:lnTo>
                  <a:lnTo>
                    <a:pt x="1621" y="734"/>
                  </a:lnTo>
                  <a:lnTo>
                    <a:pt x="1615" y="733"/>
                  </a:lnTo>
                  <a:lnTo>
                    <a:pt x="1612" y="732"/>
                  </a:lnTo>
                  <a:lnTo>
                    <a:pt x="1606" y="732"/>
                  </a:lnTo>
                  <a:lnTo>
                    <a:pt x="1604" y="731"/>
                  </a:lnTo>
                  <a:lnTo>
                    <a:pt x="1602" y="732"/>
                  </a:lnTo>
                  <a:lnTo>
                    <a:pt x="1593" y="732"/>
                  </a:lnTo>
                  <a:lnTo>
                    <a:pt x="1591" y="732"/>
                  </a:lnTo>
                  <a:lnTo>
                    <a:pt x="1588" y="733"/>
                  </a:lnTo>
                  <a:lnTo>
                    <a:pt x="1587" y="732"/>
                  </a:lnTo>
                  <a:lnTo>
                    <a:pt x="1585" y="731"/>
                  </a:lnTo>
                  <a:lnTo>
                    <a:pt x="1582" y="729"/>
                  </a:lnTo>
                  <a:lnTo>
                    <a:pt x="1576" y="728"/>
                  </a:lnTo>
                  <a:lnTo>
                    <a:pt x="1574" y="731"/>
                  </a:lnTo>
                  <a:lnTo>
                    <a:pt x="1572" y="733"/>
                  </a:lnTo>
                  <a:lnTo>
                    <a:pt x="1572" y="733"/>
                  </a:lnTo>
                  <a:lnTo>
                    <a:pt x="1572" y="734"/>
                  </a:lnTo>
                  <a:lnTo>
                    <a:pt x="1569" y="735"/>
                  </a:lnTo>
                  <a:lnTo>
                    <a:pt x="1567" y="736"/>
                  </a:lnTo>
                  <a:lnTo>
                    <a:pt x="1563" y="736"/>
                  </a:lnTo>
                  <a:lnTo>
                    <a:pt x="1558" y="740"/>
                  </a:lnTo>
                  <a:lnTo>
                    <a:pt x="1560" y="743"/>
                  </a:lnTo>
                  <a:lnTo>
                    <a:pt x="1560" y="743"/>
                  </a:lnTo>
                  <a:lnTo>
                    <a:pt x="1561" y="744"/>
                  </a:lnTo>
                  <a:lnTo>
                    <a:pt x="1563" y="744"/>
                  </a:lnTo>
                  <a:lnTo>
                    <a:pt x="1562" y="744"/>
                  </a:lnTo>
                  <a:lnTo>
                    <a:pt x="1562" y="748"/>
                  </a:lnTo>
                  <a:lnTo>
                    <a:pt x="1566" y="746"/>
                  </a:lnTo>
                  <a:lnTo>
                    <a:pt x="1563" y="749"/>
                  </a:lnTo>
                  <a:lnTo>
                    <a:pt x="1563" y="751"/>
                  </a:lnTo>
                  <a:lnTo>
                    <a:pt x="1567" y="751"/>
                  </a:lnTo>
                  <a:lnTo>
                    <a:pt x="1563" y="753"/>
                  </a:lnTo>
                  <a:lnTo>
                    <a:pt x="1566" y="753"/>
                  </a:lnTo>
                  <a:lnTo>
                    <a:pt x="1567" y="752"/>
                  </a:lnTo>
                  <a:lnTo>
                    <a:pt x="1567" y="753"/>
                  </a:lnTo>
                  <a:lnTo>
                    <a:pt x="1563" y="756"/>
                  </a:lnTo>
                  <a:lnTo>
                    <a:pt x="1565" y="758"/>
                  </a:lnTo>
                  <a:lnTo>
                    <a:pt x="1563" y="760"/>
                  </a:lnTo>
                  <a:lnTo>
                    <a:pt x="1563" y="762"/>
                  </a:lnTo>
                  <a:lnTo>
                    <a:pt x="1566" y="770"/>
                  </a:lnTo>
                  <a:lnTo>
                    <a:pt x="1567" y="771"/>
                  </a:lnTo>
                  <a:lnTo>
                    <a:pt x="1566" y="779"/>
                  </a:lnTo>
                  <a:lnTo>
                    <a:pt x="1567" y="776"/>
                  </a:lnTo>
                  <a:lnTo>
                    <a:pt x="1567" y="779"/>
                  </a:lnTo>
                  <a:lnTo>
                    <a:pt x="1565" y="782"/>
                  </a:lnTo>
                  <a:lnTo>
                    <a:pt x="1563" y="788"/>
                  </a:lnTo>
                  <a:lnTo>
                    <a:pt x="1560" y="796"/>
                  </a:lnTo>
                  <a:lnTo>
                    <a:pt x="1557" y="801"/>
                  </a:lnTo>
                  <a:lnTo>
                    <a:pt x="1557" y="803"/>
                  </a:lnTo>
                  <a:lnTo>
                    <a:pt x="1555" y="805"/>
                  </a:lnTo>
                  <a:lnTo>
                    <a:pt x="1555" y="809"/>
                  </a:lnTo>
                  <a:lnTo>
                    <a:pt x="1557" y="811"/>
                  </a:lnTo>
                  <a:lnTo>
                    <a:pt x="1559" y="811"/>
                  </a:lnTo>
                  <a:lnTo>
                    <a:pt x="1560" y="810"/>
                  </a:lnTo>
                  <a:lnTo>
                    <a:pt x="1562" y="806"/>
                  </a:lnTo>
                  <a:lnTo>
                    <a:pt x="1562" y="810"/>
                  </a:lnTo>
                  <a:lnTo>
                    <a:pt x="1560" y="812"/>
                  </a:lnTo>
                  <a:lnTo>
                    <a:pt x="1559" y="811"/>
                  </a:lnTo>
                  <a:lnTo>
                    <a:pt x="1559" y="814"/>
                  </a:lnTo>
                  <a:lnTo>
                    <a:pt x="1565" y="814"/>
                  </a:lnTo>
                  <a:lnTo>
                    <a:pt x="1566" y="813"/>
                  </a:lnTo>
                  <a:lnTo>
                    <a:pt x="1565" y="816"/>
                  </a:lnTo>
                  <a:lnTo>
                    <a:pt x="1565" y="819"/>
                  </a:lnTo>
                  <a:lnTo>
                    <a:pt x="1563" y="822"/>
                  </a:lnTo>
                  <a:lnTo>
                    <a:pt x="1565" y="827"/>
                  </a:lnTo>
                  <a:lnTo>
                    <a:pt x="1565" y="828"/>
                  </a:lnTo>
                  <a:lnTo>
                    <a:pt x="1565" y="831"/>
                  </a:lnTo>
                  <a:lnTo>
                    <a:pt x="1562" y="835"/>
                  </a:lnTo>
                  <a:lnTo>
                    <a:pt x="1562" y="838"/>
                  </a:lnTo>
                  <a:lnTo>
                    <a:pt x="1568" y="836"/>
                  </a:lnTo>
                  <a:lnTo>
                    <a:pt x="1570" y="836"/>
                  </a:lnTo>
                  <a:lnTo>
                    <a:pt x="1572" y="836"/>
                  </a:lnTo>
                  <a:lnTo>
                    <a:pt x="1575" y="837"/>
                  </a:lnTo>
                  <a:lnTo>
                    <a:pt x="1578" y="837"/>
                  </a:lnTo>
                  <a:lnTo>
                    <a:pt x="1583" y="835"/>
                  </a:lnTo>
                  <a:lnTo>
                    <a:pt x="1583" y="834"/>
                  </a:lnTo>
                  <a:lnTo>
                    <a:pt x="1584" y="835"/>
                  </a:lnTo>
                  <a:lnTo>
                    <a:pt x="1584" y="835"/>
                  </a:lnTo>
                  <a:lnTo>
                    <a:pt x="1589" y="834"/>
                  </a:lnTo>
                  <a:lnTo>
                    <a:pt x="1591" y="834"/>
                  </a:lnTo>
                  <a:lnTo>
                    <a:pt x="1589" y="835"/>
                  </a:lnTo>
                  <a:lnTo>
                    <a:pt x="1595" y="838"/>
                  </a:lnTo>
                  <a:lnTo>
                    <a:pt x="1600" y="839"/>
                  </a:lnTo>
                  <a:lnTo>
                    <a:pt x="1596" y="843"/>
                  </a:lnTo>
                  <a:lnTo>
                    <a:pt x="1600" y="845"/>
                  </a:lnTo>
                  <a:lnTo>
                    <a:pt x="1600" y="845"/>
                  </a:lnTo>
                  <a:lnTo>
                    <a:pt x="1600" y="847"/>
                  </a:lnTo>
                  <a:lnTo>
                    <a:pt x="1602" y="851"/>
                  </a:lnTo>
                  <a:lnTo>
                    <a:pt x="1608" y="854"/>
                  </a:lnTo>
                  <a:lnTo>
                    <a:pt x="1612" y="852"/>
                  </a:lnTo>
                  <a:lnTo>
                    <a:pt x="1613" y="847"/>
                  </a:lnTo>
                  <a:lnTo>
                    <a:pt x="1617" y="846"/>
                  </a:lnTo>
                  <a:lnTo>
                    <a:pt x="1619" y="846"/>
                  </a:lnTo>
                  <a:lnTo>
                    <a:pt x="1621" y="846"/>
                  </a:lnTo>
                  <a:lnTo>
                    <a:pt x="1623" y="843"/>
                  </a:lnTo>
                  <a:lnTo>
                    <a:pt x="1625" y="843"/>
                  </a:lnTo>
                  <a:lnTo>
                    <a:pt x="1636" y="843"/>
                  </a:lnTo>
                  <a:lnTo>
                    <a:pt x="1642" y="842"/>
                  </a:lnTo>
                  <a:lnTo>
                    <a:pt x="1646" y="843"/>
                  </a:lnTo>
                  <a:lnTo>
                    <a:pt x="1648" y="843"/>
                  </a:lnTo>
                  <a:lnTo>
                    <a:pt x="1651" y="840"/>
                  </a:lnTo>
                  <a:lnTo>
                    <a:pt x="1653" y="840"/>
                  </a:lnTo>
                  <a:lnTo>
                    <a:pt x="1656" y="842"/>
                  </a:lnTo>
                  <a:lnTo>
                    <a:pt x="1657" y="839"/>
                  </a:lnTo>
                  <a:lnTo>
                    <a:pt x="1660" y="836"/>
                  </a:lnTo>
                  <a:lnTo>
                    <a:pt x="1660" y="834"/>
                  </a:lnTo>
                  <a:lnTo>
                    <a:pt x="1665" y="830"/>
                  </a:lnTo>
                  <a:lnTo>
                    <a:pt x="1668" y="829"/>
                  </a:lnTo>
                  <a:lnTo>
                    <a:pt x="1671" y="829"/>
                  </a:lnTo>
                  <a:lnTo>
                    <a:pt x="1673" y="827"/>
                  </a:lnTo>
                  <a:lnTo>
                    <a:pt x="1676" y="823"/>
                  </a:lnTo>
                  <a:lnTo>
                    <a:pt x="1676" y="820"/>
                  </a:lnTo>
                  <a:lnTo>
                    <a:pt x="1679" y="816"/>
                  </a:lnTo>
                  <a:lnTo>
                    <a:pt x="1685" y="812"/>
                  </a:lnTo>
                  <a:lnTo>
                    <a:pt x="1688" y="811"/>
                  </a:lnTo>
                  <a:lnTo>
                    <a:pt x="1682" y="806"/>
                  </a:lnTo>
                  <a:lnTo>
                    <a:pt x="1681" y="804"/>
                  </a:lnTo>
                  <a:lnTo>
                    <a:pt x="1680" y="800"/>
                  </a:lnTo>
                  <a:lnTo>
                    <a:pt x="1682" y="794"/>
                  </a:lnTo>
                  <a:lnTo>
                    <a:pt x="1685" y="792"/>
                  </a:lnTo>
                  <a:lnTo>
                    <a:pt x="1686" y="789"/>
                  </a:lnTo>
                  <a:lnTo>
                    <a:pt x="1690" y="784"/>
                  </a:lnTo>
                  <a:lnTo>
                    <a:pt x="1691" y="782"/>
                  </a:lnTo>
                  <a:lnTo>
                    <a:pt x="1694" y="780"/>
                  </a:lnTo>
                  <a:lnTo>
                    <a:pt x="1697" y="779"/>
                  </a:lnTo>
                  <a:lnTo>
                    <a:pt x="1697" y="778"/>
                  </a:lnTo>
                  <a:lnTo>
                    <a:pt x="1695" y="777"/>
                  </a:lnTo>
                  <a:lnTo>
                    <a:pt x="1697" y="775"/>
                  </a:lnTo>
                  <a:lnTo>
                    <a:pt x="1702" y="772"/>
                  </a:lnTo>
                  <a:lnTo>
                    <a:pt x="1714" y="769"/>
                  </a:lnTo>
                  <a:lnTo>
                    <a:pt x="1715" y="768"/>
                  </a:lnTo>
                  <a:lnTo>
                    <a:pt x="1717" y="766"/>
                  </a:lnTo>
                  <a:lnTo>
                    <a:pt x="1725" y="762"/>
                  </a:lnTo>
                  <a:lnTo>
                    <a:pt x="1728" y="760"/>
                  </a:lnTo>
                  <a:lnTo>
                    <a:pt x="1729" y="757"/>
                  </a:lnTo>
                  <a:lnTo>
                    <a:pt x="1728" y="754"/>
                  </a:lnTo>
                  <a:lnTo>
                    <a:pt x="1730" y="753"/>
                  </a:lnTo>
                  <a:lnTo>
                    <a:pt x="1726" y="746"/>
                  </a:lnTo>
                  <a:lnTo>
                    <a:pt x="1726" y="744"/>
                  </a:lnTo>
                  <a:lnTo>
                    <a:pt x="1725" y="743"/>
                  </a:lnTo>
                  <a:lnTo>
                    <a:pt x="1726" y="743"/>
                  </a:lnTo>
                  <a:lnTo>
                    <a:pt x="1726" y="740"/>
                  </a:lnTo>
                  <a:lnTo>
                    <a:pt x="1730" y="737"/>
                  </a:lnTo>
                  <a:lnTo>
                    <a:pt x="1732" y="736"/>
                  </a:lnTo>
                  <a:lnTo>
                    <a:pt x="1738" y="733"/>
                  </a:lnTo>
                  <a:lnTo>
                    <a:pt x="1740" y="732"/>
                  </a:lnTo>
                  <a:lnTo>
                    <a:pt x="1742" y="733"/>
                  </a:lnTo>
                  <a:lnTo>
                    <a:pt x="1745" y="733"/>
                  </a:lnTo>
                  <a:lnTo>
                    <a:pt x="1747" y="735"/>
                  </a:lnTo>
                  <a:lnTo>
                    <a:pt x="1750" y="734"/>
                  </a:lnTo>
                  <a:lnTo>
                    <a:pt x="1749" y="732"/>
                  </a:lnTo>
                  <a:lnTo>
                    <a:pt x="1750" y="734"/>
                  </a:lnTo>
                  <a:lnTo>
                    <a:pt x="1754" y="734"/>
                  </a:lnTo>
                  <a:lnTo>
                    <a:pt x="1754" y="734"/>
                  </a:lnTo>
                  <a:lnTo>
                    <a:pt x="1755" y="735"/>
                  </a:lnTo>
                  <a:lnTo>
                    <a:pt x="1757" y="735"/>
                  </a:lnTo>
                  <a:lnTo>
                    <a:pt x="1759" y="737"/>
                  </a:lnTo>
                  <a:lnTo>
                    <a:pt x="1763" y="737"/>
                  </a:lnTo>
                  <a:lnTo>
                    <a:pt x="1763" y="739"/>
                  </a:lnTo>
                  <a:lnTo>
                    <a:pt x="1766" y="739"/>
                  </a:lnTo>
                  <a:lnTo>
                    <a:pt x="1768" y="740"/>
                  </a:lnTo>
                  <a:lnTo>
                    <a:pt x="1774" y="739"/>
                  </a:lnTo>
                  <a:lnTo>
                    <a:pt x="1776" y="736"/>
                  </a:lnTo>
                  <a:lnTo>
                    <a:pt x="1777" y="734"/>
                  </a:lnTo>
                  <a:lnTo>
                    <a:pt x="1783" y="729"/>
                  </a:lnTo>
                  <a:lnTo>
                    <a:pt x="1787" y="728"/>
                  </a:lnTo>
                  <a:lnTo>
                    <a:pt x="1790" y="728"/>
                  </a:lnTo>
                  <a:lnTo>
                    <a:pt x="1793" y="727"/>
                  </a:lnTo>
                  <a:lnTo>
                    <a:pt x="1796" y="725"/>
                  </a:lnTo>
                  <a:lnTo>
                    <a:pt x="1801" y="719"/>
                  </a:lnTo>
                  <a:lnTo>
                    <a:pt x="1805" y="717"/>
                  </a:lnTo>
                  <a:lnTo>
                    <a:pt x="1807" y="717"/>
                  </a:lnTo>
                  <a:lnTo>
                    <a:pt x="1813" y="719"/>
                  </a:lnTo>
                  <a:lnTo>
                    <a:pt x="1817" y="723"/>
                  </a:lnTo>
                  <a:lnTo>
                    <a:pt x="1819" y="723"/>
                  </a:lnTo>
                  <a:lnTo>
                    <a:pt x="1821" y="723"/>
                  </a:lnTo>
                  <a:lnTo>
                    <a:pt x="1822" y="724"/>
                  </a:lnTo>
                  <a:lnTo>
                    <a:pt x="1824" y="725"/>
                  </a:lnTo>
                  <a:lnTo>
                    <a:pt x="1825" y="727"/>
                  </a:lnTo>
                  <a:lnTo>
                    <a:pt x="1825" y="732"/>
                  </a:lnTo>
                  <a:lnTo>
                    <a:pt x="1828" y="736"/>
                  </a:lnTo>
                  <a:lnTo>
                    <a:pt x="1828" y="742"/>
                  </a:lnTo>
                  <a:lnTo>
                    <a:pt x="1832" y="742"/>
                  </a:lnTo>
                  <a:lnTo>
                    <a:pt x="1833" y="744"/>
                  </a:lnTo>
                  <a:lnTo>
                    <a:pt x="1836" y="748"/>
                  </a:lnTo>
                  <a:lnTo>
                    <a:pt x="1839" y="751"/>
                  </a:lnTo>
                  <a:lnTo>
                    <a:pt x="1843" y="752"/>
                  </a:lnTo>
                  <a:lnTo>
                    <a:pt x="1845" y="754"/>
                  </a:lnTo>
                  <a:lnTo>
                    <a:pt x="1845" y="757"/>
                  </a:lnTo>
                  <a:lnTo>
                    <a:pt x="1849" y="758"/>
                  </a:lnTo>
                  <a:lnTo>
                    <a:pt x="1851" y="759"/>
                  </a:lnTo>
                  <a:lnTo>
                    <a:pt x="1852" y="762"/>
                  </a:lnTo>
                  <a:lnTo>
                    <a:pt x="1856" y="763"/>
                  </a:lnTo>
                  <a:lnTo>
                    <a:pt x="1857" y="766"/>
                  </a:lnTo>
                  <a:lnTo>
                    <a:pt x="1862" y="769"/>
                  </a:lnTo>
                  <a:lnTo>
                    <a:pt x="1865" y="769"/>
                  </a:lnTo>
                  <a:lnTo>
                    <a:pt x="1868" y="769"/>
                  </a:lnTo>
                  <a:lnTo>
                    <a:pt x="1870" y="770"/>
                  </a:lnTo>
                  <a:lnTo>
                    <a:pt x="1873" y="770"/>
                  </a:lnTo>
                  <a:lnTo>
                    <a:pt x="1875" y="774"/>
                  </a:lnTo>
                  <a:lnTo>
                    <a:pt x="1878" y="777"/>
                  </a:lnTo>
                  <a:lnTo>
                    <a:pt x="1882" y="777"/>
                  </a:lnTo>
                  <a:lnTo>
                    <a:pt x="1883" y="780"/>
                  </a:lnTo>
                  <a:lnTo>
                    <a:pt x="1884" y="780"/>
                  </a:lnTo>
                  <a:lnTo>
                    <a:pt x="1886" y="779"/>
                  </a:lnTo>
                  <a:lnTo>
                    <a:pt x="1888" y="782"/>
                  </a:lnTo>
                  <a:lnTo>
                    <a:pt x="1890" y="784"/>
                  </a:lnTo>
                  <a:lnTo>
                    <a:pt x="1890" y="787"/>
                  </a:lnTo>
                  <a:lnTo>
                    <a:pt x="1892" y="788"/>
                  </a:lnTo>
                  <a:lnTo>
                    <a:pt x="1895" y="791"/>
                  </a:lnTo>
                  <a:lnTo>
                    <a:pt x="1899" y="789"/>
                  </a:lnTo>
                  <a:lnTo>
                    <a:pt x="1901" y="792"/>
                  </a:lnTo>
                  <a:lnTo>
                    <a:pt x="1901" y="795"/>
                  </a:lnTo>
                  <a:lnTo>
                    <a:pt x="1902" y="797"/>
                  </a:lnTo>
                  <a:lnTo>
                    <a:pt x="1904" y="800"/>
                  </a:lnTo>
                  <a:lnTo>
                    <a:pt x="1905" y="805"/>
                  </a:lnTo>
                  <a:lnTo>
                    <a:pt x="1907" y="808"/>
                  </a:lnTo>
                  <a:lnTo>
                    <a:pt x="1905" y="811"/>
                  </a:lnTo>
                  <a:lnTo>
                    <a:pt x="1902" y="811"/>
                  </a:lnTo>
                  <a:lnTo>
                    <a:pt x="1902" y="816"/>
                  </a:lnTo>
                  <a:lnTo>
                    <a:pt x="1899" y="820"/>
                  </a:lnTo>
                  <a:lnTo>
                    <a:pt x="1900" y="823"/>
                  </a:lnTo>
                  <a:lnTo>
                    <a:pt x="1903" y="823"/>
                  </a:lnTo>
                  <a:lnTo>
                    <a:pt x="1905" y="822"/>
                  </a:lnTo>
                  <a:lnTo>
                    <a:pt x="1907" y="820"/>
                  </a:lnTo>
                  <a:lnTo>
                    <a:pt x="1911" y="814"/>
                  </a:lnTo>
                  <a:lnTo>
                    <a:pt x="1911" y="810"/>
                  </a:lnTo>
                  <a:lnTo>
                    <a:pt x="1919" y="805"/>
                  </a:lnTo>
                  <a:lnTo>
                    <a:pt x="1919" y="803"/>
                  </a:lnTo>
                  <a:lnTo>
                    <a:pt x="1918" y="799"/>
                  </a:lnTo>
                  <a:lnTo>
                    <a:pt x="1913" y="796"/>
                  </a:lnTo>
                  <a:lnTo>
                    <a:pt x="1911" y="795"/>
                  </a:lnTo>
                  <a:lnTo>
                    <a:pt x="1911" y="793"/>
                  </a:lnTo>
                  <a:lnTo>
                    <a:pt x="1912" y="791"/>
                  </a:lnTo>
                  <a:lnTo>
                    <a:pt x="1912" y="788"/>
                  </a:lnTo>
                  <a:lnTo>
                    <a:pt x="1915" y="787"/>
                  </a:lnTo>
                  <a:lnTo>
                    <a:pt x="1916" y="784"/>
                  </a:lnTo>
                  <a:lnTo>
                    <a:pt x="1918" y="782"/>
                  </a:lnTo>
                  <a:lnTo>
                    <a:pt x="1921" y="782"/>
                  </a:lnTo>
                  <a:lnTo>
                    <a:pt x="1921" y="783"/>
                  </a:lnTo>
                  <a:lnTo>
                    <a:pt x="1920" y="783"/>
                  </a:lnTo>
                  <a:lnTo>
                    <a:pt x="1922" y="785"/>
                  </a:lnTo>
                  <a:lnTo>
                    <a:pt x="1928" y="785"/>
                  </a:lnTo>
                  <a:lnTo>
                    <a:pt x="1930" y="787"/>
                  </a:lnTo>
                  <a:lnTo>
                    <a:pt x="1932" y="791"/>
                  </a:lnTo>
                  <a:lnTo>
                    <a:pt x="1934" y="793"/>
                  </a:lnTo>
                  <a:lnTo>
                    <a:pt x="1936" y="793"/>
                  </a:lnTo>
                  <a:lnTo>
                    <a:pt x="1938" y="788"/>
                  </a:lnTo>
                  <a:lnTo>
                    <a:pt x="1937" y="786"/>
                  </a:lnTo>
                  <a:lnTo>
                    <a:pt x="1935" y="784"/>
                  </a:lnTo>
                  <a:lnTo>
                    <a:pt x="1932" y="782"/>
                  </a:lnTo>
                  <a:lnTo>
                    <a:pt x="1930" y="779"/>
                  </a:lnTo>
                  <a:lnTo>
                    <a:pt x="1922" y="776"/>
                  </a:lnTo>
                  <a:lnTo>
                    <a:pt x="1920" y="774"/>
                  </a:lnTo>
                  <a:lnTo>
                    <a:pt x="1912" y="770"/>
                  </a:lnTo>
                  <a:lnTo>
                    <a:pt x="1903" y="766"/>
                  </a:lnTo>
                  <a:lnTo>
                    <a:pt x="1903" y="763"/>
                  </a:lnTo>
                  <a:lnTo>
                    <a:pt x="1905" y="761"/>
                  </a:lnTo>
                  <a:lnTo>
                    <a:pt x="1905" y="759"/>
                  </a:lnTo>
                  <a:lnTo>
                    <a:pt x="1892" y="759"/>
                  </a:lnTo>
                  <a:lnTo>
                    <a:pt x="1890" y="758"/>
                  </a:lnTo>
                  <a:lnTo>
                    <a:pt x="1886" y="757"/>
                  </a:lnTo>
                  <a:lnTo>
                    <a:pt x="1876" y="746"/>
                  </a:lnTo>
                  <a:lnTo>
                    <a:pt x="1873" y="736"/>
                  </a:lnTo>
                  <a:lnTo>
                    <a:pt x="1870" y="732"/>
                  </a:lnTo>
                  <a:lnTo>
                    <a:pt x="1868" y="731"/>
                  </a:lnTo>
                  <a:lnTo>
                    <a:pt x="1862" y="726"/>
                  </a:lnTo>
                  <a:lnTo>
                    <a:pt x="1859" y="725"/>
                  </a:lnTo>
                  <a:lnTo>
                    <a:pt x="1854" y="720"/>
                  </a:lnTo>
                  <a:lnTo>
                    <a:pt x="1853" y="717"/>
                  </a:lnTo>
                  <a:lnTo>
                    <a:pt x="1853" y="714"/>
                  </a:lnTo>
                  <a:lnTo>
                    <a:pt x="1852" y="714"/>
                  </a:lnTo>
                  <a:lnTo>
                    <a:pt x="1856" y="710"/>
                  </a:lnTo>
                  <a:lnTo>
                    <a:pt x="1857" y="708"/>
                  </a:lnTo>
                  <a:lnTo>
                    <a:pt x="1856" y="708"/>
                  </a:lnTo>
                  <a:lnTo>
                    <a:pt x="1853" y="705"/>
                  </a:lnTo>
                  <a:lnTo>
                    <a:pt x="1852" y="703"/>
                  </a:lnTo>
                  <a:lnTo>
                    <a:pt x="1852" y="703"/>
                  </a:lnTo>
                  <a:lnTo>
                    <a:pt x="1851" y="702"/>
                  </a:lnTo>
                  <a:lnTo>
                    <a:pt x="1851" y="702"/>
                  </a:lnTo>
                  <a:lnTo>
                    <a:pt x="1852" y="702"/>
                  </a:lnTo>
                  <a:lnTo>
                    <a:pt x="1853" y="700"/>
                  </a:lnTo>
                  <a:lnTo>
                    <a:pt x="1856" y="700"/>
                  </a:lnTo>
                  <a:lnTo>
                    <a:pt x="1859" y="699"/>
                  </a:lnTo>
                  <a:lnTo>
                    <a:pt x="1861" y="697"/>
                  </a:lnTo>
                  <a:lnTo>
                    <a:pt x="1864" y="697"/>
                  </a:lnTo>
                  <a:lnTo>
                    <a:pt x="1864" y="695"/>
                  </a:lnTo>
                  <a:lnTo>
                    <a:pt x="1867" y="694"/>
                  </a:lnTo>
                  <a:lnTo>
                    <a:pt x="1868" y="695"/>
                  </a:lnTo>
                  <a:lnTo>
                    <a:pt x="1868" y="695"/>
                  </a:lnTo>
                  <a:lnTo>
                    <a:pt x="1868" y="695"/>
                  </a:lnTo>
                  <a:lnTo>
                    <a:pt x="1870" y="694"/>
                  </a:lnTo>
                  <a:lnTo>
                    <a:pt x="1871" y="694"/>
                  </a:lnTo>
                  <a:lnTo>
                    <a:pt x="1873" y="698"/>
                  </a:lnTo>
                  <a:lnTo>
                    <a:pt x="1873" y="698"/>
                  </a:lnTo>
                  <a:lnTo>
                    <a:pt x="1871" y="698"/>
                  </a:lnTo>
                  <a:lnTo>
                    <a:pt x="1870" y="699"/>
                  </a:lnTo>
                  <a:lnTo>
                    <a:pt x="1869" y="700"/>
                  </a:lnTo>
                  <a:lnTo>
                    <a:pt x="1870" y="702"/>
                  </a:lnTo>
                  <a:lnTo>
                    <a:pt x="1870" y="702"/>
                  </a:lnTo>
                  <a:lnTo>
                    <a:pt x="1873" y="706"/>
                  </a:lnTo>
                  <a:lnTo>
                    <a:pt x="1873" y="708"/>
                  </a:lnTo>
                  <a:lnTo>
                    <a:pt x="1875" y="711"/>
                  </a:lnTo>
                  <a:lnTo>
                    <a:pt x="1876" y="710"/>
                  </a:lnTo>
                  <a:lnTo>
                    <a:pt x="1877" y="707"/>
                  </a:lnTo>
                  <a:lnTo>
                    <a:pt x="1877" y="708"/>
                  </a:lnTo>
                  <a:lnTo>
                    <a:pt x="1878" y="708"/>
                  </a:lnTo>
                  <a:lnTo>
                    <a:pt x="1881" y="701"/>
                  </a:lnTo>
                  <a:lnTo>
                    <a:pt x="1885" y="703"/>
                  </a:lnTo>
                  <a:lnTo>
                    <a:pt x="1888" y="708"/>
                  </a:lnTo>
                  <a:lnTo>
                    <a:pt x="1888" y="712"/>
                  </a:lnTo>
                  <a:lnTo>
                    <a:pt x="1890" y="715"/>
                  </a:lnTo>
                  <a:lnTo>
                    <a:pt x="1892" y="716"/>
                  </a:lnTo>
                  <a:lnTo>
                    <a:pt x="1894" y="718"/>
                  </a:lnTo>
                  <a:lnTo>
                    <a:pt x="1898" y="720"/>
                  </a:lnTo>
                  <a:lnTo>
                    <a:pt x="1898" y="720"/>
                  </a:lnTo>
                  <a:lnTo>
                    <a:pt x="1899" y="720"/>
                  </a:lnTo>
                  <a:lnTo>
                    <a:pt x="1899" y="722"/>
                  </a:lnTo>
                  <a:lnTo>
                    <a:pt x="1898" y="720"/>
                  </a:lnTo>
                  <a:lnTo>
                    <a:pt x="1894" y="719"/>
                  </a:lnTo>
                  <a:lnTo>
                    <a:pt x="1893" y="722"/>
                  </a:lnTo>
                  <a:lnTo>
                    <a:pt x="1899" y="727"/>
                  </a:lnTo>
                  <a:lnTo>
                    <a:pt x="1903" y="729"/>
                  </a:lnTo>
                  <a:lnTo>
                    <a:pt x="1904" y="733"/>
                  </a:lnTo>
                  <a:lnTo>
                    <a:pt x="1909" y="732"/>
                  </a:lnTo>
                  <a:lnTo>
                    <a:pt x="1913" y="734"/>
                  </a:lnTo>
                  <a:lnTo>
                    <a:pt x="1916" y="734"/>
                  </a:lnTo>
                  <a:lnTo>
                    <a:pt x="1919" y="737"/>
                  </a:lnTo>
                  <a:lnTo>
                    <a:pt x="1924" y="741"/>
                  </a:lnTo>
                  <a:lnTo>
                    <a:pt x="1927" y="743"/>
                  </a:lnTo>
                  <a:lnTo>
                    <a:pt x="1924" y="742"/>
                  </a:lnTo>
                  <a:lnTo>
                    <a:pt x="1921" y="741"/>
                  </a:lnTo>
                  <a:lnTo>
                    <a:pt x="1918" y="741"/>
                  </a:lnTo>
                  <a:lnTo>
                    <a:pt x="1924" y="743"/>
                  </a:lnTo>
                  <a:lnTo>
                    <a:pt x="1929" y="744"/>
                  </a:lnTo>
                  <a:lnTo>
                    <a:pt x="1937" y="750"/>
                  </a:lnTo>
                  <a:lnTo>
                    <a:pt x="1942" y="750"/>
                  </a:lnTo>
                  <a:lnTo>
                    <a:pt x="1942" y="751"/>
                  </a:lnTo>
                  <a:lnTo>
                    <a:pt x="1941" y="750"/>
                  </a:lnTo>
                  <a:lnTo>
                    <a:pt x="1938" y="751"/>
                  </a:lnTo>
                  <a:lnTo>
                    <a:pt x="1942" y="753"/>
                  </a:lnTo>
                  <a:lnTo>
                    <a:pt x="1944" y="754"/>
                  </a:lnTo>
                  <a:lnTo>
                    <a:pt x="1946" y="758"/>
                  </a:lnTo>
                  <a:lnTo>
                    <a:pt x="1950" y="760"/>
                  </a:lnTo>
                  <a:lnTo>
                    <a:pt x="1952" y="760"/>
                  </a:lnTo>
                  <a:lnTo>
                    <a:pt x="1953" y="761"/>
                  </a:lnTo>
                  <a:lnTo>
                    <a:pt x="1953" y="765"/>
                  </a:lnTo>
                  <a:lnTo>
                    <a:pt x="1951" y="768"/>
                  </a:lnTo>
                  <a:lnTo>
                    <a:pt x="1951" y="770"/>
                  </a:lnTo>
                  <a:lnTo>
                    <a:pt x="1951" y="774"/>
                  </a:lnTo>
                  <a:lnTo>
                    <a:pt x="1951" y="776"/>
                  </a:lnTo>
                  <a:lnTo>
                    <a:pt x="1950" y="779"/>
                  </a:lnTo>
                  <a:lnTo>
                    <a:pt x="1951" y="782"/>
                  </a:lnTo>
                  <a:lnTo>
                    <a:pt x="1951" y="782"/>
                  </a:lnTo>
                  <a:lnTo>
                    <a:pt x="1951" y="785"/>
                  </a:lnTo>
                  <a:lnTo>
                    <a:pt x="1951" y="785"/>
                  </a:lnTo>
                  <a:lnTo>
                    <a:pt x="1950" y="784"/>
                  </a:lnTo>
                  <a:lnTo>
                    <a:pt x="1951" y="786"/>
                  </a:lnTo>
                  <a:lnTo>
                    <a:pt x="1956" y="789"/>
                  </a:lnTo>
                  <a:lnTo>
                    <a:pt x="1959" y="793"/>
                  </a:lnTo>
                  <a:lnTo>
                    <a:pt x="1959" y="795"/>
                  </a:lnTo>
                  <a:lnTo>
                    <a:pt x="1961" y="796"/>
                  </a:lnTo>
                  <a:lnTo>
                    <a:pt x="1963" y="801"/>
                  </a:lnTo>
                  <a:lnTo>
                    <a:pt x="1966" y="802"/>
                  </a:lnTo>
                  <a:lnTo>
                    <a:pt x="1969" y="806"/>
                  </a:lnTo>
                  <a:lnTo>
                    <a:pt x="1970" y="804"/>
                  </a:lnTo>
                  <a:lnTo>
                    <a:pt x="1971" y="805"/>
                  </a:lnTo>
                  <a:lnTo>
                    <a:pt x="1973" y="805"/>
                  </a:lnTo>
                  <a:lnTo>
                    <a:pt x="1972" y="808"/>
                  </a:lnTo>
                  <a:lnTo>
                    <a:pt x="1971" y="808"/>
                  </a:lnTo>
                  <a:lnTo>
                    <a:pt x="1969" y="806"/>
                  </a:lnTo>
                  <a:lnTo>
                    <a:pt x="1969" y="810"/>
                  </a:lnTo>
                  <a:lnTo>
                    <a:pt x="1972" y="812"/>
                  </a:lnTo>
                  <a:lnTo>
                    <a:pt x="1975" y="818"/>
                  </a:lnTo>
                  <a:lnTo>
                    <a:pt x="1977" y="816"/>
                  </a:lnTo>
                  <a:lnTo>
                    <a:pt x="1977" y="814"/>
                  </a:lnTo>
                  <a:lnTo>
                    <a:pt x="1979" y="818"/>
                  </a:lnTo>
                  <a:lnTo>
                    <a:pt x="1986" y="816"/>
                  </a:lnTo>
                  <a:lnTo>
                    <a:pt x="1988" y="817"/>
                  </a:lnTo>
                  <a:lnTo>
                    <a:pt x="1992" y="816"/>
                  </a:lnTo>
                  <a:lnTo>
                    <a:pt x="1994" y="818"/>
                  </a:lnTo>
                  <a:lnTo>
                    <a:pt x="1995" y="817"/>
                  </a:lnTo>
                  <a:lnTo>
                    <a:pt x="1997" y="819"/>
                  </a:lnTo>
                  <a:lnTo>
                    <a:pt x="1999" y="819"/>
                  </a:lnTo>
                  <a:lnTo>
                    <a:pt x="2003" y="820"/>
                  </a:lnTo>
                  <a:lnTo>
                    <a:pt x="2002" y="821"/>
                  </a:lnTo>
                  <a:lnTo>
                    <a:pt x="1999" y="822"/>
                  </a:lnTo>
                  <a:lnTo>
                    <a:pt x="1997" y="822"/>
                  </a:lnTo>
                  <a:lnTo>
                    <a:pt x="1994" y="820"/>
                  </a:lnTo>
                  <a:lnTo>
                    <a:pt x="1992" y="820"/>
                  </a:lnTo>
                  <a:lnTo>
                    <a:pt x="1988" y="819"/>
                  </a:lnTo>
                  <a:lnTo>
                    <a:pt x="1985" y="817"/>
                  </a:lnTo>
                  <a:lnTo>
                    <a:pt x="1982" y="818"/>
                  </a:lnTo>
                  <a:lnTo>
                    <a:pt x="1980" y="820"/>
                  </a:lnTo>
                  <a:lnTo>
                    <a:pt x="1977" y="820"/>
                  </a:lnTo>
                  <a:lnTo>
                    <a:pt x="1976" y="822"/>
                  </a:lnTo>
                  <a:lnTo>
                    <a:pt x="1976" y="826"/>
                  </a:lnTo>
                  <a:lnTo>
                    <a:pt x="1978" y="828"/>
                  </a:lnTo>
                  <a:lnTo>
                    <a:pt x="1980" y="829"/>
                  </a:lnTo>
                  <a:lnTo>
                    <a:pt x="1981" y="831"/>
                  </a:lnTo>
                  <a:lnTo>
                    <a:pt x="1980" y="837"/>
                  </a:lnTo>
                  <a:lnTo>
                    <a:pt x="1982" y="840"/>
                  </a:lnTo>
                  <a:lnTo>
                    <a:pt x="1985" y="840"/>
                  </a:lnTo>
                  <a:lnTo>
                    <a:pt x="1987" y="837"/>
                  </a:lnTo>
                  <a:lnTo>
                    <a:pt x="1988" y="839"/>
                  </a:lnTo>
                  <a:lnTo>
                    <a:pt x="1990" y="842"/>
                  </a:lnTo>
                  <a:lnTo>
                    <a:pt x="1993" y="846"/>
                  </a:lnTo>
                  <a:lnTo>
                    <a:pt x="1993" y="846"/>
                  </a:lnTo>
                  <a:lnTo>
                    <a:pt x="1993" y="844"/>
                  </a:lnTo>
                  <a:lnTo>
                    <a:pt x="1995" y="840"/>
                  </a:lnTo>
                  <a:lnTo>
                    <a:pt x="1997" y="843"/>
                  </a:lnTo>
                  <a:lnTo>
                    <a:pt x="1998" y="845"/>
                  </a:lnTo>
                  <a:lnTo>
                    <a:pt x="2002" y="847"/>
                  </a:lnTo>
                  <a:lnTo>
                    <a:pt x="2002" y="845"/>
                  </a:lnTo>
                  <a:lnTo>
                    <a:pt x="2001" y="843"/>
                  </a:lnTo>
                  <a:lnTo>
                    <a:pt x="2001" y="840"/>
                  </a:lnTo>
                  <a:lnTo>
                    <a:pt x="1999" y="837"/>
                  </a:lnTo>
                  <a:lnTo>
                    <a:pt x="1997" y="833"/>
                  </a:lnTo>
                  <a:lnTo>
                    <a:pt x="1996" y="829"/>
                  </a:lnTo>
                  <a:lnTo>
                    <a:pt x="1996" y="829"/>
                  </a:lnTo>
                  <a:lnTo>
                    <a:pt x="1998" y="830"/>
                  </a:lnTo>
                  <a:lnTo>
                    <a:pt x="2001" y="833"/>
                  </a:lnTo>
                  <a:lnTo>
                    <a:pt x="2006" y="831"/>
                  </a:lnTo>
                  <a:lnTo>
                    <a:pt x="2006" y="831"/>
                  </a:lnTo>
                  <a:lnTo>
                    <a:pt x="2005" y="828"/>
                  </a:lnTo>
                  <a:lnTo>
                    <a:pt x="2003" y="829"/>
                  </a:lnTo>
                  <a:lnTo>
                    <a:pt x="2002" y="827"/>
                  </a:lnTo>
                  <a:lnTo>
                    <a:pt x="1999" y="825"/>
                  </a:lnTo>
                  <a:lnTo>
                    <a:pt x="1999" y="823"/>
                  </a:lnTo>
                  <a:lnTo>
                    <a:pt x="2006" y="822"/>
                  </a:lnTo>
                  <a:lnTo>
                    <a:pt x="2009" y="823"/>
                  </a:lnTo>
                  <a:lnTo>
                    <a:pt x="2011" y="825"/>
                  </a:lnTo>
                  <a:lnTo>
                    <a:pt x="2014" y="828"/>
                  </a:lnTo>
                  <a:lnTo>
                    <a:pt x="2014" y="827"/>
                  </a:lnTo>
                  <a:lnTo>
                    <a:pt x="2014" y="825"/>
                  </a:lnTo>
                  <a:lnTo>
                    <a:pt x="2013" y="822"/>
                  </a:lnTo>
                  <a:lnTo>
                    <a:pt x="2013" y="820"/>
                  </a:lnTo>
                  <a:lnTo>
                    <a:pt x="2012" y="818"/>
                  </a:lnTo>
                  <a:lnTo>
                    <a:pt x="2010" y="817"/>
                  </a:lnTo>
                  <a:lnTo>
                    <a:pt x="2007" y="814"/>
                  </a:lnTo>
                  <a:lnTo>
                    <a:pt x="2004" y="814"/>
                  </a:lnTo>
                  <a:lnTo>
                    <a:pt x="2004" y="812"/>
                  </a:lnTo>
                  <a:lnTo>
                    <a:pt x="2002" y="812"/>
                  </a:lnTo>
                  <a:lnTo>
                    <a:pt x="1998" y="810"/>
                  </a:lnTo>
                  <a:lnTo>
                    <a:pt x="1996" y="810"/>
                  </a:lnTo>
                  <a:lnTo>
                    <a:pt x="1994" y="808"/>
                  </a:lnTo>
                  <a:lnTo>
                    <a:pt x="1997" y="808"/>
                  </a:lnTo>
                  <a:lnTo>
                    <a:pt x="1999" y="806"/>
                  </a:lnTo>
                  <a:lnTo>
                    <a:pt x="1997" y="802"/>
                  </a:lnTo>
                  <a:lnTo>
                    <a:pt x="2001" y="801"/>
                  </a:lnTo>
                  <a:lnTo>
                    <a:pt x="2002" y="802"/>
                  </a:lnTo>
                  <a:lnTo>
                    <a:pt x="2001" y="805"/>
                  </a:lnTo>
                  <a:lnTo>
                    <a:pt x="2003" y="804"/>
                  </a:lnTo>
                  <a:lnTo>
                    <a:pt x="2004" y="802"/>
                  </a:lnTo>
                  <a:lnTo>
                    <a:pt x="1998" y="796"/>
                  </a:lnTo>
                  <a:lnTo>
                    <a:pt x="1995" y="791"/>
                  </a:lnTo>
                  <a:lnTo>
                    <a:pt x="1994" y="791"/>
                  </a:lnTo>
                  <a:lnTo>
                    <a:pt x="1994" y="788"/>
                  </a:lnTo>
                  <a:lnTo>
                    <a:pt x="1995" y="785"/>
                  </a:lnTo>
                  <a:lnTo>
                    <a:pt x="1995" y="783"/>
                  </a:lnTo>
                  <a:lnTo>
                    <a:pt x="1995" y="782"/>
                  </a:lnTo>
                  <a:lnTo>
                    <a:pt x="1996" y="782"/>
                  </a:lnTo>
                  <a:lnTo>
                    <a:pt x="1998" y="779"/>
                  </a:lnTo>
                  <a:lnTo>
                    <a:pt x="1997" y="783"/>
                  </a:lnTo>
                  <a:lnTo>
                    <a:pt x="2001" y="785"/>
                  </a:lnTo>
                  <a:lnTo>
                    <a:pt x="2004" y="787"/>
                  </a:lnTo>
                  <a:lnTo>
                    <a:pt x="2005" y="791"/>
                  </a:lnTo>
                  <a:lnTo>
                    <a:pt x="2007" y="791"/>
                  </a:lnTo>
                  <a:lnTo>
                    <a:pt x="2006" y="789"/>
                  </a:lnTo>
                  <a:lnTo>
                    <a:pt x="2004" y="786"/>
                  </a:lnTo>
                  <a:lnTo>
                    <a:pt x="2006" y="786"/>
                  </a:lnTo>
                  <a:lnTo>
                    <a:pt x="2010" y="787"/>
                  </a:lnTo>
                  <a:lnTo>
                    <a:pt x="2012" y="791"/>
                  </a:lnTo>
                  <a:lnTo>
                    <a:pt x="2013" y="791"/>
                  </a:lnTo>
                  <a:lnTo>
                    <a:pt x="2013" y="789"/>
                  </a:lnTo>
                  <a:lnTo>
                    <a:pt x="2012" y="787"/>
                  </a:lnTo>
                  <a:lnTo>
                    <a:pt x="2011" y="787"/>
                  </a:lnTo>
                  <a:lnTo>
                    <a:pt x="2010" y="784"/>
                  </a:lnTo>
                  <a:lnTo>
                    <a:pt x="2013" y="784"/>
                  </a:lnTo>
                  <a:lnTo>
                    <a:pt x="2015" y="785"/>
                  </a:lnTo>
                  <a:lnTo>
                    <a:pt x="2018" y="788"/>
                  </a:lnTo>
                  <a:lnTo>
                    <a:pt x="2019" y="787"/>
                  </a:lnTo>
                  <a:lnTo>
                    <a:pt x="2016" y="785"/>
                  </a:lnTo>
                  <a:lnTo>
                    <a:pt x="2014" y="783"/>
                  </a:lnTo>
                  <a:lnTo>
                    <a:pt x="2011" y="783"/>
                  </a:lnTo>
                  <a:lnTo>
                    <a:pt x="2010" y="778"/>
                  </a:lnTo>
                  <a:lnTo>
                    <a:pt x="2012" y="777"/>
                  </a:lnTo>
                  <a:lnTo>
                    <a:pt x="2013" y="778"/>
                  </a:lnTo>
                  <a:lnTo>
                    <a:pt x="2016" y="777"/>
                  </a:lnTo>
                  <a:lnTo>
                    <a:pt x="2019" y="775"/>
                  </a:lnTo>
                  <a:lnTo>
                    <a:pt x="2024" y="776"/>
                  </a:lnTo>
                  <a:lnTo>
                    <a:pt x="2027" y="775"/>
                  </a:lnTo>
                  <a:lnTo>
                    <a:pt x="2029" y="774"/>
                  </a:lnTo>
                  <a:lnTo>
                    <a:pt x="2030" y="775"/>
                  </a:lnTo>
                  <a:lnTo>
                    <a:pt x="2039" y="776"/>
                  </a:lnTo>
                  <a:lnTo>
                    <a:pt x="2041" y="778"/>
                  </a:lnTo>
                  <a:lnTo>
                    <a:pt x="2043" y="780"/>
                  </a:lnTo>
                  <a:lnTo>
                    <a:pt x="2046" y="780"/>
                  </a:lnTo>
                  <a:lnTo>
                    <a:pt x="2050" y="779"/>
                  </a:lnTo>
                  <a:lnTo>
                    <a:pt x="2052" y="780"/>
                  </a:lnTo>
                  <a:lnTo>
                    <a:pt x="2044" y="785"/>
                  </a:lnTo>
                  <a:lnTo>
                    <a:pt x="2045" y="786"/>
                  </a:lnTo>
                  <a:lnTo>
                    <a:pt x="2044" y="789"/>
                  </a:lnTo>
                  <a:lnTo>
                    <a:pt x="2046" y="786"/>
                  </a:lnTo>
                  <a:lnTo>
                    <a:pt x="2049" y="785"/>
                  </a:lnTo>
                  <a:lnTo>
                    <a:pt x="2052" y="782"/>
                  </a:lnTo>
                  <a:lnTo>
                    <a:pt x="2054" y="782"/>
                  </a:lnTo>
                  <a:lnTo>
                    <a:pt x="2055" y="780"/>
                  </a:lnTo>
                  <a:lnTo>
                    <a:pt x="2057" y="779"/>
                  </a:lnTo>
                  <a:lnTo>
                    <a:pt x="2063" y="774"/>
                  </a:lnTo>
                  <a:lnTo>
                    <a:pt x="2065" y="774"/>
                  </a:lnTo>
                  <a:lnTo>
                    <a:pt x="2071" y="772"/>
                  </a:lnTo>
                  <a:lnTo>
                    <a:pt x="2075" y="774"/>
                  </a:lnTo>
                  <a:lnTo>
                    <a:pt x="2077" y="774"/>
                  </a:lnTo>
                  <a:lnTo>
                    <a:pt x="2077" y="775"/>
                  </a:lnTo>
                  <a:lnTo>
                    <a:pt x="2080" y="775"/>
                  </a:lnTo>
                  <a:lnTo>
                    <a:pt x="2082" y="772"/>
                  </a:lnTo>
                  <a:lnTo>
                    <a:pt x="2081" y="770"/>
                  </a:lnTo>
                  <a:lnTo>
                    <a:pt x="2073" y="767"/>
                  </a:lnTo>
                  <a:lnTo>
                    <a:pt x="2070" y="765"/>
                  </a:lnTo>
                  <a:lnTo>
                    <a:pt x="2067" y="760"/>
                  </a:lnTo>
                  <a:lnTo>
                    <a:pt x="2069" y="758"/>
                  </a:lnTo>
                  <a:lnTo>
                    <a:pt x="2067" y="756"/>
                  </a:lnTo>
                  <a:lnTo>
                    <a:pt x="2065" y="753"/>
                  </a:lnTo>
                  <a:lnTo>
                    <a:pt x="2063" y="751"/>
                  </a:lnTo>
                  <a:lnTo>
                    <a:pt x="2061" y="750"/>
                  </a:lnTo>
                  <a:lnTo>
                    <a:pt x="2063" y="749"/>
                  </a:lnTo>
                  <a:lnTo>
                    <a:pt x="2064" y="746"/>
                  </a:lnTo>
                  <a:lnTo>
                    <a:pt x="2066" y="744"/>
                  </a:lnTo>
                  <a:lnTo>
                    <a:pt x="2067" y="737"/>
                  </a:lnTo>
                  <a:lnTo>
                    <a:pt x="2069" y="737"/>
                  </a:lnTo>
                  <a:lnTo>
                    <a:pt x="2070" y="734"/>
                  </a:lnTo>
                  <a:lnTo>
                    <a:pt x="2075" y="734"/>
                  </a:lnTo>
                  <a:lnTo>
                    <a:pt x="2077" y="726"/>
                  </a:lnTo>
                  <a:lnTo>
                    <a:pt x="2077" y="720"/>
                  </a:lnTo>
                  <a:lnTo>
                    <a:pt x="2078" y="718"/>
                  </a:lnTo>
                  <a:lnTo>
                    <a:pt x="2082" y="712"/>
                  </a:lnTo>
                  <a:lnTo>
                    <a:pt x="2079" y="714"/>
                  </a:lnTo>
                  <a:lnTo>
                    <a:pt x="2079" y="714"/>
                  </a:lnTo>
                  <a:lnTo>
                    <a:pt x="2081" y="710"/>
                  </a:lnTo>
                  <a:lnTo>
                    <a:pt x="2081" y="708"/>
                  </a:lnTo>
                  <a:lnTo>
                    <a:pt x="2082" y="708"/>
                  </a:lnTo>
                  <a:lnTo>
                    <a:pt x="2082" y="710"/>
                  </a:lnTo>
                  <a:lnTo>
                    <a:pt x="2086" y="711"/>
                  </a:lnTo>
                  <a:lnTo>
                    <a:pt x="2088" y="710"/>
                  </a:lnTo>
                  <a:lnTo>
                    <a:pt x="2090" y="709"/>
                  </a:lnTo>
                  <a:lnTo>
                    <a:pt x="2091" y="708"/>
                  </a:lnTo>
                  <a:lnTo>
                    <a:pt x="2091" y="703"/>
                  </a:lnTo>
                  <a:lnTo>
                    <a:pt x="2091" y="703"/>
                  </a:lnTo>
                  <a:lnTo>
                    <a:pt x="2092" y="701"/>
                  </a:lnTo>
                  <a:lnTo>
                    <a:pt x="2092" y="700"/>
                  </a:lnTo>
                  <a:lnTo>
                    <a:pt x="2090" y="698"/>
                  </a:lnTo>
                  <a:lnTo>
                    <a:pt x="2090" y="695"/>
                  </a:lnTo>
                  <a:lnTo>
                    <a:pt x="2092" y="695"/>
                  </a:lnTo>
                  <a:lnTo>
                    <a:pt x="2096" y="693"/>
                  </a:lnTo>
                  <a:lnTo>
                    <a:pt x="2096" y="694"/>
                  </a:lnTo>
                  <a:lnTo>
                    <a:pt x="2098" y="693"/>
                  </a:lnTo>
                  <a:lnTo>
                    <a:pt x="2101" y="689"/>
                  </a:lnTo>
                  <a:lnTo>
                    <a:pt x="2098" y="684"/>
                  </a:lnTo>
                  <a:lnTo>
                    <a:pt x="2099" y="684"/>
                  </a:lnTo>
                  <a:lnTo>
                    <a:pt x="2101" y="688"/>
                  </a:lnTo>
                  <a:lnTo>
                    <a:pt x="2101" y="689"/>
                  </a:lnTo>
                  <a:lnTo>
                    <a:pt x="2106" y="684"/>
                  </a:lnTo>
                  <a:lnTo>
                    <a:pt x="2106" y="681"/>
                  </a:lnTo>
                  <a:lnTo>
                    <a:pt x="2112" y="680"/>
                  </a:lnTo>
                  <a:lnTo>
                    <a:pt x="2114" y="680"/>
                  </a:lnTo>
                  <a:lnTo>
                    <a:pt x="2115" y="677"/>
                  </a:lnTo>
                  <a:lnTo>
                    <a:pt x="2116" y="680"/>
                  </a:lnTo>
                  <a:lnTo>
                    <a:pt x="2120" y="680"/>
                  </a:lnTo>
                  <a:lnTo>
                    <a:pt x="2121" y="677"/>
                  </a:lnTo>
                  <a:lnTo>
                    <a:pt x="2122" y="674"/>
                  </a:lnTo>
                  <a:lnTo>
                    <a:pt x="2122" y="674"/>
                  </a:lnTo>
                  <a:lnTo>
                    <a:pt x="2120" y="669"/>
                  </a:lnTo>
                  <a:lnTo>
                    <a:pt x="2123" y="674"/>
                  </a:lnTo>
                  <a:lnTo>
                    <a:pt x="2123" y="678"/>
                  </a:lnTo>
                  <a:lnTo>
                    <a:pt x="2124" y="681"/>
                  </a:lnTo>
                  <a:lnTo>
                    <a:pt x="2127" y="681"/>
                  </a:lnTo>
                  <a:lnTo>
                    <a:pt x="2132" y="680"/>
                  </a:lnTo>
                  <a:lnTo>
                    <a:pt x="2129" y="681"/>
                  </a:lnTo>
                  <a:lnTo>
                    <a:pt x="2129" y="682"/>
                  </a:lnTo>
                  <a:lnTo>
                    <a:pt x="2123" y="682"/>
                  </a:lnTo>
                  <a:lnTo>
                    <a:pt x="2118" y="681"/>
                  </a:lnTo>
                  <a:lnTo>
                    <a:pt x="2121" y="682"/>
                  </a:lnTo>
                  <a:lnTo>
                    <a:pt x="2123" y="684"/>
                  </a:lnTo>
                  <a:lnTo>
                    <a:pt x="2120" y="685"/>
                  </a:lnTo>
                  <a:lnTo>
                    <a:pt x="2123" y="686"/>
                  </a:lnTo>
                  <a:lnTo>
                    <a:pt x="2127" y="689"/>
                  </a:lnTo>
                  <a:lnTo>
                    <a:pt x="2130" y="689"/>
                  </a:lnTo>
                  <a:lnTo>
                    <a:pt x="2138" y="689"/>
                  </a:lnTo>
                  <a:lnTo>
                    <a:pt x="2143" y="690"/>
                  </a:lnTo>
                  <a:lnTo>
                    <a:pt x="2146" y="689"/>
                  </a:lnTo>
                  <a:lnTo>
                    <a:pt x="2146" y="688"/>
                  </a:lnTo>
                  <a:lnTo>
                    <a:pt x="2146" y="688"/>
                  </a:lnTo>
                  <a:lnTo>
                    <a:pt x="2146" y="686"/>
                  </a:lnTo>
                  <a:lnTo>
                    <a:pt x="2146" y="686"/>
                  </a:lnTo>
                  <a:lnTo>
                    <a:pt x="2148" y="686"/>
                  </a:lnTo>
                  <a:lnTo>
                    <a:pt x="2151" y="688"/>
                  </a:lnTo>
                  <a:lnTo>
                    <a:pt x="2154" y="686"/>
                  </a:lnTo>
                  <a:lnTo>
                    <a:pt x="2156" y="689"/>
                  </a:lnTo>
                  <a:lnTo>
                    <a:pt x="2157" y="691"/>
                  </a:lnTo>
                  <a:lnTo>
                    <a:pt x="2160" y="690"/>
                  </a:lnTo>
                  <a:lnTo>
                    <a:pt x="2163" y="695"/>
                  </a:lnTo>
                  <a:lnTo>
                    <a:pt x="2164" y="695"/>
                  </a:lnTo>
                  <a:lnTo>
                    <a:pt x="2164" y="694"/>
                  </a:lnTo>
                  <a:lnTo>
                    <a:pt x="2163" y="692"/>
                  </a:lnTo>
                  <a:lnTo>
                    <a:pt x="2161" y="690"/>
                  </a:lnTo>
                  <a:lnTo>
                    <a:pt x="2161" y="688"/>
                  </a:lnTo>
                  <a:lnTo>
                    <a:pt x="2166" y="685"/>
                  </a:lnTo>
                  <a:lnTo>
                    <a:pt x="2167" y="683"/>
                  </a:lnTo>
                  <a:lnTo>
                    <a:pt x="2168" y="685"/>
                  </a:lnTo>
                  <a:lnTo>
                    <a:pt x="2164" y="689"/>
                  </a:lnTo>
                  <a:lnTo>
                    <a:pt x="2164" y="689"/>
                  </a:lnTo>
                  <a:lnTo>
                    <a:pt x="2167" y="688"/>
                  </a:lnTo>
                  <a:lnTo>
                    <a:pt x="2171" y="683"/>
                  </a:lnTo>
                  <a:lnTo>
                    <a:pt x="2173" y="682"/>
                  </a:lnTo>
                  <a:lnTo>
                    <a:pt x="2175" y="680"/>
                  </a:lnTo>
                  <a:lnTo>
                    <a:pt x="2178" y="678"/>
                  </a:lnTo>
                  <a:lnTo>
                    <a:pt x="2181" y="680"/>
                  </a:lnTo>
                  <a:lnTo>
                    <a:pt x="2184" y="678"/>
                  </a:lnTo>
                  <a:lnTo>
                    <a:pt x="2186" y="677"/>
                  </a:lnTo>
                  <a:lnTo>
                    <a:pt x="2189" y="678"/>
                  </a:lnTo>
                  <a:lnTo>
                    <a:pt x="2192" y="675"/>
                  </a:lnTo>
                  <a:lnTo>
                    <a:pt x="2198" y="674"/>
                  </a:lnTo>
                  <a:lnTo>
                    <a:pt x="2199" y="673"/>
                  </a:lnTo>
                  <a:lnTo>
                    <a:pt x="2203" y="672"/>
                  </a:lnTo>
                  <a:lnTo>
                    <a:pt x="2207" y="672"/>
                  </a:lnTo>
                  <a:lnTo>
                    <a:pt x="2208" y="672"/>
                  </a:lnTo>
                  <a:lnTo>
                    <a:pt x="2209" y="671"/>
                  </a:lnTo>
                  <a:lnTo>
                    <a:pt x="2212" y="669"/>
                  </a:lnTo>
                  <a:lnTo>
                    <a:pt x="2215" y="669"/>
                  </a:lnTo>
                  <a:lnTo>
                    <a:pt x="2212" y="671"/>
                  </a:lnTo>
                  <a:lnTo>
                    <a:pt x="2215" y="671"/>
                  </a:lnTo>
                  <a:lnTo>
                    <a:pt x="2217" y="671"/>
                  </a:lnTo>
                  <a:lnTo>
                    <a:pt x="2219" y="668"/>
                  </a:lnTo>
                  <a:lnTo>
                    <a:pt x="2223" y="669"/>
                  </a:lnTo>
                  <a:lnTo>
                    <a:pt x="2223" y="671"/>
                  </a:lnTo>
                  <a:lnTo>
                    <a:pt x="2224" y="672"/>
                  </a:lnTo>
                  <a:lnTo>
                    <a:pt x="2223" y="673"/>
                  </a:lnTo>
                  <a:lnTo>
                    <a:pt x="2219" y="673"/>
                  </a:lnTo>
                  <a:lnTo>
                    <a:pt x="2215" y="675"/>
                  </a:lnTo>
                  <a:lnTo>
                    <a:pt x="2211" y="675"/>
                  </a:lnTo>
                  <a:lnTo>
                    <a:pt x="2210" y="678"/>
                  </a:lnTo>
                  <a:lnTo>
                    <a:pt x="2212" y="680"/>
                  </a:lnTo>
                  <a:lnTo>
                    <a:pt x="2208" y="678"/>
                  </a:lnTo>
                  <a:lnTo>
                    <a:pt x="2202" y="681"/>
                  </a:lnTo>
                  <a:lnTo>
                    <a:pt x="2205" y="683"/>
                  </a:lnTo>
                  <a:lnTo>
                    <a:pt x="2208" y="684"/>
                  </a:lnTo>
                  <a:lnTo>
                    <a:pt x="2212" y="690"/>
                  </a:lnTo>
                  <a:lnTo>
                    <a:pt x="2210" y="689"/>
                  </a:lnTo>
                  <a:lnTo>
                    <a:pt x="2207" y="690"/>
                  </a:lnTo>
                  <a:lnTo>
                    <a:pt x="2206" y="692"/>
                  </a:lnTo>
                  <a:lnTo>
                    <a:pt x="2206" y="690"/>
                  </a:lnTo>
                  <a:lnTo>
                    <a:pt x="2202" y="695"/>
                  </a:lnTo>
                  <a:lnTo>
                    <a:pt x="2200" y="697"/>
                  </a:lnTo>
                  <a:lnTo>
                    <a:pt x="2201" y="699"/>
                  </a:lnTo>
                  <a:lnTo>
                    <a:pt x="2199" y="701"/>
                  </a:lnTo>
                  <a:lnTo>
                    <a:pt x="2197" y="702"/>
                  </a:lnTo>
                  <a:lnTo>
                    <a:pt x="2193" y="702"/>
                  </a:lnTo>
                  <a:lnTo>
                    <a:pt x="2190" y="700"/>
                  </a:lnTo>
                  <a:lnTo>
                    <a:pt x="2186" y="701"/>
                  </a:lnTo>
                  <a:lnTo>
                    <a:pt x="2190" y="703"/>
                  </a:lnTo>
                  <a:lnTo>
                    <a:pt x="2188" y="705"/>
                  </a:lnTo>
                  <a:lnTo>
                    <a:pt x="2188" y="706"/>
                  </a:lnTo>
                  <a:lnTo>
                    <a:pt x="2193" y="708"/>
                  </a:lnTo>
                  <a:lnTo>
                    <a:pt x="2198" y="712"/>
                  </a:lnTo>
                  <a:lnTo>
                    <a:pt x="2201" y="714"/>
                  </a:lnTo>
                  <a:lnTo>
                    <a:pt x="2203" y="712"/>
                  </a:lnTo>
                  <a:lnTo>
                    <a:pt x="2208" y="718"/>
                  </a:lnTo>
                  <a:lnTo>
                    <a:pt x="2214" y="719"/>
                  </a:lnTo>
                  <a:lnTo>
                    <a:pt x="2219" y="723"/>
                  </a:lnTo>
                  <a:lnTo>
                    <a:pt x="2225" y="727"/>
                  </a:lnTo>
                  <a:lnTo>
                    <a:pt x="2227" y="731"/>
                  </a:lnTo>
                  <a:lnTo>
                    <a:pt x="2232" y="734"/>
                  </a:lnTo>
                  <a:lnTo>
                    <a:pt x="2233" y="735"/>
                  </a:lnTo>
                  <a:lnTo>
                    <a:pt x="2236" y="736"/>
                  </a:lnTo>
                  <a:lnTo>
                    <a:pt x="2238" y="739"/>
                  </a:lnTo>
                  <a:lnTo>
                    <a:pt x="2244" y="740"/>
                  </a:lnTo>
                  <a:lnTo>
                    <a:pt x="2246" y="742"/>
                  </a:lnTo>
                  <a:lnTo>
                    <a:pt x="2250" y="744"/>
                  </a:lnTo>
                  <a:lnTo>
                    <a:pt x="2252" y="745"/>
                  </a:lnTo>
                  <a:lnTo>
                    <a:pt x="2253" y="749"/>
                  </a:lnTo>
                  <a:lnTo>
                    <a:pt x="2253" y="751"/>
                  </a:lnTo>
                  <a:lnTo>
                    <a:pt x="2255" y="754"/>
                  </a:lnTo>
                  <a:lnTo>
                    <a:pt x="2257" y="759"/>
                  </a:lnTo>
                  <a:lnTo>
                    <a:pt x="2257" y="761"/>
                  </a:lnTo>
                  <a:lnTo>
                    <a:pt x="2253" y="766"/>
                  </a:lnTo>
                  <a:lnTo>
                    <a:pt x="2251" y="768"/>
                  </a:lnTo>
                  <a:lnTo>
                    <a:pt x="2246" y="770"/>
                  </a:lnTo>
                  <a:lnTo>
                    <a:pt x="2244" y="770"/>
                  </a:lnTo>
                  <a:lnTo>
                    <a:pt x="2242" y="772"/>
                  </a:lnTo>
                  <a:lnTo>
                    <a:pt x="2234" y="775"/>
                  </a:lnTo>
                  <a:lnTo>
                    <a:pt x="2233" y="775"/>
                  </a:lnTo>
                  <a:lnTo>
                    <a:pt x="2227" y="774"/>
                  </a:lnTo>
                  <a:lnTo>
                    <a:pt x="2224" y="772"/>
                  </a:lnTo>
                  <a:lnTo>
                    <a:pt x="2217" y="774"/>
                  </a:lnTo>
                  <a:lnTo>
                    <a:pt x="2215" y="775"/>
                  </a:lnTo>
                  <a:lnTo>
                    <a:pt x="2209" y="775"/>
                  </a:lnTo>
                  <a:lnTo>
                    <a:pt x="2202" y="774"/>
                  </a:lnTo>
                  <a:lnTo>
                    <a:pt x="2201" y="771"/>
                  </a:lnTo>
                  <a:lnTo>
                    <a:pt x="2199" y="774"/>
                  </a:lnTo>
                  <a:lnTo>
                    <a:pt x="2197" y="772"/>
                  </a:lnTo>
                  <a:lnTo>
                    <a:pt x="2193" y="771"/>
                  </a:lnTo>
                  <a:lnTo>
                    <a:pt x="2192" y="770"/>
                  </a:lnTo>
                  <a:lnTo>
                    <a:pt x="2189" y="768"/>
                  </a:lnTo>
                  <a:lnTo>
                    <a:pt x="2186" y="768"/>
                  </a:lnTo>
                  <a:lnTo>
                    <a:pt x="2184" y="770"/>
                  </a:lnTo>
                  <a:lnTo>
                    <a:pt x="2182" y="769"/>
                  </a:lnTo>
                  <a:lnTo>
                    <a:pt x="2180" y="766"/>
                  </a:lnTo>
                  <a:lnTo>
                    <a:pt x="2180" y="763"/>
                  </a:lnTo>
                  <a:lnTo>
                    <a:pt x="2176" y="763"/>
                  </a:lnTo>
                  <a:lnTo>
                    <a:pt x="2176" y="762"/>
                  </a:lnTo>
                  <a:lnTo>
                    <a:pt x="2171" y="763"/>
                  </a:lnTo>
                  <a:lnTo>
                    <a:pt x="2168" y="762"/>
                  </a:lnTo>
                  <a:lnTo>
                    <a:pt x="2166" y="760"/>
                  </a:lnTo>
                  <a:lnTo>
                    <a:pt x="2165" y="757"/>
                  </a:lnTo>
                  <a:lnTo>
                    <a:pt x="2164" y="757"/>
                  </a:lnTo>
                  <a:lnTo>
                    <a:pt x="2161" y="758"/>
                  </a:lnTo>
                  <a:lnTo>
                    <a:pt x="2158" y="759"/>
                  </a:lnTo>
                  <a:lnTo>
                    <a:pt x="2141" y="758"/>
                  </a:lnTo>
                  <a:lnTo>
                    <a:pt x="2135" y="759"/>
                  </a:lnTo>
                  <a:lnTo>
                    <a:pt x="2126" y="762"/>
                  </a:lnTo>
                  <a:lnTo>
                    <a:pt x="2123" y="765"/>
                  </a:lnTo>
                  <a:lnTo>
                    <a:pt x="2115" y="769"/>
                  </a:lnTo>
                  <a:lnTo>
                    <a:pt x="2114" y="772"/>
                  </a:lnTo>
                  <a:lnTo>
                    <a:pt x="2107" y="772"/>
                  </a:lnTo>
                  <a:lnTo>
                    <a:pt x="2100" y="770"/>
                  </a:lnTo>
                  <a:lnTo>
                    <a:pt x="2098" y="771"/>
                  </a:lnTo>
                  <a:lnTo>
                    <a:pt x="2093" y="771"/>
                  </a:lnTo>
                  <a:lnTo>
                    <a:pt x="2084" y="770"/>
                  </a:lnTo>
                  <a:lnTo>
                    <a:pt x="2082" y="772"/>
                  </a:lnTo>
                  <a:lnTo>
                    <a:pt x="2083" y="775"/>
                  </a:lnTo>
                  <a:lnTo>
                    <a:pt x="2087" y="777"/>
                  </a:lnTo>
                  <a:lnTo>
                    <a:pt x="2088" y="777"/>
                  </a:lnTo>
                  <a:lnTo>
                    <a:pt x="2090" y="777"/>
                  </a:lnTo>
                  <a:lnTo>
                    <a:pt x="2092" y="778"/>
                  </a:lnTo>
                  <a:lnTo>
                    <a:pt x="2083" y="779"/>
                  </a:lnTo>
                  <a:lnTo>
                    <a:pt x="2080" y="780"/>
                  </a:lnTo>
                  <a:lnTo>
                    <a:pt x="2081" y="783"/>
                  </a:lnTo>
                  <a:lnTo>
                    <a:pt x="2084" y="783"/>
                  </a:lnTo>
                  <a:lnTo>
                    <a:pt x="2080" y="784"/>
                  </a:lnTo>
                  <a:lnTo>
                    <a:pt x="2071" y="784"/>
                  </a:lnTo>
                  <a:lnTo>
                    <a:pt x="2067" y="784"/>
                  </a:lnTo>
                  <a:lnTo>
                    <a:pt x="2066" y="782"/>
                  </a:lnTo>
                  <a:lnTo>
                    <a:pt x="2064" y="783"/>
                  </a:lnTo>
                  <a:lnTo>
                    <a:pt x="2064" y="785"/>
                  </a:lnTo>
                  <a:lnTo>
                    <a:pt x="2062" y="785"/>
                  </a:lnTo>
                  <a:lnTo>
                    <a:pt x="2057" y="783"/>
                  </a:lnTo>
                  <a:lnTo>
                    <a:pt x="2054" y="784"/>
                  </a:lnTo>
                  <a:lnTo>
                    <a:pt x="2052" y="784"/>
                  </a:lnTo>
                  <a:lnTo>
                    <a:pt x="2046" y="787"/>
                  </a:lnTo>
                  <a:lnTo>
                    <a:pt x="2045" y="791"/>
                  </a:lnTo>
                  <a:lnTo>
                    <a:pt x="2043" y="791"/>
                  </a:lnTo>
                  <a:lnTo>
                    <a:pt x="2043" y="796"/>
                  </a:lnTo>
                  <a:lnTo>
                    <a:pt x="2041" y="799"/>
                  </a:lnTo>
                  <a:lnTo>
                    <a:pt x="2043" y="799"/>
                  </a:lnTo>
                  <a:lnTo>
                    <a:pt x="2050" y="797"/>
                  </a:lnTo>
                  <a:lnTo>
                    <a:pt x="2054" y="797"/>
                  </a:lnTo>
                  <a:lnTo>
                    <a:pt x="2052" y="800"/>
                  </a:lnTo>
                  <a:lnTo>
                    <a:pt x="2049" y="802"/>
                  </a:lnTo>
                  <a:lnTo>
                    <a:pt x="2053" y="804"/>
                  </a:lnTo>
                  <a:lnTo>
                    <a:pt x="2052" y="806"/>
                  </a:lnTo>
                  <a:lnTo>
                    <a:pt x="2055" y="808"/>
                  </a:lnTo>
                  <a:lnTo>
                    <a:pt x="2054" y="810"/>
                  </a:lnTo>
                  <a:lnTo>
                    <a:pt x="2050" y="810"/>
                  </a:lnTo>
                  <a:lnTo>
                    <a:pt x="2053" y="814"/>
                  </a:lnTo>
                  <a:lnTo>
                    <a:pt x="2056" y="814"/>
                  </a:lnTo>
                  <a:lnTo>
                    <a:pt x="2055" y="816"/>
                  </a:lnTo>
                  <a:lnTo>
                    <a:pt x="2050" y="818"/>
                  </a:lnTo>
                  <a:lnTo>
                    <a:pt x="2049" y="817"/>
                  </a:lnTo>
                  <a:lnTo>
                    <a:pt x="2049" y="814"/>
                  </a:lnTo>
                  <a:lnTo>
                    <a:pt x="2047" y="811"/>
                  </a:lnTo>
                  <a:lnTo>
                    <a:pt x="2046" y="811"/>
                  </a:lnTo>
                  <a:lnTo>
                    <a:pt x="2046" y="813"/>
                  </a:lnTo>
                  <a:lnTo>
                    <a:pt x="2047" y="816"/>
                  </a:lnTo>
                  <a:lnTo>
                    <a:pt x="2047" y="817"/>
                  </a:lnTo>
                  <a:lnTo>
                    <a:pt x="2044" y="818"/>
                  </a:lnTo>
                  <a:lnTo>
                    <a:pt x="2049" y="820"/>
                  </a:lnTo>
                  <a:lnTo>
                    <a:pt x="2050" y="819"/>
                  </a:lnTo>
                  <a:lnTo>
                    <a:pt x="2054" y="821"/>
                  </a:lnTo>
                  <a:lnTo>
                    <a:pt x="2058" y="822"/>
                  </a:lnTo>
                  <a:lnTo>
                    <a:pt x="2057" y="827"/>
                  </a:lnTo>
                  <a:lnTo>
                    <a:pt x="2055" y="827"/>
                  </a:lnTo>
                  <a:lnTo>
                    <a:pt x="2054" y="828"/>
                  </a:lnTo>
                  <a:lnTo>
                    <a:pt x="2057" y="829"/>
                  </a:lnTo>
                  <a:lnTo>
                    <a:pt x="2057" y="833"/>
                  </a:lnTo>
                  <a:lnTo>
                    <a:pt x="2060" y="833"/>
                  </a:lnTo>
                  <a:lnTo>
                    <a:pt x="2062" y="834"/>
                  </a:lnTo>
                  <a:lnTo>
                    <a:pt x="2063" y="834"/>
                  </a:lnTo>
                  <a:lnTo>
                    <a:pt x="2061" y="837"/>
                  </a:lnTo>
                  <a:lnTo>
                    <a:pt x="2058" y="836"/>
                  </a:lnTo>
                  <a:lnTo>
                    <a:pt x="2058" y="838"/>
                  </a:lnTo>
                  <a:lnTo>
                    <a:pt x="2069" y="837"/>
                  </a:lnTo>
                  <a:lnTo>
                    <a:pt x="2071" y="839"/>
                  </a:lnTo>
                  <a:lnTo>
                    <a:pt x="2069" y="842"/>
                  </a:lnTo>
                  <a:lnTo>
                    <a:pt x="2065" y="840"/>
                  </a:lnTo>
                  <a:lnTo>
                    <a:pt x="2062" y="842"/>
                  </a:lnTo>
                  <a:lnTo>
                    <a:pt x="2060" y="843"/>
                  </a:lnTo>
                  <a:lnTo>
                    <a:pt x="2060" y="843"/>
                  </a:lnTo>
                  <a:lnTo>
                    <a:pt x="2060" y="844"/>
                  </a:lnTo>
                  <a:lnTo>
                    <a:pt x="2064" y="844"/>
                  </a:lnTo>
                  <a:lnTo>
                    <a:pt x="2065" y="842"/>
                  </a:lnTo>
                  <a:lnTo>
                    <a:pt x="2067" y="842"/>
                  </a:lnTo>
                  <a:lnTo>
                    <a:pt x="2070" y="842"/>
                  </a:lnTo>
                  <a:lnTo>
                    <a:pt x="2069" y="844"/>
                  </a:lnTo>
                  <a:lnTo>
                    <a:pt x="2067" y="845"/>
                  </a:lnTo>
                  <a:lnTo>
                    <a:pt x="2069" y="845"/>
                  </a:lnTo>
                  <a:lnTo>
                    <a:pt x="2072" y="843"/>
                  </a:lnTo>
                  <a:lnTo>
                    <a:pt x="2074" y="840"/>
                  </a:lnTo>
                  <a:lnTo>
                    <a:pt x="2077" y="840"/>
                  </a:lnTo>
                  <a:lnTo>
                    <a:pt x="2077" y="843"/>
                  </a:lnTo>
                  <a:lnTo>
                    <a:pt x="2078" y="843"/>
                  </a:lnTo>
                  <a:lnTo>
                    <a:pt x="2078" y="843"/>
                  </a:lnTo>
                  <a:lnTo>
                    <a:pt x="2079" y="843"/>
                  </a:lnTo>
                  <a:lnTo>
                    <a:pt x="2081" y="843"/>
                  </a:lnTo>
                  <a:lnTo>
                    <a:pt x="2082" y="845"/>
                  </a:lnTo>
                  <a:lnTo>
                    <a:pt x="2083" y="847"/>
                  </a:lnTo>
                  <a:lnTo>
                    <a:pt x="2084" y="848"/>
                  </a:lnTo>
                  <a:lnTo>
                    <a:pt x="2088" y="849"/>
                  </a:lnTo>
                  <a:lnTo>
                    <a:pt x="2092" y="851"/>
                  </a:lnTo>
                  <a:lnTo>
                    <a:pt x="2098" y="849"/>
                  </a:lnTo>
                  <a:lnTo>
                    <a:pt x="2101" y="851"/>
                  </a:lnTo>
                  <a:lnTo>
                    <a:pt x="2104" y="845"/>
                  </a:lnTo>
                  <a:lnTo>
                    <a:pt x="2104" y="843"/>
                  </a:lnTo>
                  <a:lnTo>
                    <a:pt x="2106" y="840"/>
                  </a:lnTo>
                  <a:lnTo>
                    <a:pt x="2110" y="840"/>
                  </a:lnTo>
                  <a:lnTo>
                    <a:pt x="2113" y="840"/>
                  </a:lnTo>
                  <a:lnTo>
                    <a:pt x="2118" y="844"/>
                  </a:lnTo>
                  <a:lnTo>
                    <a:pt x="2123" y="845"/>
                  </a:lnTo>
                  <a:lnTo>
                    <a:pt x="2125" y="847"/>
                  </a:lnTo>
                  <a:lnTo>
                    <a:pt x="2127" y="851"/>
                  </a:lnTo>
                  <a:lnTo>
                    <a:pt x="2131" y="853"/>
                  </a:lnTo>
                  <a:lnTo>
                    <a:pt x="2134" y="853"/>
                  </a:lnTo>
                  <a:lnTo>
                    <a:pt x="2137" y="852"/>
                  </a:lnTo>
                  <a:lnTo>
                    <a:pt x="2146" y="851"/>
                  </a:lnTo>
                  <a:lnTo>
                    <a:pt x="2148" y="849"/>
                  </a:lnTo>
                  <a:lnTo>
                    <a:pt x="2151" y="849"/>
                  </a:lnTo>
                  <a:lnTo>
                    <a:pt x="2152" y="847"/>
                  </a:lnTo>
                  <a:lnTo>
                    <a:pt x="2155" y="844"/>
                  </a:lnTo>
                  <a:lnTo>
                    <a:pt x="2159" y="840"/>
                  </a:lnTo>
                  <a:lnTo>
                    <a:pt x="2163" y="842"/>
                  </a:lnTo>
                  <a:lnTo>
                    <a:pt x="2163" y="843"/>
                  </a:lnTo>
                  <a:lnTo>
                    <a:pt x="2164" y="843"/>
                  </a:lnTo>
                  <a:lnTo>
                    <a:pt x="2167" y="844"/>
                  </a:lnTo>
                  <a:lnTo>
                    <a:pt x="2169" y="845"/>
                  </a:lnTo>
                  <a:lnTo>
                    <a:pt x="2172" y="845"/>
                  </a:lnTo>
                  <a:lnTo>
                    <a:pt x="2172" y="843"/>
                  </a:lnTo>
                  <a:lnTo>
                    <a:pt x="2174" y="842"/>
                  </a:lnTo>
                  <a:lnTo>
                    <a:pt x="2176" y="840"/>
                  </a:lnTo>
                  <a:lnTo>
                    <a:pt x="2180" y="840"/>
                  </a:lnTo>
                  <a:lnTo>
                    <a:pt x="2181" y="843"/>
                  </a:lnTo>
                  <a:lnTo>
                    <a:pt x="2178" y="845"/>
                  </a:lnTo>
                  <a:lnTo>
                    <a:pt x="2176" y="847"/>
                  </a:lnTo>
                  <a:lnTo>
                    <a:pt x="2175" y="851"/>
                  </a:lnTo>
                  <a:lnTo>
                    <a:pt x="2177" y="854"/>
                  </a:lnTo>
                  <a:lnTo>
                    <a:pt x="2175" y="857"/>
                  </a:lnTo>
                  <a:lnTo>
                    <a:pt x="2175" y="860"/>
                  </a:lnTo>
                  <a:lnTo>
                    <a:pt x="2176" y="862"/>
                  </a:lnTo>
                  <a:lnTo>
                    <a:pt x="2176" y="866"/>
                  </a:lnTo>
                  <a:lnTo>
                    <a:pt x="2176" y="870"/>
                  </a:lnTo>
                  <a:lnTo>
                    <a:pt x="2177" y="874"/>
                  </a:lnTo>
                  <a:lnTo>
                    <a:pt x="2177" y="877"/>
                  </a:lnTo>
                  <a:lnTo>
                    <a:pt x="2175" y="879"/>
                  </a:lnTo>
                  <a:lnTo>
                    <a:pt x="2173" y="880"/>
                  </a:lnTo>
                  <a:lnTo>
                    <a:pt x="2172" y="886"/>
                  </a:lnTo>
                  <a:lnTo>
                    <a:pt x="2171" y="887"/>
                  </a:lnTo>
                  <a:lnTo>
                    <a:pt x="2169" y="891"/>
                  </a:lnTo>
                  <a:lnTo>
                    <a:pt x="2167" y="896"/>
                  </a:lnTo>
                  <a:lnTo>
                    <a:pt x="2167" y="897"/>
                  </a:lnTo>
                  <a:lnTo>
                    <a:pt x="2165" y="898"/>
                  </a:lnTo>
                  <a:lnTo>
                    <a:pt x="2165" y="902"/>
                  </a:lnTo>
                  <a:lnTo>
                    <a:pt x="2164" y="903"/>
                  </a:lnTo>
                  <a:lnTo>
                    <a:pt x="2163" y="905"/>
                  </a:lnTo>
                  <a:lnTo>
                    <a:pt x="2161" y="911"/>
                  </a:lnTo>
                  <a:lnTo>
                    <a:pt x="2159" y="917"/>
                  </a:lnTo>
                  <a:lnTo>
                    <a:pt x="2157" y="921"/>
                  </a:lnTo>
                  <a:lnTo>
                    <a:pt x="2154" y="925"/>
                  </a:lnTo>
                  <a:lnTo>
                    <a:pt x="2151" y="926"/>
                  </a:lnTo>
                  <a:lnTo>
                    <a:pt x="2148" y="928"/>
                  </a:lnTo>
                  <a:lnTo>
                    <a:pt x="2144" y="929"/>
                  </a:lnTo>
                  <a:lnTo>
                    <a:pt x="2142" y="928"/>
                  </a:lnTo>
                  <a:lnTo>
                    <a:pt x="2141" y="929"/>
                  </a:lnTo>
                  <a:lnTo>
                    <a:pt x="2139" y="930"/>
                  </a:lnTo>
                  <a:lnTo>
                    <a:pt x="2137" y="929"/>
                  </a:lnTo>
                  <a:lnTo>
                    <a:pt x="2137" y="930"/>
                  </a:lnTo>
                  <a:lnTo>
                    <a:pt x="2135" y="929"/>
                  </a:lnTo>
                  <a:lnTo>
                    <a:pt x="2133" y="930"/>
                  </a:lnTo>
                  <a:lnTo>
                    <a:pt x="2135" y="929"/>
                  </a:lnTo>
                  <a:lnTo>
                    <a:pt x="2131" y="930"/>
                  </a:lnTo>
                  <a:lnTo>
                    <a:pt x="2129" y="928"/>
                  </a:lnTo>
                  <a:lnTo>
                    <a:pt x="2127" y="926"/>
                  </a:lnTo>
                  <a:lnTo>
                    <a:pt x="2126" y="929"/>
                  </a:lnTo>
                  <a:lnTo>
                    <a:pt x="2125" y="929"/>
                  </a:lnTo>
                  <a:lnTo>
                    <a:pt x="2124" y="929"/>
                  </a:lnTo>
                  <a:lnTo>
                    <a:pt x="2124" y="930"/>
                  </a:lnTo>
                  <a:lnTo>
                    <a:pt x="2123" y="929"/>
                  </a:lnTo>
                  <a:lnTo>
                    <a:pt x="2123" y="928"/>
                  </a:lnTo>
                  <a:lnTo>
                    <a:pt x="2120" y="926"/>
                  </a:lnTo>
                  <a:lnTo>
                    <a:pt x="2122" y="924"/>
                  </a:lnTo>
                  <a:lnTo>
                    <a:pt x="2124" y="925"/>
                  </a:lnTo>
                  <a:lnTo>
                    <a:pt x="2122" y="922"/>
                  </a:lnTo>
                  <a:lnTo>
                    <a:pt x="2121" y="922"/>
                  </a:lnTo>
                  <a:lnTo>
                    <a:pt x="2117" y="923"/>
                  </a:lnTo>
                  <a:lnTo>
                    <a:pt x="2112" y="922"/>
                  </a:lnTo>
                  <a:lnTo>
                    <a:pt x="2109" y="922"/>
                  </a:lnTo>
                  <a:lnTo>
                    <a:pt x="2110" y="922"/>
                  </a:lnTo>
                  <a:lnTo>
                    <a:pt x="2108" y="924"/>
                  </a:lnTo>
                  <a:lnTo>
                    <a:pt x="2106" y="923"/>
                  </a:lnTo>
                  <a:lnTo>
                    <a:pt x="2104" y="924"/>
                  </a:lnTo>
                  <a:lnTo>
                    <a:pt x="2106" y="922"/>
                  </a:lnTo>
                  <a:lnTo>
                    <a:pt x="2104" y="923"/>
                  </a:lnTo>
                  <a:lnTo>
                    <a:pt x="2101" y="923"/>
                  </a:lnTo>
                  <a:lnTo>
                    <a:pt x="2098" y="926"/>
                  </a:lnTo>
                  <a:lnTo>
                    <a:pt x="2099" y="926"/>
                  </a:lnTo>
                  <a:lnTo>
                    <a:pt x="2098" y="926"/>
                  </a:lnTo>
                  <a:lnTo>
                    <a:pt x="2097" y="925"/>
                  </a:lnTo>
                  <a:lnTo>
                    <a:pt x="2090" y="930"/>
                  </a:lnTo>
                  <a:lnTo>
                    <a:pt x="2084" y="932"/>
                  </a:lnTo>
                  <a:lnTo>
                    <a:pt x="2082" y="933"/>
                  </a:lnTo>
                  <a:lnTo>
                    <a:pt x="2080" y="931"/>
                  </a:lnTo>
                  <a:lnTo>
                    <a:pt x="2074" y="929"/>
                  </a:lnTo>
                  <a:lnTo>
                    <a:pt x="2069" y="929"/>
                  </a:lnTo>
                  <a:lnTo>
                    <a:pt x="2066" y="926"/>
                  </a:lnTo>
                  <a:lnTo>
                    <a:pt x="2063" y="928"/>
                  </a:lnTo>
                  <a:lnTo>
                    <a:pt x="2061" y="926"/>
                  </a:lnTo>
                  <a:lnTo>
                    <a:pt x="2058" y="924"/>
                  </a:lnTo>
                  <a:lnTo>
                    <a:pt x="2041" y="921"/>
                  </a:lnTo>
                  <a:lnTo>
                    <a:pt x="2039" y="921"/>
                  </a:lnTo>
                  <a:lnTo>
                    <a:pt x="2033" y="923"/>
                  </a:lnTo>
                  <a:lnTo>
                    <a:pt x="2030" y="923"/>
                  </a:lnTo>
                  <a:lnTo>
                    <a:pt x="2029" y="922"/>
                  </a:lnTo>
                  <a:lnTo>
                    <a:pt x="2029" y="921"/>
                  </a:lnTo>
                  <a:lnTo>
                    <a:pt x="2027" y="916"/>
                  </a:lnTo>
                  <a:lnTo>
                    <a:pt x="2024" y="915"/>
                  </a:lnTo>
                  <a:lnTo>
                    <a:pt x="2016" y="915"/>
                  </a:lnTo>
                  <a:lnTo>
                    <a:pt x="2013" y="914"/>
                  </a:lnTo>
                  <a:lnTo>
                    <a:pt x="2011" y="913"/>
                  </a:lnTo>
                  <a:lnTo>
                    <a:pt x="2003" y="912"/>
                  </a:lnTo>
                  <a:lnTo>
                    <a:pt x="2001" y="910"/>
                  </a:lnTo>
                  <a:lnTo>
                    <a:pt x="2001" y="906"/>
                  </a:lnTo>
                  <a:lnTo>
                    <a:pt x="1998" y="905"/>
                  </a:lnTo>
                  <a:lnTo>
                    <a:pt x="1993" y="903"/>
                  </a:lnTo>
                  <a:lnTo>
                    <a:pt x="1989" y="902"/>
                  </a:lnTo>
                  <a:lnTo>
                    <a:pt x="1986" y="902"/>
                  </a:lnTo>
                  <a:lnTo>
                    <a:pt x="1982" y="902"/>
                  </a:lnTo>
                  <a:lnTo>
                    <a:pt x="1980" y="902"/>
                  </a:lnTo>
                  <a:lnTo>
                    <a:pt x="1977" y="904"/>
                  </a:lnTo>
                  <a:lnTo>
                    <a:pt x="1972" y="904"/>
                  </a:lnTo>
                  <a:lnTo>
                    <a:pt x="1969" y="905"/>
                  </a:lnTo>
                  <a:lnTo>
                    <a:pt x="1967" y="906"/>
                  </a:lnTo>
                  <a:lnTo>
                    <a:pt x="1961" y="911"/>
                  </a:lnTo>
                  <a:lnTo>
                    <a:pt x="1959" y="914"/>
                  </a:lnTo>
                  <a:lnTo>
                    <a:pt x="1958" y="917"/>
                  </a:lnTo>
                  <a:lnTo>
                    <a:pt x="1958" y="921"/>
                  </a:lnTo>
                  <a:lnTo>
                    <a:pt x="1959" y="923"/>
                  </a:lnTo>
                  <a:lnTo>
                    <a:pt x="1961" y="928"/>
                  </a:lnTo>
                  <a:lnTo>
                    <a:pt x="1960" y="930"/>
                  </a:lnTo>
                  <a:lnTo>
                    <a:pt x="1959" y="933"/>
                  </a:lnTo>
                  <a:lnTo>
                    <a:pt x="1954" y="939"/>
                  </a:lnTo>
                  <a:lnTo>
                    <a:pt x="1949" y="941"/>
                  </a:lnTo>
                  <a:lnTo>
                    <a:pt x="1945" y="941"/>
                  </a:lnTo>
                  <a:lnTo>
                    <a:pt x="1939" y="938"/>
                  </a:lnTo>
                  <a:lnTo>
                    <a:pt x="1933" y="933"/>
                  </a:lnTo>
                  <a:lnTo>
                    <a:pt x="1921" y="929"/>
                  </a:lnTo>
                  <a:lnTo>
                    <a:pt x="1913" y="926"/>
                  </a:lnTo>
                  <a:lnTo>
                    <a:pt x="1910" y="928"/>
                  </a:lnTo>
                  <a:lnTo>
                    <a:pt x="1905" y="926"/>
                  </a:lnTo>
                  <a:lnTo>
                    <a:pt x="1900" y="924"/>
                  </a:lnTo>
                  <a:lnTo>
                    <a:pt x="1898" y="922"/>
                  </a:lnTo>
                  <a:lnTo>
                    <a:pt x="1896" y="920"/>
                  </a:lnTo>
                  <a:lnTo>
                    <a:pt x="1895" y="916"/>
                  </a:lnTo>
                  <a:lnTo>
                    <a:pt x="1894" y="911"/>
                  </a:lnTo>
                  <a:lnTo>
                    <a:pt x="1892" y="910"/>
                  </a:lnTo>
                  <a:lnTo>
                    <a:pt x="1887" y="908"/>
                  </a:lnTo>
                  <a:lnTo>
                    <a:pt x="1883" y="907"/>
                  </a:lnTo>
                  <a:lnTo>
                    <a:pt x="1879" y="905"/>
                  </a:lnTo>
                  <a:lnTo>
                    <a:pt x="1875" y="904"/>
                  </a:lnTo>
                  <a:lnTo>
                    <a:pt x="1870" y="903"/>
                  </a:lnTo>
                  <a:lnTo>
                    <a:pt x="1867" y="902"/>
                  </a:lnTo>
                  <a:lnTo>
                    <a:pt x="1859" y="903"/>
                  </a:lnTo>
                  <a:lnTo>
                    <a:pt x="1853" y="903"/>
                  </a:lnTo>
                  <a:lnTo>
                    <a:pt x="1847" y="899"/>
                  </a:lnTo>
                  <a:lnTo>
                    <a:pt x="1844" y="898"/>
                  </a:lnTo>
                  <a:lnTo>
                    <a:pt x="1840" y="896"/>
                  </a:lnTo>
                  <a:lnTo>
                    <a:pt x="1838" y="896"/>
                  </a:lnTo>
                  <a:lnTo>
                    <a:pt x="1836" y="893"/>
                  </a:lnTo>
                  <a:lnTo>
                    <a:pt x="1835" y="890"/>
                  </a:lnTo>
                  <a:lnTo>
                    <a:pt x="1834" y="890"/>
                  </a:lnTo>
                  <a:lnTo>
                    <a:pt x="1832" y="893"/>
                  </a:lnTo>
                  <a:lnTo>
                    <a:pt x="1832" y="890"/>
                  </a:lnTo>
                  <a:lnTo>
                    <a:pt x="1828" y="890"/>
                  </a:lnTo>
                  <a:lnTo>
                    <a:pt x="1825" y="888"/>
                  </a:lnTo>
                  <a:lnTo>
                    <a:pt x="1823" y="886"/>
                  </a:lnTo>
                  <a:lnTo>
                    <a:pt x="1822" y="883"/>
                  </a:lnTo>
                  <a:lnTo>
                    <a:pt x="1822" y="882"/>
                  </a:lnTo>
                  <a:lnTo>
                    <a:pt x="1824" y="879"/>
                  </a:lnTo>
                  <a:lnTo>
                    <a:pt x="1830" y="877"/>
                  </a:lnTo>
                  <a:lnTo>
                    <a:pt x="1834" y="871"/>
                  </a:lnTo>
                  <a:lnTo>
                    <a:pt x="1836" y="865"/>
                  </a:lnTo>
                  <a:lnTo>
                    <a:pt x="1835" y="861"/>
                  </a:lnTo>
                  <a:lnTo>
                    <a:pt x="1833" y="857"/>
                  </a:lnTo>
                  <a:lnTo>
                    <a:pt x="1831" y="857"/>
                  </a:lnTo>
                  <a:lnTo>
                    <a:pt x="1828" y="854"/>
                  </a:lnTo>
                  <a:lnTo>
                    <a:pt x="1827" y="851"/>
                  </a:lnTo>
                  <a:lnTo>
                    <a:pt x="1828" y="848"/>
                  </a:lnTo>
                  <a:lnTo>
                    <a:pt x="1832" y="846"/>
                  </a:lnTo>
                  <a:lnTo>
                    <a:pt x="1835" y="842"/>
                  </a:lnTo>
                  <a:lnTo>
                    <a:pt x="1836" y="838"/>
                  </a:lnTo>
                  <a:lnTo>
                    <a:pt x="1834" y="838"/>
                  </a:lnTo>
                  <a:lnTo>
                    <a:pt x="1827" y="843"/>
                  </a:lnTo>
                  <a:lnTo>
                    <a:pt x="1825" y="842"/>
                  </a:lnTo>
                  <a:lnTo>
                    <a:pt x="1825" y="840"/>
                  </a:lnTo>
                  <a:lnTo>
                    <a:pt x="1825" y="842"/>
                  </a:lnTo>
                  <a:lnTo>
                    <a:pt x="1826" y="839"/>
                  </a:lnTo>
                  <a:lnTo>
                    <a:pt x="1825" y="839"/>
                  </a:lnTo>
                  <a:lnTo>
                    <a:pt x="1824" y="836"/>
                  </a:lnTo>
                  <a:lnTo>
                    <a:pt x="1824" y="836"/>
                  </a:lnTo>
                  <a:lnTo>
                    <a:pt x="1822" y="834"/>
                  </a:lnTo>
                  <a:lnTo>
                    <a:pt x="1819" y="834"/>
                  </a:lnTo>
                  <a:lnTo>
                    <a:pt x="1819" y="834"/>
                  </a:lnTo>
                  <a:lnTo>
                    <a:pt x="1817" y="833"/>
                  </a:lnTo>
                  <a:lnTo>
                    <a:pt x="1809" y="836"/>
                  </a:lnTo>
                  <a:lnTo>
                    <a:pt x="1807" y="837"/>
                  </a:lnTo>
                  <a:lnTo>
                    <a:pt x="1802" y="839"/>
                  </a:lnTo>
                  <a:lnTo>
                    <a:pt x="1800" y="839"/>
                  </a:lnTo>
                  <a:lnTo>
                    <a:pt x="1797" y="838"/>
                  </a:lnTo>
                  <a:lnTo>
                    <a:pt x="1794" y="840"/>
                  </a:lnTo>
                  <a:lnTo>
                    <a:pt x="1792" y="840"/>
                  </a:lnTo>
                  <a:lnTo>
                    <a:pt x="1785" y="837"/>
                  </a:lnTo>
                  <a:lnTo>
                    <a:pt x="1784" y="837"/>
                  </a:lnTo>
                  <a:lnTo>
                    <a:pt x="1781" y="839"/>
                  </a:lnTo>
                  <a:lnTo>
                    <a:pt x="1779" y="839"/>
                  </a:lnTo>
                  <a:lnTo>
                    <a:pt x="1776" y="838"/>
                  </a:lnTo>
                  <a:lnTo>
                    <a:pt x="1773" y="836"/>
                  </a:lnTo>
                  <a:lnTo>
                    <a:pt x="1771" y="837"/>
                  </a:lnTo>
                  <a:lnTo>
                    <a:pt x="1771" y="839"/>
                  </a:lnTo>
                  <a:lnTo>
                    <a:pt x="1767" y="840"/>
                  </a:lnTo>
                  <a:lnTo>
                    <a:pt x="1763" y="842"/>
                  </a:lnTo>
                  <a:lnTo>
                    <a:pt x="1759" y="844"/>
                  </a:lnTo>
                  <a:lnTo>
                    <a:pt x="1756" y="844"/>
                  </a:lnTo>
                  <a:lnTo>
                    <a:pt x="1754" y="843"/>
                  </a:lnTo>
                  <a:lnTo>
                    <a:pt x="1754" y="840"/>
                  </a:lnTo>
                  <a:lnTo>
                    <a:pt x="1750" y="839"/>
                  </a:lnTo>
                  <a:lnTo>
                    <a:pt x="1737" y="839"/>
                  </a:lnTo>
                  <a:lnTo>
                    <a:pt x="1732" y="842"/>
                  </a:lnTo>
                  <a:lnTo>
                    <a:pt x="1729" y="840"/>
                  </a:lnTo>
                  <a:lnTo>
                    <a:pt x="1728" y="842"/>
                  </a:lnTo>
                  <a:lnTo>
                    <a:pt x="1725" y="840"/>
                  </a:lnTo>
                  <a:lnTo>
                    <a:pt x="1720" y="845"/>
                  </a:lnTo>
                  <a:lnTo>
                    <a:pt x="1717" y="844"/>
                  </a:lnTo>
                  <a:lnTo>
                    <a:pt x="1700" y="846"/>
                  </a:lnTo>
                  <a:lnTo>
                    <a:pt x="1689" y="851"/>
                  </a:lnTo>
                  <a:lnTo>
                    <a:pt x="1687" y="853"/>
                  </a:lnTo>
                  <a:lnTo>
                    <a:pt x="1685" y="856"/>
                  </a:lnTo>
                  <a:lnTo>
                    <a:pt x="1683" y="857"/>
                  </a:lnTo>
                  <a:lnTo>
                    <a:pt x="1680" y="855"/>
                  </a:lnTo>
                  <a:lnTo>
                    <a:pt x="1676" y="857"/>
                  </a:lnTo>
                  <a:lnTo>
                    <a:pt x="1672" y="857"/>
                  </a:lnTo>
                  <a:lnTo>
                    <a:pt x="1670" y="860"/>
                  </a:lnTo>
                  <a:lnTo>
                    <a:pt x="1668" y="862"/>
                  </a:lnTo>
                  <a:lnTo>
                    <a:pt x="1666" y="864"/>
                  </a:lnTo>
                  <a:lnTo>
                    <a:pt x="1663" y="865"/>
                  </a:lnTo>
                  <a:lnTo>
                    <a:pt x="1661" y="868"/>
                  </a:lnTo>
                  <a:lnTo>
                    <a:pt x="1656" y="868"/>
                  </a:lnTo>
                  <a:lnTo>
                    <a:pt x="1654" y="868"/>
                  </a:lnTo>
                  <a:lnTo>
                    <a:pt x="1653" y="868"/>
                  </a:lnTo>
                  <a:lnTo>
                    <a:pt x="1649" y="868"/>
                  </a:lnTo>
                  <a:lnTo>
                    <a:pt x="1647" y="868"/>
                  </a:lnTo>
                  <a:lnTo>
                    <a:pt x="1645" y="865"/>
                  </a:lnTo>
                  <a:lnTo>
                    <a:pt x="1645" y="864"/>
                  </a:lnTo>
                  <a:lnTo>
                    <a:pt x="1639" y="866"/>
                  </a:lnTo>
                  <a:lnTo>
                    <a:pt x="1634" y="865"/>
                  </a:lnTo>
                  <a:lnTo>
                    <a:pt x="1632" y="866"/>
                  </a:lnTo>
                  <a:lnTo>
                    <a:pt x="1630" y="865"/>
                  </a:lnTo>
                  <a:lnTo>
                    <a:pt x="1625" y="866"/>
                  </a:lnTo>
                  <a:lnTo>
                    <a:pt x="1620" y="866"/>
                  </a:lnTo>
                  <a:lnTo>
                    <a:pt x="1618" y="864"/>
                  </a:lnTo>
                  <a:lnTo>
                    <a:pt x="1612" y="860"/>
                  </a:lnTo>
                  <a:lnTo>
                    <a:pt x="1611" y="856"/>
                  </a:lnTo>
                  <a:lnTo>
                    <a:pt x="1612" y="855"/>
                  </a:lnTo>
                  <a:lnTo>
                    <a:pt x="1611" y="855"/>
                  </a:lnTo>
                  <a:lnTo>
                    <a:pt x="1606" y="856"/>
                  </a:lnTo>
                  <a:lnTo>
                    <a:pt x="1604" y="856"/>
                  </a:lnTo>
                  <a:lnTo>
                    <a:pt x="1603" y="860"/>
                  </a:lnTo>
                  <a:lnTo>
                    <a:pt x="1598" y="872"/>
                  </a:lnTo>
                  <a:lnTo>
                    <a:pt x="1592" y="883"/>
                  </a:lnTo>
                  <a:lnTo>
                    <a:pt x="1588" y="887"/>
                  </a:lnTo>
                  <a:lnTo>
                    <a:pt x="1584" y="889"/>
                  </a:lnTo>
                  <a:lnTo>
                    <a:pt x="1568" y="896"/>
                  </a:lnTo>
                  <a:lnTo>
                    <a:pt x="1563" y="902"/>
                  </a:lnTo>
                  <a:lnTo>
                    <a:pt x="1558" y="906"/>
                  </a:lnTo>
                  <a:lnTo>
                    <a:pt x="1558" y="912"/>
                  </a:lnTo>
                  <a:lnTo>
                    <a:pt x="1557" y="914"/>
                  </a:lnTo>
                  <a:lnTo>
                    <a:pt x="1553" y="919"/>
                  </a:lnTo>
                  <a:lnTo>
                    <a:pt x="1550" y="924"/>
                  </a:lnTo>
                  <a:lnTo>
                    <a:pt x="1550" y="932"/>
                  </a:lnTo>
                  <a:lnTo>
                    <a:pt x="1550" y="934"/>
                  </a:lnTo>
                  <a:lnTo>
                    <a:pt x="1552" y="938"/>
                  </a:lnTo>
                  <a:lnTo>
                    <a:pt x="1553" y="940"/>
                  </a:lnTo>
                  <a:lnTo>
                    <a:pt x="1553" y="942"/>
                  </a:lnTo>
                  <a:lnTo>
                    <a:pt x="1551" y="948"/>
                  </a:lnTo>
                  <a:lnTo>
                    <a:pt x="1548" y="950"/>
                  </a:lnTo>
                  <a:lnTo>
                    <a:pt x="1544" y="956"/>
                  </a:lnTo>
                  <a:lnTo>
                    <a:pt x="1542" y="958"/>
                  </a:lnTo>
                  <a:lnTo>
                    <a:pt x="1540" y="960"/>
                  </a:lnTo>
                  <a:lnTo>
                    <a:pt x="1534" y="964"/>
                  </a:lnTo>
                  <a:lnTo>
                    <a:pt x="1529" y="967"/>
                  </a:lnTo>
                  <a:lnTo>
                    <a:pt x="1527" y="971"/>
                  </a:lnTo>
                  <a:lnTo>
                    <a:pt x="1519" y="974"/>
                  </a:lnTo>
                  <a:lnTo>
                    <a:pt x="1509" y="975"/>
                  </a:lnTo>
                  <a:lnTo>
                    <a:pt x="1507" y="979"/>
                  </a:lnTo>
                  <a:lnTo>
                    <a:pt x="1504" y="980"/>
                  </a:lnTo>
                  <a:lnTo>
                    <a:pt x="1503" y="983"/>
                  </a:lnTo>
                  <a:lnTo>
                    <a:pt x="1501" y="987"/>
                  </a:lnTo>
                  <a:lnTo>
                    <a:pt x="1501" y="990"/>
                  </a:lnTo>
                  <a:lnTo>
                    <a:pt x="1500" y="992"/>
                  </a:lnTo>
                  <a:lnTo>
                    <a:pt x="1498" y="994"/>
                  </a:lnTo>
                  <a:lnTo>
                    <a:pt x="1487" y="1001"/>
                  </a:lnTo>
                  <a:lnTo>
                    <a:pt x="1486" y="1005"/>
                  </a:lnTo>
                  <a:lnTo>
                    <a:pt x="1482" y="1013"/>
                  </a:lnTo>
                  <a:lnTo>
                    <a:pt x="1481" y="1022"/>
                  </a:lnTo>
                  <a:lnTo>
                    <a:pt x="1480" y="1025"/>
                  </a:lnTo>
                  <a:lnTo>
                    <a:pt x="1476" y="1027"/>
                  </a:lnTo>
                  <a:lnTo>
                    <a:pt x="1472" y="1032"/>
                  </a:lnTo>
                  <a:lnTo>
                    <a:pt x="1467" y="1036"/>
                  </a:lnTo>
                  <a:lnTo>
                    <a:pt x="1466" y="1039"/>
                  </a:lnTo>
                  <a:lnTo>
                    <a:pt x="1468" y="1036"/>
                  </a:lnTo>
                  <a:lnTo>
                    <a:pt x="1467" y="1039"/>
                  </a:lnTo>
                  <a:lnTo>
                    <a:pt x="1463" y="1047"/>
                  </a:lnTo>
                  <a:lnTo>
                    <a:pt x="1463" y="1049"/>
                  </a:lnTo>
                  <a:lnTo>
                    <a:pt x="1461" y="1052"/>
                  </a:lnTo>
                  <a:lnTo>
                    <a:pt x="1460" y="1054"/>
                  </a:lnTo>
                  <a:lnTo>
                    <a:pt x="1459" y="1058"/>
                  </a:lnTo>
                  <a:lnTo>
                    <a:pt x="1457" y="1058"/>
                  </a:lnTo>
                  <a:lnTo>
                    <a:pt x="1455" y="1061"/>
                  </a:lnTo>
                  <a:lnTo>
                    <a:pt x="1454" y="1064"/>
                  </a:lnTo>
                  <a:lnTo>
                    <a:pt x="1450" y="1077"/>
                  </a:lnTo>
                  <a:lnTo>
                    <a:pt x="1451" y="1081"/>
                  </a:lnTo>
                  <a:lnTo>
                    <a:pt x="1452" y="1077"/>
                  </a:lnTo>
                  <a:lnTo>
                    <a:pt x="1452" y="1075"/>
                  </a:lnTo>
                  <a:lnTo>
                    <a:pt x="1454" y="1076"/>
                  </a:lnTo>
                  <a:lnTo>
                    <a:pt x="1457" y="1082"/>
                  </a:lnTo>
                  <a:lnTo>
                    <a:pt x="1459" y="1081"/>
                  </a:lnTo>
                  <a:lnTo>
                    <a:pt x="1463" y="1088"/>
                  </a:lnTo>
                  <a:lnTo>
                    <a:pt x="1463" y="1094"/>
                  </a:lnTo>
                  <a:lnTo>
                    <a:pt x="1459" y="1100"/>
                  </a:lnTo>
                  <a:lnTo>
                    <a:pt x="1459" y="1102"/>
                  </a:lnTo>
                  <a:lnTo>
                    <a:pt x="1461" y="1103"/>
                  </a:lnTo>
                  <a:lnTo>
                    <a:pt x="1465" y="1113"/>
                  </a:lnTo>
                  <a:lnTo>
                    <a:pt x="1465" y="1119"/>
                  </a:lnTo>
                  <a:lnTo>
                    <a:pt x="1465" y="1124"/>
                  </a:lnTo>
                  <a:lnTo>
                    <a:pt x="1465" y="1127"/>
                  </a:lnTo>
                  <a:lnTo>
                    <a:pt x="1459" y="1141"/>
                  </a:lnTo>
                  <a:lnTo>
                    <a:pt x="1458" y="1145"/>
                  </a:lnTo>
                  <a:lnTo>
                    <a:pt x="1458" y="1151"/>
                  </a:lnTo>
                  <a:lnTo>
                    <a:pt x="1454" y="1158"/>
                  </a:lnTo>
                  <a:lnTo>
                    <a:pt x="1451" y="1162"/>
                  </a:lnTo>
                  <a:lnTo>
                    <a:pt x="1449" y="1163"/>
                  </a:lnTo>
                  <a:lnTo>
                    <a:pt x="1447" y="1164"/>
                  </a:lnTo>
                  <a:lnTo>
                    <a:pt x="1448" y="1165"/>
                  </a:lnTo>
                  <a:lnTo>
                    <a:pt x="1450" y="1167"/>
                  </a:lnTo>
                  <a:lnTo>
                    <a:pt x="1452" y="1170"/>
                  </a:lnTo>
                  <a:lnTo>
                    <a:pt x="1455" y="1174"/>
                  </a:lnTo>
                  <a:lnTo>
                    <a:pt x="1455" y="1177"/>
                  </a:lnTo>
                  <a:lnTo>
                    <a:pt x="1459" y="1173"/>
                  </a:lnTo>
                  <a:lnTo>
                    <a:pt x="1459" y="1173"/>
                  </a:lnTo>
                  <a:lnTo>
                    <a:pt x="1460" y="1173"/>
                  </a:lnTo>
                  <a:lnTo>
                    <a:pt x="1459" y="1173"/>
                  </a:lnTo>
                  <a:lnTo>
                    <a:pt x="1456" y="1179"/>
                  </a:lnTo>
                  <a:lnTo>
                    <a:pt x="1458" y="1178"/>
                  </a:lnTo>
                  <a:lnTo>
                    <a:pt x="1459" y="1176"/>
                  </a:lnTo>
                  <a:lnTo>
                    <a:pt x="1459" y="1179"/>
                  </a:lnTo>
                  <a:lnTo>
                    <a:pt x="1458" y="1181"/>
                  </a:lnTo>
                  <a:lnTo>
                    <a:pt x="1458" y="1182"/>
                  </a:lnTo>
                  <a:lnTo>
                    <a:pt x="1460" y="1185"/>
                  </a:lnTo>
                  <a:lnTo>
                    <a:pt x="1464" y="1184"/>
                  </a:lnTo>
                  <a:lnTo>
                    <a:pt x="1468" y="1184"/>
                  </a:lnTo>
                  <a:lnTo>
                    <a:pt x="1472" y="1182"/>
                  </a:lnTo>
                  <a:lnTo>
                    <a:pt x="1473" y="1182"/>
                  </a:lnTo>
                  <a:lnTo>
                    <a:pt x="1475" y="1182"/>
                  </a:lnTo>
                  <a:lnTo>
                    <a:pt x="1474" y="1184"/>
                  </a:lnTo>
                  <a:lnTo>
                    <a:pt x="1473" y="1182"/>
                  </a:lnTo>
                  <a:lnTo>
                    <a:pt x="1472" y="1182"/>
                  </a:lnTo>
                  <a:lnTo>
                    <a:pt x="1469" y="1184"/>
                  </a:lnTo>
                  <a:lnTo>
                    <a:pt x="1464" y="1184"/>
                  </a:lnTo>
                  <a:lnTo>
                    <a:pt x="1464" y="1186"/>
                  </a:lnTo>
                  <a:lnTo>
                    <a:pt x="1458" y="1186"/>
                  </a:lnTo>
                  <a:lnTo>
                    <a:pt x="1457" y="1184"/>
                  </a:lnTo>
                  <a:lnTo>
                    <a:pt x="1455" y="1185"/>
                  </a:lnTo>
                  <a:lnTo>
                    <a:pt x="1455" y="1187"/>
                  </a:lnTo>
                  <a:lnTo>
                    <a:pt x="1456" y="1189"/>
                  </a:lnTo>
                  <a:lnTo>
                    <a:pt x="1455" y="1191"/>
                  </a:lnTo>
                  <a:lnTo>
                    <a:pt x="1456" y="1193"/>
                  </a:lnTo>
                  <a:lnTo>
                    <a:pt x="1458" y="1193"/>
                  </a:lnTo>
                  <a:lnTo>
                    <a:pt x="1459" y="1195"/>
                  </a:lnTo>
                  <a:lnTo>
                    <a:pt x="1457" y="1195"/>
                  </a:lnTo>
                  <a:lnTo>
                    <a:pt x="1455" y="1198"/>
                  </a:lnTo>
                  <a:lnTo>
                    <a:pt x="1456" y="1199"/>
                  </a:lnTo>
                  <a:lnTo>
                    <a:pt x="1460" y="1201"/>
                  </a:lnTo>
                  <a:lnTo>
                    <a:pt x="1461" y="1199"/>
                  </a:lnTo>
                  <a:lnTo>
                    <a:pt x="1465" y="1198"/>
                  </a:lnTo>
                  <a:lnTo>
                    <a:pt x="1461" y="1201"/>
                  </a:lnTo>
                  <a:lnTo>
                    <a:pt x="1461" y="1204"/>
                  </a:lnTo>
                  <a:lnTo>
                    <a:pt x="1464" y="1205"/>
                  </a:lnTo>
                  <a:lnTo>
                    <a:pt x="1466" y="1204"/>
                  </a:lnTo>
                  <a:lnTo>
                    <a:pt x="1469" y="1204"/>
                  </a:lnTo>
                  <a:lnTo>
                    <a:pt x="1467" y="1204"/>
                  </a:lnTo>
                  <a:lnTo>
                    <a:pt x="1467" y="1207"/>
                  </a:lnTo>
                  <a:lnTo>
                    <a:pt x="1470" y="1206"/>
                  </a:lnTo>
                  <a:lnTo>
                    <a:pt x="1472" y="1205"/>
                  </a:lnTo>
                  <a:lnTo>
                    <a:pt x="1480" y="1204"/>
                  </a:lnTo>
                  <a:lnTo>
                    <a:pt x="1480" y="1206"/>
                  </a:lnTo>
                  <a:lnTo>
                    <a:pt x="1481" y="1206"/>
                  </a:lnTo>
                  <a:lnTo>
                    <a:pt x="1480" y="1206"/>
                  </a:lnTo>
                  <a:lnTo>
                    <a:pt x="1476" y="1206"/>
                  </a:lnTo>
                  <a:lnTo>
                    <a:pt x="1474" y="1206"/>
                  </a:lnTo>
                  <a:lnTo>
                    <a:pt x="1473" y="1208"/>
                  </a:lnTo>
                  <a:lnTo>
                    <a:pt x="1477" y="1207"/>
                  </a:lnTo>
                  <a:lnTo>
                    <a:pt x="1475" y="1210"/>
                  </a:lnTo>
                  <a:lnTo>
                    <a:pt x="1473" y="1212"/>
                  </a:lnTo>
                  <a:lnTo>
                    <a:pt x="1475" y="1212"/>
                  </a:lnTo>
                  <a:lnTo>
                    <a:pt x="1475" y="1214"/>
                  </a:lnTo>
                  <a:lnTo>
                    <a:pt x="1476" y="1216"/>
                  </a:lnTo>
                  <a:lnTo>
                    <a:pt x="1480" y="1215"/>
                  </a:lnTo>
                  <a:lnTo>
                    <a:pt x="1480" y="1218"/>
                  </a:lnTo>
                  <a:lnTo>
                    <a:pt x="1484" y="1218"/>
                  </a:lnTo>
                  <a:lnTo>
                    <a:pt x="1482" y="1220"/>
                  </a:lnTo>
                  <a:lnTo>
                    <a:pt x="1484" y="1222"/>
                  </a:lnTo>
                  <a:lnTo>
                    <a:pt x="1484" y="1222"/>
                  </a:lnTo>
                  <a:lnTo>
                    <a:pt x="1486" y="1227"/>
                  </a:lnTo>
                  <a:lnTo>
                    <a:pt x="1490" y="1229"/>
                  </a:lnTo>
                  <a:lnTo>
                    <a:pt x="1492" y="1229"/>
                  </a:lnTo>
                  <a:lnTo>
                    <a:pt x="1492" y="1231"/>
                  </a:lnTo>
                  <a:lnTo>
                    <a:pt x="1495" y="1233"/>
                  </a:lnTo>
                  <a:lnTo>
                    <a:pt x="1497" y="1232"/>
                  </a:lnTo>
                  <a:lnTo>
                    <a:pt x="1498" y="1232"/>
                  </a:lnTo>
                  <a:lnTo>
                    <a:pt x="1497" y="1235"/>
                  </a:lnTo>
                  <a:lnTo>
                    <a:pt x="1498" y="1233"/>
                  </a:lnTo>
                  <a:lnTo>
                    <a:pt x="1498" y="1237"/>
                  </a:lnTo>
                  <a:lnTo>
                    <a:pt x="1500" y="1237"/>
                  </a:lnTo>
                  <a:lnTo>
                    <a:pt x="1502" y="1242"/>
                  </a:lnTo>
                  <a:lnTo>
                    <a:pt x="1502" y="1245"/>
                  </a:lnTo>
                  <a:lnTo>
                    <a:pt x="1506" y="1246"/>
                  </a:lnTo>
                  <a:lnTo>
                    <a:pt x="1507" y="1247"/>
                  </a:lnTo>
                  <a:lnTo>
                    <a:pt x="1504" y="1247"/>
                  </a:lnTo>
                  <a:lnTo>
                    <a:pt x="1503" y="1249"/>
                  </a:lnTo>
                  <a:lnTo>
                    <a:pt x="1506" y="1249"/>
                  </a:lnTo>
                  <a:lnTo>
                    <a:pt x="1506" y="1250"/>
                  </a:lnTo>
                  <a:lnTo>
                    <a:pt x="1509" y="1252"/>
                  </a:lnTo>
                  <a:lnTo>
                    <a:pt x="1506" y="1253"/>
                  </a:lnTo>
                  <a:lnTo>
                    <a:pt x="1506" y="1253"/>
                  </a:lnTo>
                  <a:lnTo>
                    <a:pt x="1506" y="1254"/>
                  </a:lnTo>
                  <a:lnTo>
                    <a:pt x="1503" y="1253"/>
                  </a:lnTo>
                  <a:lnTo>
                    <a:pt x="1504" y="1255"/>
                  </a:lnTo>
                  <a:lnTo>
                    <a:pt x="1507" y="1255"/>
                  </a:lnTo>
                  <a:lnTo>
                    <a:pt x="1508" y="1258"/>
                  </a:lnTo>
                  <a:lnTo>
                    <a:pt x="1507" y="1261"/>
                  </a:lnTo>
                  <a:lnTo>
                    <a:pt x="1512" y="1263"/>
                  </a:lnTo>
                  <a:lnTo>
                    <a:pt x="1514" y="1263"/>
                  </a:lnTo>
                  <a:lnTo>
                    <a:pt x="1516" y="1265"/>
                  </a:lnTo>
                  <a:lnTo>
                    <a:pt x="1518" y="1264"/>
                  </a:lnTo>
                  <a:lnTo>
                    <a:pt x="1515" y="1265"/>
                  </a:lnTo>
                  <a:lnTo>
                    <a:pt x="1516" y="1267"/>
                  </a:lnTo>
                  <a:lnTo>
                    <a:pt x="1518" y="1268"/>
                  </a:lnTo>
                  <a:lnTo>
                    <a:pt x="1526" y="1273"/>
                  </a:lnTo>
                  <a:lnTo>
                    <a:pt x="1526" y="1273"/>
                  </a:lnTo>
                  <a:lnTo>
                    <a:pt x="1528" y="1274"/>
                  </a:lnTo>
                  <a:lnTo>
                    <a:pt x="1529" y="1276"/>
                  </a:lnTo>
                  <a:lnTo>
                    <a:pt x="1533" y="1279"/>
                  </a:lnTo>
                  <a:lnTo>
                    <a:pt x="1536" y="1281"/>
                  </a:lnTo>
                  <a:lnTo>
                    <a:pt x="1537" y="1281"/>
                  </a:lnTo>
                  <a:lnTo>
                    <a:pt x="1536" y="1282"/>
                  </a:lnTo>
                  <a:lnTo>
                    <a:pt x="1540" y="1283"/>
                  </a:lnTo>
                  <a:lnTo>
                    <a:pt x="1543" y="1284"/>
                  </a:lnTo>
                  <a:lnTo>
                    <a:pt x="1546" y="1288"/>
                  </a:lnTo>
                  <a:lnTo>
                    <a:pt x="1548" y="1289"/>
                  </a:lnTo>
                  <a:lnTo>
                    <a:pt x="1553" y="1293"/>
                  </a:lnTo>
                  <a:lnTo>
                    <a:pt x="1555" y="1297"/>
                  </a:lnTo>
                  <a:lnTo>
                    <a:pt x="1561" y="1300"/>
                  </a:lnTo>
                  <a:lnTo>
                    <a:pt x="1579" y="1309"/>
                  </a:lnTo>
                  <a:lnTo>
                    <a:pt x="1582" y="1309"/>
                  </a:lnTo>
                  <a:lnTo>
                    <a:pt x="1582" y="1309"/>
                  </a:lnTo>
                  <a:lnTo>
                    <a:pt x="1584" y="1308"/>
                  </a:lnTo>
                  <a:lnTo>
                    <a:pt x="1586" y="1307"/>
                  </a:lnTo>
                  <a:lnTo>
                    <a:pt x="1604" y="1300"/>
                  </a:lnTo>
                  <a:lnTo>
                    <a:pt x="1610" y="1299"/>
                  </a:lnTo>
                  <a:lnTo>
                    <a:pt x="1617" y="1298"/>
                  </a:lnTo>
                  <a:lnTo>
                    <a:pt x="1613" y="1297"/>
                  </a:lnTo>
                  <a:lnTo>
                    <a:pt x="1611" y="1298"/>
                  </a:lnTo>
                  <a:lnTo>
                    <a:pt x="1612" y="1297"/>
                  </a:lnTo>
                  <a:lnTo>
                    <a:pt x="1617" y="1297"/>
                  </a:lnTo>
                  <a:lnTo>
                    <a:pt x="1617" y="1298"/>
                  </a:lnTo>
                  <a:lnTo>
                    <a:pt x="1619" y="1298"/>
                  </a:lnTo>
                  <a:lnTo>
                    <a:pt x="1630" y="1297"/>
                  </a:lnTo>
                  <a:lnTo>
                    <a:pt x="1629" y="1297"/>
                  </a:lnTo>
                  <a:lnTo>
                    <a:pt x="1623" y="1297"/>
                  </a:lnTo>
                  <a:lnTo>
                    <a:pt x="1621" y="1297"/>
                  </a:lnTo>
                  <a:lnTo>
                    <a:pt x="1619" y="1298"/>
                  </a:lnTo>
                  <a:lnTo>
                    <a:pt x="1619" y="1297"/>
                  </a:lnTo>
                  <a:lnTo>
                    <a:pt x="1626" y="1296"/>
                  </a:lnTo>
                  <a:lnTo>
                    <a:pt x="1629" y="1297"/>
                  </a:lnTo>
                  <a:lnTo>
                    <a:pt x="1630" y="1297"/>
                  </a:lnTo>
                  <a:lnTo>
                    <a:pt x="1630" y="1296"/>
                  </a:lnTo>
                  <a:lnTo>
                    <a:pt x="1632" y="1297"/>
                  </a:lnTo>
                  <a:lnTo>
                    <a:pt x="1632" y="1297"/>
                  </a:lnTo>
                  <a:lnTo>
                    <a:pt x="1630" y="1297"/>
                  </a:lnTo>
                  <a:lnTo>
                    <a:pt x="1634" y="1298"/>
                  </a:lnTo>
                  <a:lnTo>
                    <a:pt x="1634" y="1297"/>
                  </a:lnTo>
                  <a:lnTo>
                    <a:pt x="1636" y="1298"/>
                  </a:lnTo>
                  <a:lnTo>
                    <a:pt x="1639" y="1298"/>
                  </a:lnTo>
                  <a:lnTo>
                    <a:pt x="1640" y="1296"/>
                  </a:lnTo>
                  <a:lnTo>
                    <a:pt x="1640" y="1296"/>
                  </a:lnTo>
                  <a:lnTo>
                    <a:pt x="1642" y="1298"/>
                  </a:lnTo>
                  <a:lnTo>
                    <a:pt x="1645" y="1299"/>
                  </a:lnTo>
                  <a:lnTo>
                    <a:pt x="1643" y="1299"/>
                  </a:lnTo>
                  <a:lnTo>
                    <a:pt x="1653" y="1301"/>
                  </a:lnTo>
                  <a:lnTo>
                    <a:pt x="1656" y="1304"/>
                  </a:lnTo>
                  <a:lnTo>
                    <a:pt x="1662" y="1301"/>
                  </a:lnTo>
                  <a:lnTo>
                    <a:pt x="1662" y="1300"/>
                  </a:lnTo>
                  <a:lnTo>
                    <a:pt x="1671" y="1297"/>
                  </a:lnTo>
                  <a:lnTo>
                    <a:pt x="1674" y="1297"/>
                  </a:lnTo>
                  <a:lnTo>
                    <a:pt x="1680" y="1293"/>
                  </a:lnTo>
                  <a:lnTo>
                    <a:pt x="1685" y="1292"/>
                  </a:lnTo>
                  <a:lnTo>
                    <a:pt x="1687" y="1290"/>
                  </a:lnTo>
                  <a:lnTo>
                    <a:pt x="1693" y="1290"/>
                  </a:lnTo>
                  <a:lnTo>
                    <a:pt x="1694" y="1289"/>
                  </a:lnTo>
                  <a:lnTo>
                    <a:pt x="1691" y="1285"/>
                  </a:lnTo>
                  <a:lnTo>
                    <a:pt x="1689" y="1285"/>
                  </a:lnTo>
                  <a:lnTo>
                    <a:pt x="1688" y="1285"/>
                  </a:lnTo>
                  <a:lnTo>
                    <a:pt x="1691" y="1285"/>
                  </a:lnTo>
                  <a:lnTo>
                    <a:pt x="1693" y="1287"/>
                  </a:lnTo>
                  <a:lnTo>
                    <a:pt x="1694" y="1289"/>
                  </a:lnTo>
                  <a:lnTo>
                    <a:pt x="1697" y="1290"/>
                  </a:lnTo>
                  <a:lnTo>
                    <a:pt x="1699" y="1287"/>
                  </a:lnTo>
                  <a:lnTo>
                    <a:pt x="1702" y="1285"/>
                  </a:lnTo>
                  <a:lnTo>
                    <a:pt x="1704" y="1284"/>
                  </a:lnTo>
                  <a:lnTo>
                    <a:pt x="1707" y="1283"/>
                  </a:lnTo>
                  <a:lnTo>
                    <a:pt x="1711" y="1282"/>
                  </a:lnTo>
                  <a:lnTo>
                    <a:pt x="1719" y="1282"/>
                  </a:lnTo>
                  <a:lnTo>
                    <a:pt x="1730" y="1281"/>
                  </a:lnTo>
                  <a:lnTo>
                    <a:pt x="1731" y="1280"/>
                  </a:lnTo>
                  <a:lnTo>
                    <a:pt x="1736" y="1278"/>
                  </a:lnTo>
                  <a:lnTo>
                    <a:pt x="1733" y="1280"/>
                  </a:lnTo>
                  <a:lnTo>
                    <a:pt x="1731" y="1280"/>
                  </a:lnTo>
                  <a:lnTo>
                    <a:pt x="1733" y="1281"/>
                  </a:lnTo>
                  <a:lnTo>
                    <a:pt x="1737" y="1280"/>
                  </a:lnTo>
                  <a:lnTo>
                    <a:pt x="1743" y="1281"/>
                  </a:lnTo>
                  <a:lnTo>
                    <a:pt x="1749" y="1284"/>
                  </a:lnTo>
                  <a:lnTo>
                    <a:pt x="1754" y="1289"/>
                  </a:lnTo>
                  <a:lnTo>
                    <a:pt x="1755" y="1289"/>
                  </a:lnTo>
                  <a:lnTo>
                    <a:pt x="1757" y="1288"/>
                  </a:lnTo>
                  <a:lnTo>
                    <a:pt x="1755" y="1289"/>
                  </a:lnTo>
                  <a:lnTo>
                    <a:pt x="1755" y="1292"/>
                  </a:lnTo>
                  <a:lnTo>
                    <a:pt x="1758" y="1290"/>
                  </a:lnTo>
                  <a:lnTo>
                    <a:pt x="1757" y="1291"/>
                  </a:lnTo>
                  <a:lnTo>
                    <a:pt x="1760" y="1292"/>
                  </a:lnTo>
                  <a:lnTo>
                    <a:pt x="1757" y="1292"/>
                  </a:lnTo>
                  <a:lnTo>
                    <a:pt x="1758" y="1295"/>
                  </a:lnTo>
                  <a:lnTo>
                    <a:pt x="1762" y="1293"/>
                  </a:lnTo>
                  <a:lnTo>
                    <a:pt x="1762" y="1295"/>
                  </a:lnTo>
                  <a:lnTo>
                    <a:pt x="1759" y="1296"/>
                  </a:lnTo>
                  <a:lnTo>
                    <a:pt x="1759" y="1301"/>
                  </a:lnTo>
                  <a:lnTo>
                    <a:pt x="1763" y="1307"/>
                  </a:lnTo>
                  <a:lnTo>
                    <a:pt x="1766" y="1308"/>
                  </a:lnTo>
                  <a:lnTo>
                    <a:pt x="1767" y="1308"/>
                  </a:lnTo>
                  <a:lnTo>
                    <a:pt x="1768" y="1310"/>
                  </a:lnTo>
                  <a:lnTo>
                    <a:pt x="1771" y="1307"/>
                  </a:lnTo>
                  <a:lnTo>
                    <a:pt x="1771" y="1310"/>
                  </a:lnTo>
                  <a:lnTo>
                    <a:pt x="1773" y="1309"/>
                  </a:lnTo>
                  <a:lnTo>
                    <a:pt x="1774" y="1307"/>
                  </a:lnTo>
                  <a:lnTo>
                    <a:pt x="1776" y="1306"/>
                  </a:lnTo>
                  <a:lnTo>
                    <a:pt x="1776" y="1306"/>
                  </a:lnTo>
                  <a:lnTo>
                    <a:pt x="1776" y="1308"/>
                  </a:lnTo>
                  <a:lnTo>
                    <a:pt x="1777" y="1309"/>
                  </a:lnTo>
                  <a:lnTo>
                    <a:pt x="1777" y="1302"/>
                  </a:lnTo>
                  <a:lnTo>
                    <a:pt x="1779" y="1308"/>
                  </a:lnTo>
                  <a:lnTo>
                    <a:pt x="1780" y="1307"/>
                  </a:lnTo>
                  <a:lnTo>
                    <a:pt x="1780" y="1305"/>
                  </a:lnTo>
                  <a:lnTo>
                    <a:pt x="1781" y="1305"/>
                  </a:lnTo>
                  <a:lnTo>
                    <a:pt x="1781" y="1307"/>
                  </a:lnTo>
                  <a:lnTo>
                    <a:pt x="1782" y="1305"/>
                  </a:lnTo>
                  <a:lnTo>
                    <a:pt x="1784" y="1306"/>
                  </a:lnTo>
                  <a:lnTo>
                    <a:pt x="1785" y="1306"/>
                  </a:lnTo>
                  <a:lnTo>
                    <a:pt x="1788" y="1306"/>
                  </a:lnTo>
                  <a:lnTo>
                    <a:pt x="1788" y="1304"/>
                  </a:lnTo>
                  <a:lnTo>
                    <a:pt x="1789" y="1306"/>
                  </a:lnTo>
                  <a:lnTo>
                    <a:pt x="1791" y="1307"/>
                  </a:lnTo>
                  <a:lnTo>
                    <a:pt x="1797" y="1306"/>
                  </a:lnTo>
                  <a:lnTo>
                    <a:pt x="1799" y="1306"/>
                  </a:lnTo>
                  <a:lnTo>
                    <a:pt x="1797" y="1300"/>
                  </a:lnTo>
                  <a:lnTo>
                    <a:pt x="1799" y="1302"/>
                  </a:lnTo>
                  <a:lnTo>
                    <a:pt x="1800" y="1302"/>
                  </a:lnTo>
                  <a:lnTo>
                    <a:pt x="1802" y="1302"/>
                  </a:lnTo>
                  <a:lnTo>
                    <a:pt x="1801" y="1306"/>
                  </a:lnTo>
                  <a:lnTo>
                    <a:pt x="1804" y="1307"/>
                  </a:lnTo>
                  <a:lnTo>
                    <a:pt x="1804" y="1305"/>
                  </a:lnTo>
                  <a:lnTo>
                    <a:pt x="1806" y="1306"/>
                  </a:lnTo>
                  <a:lnTo>
                    <a:pt x="1806" y="1305"/>
                  </a:lnTo>
                  <a:lnTo>
                    <a:pt x="1807" y="1310"/>
                  </a:lnTo>
                  <a:lnTo>
                    <a:pt x="1809" y="1314"/>
                  </a:lnTo>
                  <a:lnTo>
                    <a:pt x="1813" y="1314"/>
                  </a:lnTo>
                  <a:lnTo>
                    <a:pt x="1813" y="1315"/>
                  </a:lnTo>
                  <a:lnTo>
                    <a:pt x="1814" y="1314"/>
                  </a:lnTo>
                  <a:lnTo>
                    <a:pt x="1815" y="1314"/>
                  </a:lnTo>
                  <a:lnTo>
                    <a:pt x="1815" y="1314"/>
                  </a:lnTo>
                  <a:lnTo>
                    <a:pt x="1814" y="1313"/>
                  </a:lnTo>
                  <a:lnTo>
                    <a:pt x="1817" y="1313"/>
                  </a:lnTo>
                  <a:lnTo>
                    <a:pt x="1817" y="1313"/>
                  </a:lnTo>
                  <a:lnTo>
                    <a:pt x="1817" y="1313"/>
                  </a:lnTo>
                  <a:lnTo>
                    <a:pt x="1818" y="1316"/>
                  </a:lnTo>
                  <a:lnTo>
                    <a:pt x="1817" y="1316"/>
                  </a:lnTo>
                  <a:lnTo>
                    <a:pt x="1817" y="1319"/>
                  </a:lnTo>
                  <a:lnTo>
                    <a:pt x="1819" y="1319"/>
                  </a:lnTo>
                  <a:lnTo>
                    <a:pt x="1818" y="1322"/>
                  </a:lnTo>
                  <a:lnTo>
                    <a:pt x="1821" y="1324"/>
                  </a:lnTo>
                  <a:lnTo>
                    <a:pt x="1822" y="1326"/>
                  </a:lnTo>
                  <a:lnTo>
                    <a:pt x="1819" y="1330"/>
                  </a:lnTo>
                  <a:lnTo>
                    <a:pt x="1818" y="1340"/>
                  </a:lnTo>
                  <a:lnTo>
                    <a:pt x="1819" y="1342"/>
                  </a:lnTo>
                  <a:lnTo>
                    <a:pt x="1817" y="1347"/>
                  </a:lnTo>
                  <a:lnTo>
                    <a:pt x="1818" y="1347"/>
                  </a:lnTo>
                  <a:lnTo>
                    <a:pt x="1816" y="1347"/>
                  </a:lnTo>
                  <a:lnTo>
                    <a:pt x="1814" y="1350"/>
                  </a:lnTo>
                  <a:lnTo>
                    <a:pt x="1813" y="1352"/>
                  </a:lnTo>
                  <a:lnTo>
                    <a:pt x="1816" y="1353"/>
                  </a:lnTo>
                  <a:lnTo>
                    <a:pt x="1818" y="1353"/>
                  </a:lnTo>
                  <a:lnTo>
                    <a:pt x="1819" y="1355"/>
                  </a:lnTo>
                  <a:lnTo>
                    <a:pt x="1816" y="1355"/>
                  </a:lnTo>
                  <a:lnTo>
                    <a:pt x="1816" y="1360"/>
                  </a:lnTo>
                  <a:lnTo>
                    <a:pt x="1814" y="1359"/>
                  </a:lnTo>
                  <a:lnTo>
                    <a:pt x="1814" y="1362"/>
                  </a:lnTo>
                  <a:lnTo>
                    <a:pt x="1816" y="1365"/>
                  </a:lnTo>
                  <a:lnTo>
                    <a:pt x="1819" y="1366"/>
                  </a:lnTo>
                  <a:lnTo>
                    <a:pt x="1822" y="1366"/>
                  </a:lnTo>
                  <a:lnTo>
                    <a:pt x="1816" y="1367"/>
                  </a:lnTo>
                  <a:lnTo>
                    <a:pt x="1814" y="1366"/>
                  </a:lnTo>
                  <a:lnTo>
                    <a:pt x="1813" y="1373"/>
                  </a:lnTo>
                  <a:lnTo>
                    <a:pt x="1809" y="1378"/>
                  </a:lnTo>
                  <a:lnTo>
                    <a:pt x="1808" y="1381"/>
                  </a:lnTo>
                  <a:lnTo>
                    <a:pt x="1807" y="1378"/>
                  </a:lnTo>
                  <a:lnTo>
                    <a:pt x="1807" y="1378"/>
                  </a:lnTo>
                  <a:lnTo>
                    <a:pt x="1806" y="1378"/>
                  </a:lnTo>
                  <a:lnTo>
                    <a:pt x="1806" y="1381"/>
                  </a:lnTo>
                  <a:lnTo>
                    <a:pt x="1807" y="1382"/>
                  </a:lnTo>
                  <a:lnTo>
                    <a:pt x="1807" y="1383"/>
                  </a:lnTo>
                  <a:lnTo>
                    <a:pt x="1808" y="1386"/>
                  </a:lnTo>
                  <a:lnTo>
                    <a:pt x="1810" y="1387"/>
                  </a:lnTo>
                  <a:lnTo>
                    <a:pt x="1813" y="1390"/>
                  </a:lnTo>
                  <a:lnTo>
                    <a:pt x="1816" y="1391"/>
                  </a:lnTo>
                  <a:lnTo>
                    <a:pt x="1813" y="1391"/>
                  </a:lnTo>
                  <a:lnTo>
                    <a:pt x="1810" y="1389"/>
                  </a:lnTo>
                  <a:lnTo>
                    <a:pt x="1808" y="1386"/>
                  </a:lnTo>
                  <a:lnTo>
                    <a:pt x="1811" y="1392"/>
                  </a:lnTo>
                  <a:lnTo>
                    <a:pt x="1813" y="1394"/>
                  </a:lnTo>
                  <a:lnTo>
                    <a:pt x="1815" y="1395"/>
                  </a:lnTo>
                  <a:lnTo>
                    <a:pt x="1815" y="1395"/>
                  </a:lnTo>
                  <a:lnTo>
                    <a:pt x="1816" y="1401"/>
                  </a:lnTo>
                  <a:lnTo>
                    <a:pt x="1819" y="1402"/>
                  </a:lnTo>
                  <a:lnTo>
                    <a:pt x="1822" y="1403"/>
                  </a:lnTo>
                  <a:lnTo>
                    <a:pt x="1822" y="1404"/>
                  </a:lnTo>
                  <a:lnTo>
                    <a:pt x="1819" y="1403"/>
                  </a:lnTo>
                  <a:lnTo>
                    <a:pt x="1821" y="1406"/>
                  </a:lnTo>
                  <a:lnTo>
                    <a:pt x="1831" y="1413"/>
                  </a:lnTo>
                  <a:lnTo>
                    <a:pt x="1831" y="1415"/>
                  </a:lnTo>
                  <a:lnTo>
                    <a:pt x="1838" y="1422"/>
                  </a:lnTo>
                  <a:lnTo>
                    <a:pt x="1844" y="1429"/>
                  </a:lnTo>
                  <a:lnTo>
                    <a:pt x="1845" y="1433"/>
                  </a:lnTo>
                  <a:lnTo>
                    <a:pt x="1849" y="1437"/>
                  </a:lnTo>
                  <a:lnTo>
                    <a:pt x="1851" y="1437"/>
                  </a:lnTo>
                  <a:lnTo>
                    <a:pt x="1850" y="1439"/>
                  </a:lnTo>
                  <a:lnTo>
                    <a:pt x="1851" y="1442"/>
                  </a:lnTo>
                  <a:lnTo>
                    <a:pt x="1851" y="1445"/>
                  </a:lnTo>
                  <a:lnTo>
                    <a:pt x="1852" y="1447"/>
                  </a:lnTo>
                  <a:lnTo>
                    <a:pt x="1853" y="1450"/>
                  </a:lnTo>
                  <a:lnTo>
                    <a:pt x="1856" y="1451"/>
                  </a:lnTo>
                  <a:lnTo>
                    <a:pt x="1858" y="1451"/>
                  </a:lnTo>
                  <a:lnTo>
                    <a:pt x="1861" y="1449"/>
                  </a:lnTo>
                  <a:lnTo>
                    <a:pt x="1865" y="1449"/>
                  </a:lnTo>
                  <a:lnTo>
                    <a:pt x="1864" y="1450"/>
                  </a:lnTo>
                  <a:lnTo>
                    <a:pt x="1861" y="1451"/>
                  </a:lnTo>
                  <a:lnTo>
                    <a:pt x="1858" y="1451"/>
                  </a:lnTo>
                  <a:lnTo>
                    <a:pt x="1853" y="1453"/>
                  </a:lnTo>
                  <a:lnTo>
                    <a:pt x="1854" y="1455"/>
                  </a:lnTo>
                  <a:lnTo>
                    <a:pt x="1858" y="1461"/>
                  </a:lnTo>
                  <a:lnTo>
                    <a:pt x="1860" y="1463"/>
                  </a:lnTo>
                  <a:lnTo>
                    <a:pt x="1860" y="1466"/>
                  </a:lnTo>
                  <a:lnTo>
                    <a:pt x="1860" y="1467"/>
                  </a:lnTo>
                  <a:lnTo>
                    <a:pt x="1862" y="1472"/>
                  </a:lnTo>
                  <a:lnTo>
                    <a:pt x="1868" y="1483"/>
                  </a:lnTo>
                  <a:lnTo>
                    <a:pt x="1868" y="1486"/>
                  </a:lnTo>
                  <a:lnTo>
                    <a:pt x="1867" y="1489"/>
                  </a:lnTo>
                  <a:lnTo>
                    <a:pt x="1862" y="1493"/>
                  </a:lnTo>
                  <a:lnTo>
                    <a:pt x="1864" y="1495"/>
                  </a:lnTo>
                  <a:lnTo>
                    <a:pt x="1865" y="1497"/>
                  </a:lnTo>
                  <a:lnTo>
                    <a:pt x="1866" y="1500"/>
                  </a:lnTo>
                  <a:lnTo>
                    <a:pt x="1866" y="1502"/>
                  </a:lnTo>
                  <a:lnTo>
                    <a:pt x="1870" y="1512"/>
                  </a:lnTo>
                  <a:lnTo>
                    <a:pt x="1873" y="1515"/>
                  </a:lnTo>
                  <a:lnTo>
                    <a:pt x="1875" y="1521"/>
                  </a:lnTo>
                  <a:lnTo>
                    <a:pt x="1873" y="1532"/>
                  </a:lnTo>
                  <a:lnTo>
                    <a:pt x="1870" y="1538"/>
                  </a:lnTo>
                  <a:lnTo>
                    <a:pt x="1869" y="1540"/>
                  </a:lnTo>
                  <a:lnTo>
                    <a:pt x="1867" y="1541"/>
                  </a:lnTo>
                  <a:lnTo>
                    <a:pt x="1864" y="1544"/>
                  </a:lnTo>
                  <a:lnTo>
                    <a:pt x="1860" y="1549"/>
                  </a:lnTo>
                  <a:lnTo>
                    <a:pt x="1858" y="1552"/>
                  </a:lnTo>
                  <a:lnTo>
                    <a:pt x="1856" y="1554"/>
                  </a:lnTo>
                  <a:lnTo>
                    <a:pt x="1856" y="1558"/>
                  </a:lnTo>
                  <a:lnTo>
                    <a:pt x="1854" y="1561"/>
                  </a:lnTo>
                  <a:lnTo>
                    <a:pt x="1853" y="1572"/>
                  </a:lnTo>
                  <a:lnTo>
                    <a:pt x="1850" y="1579"/>
                  </a:lnTo>
                  <a:lnTo>
                    <a:pt x="1850" y="1581"/>
                  </a:lnTo>
                  <a:lnTo>
                    <a:pt x="1850" y="1583"/>
                  </a:lnTo>
                  <a:lnTo>
                    <a:pt x="1845" y="1588"/>
                  </a:lnTo>
                  <a:lnTo>
                    <a:pt x="1847" y="1599"/>
                  </a:lnTo>
                  <a:lnTo>
                    <a:pt x="1845" y="1610"/>
                  </a:lnTo>
                  <a:lnTo>
                    <a:pt x="1845" y="1615"/>
                  </a:lnTo>
                  <a:lnTo>
                    <a:pt x="1845" y="1618"/>
                  </a:lnTo>
                  <a:lnTo>
                    <a:pt x="1848" y="1621"/>
                  </a:lnTo>
                  <a:lnTo>
                    <a:pt x="1849" y="1623"/>
                  </a:lnTo>
                  <a:lnTo>
                    <a:pt x="1853" y="1629"/>
                  </a:lnTo>
                  <a:lnTo>
                    <a:pt x="1857" y="1633"/>
                  </a:lnTo>
                  <a:lnTo>
                    <a:pt x="1864" y="1646"/>
                  </a:lnTo>
                  <a:lnTo>
                    <a:pt x="1865" y="1649"/>
                  </a:lnTo>
                  <a:lnTo>
                    <a:pt x="1868" y="1657"/>
                  </a:lnTo>
                  <a:lnTo>
                    <a:pt x="1870" y="1663"/>
                  </a:lnTo>
                  <a:lnTo>
                    <a:pt x="1873" y="1666"/>
                  </a:lnTo>
                  <a:lnTo>
                    <a:pt x="1877" y="1673"/>
                  </a:lnTo>
                  <a:lnTo>
                    <a:pt x="1879" y="1676"/>
                  </a:lnTo>
                  <a:lnTo>
                    <a:pt x="1883" y="1682"/>
                  </a:lnTo>
                  <a:lnTo>
                    <a:pt x="1884" y="1684"/>
                  </a:lnTo>
                  <a:lnTo>
                    <a:pt x="1884" y="1687"/>
                  </a:lnTo>
                  <a:lnTo>
                    <a:pt x="1882" y="1690"/>
                  </a:lnTo>
                  <a:lnTo>
                    <a:pt x="1883" y="1694"/>
                  </a:lnTo>
                  <a:lnTo>
                    <a:pt x="1883" y="1697"/>
                  </a:lnTo>
                  <a:lnTo>
                    <a:pt x="1884" y="1702"/>
                  </a:lnTo>
                  <a:lnTo>
                    <a:pt x="1883" y="1704"/>
                  </a:lnTo>
                  <a:lnTo>
                    <a:pt x="1885" y="1710"/>
                  </a:lnTo>
                  <a:lnTo>
                    <a:pt x="1885" y="1712"/>
                  </a:lnTo>
                  <a:lnTo>
                    <a:pt x="1887" y="1716"/>
                  </a:lnTo>
                  <a:lnTo>
                    <a:pt x="1887" y="1718"/>
                  </a:lnTo>
                  <a:lnTo>
                    <a:pt x="1887" y="1724"/>
                  </a:lnTo>
                  <a:lnTo>
                    <a:pt x="1888" y="1726"/>
                  </a:lnTo>
                  <a:lnTo>
                    <a:pt x="1887" y="1728"/>
                  </a:lnTo>
                  <a:lnTo>
                    <a:pt x="1890" y="1734"/>
                  </a:lnTo>
                  <a:lnTo>
                    <a:pt x="1890" y="1737"/>
                  </a:lnTo>
                  <a:lnTo>
                    <a:pt x="1892" y="1738"/>
                  </a:lnTo>
                  <a:lnTo>
                    <a:pt x="1892" y="1742"/>
                  </a:lnTo>
                  <a:lnTo>
                    <a:pt x="1892" y="1744"/>
                  </a:lnTo>
                  <a:lnTo>
                    <a:pt x="1893" y="1746"/>
                  </a:lnTo>
                  <a:lnTo>
                    <a:pt x="1894" y="1752"/>
                  </a:lnTo>
                  <a:lnTo>
                    <a:pt x="1899" y="1760"/>
                  </a:lnTo>
                  <a:lnTo>
                    <a:pt x="1901" y="1763"/>
                  </a:lnTo>
                  <a:lnTo>
                    <a:pt x="1910" y="1771"/>
                  </a:lnTo>
                  <a:lnTo>
                    <a:pt x="1910" y="1771"/>
                  </a:lnTo>
                  <a:lnTo>
                    <a:pt x="1911" y="1774"/>
                  </a:lnTo>
                  <a:lnTo>
                    <a:pt x="1915" y="1779"/>
                  </a:lnTo>
                  <a:lnTo>
                    <a:pt x="1918" y="1787"/>
                  </a:lnTo>
                  <a:lnTo>
                    <a:pt x="1919" y="1789"/>
                  </a:lnTo>
                  <a:lnTo>
                    <a:pt x="1921" y="1797"/>
                  </a:lnTo>
                  <a:lnTo>
                    <a:pt x="1926" y="1805"/>
                  </a:lnTo>
                  <a:lnTo>
                    <a:pt x="1929" y="1812"/>
                  </a:lnTo>
                  <a:lnTo>
                    <a:pt x="1934" y="1818"/>
                  </a:lnTo>
                  <a:lnTo>
                    <a:pt x="1935" y="1820"/>
                  </a:lnTo>
                  <a:lnTo>
                    <a:pt x="1936" y="1827"/>
                  </a:lnTo>
                  <a:lnTo>
                    <a:pt x="1936" y="1829"/>
                  </a:lnTo>
                  <a:lnTo>
                    <a:pt x="1935" y="1832"/>
                  </a:lnTo>
                  <a:lnTo>
                    <a:pt x="1933" y="1834"/>
                  </a:lnTo>
                  <a:lnTo>
                    <a:pt x="1930" y="1834"/>
                  </a:lnTo>
                  <a:lnTo>
                    <a:pt x="1929" y="1836"/>
                  </a:lnTo>
                  <a:lnTo>
                    <a:pt x="1932" y="1837"/>
                  </a:lnTo>
                  <a:lnTo>
                    <a:pt x="1933" y="1840"/>
                  </a:lnTo>
                  <a:lnTo>
                    <a:pt x="1933" y="1841"/>
                  </a:lnTo>
                  <a:lnTo>
                    <a:pt x="1935" y="1844"/>
                  </a:lnTo>
                  <a:lnTo>
                    <a:pt x="1937" y="1848"/>
                  </a:lnTo>
                  <a:lnTo>
                    <a:pt x="1936" y="1853"/>
                  </a:lnTo>
                  <a:lnTo>
                    <a:pt x="1936" y="1856"/>
                  </a:lnTo>
                  <a:lnTo>
                    <a:pt x="1938" y="1858"/>
                  </a:lnTo>
                  <a:lnTo>
                    <a:pt x="1937" y="1855"/>
                  </a:lnTo>
                  <a:lnTo>
                    <a:pt x="1938" y="1854"/>
                  </a:lnTo>
                  <a:lnTo>
                    <a:pt x="1941" y="1854"/>
                  </a:lnTo>
                  <a:lnTo>
                    <a:pt x="1943" y="1854"/>
                  </a:lnTo>
                  <a:lnTo>
                    <a:pt x="1943" y="1856"/>
                  </a:lnTo>
                  <a:lnTo>
                    <a:pt x="1944" y="1858"/>
                  </a:lnTo>
                  <a:lnTo>
                    <a:pt x="1946" y="1858"/>
                  </a:lnTo>
                  <a:lnTo>
                    <a:pt x="1949" y="1860"/>
                  </a:lnTo>
                  <a:lnTo>
                    <a:pt x="1950" y="1862"/>
                  </a:lnTo>
                  <a:lnTo>
                    <a:pt x="1951" y="1862"/>
                  </a:lnTo>
                  <a:lnTo>
                    <a:pt x="1953" y="1864"/>
                  </a:lnTo>
                  <a:lnTo>
                    <a:pt x="1955" y="1864"/>
                  </a:lnTo>
                  <a:lnTo>
                    <a:pt x="1959" y="1865"/>
                  </a:lnTo>
                  <a:lnTo>
                    <a:pt x="1967" y="1860"/>
                  </a:lnTo>
                  <a:lnTo>
                    <a:pt x="1970" y="1860"/>
                  </a:lnTo>
                  <a:lnTo>
                    <a:pt x="1970" y="1858"/>
                  </a:lnTo>
                  <a:lnTo>
                    <a:pt x="1972" y="1858"/>
                  </a:lnTo>
                  <a:lnTo>
                    <a:pt x="1976" y="1860"/>
                  </a:lnTo>
                  <a:lnTo>
                    <a:pt x="1984" y="1858"/>
                  </a:lnTo>
                  <a:lnTo>
                    <a:pt x="1989" y="1854"/>
                  </a:lnTo>
                  <a:lnTo>
                    <a:pt x="1992" y="1854"/>
                  </a:lnTo>
                  <a:lnTo>
                    <a:pt x="1993" y="1854"/>
                  </a:lnTo>
                  <a:lnTo>
                    <a:pt x="1995" y="1853"/>
                  </a:lnTo>
                  <a:lnTo>
                    <a:pt x="1996" y="1853"/>
                  </a:lnTo>
                  <a:lnTo>
                    <a:pt x="1996" y="1853"/>
                  </a:lnTo>
                  <a:lnTo>
                    <a:pt x="1997" y="1853"/>
                  </a:lnTo>
                  <a:lnTo>
                    <a:pt x="1999" y="1854"/>
                  </a:lnTo>
                  <a:lnTo>
                    <a:pt x="2001" y="1854"/>
                  </a:lnTo>
                  <a:lnTo>
                    <a:pt x="2003" y="1854"/>
                  </a:lnTo>
                  <a:lnTo>
                    <a:pt x="2005" y="1853"/>
                  </a:lnTo>
                  <a:lnTo>
                    <a:pt x="2009" y="1853"/>
                  </a:lnTo>
                  <a:lnTo>
                    <a:pt x="2024" y="1855"/>
                  </a:lnTo>
                  <a:lnTo>
                    <a:pt x="2026" y="1853"/>
                  </a:lnTo>
                  <a:lnTo>
                    <a:pt x="2027" y="1852"/>
                  </a:lnTo>
                  <a:lnTo>
                    <a:pt x="2030" y="1852"/>
                  </a:lnTo>
                  <a:lnTo>
                    <a:pt x="2032" y="1853"/>
                  </a:lnTo>
                  <a:lnTo>
                    <a:pt x="2036" y="1854"/>
                  </a:lnTo>
                  <a:lnTo>
                    <a:pt x="2037" y="1853"/>
                  </a:lnTo>
                  <a:lnTo>
                    <a:pt x="2036" y="1851"/>
                  </a:lnTo>
                  <a:lnTo>
                    <a:pt x="2038" y="1848"/>
                  </a:lnTo>
                  <a:lnTo>
                    <a:pt x="2041" y="1848"/>
                  </a:lnTo>
                  <a:lnTo>
                    <a:pt x="2047" y="1849"/>
                  </a:lnTo>
                  <a:lnTo>
                    <a:pt x="2055" y="1846"/>
                  </a:lnTo>
                  <a:lnTo>
                    <a:pt x="2066" y="1838"/>
                  </a:lnTo>
                  <a:lnTo>
                    <a:pt x="2069" y="1836"/>
                  </a:lnTo>
                  <a:lnTo>
                    <a:pt x="2070" y="1835"/>
                  </a:lnTo>
                  <a:lnTo>
                    <a:pt x="2073" y="1832"/>
                  </a:lnTo>
                  <a:lnTo>
                    <a:pt x="2079" y="1828"/>
                  </a:lnTo>
                  <a:lnTo>
                    <a:pt x="2089" y="1817"/>
                  </a:lnTo>
                  <a:lnTo>
                    <a:pt x="2096" y="1811"/>
                  </a:lnTo>
                  <a:lnTo>
                    <a:pt x="2100" y="1805"/>
                  </a:lnTo>
                  <a:lnTo>
                    <a:pt x="2104" y="1800"/>
                  </a:lnTo>
                  <a:lnTo>
                    <a:pt x="2106" y="1795"/>
                  </a:lnTo>
                  <a:lnTo>
                    <a:pt x="2110" y="1791"/>
                  </a:lnTo>
                  <a:lnTo>
                    <a:pt x="2110" y="1788"/>
                  </a:lnTo>
                  <a:lnTo>
                    <a:pt x="2114" y="1783"/>
                  </a:lnTo>
                  <a:lnTo>
                    <a:pt x="2120" y="1776"/>
                  </a:lnTo>
                  <a:lnTo>
                    <a:pt x="2121" y="1776"/>
                  </a:lnTo>
                  <a:lnTo>
                    <a:pt x="2123" y="1775"/>
                  </a:lnTo>
                  <a:lnTo>
                    <a:pt x="2123" y="1774"/>
                  </a:lnTo>
                  <a:lnTo>
                    <a:pt x="2125" y="1772"/>
                  </a:lnTo>
                  <a:lnTo>
                    <a:pt x="2127" y="1770"/>
                  </a:lnTo>
                  <a:lnTo>
                    <a:pt x="2129" y="1768"/>
                  </a:lnTo>
                  <a:lnTo>
                    <a:pt x="2130" y="1767"/>
                  </a:lnTo>
                  <a:lnTo>
                    <a:pt x="2131" y="1763"/>
                  </a:lnTo>
                  <a:lnTo>
                    <a:pt x="2132" y="1758"/>
                  </a:lnTo>
                  <a:lnTo>
                    <a:pt x="2134" y="1748"/>
                  </a:lnTo>
                  <a:lnTo>
                    <a:pt x="2137" y="1734"/>
                  </a:lnTo>
                  <a:lnTo>
                    <a:pt x="2134" y="1737"/>
                  </a:lnTo>
                  <a:lnTo>
                    <a:pt x="2132" y="1735"/>
                  </a:lnTo>
                  <a:lnTo>
                    <a:pt x="2131" y="1733"/>
                  </a:lnTo>
                  <a:lnTo>
                    <a:pt x="2130" y="1733"/>
                  </a:lnTo>
                  <a:lnTo>
                    <a:pt x="2132" y="1732"/>
                  </a:lnTo>
                  <a:lnTo>
                    <a:pt x="2134" y="1727"/>
                  </a:lnTo>
                  <a:lnTo>
                    <a:pt x="2137" y="1725"/>
                  </a:lnTo>
                  <a:lnTo>
                    <a:pt x="2139" y="1724"/>
                  </a:lnTo>
                  <a:lnTo>
                    <a:pt x="2140" y="1723"/>
                  </a:lnTo>
                  <a:lnTo>
                    <a:pt x="2159" y="1715"/>
                  </a:lnTo>
                  <a:lnTo>
                    <a:pt x="2165" y="1712"/>
                  </a:lnTo>
                  <a:lnTo>
                    <a:pt x="2169" y="1707"/>
                  </a:lnTo>
                  <a:lnTo>
                    <a:pt x="2172" y="1702"/>
                  </a:lnTo>
                  <a:lnTo>
                    <a:pt x="2168" y="1703"/>
                  </a:lnTo>
                  <a:lnTo>
                    <a:pt x="2171" y="1692"/>
                  </a:lnTo>
                  <a:lnTo>
                    <a:pt x="2172" y="1690"/>
                  </a:lnTo>
                  <a:lnTo>
                    <a:pt x="2173" y="1689"/>
                  </a:lnTo>
                  <a:lnTo>
                    <a:pt x="2171" y="1685"/>
                  </a:lnTo>
                  <a:lnTo>
                    <a:pt x="2172" y="1678"/>
                  </a:lnTo>
                  <a:lnTo>
                    <a:pt x="2171" y="1676"/>
                  </a:lnTo>
                  <a:lnTo>
                    <a:pt x="2169" y="1678"/>
                  </a:lnTo>
                  <a:lnTo>
                    <a:pt x="2169" y="1682"/>
                  </a:lnTo>
                  <a:lnTo>
                    <a:pt x="2168" y="1678"/>
                  </a:lnTo>
                  <a:lnTo>
                    <a:pt x="2168" y="1676"/>
                  </a:lnTo>
                  <a:lnTo>
                    <a:pt x="2167" y="1669"/>
                  </a:lnTo>
                  <a:lnTo>
                    <a:pt x="2166" y="1666"/>
                  </a:lnTo>
                  <a:lnTo>
                    <a:pt x="2165" y="1661"/>
                  </a:lnTo>
                  <a:lnTo>
                    <a:pt x="2166" y="1660"/>
                  </a:lnTo>
                  <a:lnTo>
                    <a:pt x="2164" y="1657"/>
                  </a:lnTo>
                  <a:lnTo>
                    <a:pt x="2159" y="1651"/>
                  </a:lnTo>
                  <a:lnTo>
                    <a:pt x="2160" y="1646"/>
                  </a:lnTo>
                  <a:lnTo>
                    <a:pt x="2160" y="1644"/>
                  </a:lnTo>
                  <a:lnTo>
                    <a:pt x="2159" y="1642"/>
                  </a:lnTo>
                  <a:lnTo>
                    <a:pt x="2158" y="1641"/>
                  </a:lnTo>
                  <a:lnTo>
                    <a:pt x="2160" y="1642"/>
                  </a:lnTo>
                  <a:lnTo>
                    <a:pt x="2161" y="1644"/>
                  </a:lnTo>
                  <a:lnTo>
                    <a:pt x="2164" y="1643"/>
                  </a:lnTo>
                  <a:lnTo>
                    <a:pt x="2169" y="1639"/>
                  </a:lnTo>
                  <a:lnTo>
                    <a:pt x="2174" y="1633"/>
                  </a:lnTo>
                  <a:lnTo>
                    <a:pt x="2176" y="1632"/>
                  </a:lnTo>
                  <a:lnTo>
                    <a:pt x="2180" y="1629"/>
                  </a:lnTo>
                  <a:lnTo>
                    <a:pt x="2181" y="1630"/>
                  </a:lnTo>
                  <a:lnTo>
                    <a:pt x="2181" y="1627"/>
                  </a:lnTo>
                  <a:lnTo>
                    <a:pt x="2184" y="1627"/>
                  </a:lnTo>
                  <a:lnTo>
                    <a:pt x="2184" y="1625"/>
                  </a:lnTo>
                  <a:lnTo>
                    <a:pt x="2189" y="1621"/>
                  </a:lnTo>
                  <a:lnTo>
                    <a:pt x="2190" y="1617"/>
                  </a:lnTo>
                  <a:lnTo>
                    <a:pt x="2189" y="1616"/>
                  </a:lnTo>
                  <a:lnTo>
                    <a:pt x="2192" y="1617"/>
                  </a:lnTo>
                  <a:lnTo>
                    <a:pt x="2194" y="1614"/>
                  </a:lnTo>
                  <a:lnTo>
                    <a:pt x="2198" y="1612"/>
                  </a:lnTo>
                  <a:lnTo>
                    <a:pt x="2199" y="1610"/>
                  </a:lnTo>
                  <a:lnTo>
                    <a:pt x="2210" y="1606"/>
                  </a:lnTo>
                  <a:lnTo>
                    <a:pt x="2212" y="1606"/>
                  </a:lnTo>
                  <a:lnTo>
                    <a:pt x="2215" y="1604"/>
                  </a:lnTo>
                  <a:lnTo>
                    <a:pt x="2217" y="1604"/>
                  </a:lnTo>
                  <a:lnTo>
                    <a:pt x="2219" y="1604"/>
                  </a:lnTo>
                  <a:lnTo>
                    <a:pt x="2224" y="1600"/>
                  </a:lnTo>
                  <a:lnTo>
                    <a:pt x="2228" y="1597"/>
                  </a:lnTo>
                  <a:lnTo>
                    <a:pt x="2229" y="1593"/>
                  </a:lnTo>
                  <a:lnTo>
                    <a:pt x="2233" y="1592"/>
                  </a:lnTo>
                  <a:lnTo>
                    <a:pt x="2238" y="1584"/>
                  </a:lnTo>
                  <a:lnTo>
                    <a:pt x="2241" y="1581"/>
                  </a:lnTo>
                  <a:lnTo>
                    <a:pt x="2242" y="1579"/>
                  </a:lnTo>
                  <a:lnTo>
                    <a:pt x="2241" y="1577"/>
                  </a:lnTo>
                  <a:lnTo>
                    <a:pt x="2244" y="1571"/>
                  </a:lnTo>
                  <a:lnTo>
                    <a:pt x="2244" y="1569"/>
                  </a:lnTo>
                  <a:lnTo>
                    <a:pt x="2242" y="1569"/>
                  </a:lnTo>
                  <a:lnTo>
                    <a:pt x="2241" y="1566"/>
                  </a:lnTo>
                  <a:lnTo>
                    <a:pt x="2240" y="1564"/>
                  </a:lnTo>
                  <a:lnTo>
                    <a:pt x="2241" y="1561"/>
                  </a:lnTo>
                  <a:lnTo>
                    <a:pt x="2241" y="1558"/>
                  </a:lnTo>
                  <a:lnTo>
                    <a:pt x="2241" y="1555"/>
                  </a:lnTo>
                  <a:lnTo>
                    <a:pt x="2240" y="1555"/>
                  </a:lnTo>
                  <a:lnTo>
                    <a:pt x="2241" y="1549"/>
                  </a:lnTo>
                  <a:lnTo>
                    <a:pt x="2238" y="1547"/>
                  </a:lnTo>
                  <a:lnTo>
                    <a:pt x="2241" y="1545"/>
                  </a:lnTo>
                  <a:lnTo>
                    <a:pt x="2240" y="1541"/>
                  </a:lnTo>
                  <a:lnTo>
                    <a:pt x="2241" y="1539"/>
                  </a:lnTo>
                  <a:lnTo>
                    <a:pt x="2240" y="1537"/>
                  </a:lnTo>
                  <a:lnTo>
                    <a:pt x="2240" y="1531"/>
                  </a:lnTo>
                  <a:lnTo>
                    <a:pt x="2238" y="1529"/>
                  </a:lnTo>
                  <a:lnTo>
                    <a:pt x="2238" y="1527"/>
                  </a:lnTo>
                  <a:lnTo>
                    <a:pt x="2237" y="1524"/>
                  </a:lnTo>
                  <a:lnTo>
                    <a:pt x="2240" y="1522"/>
                  </a:lnTo>
                  <a:lnTo>
                    <a:pt x="2240" y="1514"/>
                  </a:lnTo>
                  <a:lnTo>
                    <a:pt x="2238" y="1513"/>
                  </a:lnTo>
                  <a:lnTo>
                    <a:pt x="2236" y="1510"/>
                  </a:lnTo>
                  <a:lnTo>
                    <a:pt x="2233" y="1507"/>
                  </a:lnTo>
                  <a:lnTo>
                    <a:pt x="2232" y="1509"/>
                  </a:lnTo>
                  <a:lnTo>
                    <a:pt x="2231" y="1506"/>
                  </a:lnTo>
                  <a:lnTo>
                    <a:pt x="2228" y="1506"/>
                  </a:lnTo>
                  <a:lnTo>
                    <a:pt x="2229" y="1503"/>
                  </a:lnTo>
                  <a:lnTo>
                    <a:pt x="2228" y="1498"/>
                  </a:lnTo>
                  <a:lnTo>
                    <a:pt x="2227" y="1496"/>
                  </a:lnTo>
                  <a:lnTo>
                    <a:pt x="2224" y="1490"/>
                  </a:lnTo>
                  <a:lnTo>
                    <a:pt x="2223" y="1485"/>
                  </a:lnTo>
                  <a:lnTo>
                    <a:pt x="2223" y="1483"/>
                  </a:lnTo>
                  <a:lnTo>
                    <a:pt x="2225" y="1479"/>
                  </a:lnTo>
                  <a:lnTo>
                    <a:pt x="2225" y="1478"/>
                  </a:lnTo>
                  <a:lnTo>
                    <a:pt x="2224" y="1476"/>
                  </a:lnTo>
                  <a:lnTo>
                    <a:pt x="2223" y="1476"/>
                  </a:lnTo>
                  <a:lnTo>
                    <a:pt x="2223" y="1471"/>
                  </a:lnTo>
                  <a:lnTo>
                    <a:pt x="2224" y="1469"/>
                  </a:lnTo>
                  <a:lnTo>
                    <a:pt x="2226" y="1466"/>
                  </a:lnTo>
                  <a:lnTo>
                    <a:pt x="2226" y="1464"/>
                  </a:lnTo>
                  <a:lnTo>
                    <a:pt x="2224" y="1462"/>
                  </a:lnTo>
                  <a:lnTo>
                    <a:pt x="2223" y="1462"/>
                  </a:lnTo>
                  <a:lnTo>
                    <a:pt x="2221" y="1460"/>
                  </a:lnTo>
                  <a:lnTo>
                    <a:pt x="2217" y="1455"/>
                  </a:lnTo>
                  <a:lnTo>
                    <a:pt x="2217" y="1453"/>
                  </a:lnTo>
                  <a:lnTo>
                    <a:pt x="2216" y="1451"/>
                  </a:lnTo>
                  <a:lnTo>
                    <a:pt x="2217" y="1446"/>
                  </a:lnTo>
                  <a:lnTo>
                    <a:pt x="2219" y="1441"/>
                  </a:lnTo>
                  <a:lnTo>
                    <a:pt x="2220" y="1437"/>
                  </a:lnTo>
                  <a:lnTo>
                    <a:pt x="2221" y="1435"/>
                  </a:lnTo>
                  <a:lnTo>
                    <a:pt x="2221" y="1433"/>
                  </a:lnTo>
                  <a:lnTo>
                    <a:pt x="2225" y="1432"/>
                  </a:lnTo>
                  <a:lnTo>
                    <a:pt x="2226" y="1428"/>
                  </a:lnTo>
                  <a:lnTo>
                    <a:pt x="2227" y="1426"/>
                  </a:lnTo>
                  <a:lnTo>
                    <a:pt x="2227" y="1424"/>
                  </a:lnTo>
                  <a:lnTo>
                    <a:pt x="2228" y="1424"/>
                  </a:lnTo>
                  <a:lnTo>
                    <a:pt x="2228" y="1422"/>
                  </a:lnTo>
                  <a:lnTo>
                    <a:pt x="2231" y="1420"/>
                  </a:lnTo>
                  <a:lnTo>
                    <a:pt x="2231" y="1418"/>
                  </a:lnTo>
                  <a:lnTo>
                    <a:pt x="2232" y="1416"/>
                  </a:lnTo>
                  <a:lnTo>
                    <a:pt x="2233" y="1415"/>
                  </a:lnTo>
                  <a:lnTo>
                    <a:pt x="2234" y="1412"/>
                  </a:lnTo>
                  <a:lnTo>
                    <a:pt x="2234" y="1411"/>
                  </a:lnTo>
                  <a:lnTo>
                    <a:pt x="2235" y="1409"/>
                  </a:lnTo>
                  <a:lnTo>
                    <a:pt x="2235" y="1407"/>
                  </a:lnTo>
                  <a:lnTo>
                    <a:pt x="2237" y="1403"/>
                  </a:lnTo>
                  <a:lnTo>
                    <a:pt x="2240" y="1403"/>
                  </a:lnTo>
                  <a:lnTo>
                    <a:pt x="2242" y="1402"/>
                  </a:lnTo>
                  <a:lnTo>
                    <a:pt x="2244" y="1400"/>
                  </a:lnTo>
                  <a:lnTo>
                    <a:pt x="2244" y="1399"/>
                  </a:lnTo>
                  <a:lnTo>
                    <a:pt x="2246" y="1394"/>
                  </a:lnTo>
                  <a:lnTo>
                    <a:pt x="2249" y="1395"/>
                  </a:lnTo>
                  <a:lnTo>
                    <a:pt x="2252" y="1394"/>
                  </a:lnTo>
                  <a:lnTo>
                    <a:pt x="2254" y="1392"/>
                  </a:lnTo>
                  <a:lnTo>
                    <a:pt x="2255" y="1389"/>
                  </a:lnTo>
                  <a:lnTo>
                    <a:pt x="2258" y="1386"/>
                  </a:lnTo>
                  <a:lnTo>
                    <a:pt x="2258" y="1385"/>
                  </a:lnTo>
                  <a:lnTo>
                    <a:pt x="2259" y="1382"/>
                  </a:lnTo>
                  <a:lnTo>
                    <a:pt x="2259" y="1381"/>
                  </a:lnTo>
                  <a:lnTo>
                    <a:pt x="2261" y="1381"/>
                  </a:lnTo>
                  <a:lnTo>
                    <a:pt x="2263" y="1378"/>
                  </a:lnTo>
                  <a:lnTo>
                    <a:pt x="2268" y="1373"/>
                  </a:lnTo>
                  <a:lnTo>
                    <a:pt x="2269" y="1372"/>
                  </a:lnTo>
                  <a:lnTo>
                    <a:pt x="2272" y="1368"/>
                  </a:lnTo>
                  <a:lnTo>
                    <a:pt x="2280" y="1360"/>
                  </a:lnTo>
                  <a:lnTo>
                    <a:pt x="2287" y="1353"/>
                  </a:lnTo>
                  <a:lnTo>
                    <a:pt x="2293" y="1349"/>
                  </a:lnTo>
                  <a:lnTo>
                    <a:pt x="2296" y="1347"/>
                  </a:lnTo>
                  <a:lnTo>
                    <a:pt x="2299" y="1345"/>
                  </a:lnTo>
                  <a:lnTo>
                    <a:pt x="2301" y="1343"/>
                  </a:lnTo>
                  <a:lnTo>
                    <a:pt x="2303" y="1342"/>
                  </a:lnTo>
                  <a:lnTo>
                    <a:pt x="2305" y="1341"/>
                  </a:lnTo>
                  <a:lnTo>
                    <a:pt x="2314" y="1335"/>
                  </a:lnTo>
                  <a:lnTo>
                    <a:pt x="2317" y="1333"/>
                  </a:lnTo>
                  <a:lnTo>
                    <a:pt x="2319" y="1332"/>
                  </a:lnTo>
                  <a:lnTo>
                    <a:pt x="2321" y="1329"/>
                  </a:lnTo>
                  <a:lnTo>
                    <a:pt x="2322" y="1329"/>
                  </a:lnTo>
                  <a:lnTo>
                    <a:pt x="2325" y="1325"/>
                  </a:lnTo>
                  <a:lnTo>
                    <a:pt x="2328" y="1322"/>
                  </a:lnTo>
                  <a:lnTo>
                    <a:pt x="2330" y="1321"/>
                  </a:lnTo>
                  <a:lnTo>
                    <a:pt x="2330" y="1319"/>
                  </a:lnTo>
                  <a:lnTo>
                    <a:pt x="2334" y="1316"/>
                  </a:lnTo>
                  <a:lnTo>
                    <a:pt x="2335" y="1315"/>
                  </a:lnTo>
                  <a:lnTo>
                    <a:pt x="2337" y="1313"/>
                  </a:lnTo>
                  <a:lnTo>
                    <a:pt x="2342" y="1308"/>
                  </a:lnTo>
                  <a:lnTo>
                    <a:pt x="2343" y="1305"/>
                  </a:lnTo>
                  <a:lnTo>
                    <a:pt x="2344" y="1302"/>
                  </a:lnTo>
                  <a:lnTo>
                    <a:pt x="2346" y="1300"/>
                  </a:lnTo>
                  <a:lnTo>
                    <a:pt x="2348" y="1297"/>
                  </a:lnTo>
                  <a:lnTo>
                    <a:pt x="2349" y="1295"/>
                  </a:lnTo>
                  <a:lnTo>
                    <a:pt x="2352" y="1292"/>
                  </a:lnTo>
                  <a:lnTo>
                    <a:pt x="2354" y="1289"/>
                  </a:lnTo>
                  <a:lnTo>
                    <a:pt x="2356" y="1284"/>
                  </a:lnTo>
                  <a:lnTo>
                    <a:pt x="2357" y="1279"/>
                  </a:lnTo>
                  <a:lnTo>
                    <a:pt x="2359" y="1275"/>
                  </a:lnTo>
                  <a:lnTo>
                    <a:pt x="2360" y="1273"/>
                  </a:lnTo>
                  <a:lnTo>
                    <a:pt x="2364" y="1267"/>
                  </a:lnTo>
                  <a:lnTo>
                    <a:pt x="2366" y="1264"/>
                  </a:lnTo>
                  <a:lnTo>
                    <a:pt x="2368" y="1262"/>
                  </a:lnTo>
                  <a:lnTo>
                    <a:pt x="2366" y="1261"/>
                  </a:lnTo>
                  <a:lnTo>
                    <a:pt x="2368" y="1259"/>
                  </a:lnTo>
                  <a:lnTo>
                    <a:pt x="2370" y="1257"/>
                  </a:lnTo>
                  <a:lnTo>
                    <a:pt x="2371" y="1254"/>
                  </a:lnTo>
                  <a:lnTo>
                    <a:pt x="2372" y="1254"/>
                  </a:lnTo>
                  <a:lnTo>
                    <a:pt x="2373" y="1252"/>
                  </a:lnTo>
                  <a:lnTo>
                    <a:pt x="2374" y="1249"/>
                  </a:lnTo>
                  <a:lnTo>
                    <a:pt x="2376" y="1246"/>
                  </a:lnTo>
                  <a:lnTo>
                    <a:pt x="2378" y="1244"/>
                  </a:lnTo>
                  <a:lnTo>
                    <a:pt x="2379" y="1241"/>
                  </a:lnTo>
                  <a:lnTo>
                    <a:pt x="2381" y="1239"/>
                  </a:lnTo>
                  <a:lnTo>
                    <a:pt x="2380" y="1237"/>
                  </a:lnTo>
                  <a:lnTo>
                    <a:pt x="2381" y="1231"/>
                  </a:lnTo>
                  <a:lnTo>
                    <a:pt x="2381" y="1229"/>
                  </a:lnTo>
                  <a:lnTo>
                    <a:pt x="2382" y="1227"/>
                  </a:lnTo>
                  <a:lnTo>
                    <a:pt x="2386" y="1225"/>
                  </a:lnTo>
                  <a:lnTo>
                    <a:pt x="2388" y="1227"/>
                  </a:lnTo>
                  <a:lnTo>
                    <a:pt x="2386" y="1225"/>
                  </a:lnTo>
                  <a:lnTo>
                    <a:pt x="2383" y="1225"/>
                  </a:lnTo>
                  <a:lnTo>
                    <a:pt x="2385" y="1223"/>
                  </a:lnTo>
                  <a:lnTo>
                    <a:pt x="2385" y="1220"/>
                  </a:lnTo>
                  <a:lnTo>
                    <a:pt x="2385" y="1218"/>
                  </a:lnTo>
                  <a:lnTo>
                    <a:pt x="2385" y="1214"/>
                  </a:lnTo>
                  <a:lnTo>
                    <a:pt x="2385" y="1212"/>
                  </a:lnTo>
                  <a:lnTo>
                    <a:pt x="2387" y="1206"/>
                  </a:lnTo>
                  <a:lnTo>
                    <a:pt x="2383" y="1205"/>
                  </a:lnTo>
                  <a:lnTo>
                    <a:pt x="2381" y="1204"/>
                  </a:lnTo>
                  <a:lnTo>
                    <a:pt x="2378" y="1204"/>
                  </a:lnTo>
                  <a:lnTo>
                    <a:pt x="2376" y="1207"/>
                  </a:lnTo>
                  <a:lnTo>
                    <a:pt x="2371" y="1211"/>
                  </a:lnTo>
                  <a:lnTo>
                    <a:pt x="2369" y="1211"/>
                  </a:lnTo>
                  <a:lnTo>
                    <a:pt x="2368" y="1211"/>
                  </a:lnTo>
                  <a:lnTo>
                    <a:pt x="2365" y="1211"/>
                  </a:lnTo>
                  <a:lnTo>
                    <a:pt x="2355" y="1214"/>
                  </a:lnTo>
                  <a:lnTo>
                    <a:pt x="2354" y="1214"/>
                  </a:lnTo>
                  <a:lnTo>
                    <a:pt x="2352" y="1213"/>
                  </a:lnTo>
                  <a:lnTo>
                    <a:pt x="2348" y="1213"/>
                  </a:lnTo>
                  <a:lnTo>
                    <a:pt x="2344" y="1215"/>
                  </a:lnTo>
                  <a:lnTo>
                    <a:pt x="2340" y="1215"/>
                  </a:lnTo>
                  <a:lnTo>
                    <a:pt x="2338" y="1216"/>
                  </a:lnTo>
                  <a:lnTo>
                    <a:pt x="2335" y="1215"/>
                  </a:lnTo>
                  <a:lnTo>
                    <a:pt x="2333" y="1215"/>
                  </a:lnTo>
                  <a:lnTo>
                    <a:pt x="2328" y="1218"/>
                  </a:lnTo>
                  <a:lnTo>
                    <a:pt x="2327" y="1219"/>
                  </a:lnTo>
                  <a:lnTo>
                    <a:pt x="2325" y="1221"/>
                  </a:lnTo>
                  <a:lnTo>
                    <a:pt x="2321" y="1221"/>
                  </a:lnTo>
                  <a:lnTo>
                    <a:pt x="2319" y="1221"/>
                  </a:lnTo>
                  <a:lnTo>
                    <a:pt x="2313" y="1220"/>
                  </a:lnTo>
                  <a:lnTo>
                    <a:pt x="2310" y="1220"/>
                  </a:lnTo>
                  <a:lnTo>
                    <a:pt x="2308" y="1222"/>
                  </a:lnTo>
                  <a:lnTo>
                    <a:pt x="2304" y="1223"/>
                  </a:lnTo>
                  <a:lnTo>
                    <a:pt x="2302" y="1224"/>
                  </a:lnTo>
                  <a:lnTo>
                    <a:pt x="2301" y="1225"/>
                  </a:lnTo>
                  <a:lnTo>
                    <a:pt x="2299" y="1225"/>
                  </a:lnTo>
                  <a:lnTo>
                    <a:pt x="2295" y="1225"/>
                  </a:lnTo>
                  <a:lnTo>
                    <a:pt x="2292" y="1225"/>
                  </a:lnTo>
                  <a:lnTo>
                    <a:pt x="2291" y="1224"/>
                  </a:lnTo>
                  <a:lnTo>
                    <a:pt x="2289" y="1224"/>
                  </a:lnTo>
                  <a:lnTo>
                    <a:pt x="2288" y="1223"/>
                  </a:lnTo>
                  <a:lnTo>
                    <a:pt x="2283" y="1219"/>
                  </a:lnTo>
                  <a:lnTo>
                    <a:pt x="2279" y="1213"/>
                  </a:lnTo>
                  <a:lnTo>
                    <a:pt x="2275" y="1210"/>
                  </a:lnTo>
                  <a:lnTo>
                    <a:pt x="2271" y="1210"/>
                  </a:lnTo>
                  <a:lnTo>
                    <a:pt x="2270" y="1210"/>
                  </a:lnTo>
                  <a:lnTo>
                    <a:pt x="2268" y="1210"/>
                  </a:lnTo>
                  <a:lnTo>
                    <a:pt x="2270" y="1207"/>
                  </a:lnTo>
                  <a:lnTo>
                    <a:pt x="2274" y="1206"/>
                  </a:lnTo>
                  <a:lnTo>
                    <a:pt x="2275" y="1206"/>
                  </a:lnTo>
                  <a:lnTo>
                    <a:pt x="2276" y="1205"/>
                  </a:lnTo>
                  <a:lnTo>
                    <a:pt x="2279" y="1204"/>
                  </a:lnTo>
                  <a:lnTo>
                    <a:pt x="2279" y="1202"/>
                  </a:lnTo>
                  <a:lnTo>
                    <a:pt x="2278" y="1199"/>
                  </a:lnTo>
                  <a:lnTo>
                    <a:pt x="2277" y="1196"/>
                  </a:lnTo>
                  <a:lnTo>
                    <a:pt x="2275" y="1194"/>
                  </a:lnTo>
                  <a:lnTo>
                    <a:pt x="2271" y="1191"/>
                  </a:lnTo>
                  <a:lnTo>
                    <a:pt x="2270" y="1189"/>
                  </a:lnTo>
                  <a:lnTo>
                    <a:pt x="2265" y="1184"/>
                  </a:lnTo>
                  <a:lnTo>
                    <a:pt x="2263" y="1181"/>
                  </a:lnTo>
                  <a:lnTo>
                    <a:pt x="2262" y="1180"/>
                  </a:lnTo>
                  <a:lnTo>
                    <a:pt x="2260" y="1179"/>
                  </a:lnTo>
                  <a:lnTo>
                    <a:pt x="2258" y="1178"/>
                  </a:lnTo>
                  <a:lnTo>
                    <a:pt x="2254" y="1176"/>
                  </a:lnTo>
                  <a:lnTo>
                    <a:pt x="2251" y="1170"/>
                  </a:lnTo>
                  <a:lnTo>
                    <a:pt x="2250" y="1169"/>
                  </a:lnTo>
                  <a:lnTo>
                    <a:pt x="2250" y="1168"/>
                  </a:lnTo>
                  <a:lnTo>
                    <a:pt x="2246" y="1167"/>
                  </a:lnTo>
                  <a:lnTo>
                    <a:pt x="2244" y="1165"/>
                  </a:lnTo>
                  <a:lnTo>
                    <a:pt x="2242" y="1163"/>
                  </a:lnTo>
                  <a:lnTo>
                    <a:pt x="2240" y="1162"/>
                  </a:lnTo>
                  <a:lnTo>
                    <a:pt x="2238" y="1162"/>
                  </a:lnTo>
                  <a:lnTo>
                    <a:pt x="2236" y="1162"/>
                  </a:lnTo>
                  <a:lnTo>
                    <a:pt x="2234" y="1162"/>
                  </a:lnTo>
                  <a:lnTo>
                    <a:pt x="2233" y="1159"/>
                  </a:lnTo>
                  <a:lnTo>
                    <a:pt x="2233" y="1156"/>
                  </a:lnTo>
                  <a:lnTo>
                    <a:pt x="2229" y="1155"/>
                  </a:lnTo>
                  <a:lnTo>
                    <a:pt x="2229" y="1159"/>
                  </a:lnTo>
                  <a:lnTo>
                    <a:pt x="2229" y="1161"/>
                  </a:lnTo>
                  <a:lnTo>
                    <a:pt x="2228" y="1159"/>
                  </a:lnTo>
                  <a:lnTo>
                    <a:pt x="2227" y="1155"/>
                  </a:lnTo>
                  <a:lnTo>
                    <a:pt x="2225" y="1154"/>
                  </a:lnTo>
                  <a:lnTo>
                    <a:pt x="2225" y="1153"/>
                  </a:lnTo>
                  <a:lnTo>
                    <a:pt x="2225" y="1152"/>
                  </a:lnTo>
                  <a:lnTo>
                    <a:pt x="2224" y="1150"/>
                  </a:lnTo>
                  <a:lnTo>
                    <a:pt x="2223" y="1147"/>
                  </a:lnTo>
                  <a:lnTo>
                    <a:pt x="2221" y="1143"/>
                  </a:lnTo>
                  <a:lnTo>
                    <a:pt x="2221" y="1142"/>
                  </a:lnTo>
                  <a:lnTo>
                    <a:pt x="2220" y="1139"/>
                  </a:lnTo>
                  <a:lnTo>
                    <a:pt x="2220" y="1137"/>
                  </a:lnTo>
                  <a:lnTo>
                    <a:pt x="2218" y="1129"/>
                  </a:lnTo>
                  <a:lnTo>
                    <a:pt x="2217" y="1127"/>
                  </a:lnTo>
                  <a:lnTo>
                    <a:pt x="2216" y="1125"/>
                  </a:lnTo>
                  <a:lnTo>
                    <a:pt x="2215" y="1122"/>
                  </a:lnTo>
                  <a:lnTo>
                    <a:pt x="2214" y="1119"/>
                  </a:lnTo>
                  <a:lnTo>
                    <a:pt x="2212" y="1119"/>
                  </a:lnTo>
                  <a:lnTo>
                    <a:pt x="2209" y="1117"/>
                  </a:lnTo>
                  <a:lnTo>
                    <a:pt x="2207" y="1114"/>
                  </a:lnTo>
                  <a:lnTo>
                    <a:pt x="2203" y="1111"/>
                  </a:lnTo>
                  <a:lnTo>
                    <a:pt x="2201" y="1110"/>
                  </a:lnTo>
                  <a:lnTo>
                    <a:pt x="2199" y="1109"/>
                  </a:lnTo>
                  <a:lnTo>
                    <a:pt x="2198" y="1107"/>
                  </a:lnTo>
                  <a:lnTo>
                    <a:pt x="2195" y="1099"/>
                  </a:lnTo>
                  <a:lnTo>
                    <a:pt x="2195" y="1095"/>
                  </a:lnTo>
                  <a:lnTo>
                    <a:pt x="2193" y="1088"/>
                  </a:lnTo>
                  <a:lnTo>
                    <a:pt x="2193" y="1086"/>
                  </a:lnTo>
                  <a:lnTo>
                    <a:pt x="2194" y="1083"/>
                  </a:lnTo>
                  <a:lnTo>
                    <a:pt x="2193" y="1075"/>
                  </a:lnTo>
                  <a:lnTo>
                    <a:pt x="2195" y="1076"/>
                  </a:lnTo>
                  <a:lnTo>
                    <a:pt x="2193" y="1074"/>
                  </a:lnTo>
                  <a:lnTo>
                    <a:pt x="2191" y="1071"/>
                  </a:lnTo>
                  <a:lnTo>
                    <a:pt x="2190" y="1068"/>
                  </a:lnTo>
                  <a:lnTo>
                    <a:pt x="2190" y="1062"/>
                  </a:lnTo>
                  <a:lnTo>
                    <a:pt x="2189" y="1060"/>
                  </a:lnTo>
                  <a:lnTo>
                    <a:pt x="2183" y="1057"/>
                  </a:lnTo>
                  <a:lnTo>
                    <a:pt x="2181" y="1053"/>
                  </a:lnTo>
                  <a:lnTo>
                    <a:pt x="2178" y="1053"/>
                  </a:lnTo>
                  <a:lnTo>
                    <a:pt x="2175" y="1052"/>
                  </a:lnTo>
                  <a:lnTo>
                    <a:pt x="2174" y="1049"/>
                  </a:lnTo>
                  <a:lnTo>
                    <a:pt x="2173" y="1047"/>
                  </a:lnTo>
                  <a:lnTo>
                    <a:pt x="2172" y="1045"/>
                  </a:lnTo>
                  <a:lnTo>
                    <a:pt x="2172" y="1042"/>
                  </a:lnTo>
                  <a:lnTo>
                    <a:pt x="2172" y="1041"/>
                  </a:lnTo>
                  <a:lnTo>
                    <a:pt x="2171" y="1036"/>
                  </a:lnTo>
                  <a:lnTo>
                    <a:pt x="2172" y="1034"/>
                  </a:lnTo>
                  <a:lnTo>
                    <a:pt x="2174" y="1034"/>
                  </a:lnTo>
                  <a:lnTo>
                    <a:pt x="2172" y="1033"/>
                  </a:lnTo>
                  <a:lnTo>
                    <a:pt x="2169" y="1030"/>
                  </a:lnTo>
                  <a:lnTo>
                    <a:pt x="2167" y="1027"/>
                  </a:lnTo>
                  <a:lnTo>
                    <a:pt x="2166" y="1025"/>
                  </a:lnTo>
                  <a:lnTo>
                    <a:pt x="2164" y="1022"/>
                  </a:lnTo>
                  <a:lnTo>
                    <a:pt x="2163" y="1019"/>
                  </a:lnTo>
                  <a:lnTo>
                    <a:pt x="2161" y="1016"/>
                  </a:lnTo>
                  <a:lnTo>
                    <a:pt x="2160" y="1015"/>
                  </a:lnTo>
                  <a:lnTo>
                    <a:pt x="2159" y="1011"/>
                  </a:lnTo>
                  <a:lnTo>
                    <a:pt x="2158" y="1009"/>
                  </a:lnTo>
                  <a:lnTo>
                    <a:pt x="2156" y="1007"/>
                  </a:lnTo>
                  <a:lnTo>
                    <a:pt x="2155" y="1004"/>
                  </a:lnTo>
                  <a:lnTo>
                    <a:pt x="2154" y="1001"/>
                  </a:lnTo>
                  <a:lnTo>
                    <a:pt x="2150" y="996"/>
                  </a:lnTo>
                  <a:lnTo>
                    <a:pt x="2149" y="993"/>
                  </a:lnTo>
                  <a:lnTo>
                    <a:pt x="2149" y="990"/>
                  </a:lnTo>
                  <a:lnTo>
                    <a:pt x="2148" y="988"/>
                  </a:lnTo>
                  <a:lnTo>
                    <a:pt x="2144" y="982"/>
                  </a:lnTo>
                  <a:lnTo>
                    <a:pt x="2144" y="980"/>
                  </a:lnTo>
                  <a:lnTo>
                    <a:pt x="2144" y="976"/>
                  </a:lnTo>
                  <a:lnTo>
                    <a:pt x="2141" y="973"/>
                  </a:lnTo>
                  <a:lnTo>
                    <a:pt x="2141" y="973"/>
                  </a:lnTo>
                  <a:lnTo>
                    <a:pt x="2140" y="973"/>
                  </a:lnTo>
                  <a:lnTo>
                    <a:pt x="2140" y="973"/>
                  </a:lnTo>
                  <a:lnTo>
                    <a:pt x="2138" y="970"/>
                  </a:lnTo>
                  <a:lnTo>
                    <a:pt x="2138" y="970"/>
                  </a:lnTo>
                  <a:lnTo>
                    <a:pt x="2137" y="968"/>
                  </a:lnTo>
                  <a:lnTo>
                    <a:pt x="2137" y="968"/>
                  </a:lnTo>
                  <a:lnTo>
                    <a:pt x="2137" y="968"/>
                  </a:lnTo>
                  <a:lnTo>
                    <a:pt x="2137" y="968"/>
                  </a:lnTo>
                  <a:lnTo>
                    <a:pt x="2137" y="967"/>
                  </a:lnTo>
                  <a:lnTo>
                    <a:pt x="2135" y="966"/>
                  </a:lnTo>
                  <a:lnTo>
                    <a:pt x="2131" y="960"/>
                  </a:lnTo>
                  <a:lnTo>
                    <a:pt x="2132" y="958"/>
                  </a:lnTo>
                  <a:lnTo>
                    <a:pt x="2131" y="956"/>
                  </a:lnTo>
                  <a:lnTo>
                    <a:pt x="2129" y="954"/>
                  </a:lnTo>
                  <a:lnTo>
                    <a:pt x="2129" y="953"/>
                  </a:lnTo>
                  <a:lnTo>
                    <a:pt x="2127" y="950"/>
                  </a:lnTo>
                  <a:lnTo>
                    <a:pt x="2130" y="947"/>
                  </a:lnTo>
                  <a:lnTo>
                    <a:pt x="2131" y="946"/>
                  </a:lnTo>
                  <a:lnTo>
                    <a:pt x="2131" y="946"/>
                  </a:lnTo>
                  <a:lnTo>
                    <a:pt x="2131" y="947"/>
                  </a:lnTo>
                  <a:lnTo>
                    <a:pt x="2132" y="948"/>
                  </a:lnTo>
                  <a:lnTo>
                    <a:pt x="2132" y="948"/>
                  </a:lnTo>
                  <a:lnTo>
                    <a:pt x="2132" y="949"/>
                  </a:lnTo>
                  <a:lnTo>
                    <a:pt x="2132" y="949"/>
                  </a:lnTo>
                  <a:lnTo>
                    <a:pt x="2132" y="951"/>
                  </a:lnTo>
                  <a:lnTo>
                    <a:pt x="2134" y="956"/>
                  </a:lnTo>
                  <a:lnTo>
                    <a:pt x="2135" y="957"/>
                  </a:lnTo>
                  <a:lnTo>
                    <a:pt x="2138" y="959"/>
                  </a:lnTo>
                  <a:lnTo>
                    <a:pt x="2139" y="960"/>
                  </a:lnTo>
                  <a:lnTo>
                    <a:pt x="2139" y="963"/>
                  </a:lnTo>
                  <a:lnTo>
                    <a:pt x="2140" y="965"/>
                  </a:lnTo>
                  <a:lnTo>
                    <a:pt x="2140" y="966"/>
                  </a:lnTo>
                  <a:lnTo>
                    <a:pt x="2140" y="967"/>
                  </a:lnTo>
                  <a:lnTo>
                    <a:pt x="2143" y="970"/>
                  </a:lnTo>
                  <a:lnTo>
                    <a:pt x="2144" y="971"/>
                  </a:lnTo>
                  <a:lnTo>
                    <a:pt x="2146" y="973"/>
                  </a:lnTo>
                  <a:lnTo>
                    <a:pt x="2149" y="976"/>
                  </a:lnTo>
                  <a:lnTo>
                    <a:pt x="2151" y="979"/>
                  </a:lnTo>
                  <a:lnTo>
                    <a:pt x="2154" y="979"/>
                  </a:lnTo>
                  <a:lnTo>
                    <a:pt x="2154" y="980"/>
                  </a:lnTo>
                  <a:lnTo>
                    <a:pt x="2154" y="979"/>
                  </a:lnTo>
                  <a:lnTo>
                    <a:pt x="2155" y="977"/>
                  </a:lnTo>
                  <a:lnTo>
                    <a:pt x="2155" y="977"/>
                  </a:lnTo>
                  <a:lnTo>
                    <a:pt x="2156" y="974"/>
                  </a:lnTo>
                  <a:lnTo>
                    <a:pt x="2156" y="974"/>
                  </a:lnTo>
                  <a:lnTo>
                    <a:pt x="2156" y="972"/>
                  </a:lnTo>
                  <a:lnTo>
                    <a:pt x="2157" y="970"/>
                  </a:lnTo>
                  <a:lnTo>
                    <a:pt x="2158" y="964"/>
                  </a:lnTo>
                  <a:lnTo>
                    <a:pt x="2159" y="962"/>
                  </a:lnTo>
                  <a:lnTo>
                    <a:pt x="2159" y="959"/>
                  </a:lnTo>
                  <a:lnTo>
                    <a:pt x="2160" y="956"/>
                  </a:lnTo>
                  <a:lnTo>
                    <a:pt x="2160" y="956"/>
                  </a:lnTo>
                  <a:lnTo>
                    <a:pt x="2163" y="954"/>
                  </a:lnTo>
                  <a:lnTo>
                    <a:pt x="2163" y="953"/>
                  </a:lnTo>
                  <a:lnTo>
                    <a:pt x="2164" y="953"/>
                  </a:lnTo>
                  <a:lnTo>
                    <a:pt x="2164" y="953"/>
                  </a:lnTo>
                  <a:lnTo>
                    <a:pt x="2164" y="955"/>
                  </a:lnTo>
                  <a:lnTo>
                    <a:pt x="2163" y="958"/>
                  </a:lnTo>
                  <a:lnTo>
                    <a:pt x="2163" y="960"/>
                  </a:lnTo>
                  <a:lnTo>
                    <a:pt x="2163" y="960"/>
                  </a:lnTo>
                  <a:lnTo>
                    <a:pt x="2161" y="965"/>
                  </a:lnTo>
                  <a:lnTo>
                    <a:pt x="2161" y="966"/>
                  </a:lnTo>
                  <a:lnTo>
                    <a:pt x="2159" y="972"/>
                  </a:lnTo>
                  <a:lnTo>
                    <a:pt x="2158" y="974"/>
                  </a:lnTo>
                  <a:lnTo>
                    <a:pt x="2159" y="975"/>
                  </a:lnTo>
                  <a:lnTo>
                    <a:pt x="2164" y="974"/>
                  </a:lnTo>
                  <a:lnTo>
                    <a:pt x="2167" y="974"/>
                  </a:lnTo>
                  <a:lnTo>
                    <a:pt x="2167" y="975"/>
                  </a:lnTo>
                  <a:lnTo>
                    <a:pt x="2169" y="979"/>
                  </a:lnTo>
                  <a:lnTo>
                    <a:pt x="2172" y="984"/>
                  </a:lnTo>
                  <a:lnTo>
                    <a:pt x="2175" y="987"/>
                  </a:lnTo>
                  <a:lnTo>
                    <a:pt x="2176" y="990"/>
                  </a:lnTo>
                  <a:lnTo>
                    <a:pt x="2181" y="996"/>
                  </a:lnTo>
                  <a:lnTo>
                    <a:pt x="2183" y="999"/>
                  </a:lnTo>
                  <a:lnTo>
                    <a:pt x="2183" y="1000"/>
                  </a:lnTo>
                  <a:lnTo>
                    <a:pt x="2185" y="1004"/>
                  </a:lnTo>
                  <a:lnTo>
                    <a:pt x="2188" y="1006"/>
                  </a:lnTo>
                  <a:lnTo>
                    <a:pt x="2186" y="1006"/>
                  </a:lnTo>
                  <a:lnTo>
                    <a:pt x="2190" y="1009"/>
                  </a:lnTo>
                  <a:lnTo>
                    <a:pt x="2191" y="1011"/>
                  </a:lnTo>
                  <a:lnTo>
                    <a:pt x="2193" y="1015"/>
                  </a:lnTo>
                  <a:lnTo>
                    <a:pt x="2194" y="1017"/>
                  </a:lnTo>
                  <a:lnTo>
                    <a:pt x="2195" y="1019"/>
                  </a:lnTo>
                  <a:lnTo>
                    <a:pt x="2193" y="1022"/>
                  </a:lnTo>
                  <a:lnTo>
                    <a:pt x="2195" y="1025"/>
                  </a:lnTo>
                  <a:lnTo>
                    <a:pt x="2198" y="1028"/>
                  </a:lnTo>
                  <a:lnTo>
                    <a:pt x="2201" y="1030"/>
                  </a:lnTo>
                  <a:lnTo>
                    <a:pt x="2203" y="1032"/>
                  </a:lnTo>
                  <a:lnTo>
                    <a:pt x="2207" y="1034"/>
                  </a:lnTo>
                  <a:lnTo>
                    <a:pt x="2211" y="1036"/>
                  </a:lnTo>
                  <a:lnTo>
                    <a:pt x="2212" y="1040"/>
                  </a:lnTo>
                  <a:lnTo>
                    <a:pt x="2215" y="1042"/>
                  </a:lnTo>
                  <a:lnTo>
                    <a:pt x="2215" y="1045"/>
                  </a:lnTo>
                  <a:lnTo>
                    <a:pt x="2216" y="1048"/>
                  </a:lnTo>
                  <a:lnTo>
                    <a:pt x="2218" y="1050"/>
                  </a:lnTo>
                  <a:lnTo>
                    <a:pt x="2219" y="1053"/>
                  </a:lnTo>
                  <a:lnTo>
                    <a:pt x="2219" y="1054"/>
                  </a:lnTo>
                  <a:lnTo>
                    <a:pt x="2220" y="1058"/>
                  </a:lnTo>
                  <a:lnTo>
                    <a:pt x="2219" y="1060"/>
                  </a:lnTo>
                  <a:lnTo>
                    <a:pt x="2219" y="1062"/>
                  </a:lnTo>
                  <a:lnTo>
                    <a:pt x="2219" y="1066"/>
                  </a:lnTo>
                  <a:lnTo>
                    <a:pt x="2220" y="1068"/>
                  </a:lnTo>
                  <a:lnTo>
                    <a:pt x="2221" y="1071"/>
                  </a:lnTo>
                  <a:lnTo>
                    <a:pt x="2220" y="1074"/>
                  </a:lnTo>
                  <a:lnTo>
                    <a:pt x="2221" y="1076"/>
                  </a:lnTo>
                  <a:lnTo>
                    <a:pt x="2224" y="1079"/>
                  </a:lnTo>
                  <a:lnTo>
                    <a:pt x="2227" y="1084"/>
                  </a:lnTo>
                  <a:lnTo>
                    <a:pt x="2231" y="1086"/>
                  </a:lnTo>
                  <a:lnTo>
                    <a:pt x="2235" y="1088"/>
                  </a:lnTo>
                  <a:lnTo>
                    <a:pt x="2237" y="1091"/>
                  </a:lnTo>
                  <a:lnTo>
                    <a:pt x="2243" y="1096"/>
                  </a:lnTo>
                  <a:lnTo>
                    <a:pt x="2249" y="1104"/>
                  </a:lnTo>
                  <a:lnTo>
                    <a:pt x="2250" y="1110"/>
                  </a:lnTo>
                  <a:lnTo>
                    <a:pt x="2250" y="1111"/>
                  </a:lnTo>
                  <a:lnTo>
                    <a:pt x="2252" y="1113"/>
                  </a:lnTo>
                  <a:lnTo>
                    <a:pt x="2253" y="1117"/>
                  </a:lnTo>
                  <a:lnTo>
                    <a:pt x="2254" y="1118"/>
                  </a:lnTo>
                  <a:lnTo>
                    <a:pt x="2255" y="1120"/>
                  </a:lnTo>
                  <a:lnTo>
                    <a:pt x="2259" y="1122"/>
                  </a:lnTo>
                  <a:lnTo>
                    <a:pt x="2261" y="1125"/>
                  </a:lnTo>
                  <a:lnTo>
                    <a:pt x="2263" y="1127"/>
                  </a:lnTo>
                  <a:lnTo>
                    <a:pt x="2265" y="1133"/>
                  </a:lnTo>
                  <a:lnTo>
                    <a:pt x="2266" y="1133"/>
                  </a:lnTo>
                  <a:lnTo>
                    <a:pt x="2267" y="1136"/>
                  </a:lnTo>
                  <a:lnTo>
                    <a:pt x="2270" y="1138"/>
                  </a:lnTo>
                  <a:lnTo>
                    <a:pt x="2271" y="1147"/>
                  </a:lnTo>
                  <a:lnTo>
                    <a:pt x="2270" y="1150"/>
                  </a:lnTo>
                  <a:lnTo>
                    <a:pt x="2269" y="1153"/>
                  </a:lnTo>
                  <a:lnTo>
                    <a:pt x="2270" y="1155"/>
                  </a:lnTo>
                  <a:lnTo>
                    <a:pt x="2271" y="1159"/>
                  </a:lnTo>
                  <a:lnTo>
                    <a:pt x="2268" y="1159"/>
                  </a:lnTo>
                  <a:lnTo>
                    <a:pt x="2268" y="1159"/>
                  </a:lnTo>
                  <a:lnTo>
                    <a:pt x="2271" y="1160"/>
                  </a:lnTo>
                  <a:lnTo>
                    <a:pt x="2272" y="1162"/>
                  </a:lnTo>
                  <a:lnTo>
                    <a:pt x="2272" y="1164"/>
                  </a:lnTo>
                  <a:lnTo>
                    <a:pt x="2274" y="1167"/>
                  </a:lnTo>
                  <a:lnTo>
                    <a:pt x="2274" y="1170"/>
                  </a:lnTo>
                  <a:lnTo>
                    <a:pt x="2275" y="1172"/>
                  </a:lnTo>
                  <a:lnTo>
                    <a:pt x="2275" y="1176"/>
                  </a:lnTo>
                  <a:lnTo>
                    <a:pt x="2277" y="1178"/>
                  </a:lnTo>
                  <a:lnTo>
                    <a:pt x="2277" y="1180"/>
                  </a:lnTo>
                  <a:lnTo>
                    <a:pt x="2277" y="1181"/>
                  </a:lnTo>
                  <a:lnTo>
                    <a:pt x="2277" y="1184"/>
                  </a:lnTo>
                  <a:lnTo>
                    <a:pt x="2277" y="1187"/>
                  </a:lnTo>
                  <a:lnTo>
                    <a:pt x="2280" y="1193"/>
                  </a:lnTo>
                  <a:lnTo>
                    <a:pt x="2280" y="1194"/>
                  </a:lnTo>
                  <a:lnTo>
                    <a:pt x="2284" y="1194"/>
                  </a:lnTo>
                  <a:lnTo>
                    <a:pt x="2286" y="1195"/>
                  </a:lnTo>
                  <a:lnTo>
                    <a:pt x="2292" y="1195"/>
                  </a:lnTo>
                  <a:lnTo>
                    <a:pt x="2294" y="1193"/>
                  </a:lnTo>
                  <a:lnTo>
                    <a:pt x="2297" y="1193"/>
                  </a:lnTo>
                  <a:lnTo>
                    <a:pt x="2300" y="1194"/>
                  </a:lnTo>
                  <a:lnTo>
                    <a:pt x="2300" y="1193"/>
                  </a:lnTo>
                  <a:lnTo>
                    <a:pt x="2301" y="1193"/>
                  </a:lnTo>
                  <a:lnTo>
                    <a:pt x="2301" y="1191"/>
                  </a:lnTo>
                  <a:lnTo>
                    <a:pt x="2301" y="1193"/>
                  </a:lnTo>
                  <a:lnTo>
                    <a:pt x="2301" y="1193"/>
                  </a:lnTo>
                  <a:lnTo>
                    <a:pt x="2301" y="1193"/>
                  </a:lnTo>
                  <a:lnTo>
                    <a:pt x="2302" y="1190"/>
                  </a:lnTo>
                  <a:lnTo>
                    <a:pt x="2305" y="1189"/>
                  </a:lnTo>
                  <a:lnTo>
                    <a:pt x="2309" y="1187"/>
                  </a:lnTo>
                  <a:lnTo>
                    <a:pt x="2311" y="1185"/>
                  </a:lnTo>
                  <a:lnTo>
                    <a:pt x="2313" y="1185"/>
                  </a:lnTo>
                  <a:lnTo>
                    <a:pt x="2317" y="1185"/>
                  </a:lnTo>
                  <a:lnTo>
                    <a:pt x="2319" y="1184"/>
                  </a:lnTo>
                  <a:lnTo>
                    <a:pt x="2321" y="1184"/>
                  </a:lnTo>
                  <a:lnTo>
                    <a:pt x="2325" y="1184"/>
                  </a:lnTo>
                  <a:lnTo>
                    <a:pt x="2327" y="1182"/>
                  </a:lnTo>
                  <a:lnTo>
                    <a:pt x="2330" y="1181"/>
                  </a:lnTo>
                  <a:lnTo>
                    <a:pt x="2333" y="1181"/>
                  </a:lnTo>
                  <a:lnTo>
                    <a:pt x="2335" y="1180"/>
                  </a:lnTo>
                  <a:lnTo>
                    <a:pt x="2337" y="1178"/>
                  </a:lnTo>
                  <a:lnTo>
                    <a:pt x="2340" y="1177"/>
                  </a:lnTo>
                  <a:lnTo>
                    <a:pt x="2343" y="1176"/>
                  </a:lnTo>
                  <a:lnTo>
                    <a:pt x="2345" y="1176"/>
                  </a:lnTo>
                  <a:lnTo>
                    <a:pt x="2348" y="1176"/>
                  </a:lnTo>
                  <a:lnTo>
                    <a:pt x="2349" y="1176"/>
                  </a:lnTo>
                  <a:lnTo>
                    <a:pt x="2351" y="1176"/>
                  </a:lnTo>
                  <a:lnTo>
                    <a:pt x="2354" y="1173"/>
                  </a:lnTo>
                  <a:lnTo>
                    <a:pt x="2356" y="1170"/>
                  </a:lnTo>
                  <a:lnTo>
                    <a:pt x="2359" y="1168"/>
                  </a:lnTo>
                  <a:lnTo>
                    <a:pt x="2364" y="1165"/>
                  </a:lnTo>
                  <a:lnTo>
                    <a:pt x="2366" y="1164"/>
                  </a:lnTo>
                  <a:lnTo>
                    <a:pt x="2369" y="1164"/>
                  </a:lnTo>
                  <a:lnTo>
                    <a:pt x="2372" y="1164"/>
                  </a:lnTo>
                  <a:lnTo>
                    <a:pt x="2378" y="1161"/>
                  </a:lnTo>
                  <a:lnTo>
                    <a:pt x="2379" y="1161"/>
                  </a:lnTo>
                  <a:lnTo>
                    <a:pt x="2382" y="1160"/>
                  </a:lnTo>
                  <a:lnTo>
                    <a:pt x="2385" y="1160"/>
                  </a:lnTo>
                  <a:lnTo>
                    <a:pt x="2385" y="1160"/>
                  </a:lnTo>
                  <a:lnTo>
                    <a:pt x="2388" y="1159"/>
                  </a:lnTo>
                  <a:lnTo>
                    <a:pt x="2390" y="1158"/>
                  </a:lnTo>
                  <a:lnTo>
                    <a:pt x="2391" y="1156"/>
                  </a:lnTo>
                  <a:lnTo>
                    <a:pt x="2396" y="1154"/>
                  </a:lnTo>
                  <a:lnTo>
                    <a:pt x="2398" y="1154"/>
                  </a:lnTo>
                  <a:lnTo>
                    <a:pt x="2399" y="1152"/>
                  </a:lnTo>
                  <a:lnTo>
                    <a:pt x="2399" y="1148"/>
                  </a:lnTo>
                  <a:lnTo>
                    <a:pt x="2399" y="1146"/>
                  </a:lnTo>
                  <a:lnTo>
                    <a:pt x="2400" y="1145"/>
                  </a:lnTo>
                  <a:lnTo>
                    <a:pt x="2403" y="1142"/>
                  </a:lnTo>
                  <a:lnTo>
                    <a:pt x="2404" y="1142"/>
                  </a:lnTo>
                  <a:lnTo>
                    <a:pt x="2410" y="1139"/>
                  </a:lnTo>
                  <a:lnTo>
                    <a:pt x="2411" y="1139"/>
                  </a:lnTo>
                  <a:lnTo>
                    <a:pt x="2412" y="1139"/>
                  </a:lnTo>
                  <a:lnTo>
                    <a:pt x="2412" y="1138"/>
                  </a:lnTo>
                  <a:lnTo>
                    <a:pt x="2415" y="1137"/>
                  </a:lnTo>
                  <a:lnTo>
                    <a:pt x="2417" y="1137"/>
                  </a:lnTo>
                  <a:lnTo>
                    <a:pt x="2420" y="1136"/>
                  </a:lnTo>
                  <a:lnTo>
                    <a:pt x="2423" y="1135"/>
                  </a:lnTo>
                  <a:lnTo>
                    <a:pt x="2425" y="1134"/>
                  </a:lnTo>
                  <a:lnTo>
                    <a:pt x="2425" y="1134"/>
                  </a:lnTo>
                  <a:lnTo>
                    <a:pt x="2431" y="1133"/>
                  </a:lnTo>
                  <a:lnTo>
                    <a:pt x="2434" y="1134"/>
                  </a:lnTo>
                  <a:lnTo>
                    <a:pt x="2437" y="1134"/>
                  </a:lnTo>
                  <a:lnTo>
                    <a:pt x="2439" y="1133"/>
                  </a:lnTo>
                  <a:lnTo>
                    <a:pt x="2441" y="1131"/>
                  </a:lnTo>
                  <a:lnTo>
                    <a:pt x="2442" y="1128"/>
                  </a:lnTo>
                  <a:lnTo>
                    <a:pt x="2441" y="1126"/>
                  </a:lnTo>
                  <a:lnTo>
                    <a:pt x="2444" y="1124"/>
                  </a:lnTo>
                  <a:lnTo>
                    <a:pt x="2446" y="1121"/>
                  </a:lnTo>
                  <a:lnTo>
                    <a:pt x="2456" y="1120"/>
                  </a:lnTo>
                  <a:lnTo>
                    <a:pt x="2458" y="1118"/>
                  </a:lnTo>
                  <a:lnTo>
                    <a:pt x="2459" y="1116"/>
                  </a:lnTo>
                  <a:lnTo>
                    <a:pt x="2461" y="1112"/>
                  </a:lnTo>
                  <a:lnTo>
                    <a:pt x="2462" y="1110"/>
                  </a:lnTo>
                  <a:lnTo>
                    <a:pt x="2463" y="1109"/>
                  </a:lnTo>
                  <a:lnTo>
                    <a:pt x="2468" y="1107"/>
                  </a:lnTo>
                  <a:lnTo>
                    <a:pt x="2472" y="1107"/>
                  </a:lnTo>
                  <a:lnTo>
                    <a:pt x="2473" y="1107"/>
                  </a:lnTo>
                  <a:lnTo>
                    <a:pt x="2476" y="1105"/>
                  </a:lnTo>
                  <a:lnTo>
                    <a:pt x="2476" y="1103"/>
                  </a:lnTo>
                  <a:lnTo>
                    <a:pt x="2476" y="1101"/>
                  </a:lnTo>
                  <a:lnTo>
                    <a:pt x="2475" y="1097"/>
                  </a:lnTo>
                  <a:lnTo>
                    <a:pt x="2475" y="1096"/>
                  </a:lnTo>
                  <a:lnTo>
                    <a:pt x="2476" y="1093"/>
                  </a:lnTo>
                  <a:lnTo>
                    <a:pt x="2476" y="1091"/>
                  </a:lnTo>
                  <a:lnTo>
                    <a:pt x="2476" y="1088"/>
                  </a:lnTo>
                  <a:lnTo>
                    <a:pt x="2480" y="1083"/>
                  </a:lnTo>
                  <a:lnTo>
                    <a:pt x="2482" y="1086"/>
                  </a:lnTo>
                  <a:lnTo>
                    <a:pt x="2485" y="1086"/>
                  </a:lnTo>
                  <a:lnTo>
                    <a:pt x="2487" y="1083"/>
                  </a:lnTo>
                  <a:lnTo>
                    <a:pt x="2489" y="1081"/>
                  </a:lnTo>
                  <a:lnTo>
                    <a:pt x="2491" y="1075"/>
                  </a:lnTo>
                  <a:lnTo>
                    <a:pt x="2494" y="1073"/>
                  </a:lnTo>
                  <a:lnTo>
                    <a:pt x="2497" y="1071"/>
                  </a:lnTo>
                  <a:lnTo>
                    <a:pt x="2499" y="1068"/>
                  </a:lnTo>
                  <a:lnTo>
                    <a:pt x="2500" y="1066"/>
                  </a:lnTo>
                  <a:lnTo>
                    <a:pt x="2501" y="1062"/>
                  </a:lnTo>
                  <a:lnTo>
                    <a:pt x="2504" y="1060"/>
                  </a:lnTo>
                  <a:lnTo>
                    <a:pt x="2504" y="1059"/>
                  </a:lnTo>
                  <a:lnTo>
                    <a:pt x="2505" y="1057"/>
                  </a:lnTo>
                  <a:lnTo>
                    <a:pt x="2504" y="1054"/>
                  </a:lnTo>
                  <a:lnTo>
                    <a:pt x="2501" y="1054"/>
                  </a:lnTo>
                  <a:lnTo>
                    <a:pt x="2498" y="1053"/>
                  </a:lnTo>
                  <a:lnTo>
                    <a:pt x="2497" y="1050"/>
                  </a:lnTo>
                  <a:lnTo>
                    <a:pt x="2493" y="1048"/>
                  </a:lnTo>
                  <a:lnTo>
                    <a:pt x="2492" y="1045"/>
                  </a:lnTo>
                  <a:lnTo>
                    <a:pt x="2490" y="1042"/>
                  </a:lnTo>
                  <a:lnTo>
                    <a:pt x="2488" y="1040"/>
                  </a:lnTo>
                  <a:lnTo>
                    <a:pt x="2482" y="1039"/>
                  </a:lnTo>
                  <a:lnTo>
                    <a:pt x="2480" y="1037"/>
                  </a:lnTo>
                  <a:lnTo>
                    <a:pt x="2476" y="1037"/>
                  </a:lnTo>
                  <a:lnTo>
                    <a:pt x="2473" y="1036"/>
                  </a:lnTo>
                  <a:lnTo>
                    <a:pt x="2472" y="1036"/>
                  </a:lnTo>
                  <a:lnTo>
                    <a:pt x="2468" y="1035"/>
                  </a:lnTo>
                  <a:lnTo>
                    <a:pt x="2466" y="1034"/>
                  </a:lnTo>
                  <a:lnTo>
                    <a:pt x="2464" y="1031"/>
                  </a:lnTo>
                  <a:lnTo>
                    <a:pt x="2462" y="1028"/>
                  </a:lnTo>
                  <a:lnTo>
                    <a:pt x="2459" y="1026"/>
                  </a:lnTo>
                  <a:lnTo>
                    <a:pt x="2458" y="1023"/>
                  </a:lnTo>
                  <a:lnTo>
                    <a:pt x="2457" y="1020"/>
                  </a:lnTo>
                  <a:lnTo>
                    <a:pt x="2457" y="1019"/>
                  </a:lnTo>
                  <a:lnTo>
                    <a:pt x="2457" y="1019"/>
                  </a:lnTo>
                  <a:lnTo>
                    <a:pt x="2456" y="1018"/>
                  </a:lnTo>
                  <a:lnTo>
                    <a:pt x="2457" y="1015"/>
                  </a:lnTo>
                  <a:lnTo>
                    <a:pt x="2457" y="1015"/>
                  </a:lnTo>
                  <a:lnTo>
                    <a:pt x="2456" y="1010"/>
                  </a:lnTo>
                  <a:lnTo>
                    <a:pt x="2455" y="1010"/>
                  </a:lnTo>
                  <a:lnTo>
                    <a:pt x="2457" y="1005"/>
                  </a:lnTo>
                  <a:lnTo>
                    <a:pt x="2456" y="1001"/>
                  </a:lnTo>
                  <a:lnTo>
                    <a:pt x="2457" y="999"/>
                  </a:lnTo>
                  <a:lnTo>
                    <a:pt x="2456" y="999"/>
                  </a:lnTo>
                  <a:lnTo>
                    <a:pt x="2455" y="1001"/>
                  </a:lnTo>
                  <a:lnTo>
                    <a:pt x="2453" y="1004"/>
                  </a:lnTo>
                  <a:lnTo>
                    <a:pt x="2451" y="1006"/>
                  </a:lnTo>
                  <a:lnTo>
                    <a:pt x="2446" y="1011"/>
                  </a:lnTo>
                  <a:lnTo>
                    <a:pt x="2446" y="1010"/>
                  </a:lnTo>
                  <a:lnTo>
                    <a:pt x="2445" y="1011"/>
                  </a:lnTo>
                  <a:lnTo>
                    <a:pt x="2445" y="1011"/>
                  </a:lnTo>
                  <a:lnTo>
                    <a:pt x="2445" y="1013"/>
                  </a:lnTo>
                  <a:lnTo>
                    <a:pt x="2442" y="1015"/>
                  </a:lnTo>
                  <a:lnTo>
                    <a:pt x="2442" y="1015"/>
                  </a:lnTo>
                  <a:lnTo>
                    <a:pt x="2442" y="1016"/>
                  </a:lnTo>
                  <a:lnTo>
                    <a:pt x="2442" y="1016"/>
                  </a:lnTo>
                  <a:lnTo>
                    <a:pt x="2439" y="1018"/>
                  </a:lnTo>
                  <a:lnTo>
                    <a:pt x="2438" y="1019"/>
                  </a:lnTo>
                  <a:lnTo>
                    <a:pt x="2438" y="1019"/>
                  </a:lnTo>
                  <a:lnTo>
                    <a:pt x="2438" y="1019"/>
                  </a:lnTo>
                  <a:lnTo>
                    <a:pt x="2438" y="1019"/>
                  </a:lnTo>
                  <a:lnTo>
                    <a:pt x="2436" y="1022"/>
                  </a:lnTo>
                  <a:lnTo>
                    <a:pt x="2433" y="1024"/>
                  </a:lnTo>
                  <a:lnTo>
                    <a:pt x="2432" y="1026"/>
                  </a:lnTo>
                  <a:lnTo>
                    <a:pt x="2428" y="1031"/>
                  </a:lnTo>
                  <a:lnTo>
                    <a:pt x="2425" y="1030"/>
                  </a:lnTo>
                  <a:lnTo>
                    <a:pt x="2425" y="1030"/>
                  </a:lnTo>
                  <a:lnTo>
                    <a:pt x="2425" y="1030"/>
                  </a:lnTo>
                  <a:lnTo>
                    <a:pt x="2423" y="1033"/>
                  </a:lnTo>
                  <a:lnTo>
                    <a:pt x="2420" y="1033"/>
                  </a:lnTo>
                  <a:lnTo>
                    <a:pt x="2417" y="1032"/>
                  </a:lnTo>
                  <a:lnTo>
                    <a:pt x="2416" y="1032"/>
                  </a:lnTo>
                  <a:lnTo>
                    <a:pt x="2412" y="1032"/>
                  </a:lnTo>
                  <a:lnTo>
                    <a:pt x="2411" y="1032"/>
                  </a:lnTo>
                  <a:lnTo>
                    <a:pt x="2408" y="1032"/>
                  </a:lnTo>
                  <a:lnTo>
                    <a:pt x="2407" y="1032"/>
                  </a:lnTo>
                  <a:lnTo>
                    <a:pt x="2405" y="1031"/>
                  </a:lnTo>
                  <a:lnTo>
                    <a:pt x="2403" y="1033"/>
                  </a:lnTo>
                  <a:lnTo>
                    <a:pt x="2396" y="1034"/>
                  </a:lnTo>
                  <a:lnTo>
                    <a:pt x="2394" y="1033"/>
                  </a:lnTo>
                  <a:lnTo>
                    <a:pt x="2394" y="1031"/>
                  </a:lnTo>
                  <a:lnTo>
                    <a:pt x="2391" y="1028"/>
                  </a:lnTo>
                  <a:lnTo>
                    <a:pt x="2391" y="1030"/>
                  </a:lnTo>
                  <a:lnTo>
                    <a:pt x="2388" y="1030"/>
                  </a:lnTo>
                  <a:lnTo>
                    <a:pt x="2388" y="1030"/>
                  </a:lnTo>
                  <a:lnTo>
                    <a:pt x="2388" y="1027"/>
                  </a:lnTo>
                  <a:lnTo>
                    <a:pt x="2387" y="1026"/>
                  </a:lnTo>
                  <a:lnTo>
                    <a:pt x="2386" y="1025"/>
                  </a:lnTo>
                  <a:lnTo>
                    <a:pt x="2389" y="1024"/>
                  </a:lnTo>
                  <a:lnTo>
                    <a:pt x="2389" y="1023"/>
                  </a:lnTo>
                  <a:lnTo>
                    <a:pt x="2389" y="1023"/>
                  </a:lnTo>
                  <a:lnTo>
                    <a:pt x="2391" y="1019"/>
                  </a:lnTo>
                  <a:lnTo>
                    <a:pt x="2391" y="1018"/>
                  </a:lnTo>
                  <a:lnTo>
                    <a:pt x="2391" y="1018"/>
                  </a:lnTo>
                  <a:lnTo>
                    <a:pt x="2391" y="1017"/>
                  </a:lnTo>
                  <a:lnTo>
                    <a:pt x="2391" y="1016"/>
                  </a:lnTo>
                  <a:lnTo>
                    <a:pt x="2390" y="1014"/>
                  </a:lnTo>
                  <a:lnTo>
                    <a:pt x="2389" y="1011"/>
                  </a:lnTo>
                  <a:lnTo>
                    <a:pt x="2391" y="1009"/>
                  </a:lnTo>
                  <a:lnTo>
                    <a:pt x="2391" y="1006"/>
                  </a:lnTo>
                  <a:lnTo>
                    <a:pt x="2390" y="1006"/>
                  </a:lnTo>
                  <a:lnTo>
                    <a:pt x="2389" y="1006"/>
                  </a:lnTo>
                  <a:lnTo>
                    <a:pt x="2388" y="1004"/>
                  </a:lnTo>
                  <a:lnTo>
                    <a:pt x="2385" y="1004"/>
                  </a:lnTo>
                  <a:lnTo>
                    <a:pt x="2382" y="1006"/>
                  </a:lnTo>
                  <a:lnTo>
                    <a:pt x="2382" y="1007"/>
                  </a:lnTo>
                  <a:lnTo>
                    <a:pt x="2381" y="1009"/>
                  </a:lnTo>
                  <a:lnTo>
                    <a:pt x="2381" y="1011"/>
                  </a:lnTo>
                  <a:lnTo>
                    <a:pt x="2380" y="1011"/>
                  </a:lnTo>
                  <a:lnTo>
                    <a:pt x="2380" y="1011"/>
                  </a:lnTo>
                  <a:lnTo>
                    <a:pt x="2380" y="1017"/>
                  </a:lnTo>
                  <a:lnTo>
                    <a:pt x="2381" y="1022"/>
                  </a:lnTo>
                  <a:lnTo>
                    <a:pt x="2381" y="1023"/>
                  </a:lnTo>
                  <a:lnTo>
                    <a:pt x="2380" y="1023"/>
                  </a:lnTo>
                  <a:lnTo>
                    <a:pt x="2380" y="1023"/>
                  </a:lnTo>
                  <a:lnTo>
                    <a:pt x="2379" y="1019"/>
                  </a:lnTo>
                  <a:lnTo>
                    <a:pt x="2378" y="1019"/>
                  </a:lnTo>
                  <a:lnTo>
                    <a:pt x="2378" y="1019"/>
                  </a:lnTo>
                  <a:lnTo>
                    <a:pt x="2376" y="1014"/>
                  </a:lnTo>
                  <a:lnTo>
                    <a:pt x="2371" y="1008"/>
                  </a:lnTo>
                  <a:lnTo>
                    <a:pt x="2371" y="1006"/>
                  </a:lnTo>
                  <a:lnTo>
                    <a:pt x="2370" y="1005"/>
                  </a:lnTo>
                  <a:lnTo>
                    <a:pt x="2369" y="1005"/>
                  </a:lnTo>
                  <a:lnTo>
                    <a:pt x="2369" y="1005"/>
                  </a:lnTo>
                  <a:lnTo>
                    <a:pt x="2370" y="1004"/>
                  </a:lnTo>
                  <a:lnTo>
                    <a:pt x="2370" y="1002"/>
                  </a:lnTo>
                  <a:lnTo>
                    <a:pt x="2372" y="1002"/>
                  </a:lnTo>
                  <a:lnTo>
                    <a:pt x="2372" y="1001"/>
                  </a:lnTo>
                  <a:lnTo>
                    <a:pt x="2372" y="1001"/>
                  </a:lnTo>
                  <a:lnTo>
                    <a:pt x="2371" y="998"/>
                  </a:lnTo>
                  <a:lnTo>
                    <a:pt x="2370" y="997"/>
                  </a:lnTo>
                  <a:lnTo>
                    <a:pt x="2370" y="994"/>
                  </a:lnTo>
                  <a:lnTo>
                    <a:pt x="2369" y="994"/>
                  </a:lnTo>
                  <a:lnTo>
                    <a:pt x="2370" y="993"/>
                  </a:lnTo>
                  <a:lnTo>
                    <a:pt x="2370" y="994"/>
                  </a:lnTo>
                  <a:lnTo>
                    <a:pt x="2370" y="994"/>
                  </a:lnTo>
                  <a:lnTo>
                    <a:pt x="2370" y="994"/>
                  </a:lnTo>
                  <a:lnTo>
                    <a:pt x="2371" y="996"/>
                  </a:lnTo>
                  <a:lnTo>
                    <a:pt x="2370" y="993"/>
                  </a:lnTo>
                  <a:lnTo>
                    <a:pt x="2370" y="993"/>
                  </a:lnTo>
                  <a:lnTo>
                    <a:pt x="2370" y="993"/>
                  </a:lnTo>
                  <a:lnTo>
                    <a:pt x="2369" y="992"/>
                  </a:lnTo>
                  <a:lnTo>
                    <a:pt x="2369" y="992"/>
                  </a:lnTo>
                  <a:lnTo>
                    <a:pt x="2369" y="992"/>
                  </a:lnTo>
                  <a:lnTo>
                    <a:pt x="2369" y="992"/>
                  </a:lnTo>
                  <a:lnTo>
                    <a:pt x="2368" y="992"/>
                  </a:lnTo>
                  <a:lnTo>
                    <a:pt x="2364" y="990"/>
                  </a:lnTo>
                  <a:lnTo>
                    <a:pt x="2364" y="990"/>
                  </a:lnTo>
                  <a:lnTo>
                    <a:pt x="2364" y="990"/>
                  </a:lnTo>
                  <a:lnTo>
                    <a:pt x="2363" y="988"/>
                  </a:lnTo>
                  <a:lnTo>
                    <a:pt x="2363" y="988"/>
                  </a:lnTo>
                  <a:lnTo>
                    <a:pt x="2361" y="988"/>
                  </a:lnTo>
                  <a:lnTo>
                    <a:pt x="2361" y="987"/>
                  </a:lnTo>
                  <a:lnTo>
                    <a:pt x="2360" y="987"/>
                  </a:lnTo>
                  <a:lnTo>
                    <a:pt x="2357" y="983"/>
                  </a:lnTo>
                  <a:lnTo>
                    <a:pt x="2357" y="982"/>
                  </a:lnTo>
                  <a:lnTo>
                    <a:pt x="2356" y="982"/>
                  </a:lnTo>
                  <a:lnTo>
                    <a:pt x="2356" y="982"/>
                  </a:lnTo>
                  <a:lnTo>
                    <a:pt x="2356" y="981"/>
                  </a:lnTo>
                  <a:lnTo>
                    <a:pt x="2355" y="981"/>
                  </a:lnTo>
                  <a:lnTo>
                    <a:pt x="2354" y="981"/>
                  </a:lnTo>
                  <a:lnTo>
                    <a:pt x="2354" y="981"/>
                  </a:lnTo>
                  <a:lnTo>
                    <a:pt x="2353" y="981"/>
                  </a:lnTo>
                  <a:lnTo>
                    <a:pt x="2353" y="979"/>
                  </a:lnTo>
                  <a:lnTo>
                    <a:pt x="2354" y="979"/>
                  </a:lnTo>
                  <a:lnTo>
                    <a:pt x="2354" y="979"/>
                  </a:lnTo>
                  <a:lnTo>
                    <a:pt x="2354" y="979"/>
                  </a:lnTo>
                  <a:lnTo>
                    <a:pt x="2354" y="977"/>
                  </a:lnTo>
                  <a:lnTo>
                    <a:pt x="2353" y="976"/>
                  </a:lnTo>
                  <a:lnTo>
                    <a:pt x="2353" y="975"/>
                  </a:lnTo>
                  <a:lnTo>
                    <a:pt x="2352" y="975"/>
                  </a:lnTo>
                  <a:lnTo>
                    <a:pt x="2349" y="970"/>
                  </a:lnTo>
                  <a:lnTo>
                    <a:pt x="2347" y="967"/>
                  </a:lnTo>
                  <a:lnTo>
                    <a:pt x="2347" y="964"/>
                  </a:lnTo>
                  <a:lnTo>
                    <a:pt x="2344" y="959"/>
                  </a:lnTo>
                  <a:lnTo>
                    <a:pt x="2344" y="959"/>
                  </a:lnTo>
                  <a:lnTo>
                    <a:pt x="2344" y="958"/>
                  </a:lnTo>
                  <a:lnTo>
                    <a:pt x="2343" y="956"/>
                  </a:lnTo>
                  <a:lnTo>
                    <a:pt x="2340" y="955"/>
                  </a:lnTo>
                  <a:lnTo>
                    <a:pt x="2339" y="953"/>
                  </a:lnTo>
                  <a:lnTo>
                    <a:pt x="2343" y="951"/>
                  </a:lnTo>
                  <a:lnTo>
                    <a:pt x="2344" y="951"/>
                  </a:lnTo>
                  <a:lnTo>
                    <a:pt x="2342" y="948"/>
                  </a:lnTo>
                  <a:lnTo>
                    <a:pt x="2342" y="947"/>
                  </a:lnTo>
                  <a:lnTo>
                    <a:pt x="2342" y="946"/>
                  </a:lnTo>
                  <a:lnTo>
                    <a:pt x="2342" y="943"/>
                  </a:lnTo>
                  <a:lnTo>
                    <a:pt x="2348" y="947"/>
                  </a:lnTo>
                  <a:lnTo>
                    <a:pt x="2349" y="946"/>
                  </a:lnTo>
                  <a:lnTo>
                    <a:pt x="2349" y="946"/>
                  </a:lnTo>
                  <a:lnTo>
                    <a:pt x="2351" y="946"/>
                  </a:lnTo>
                  <a:lnTo>
                    <a:pt x="2351" y="946"/>
                  </a:lnTo>
                  <a:lnTo>
                    <a:pt x="2351" y="945"/>
                  </a:lnTo>
                  <a:lnTo>
                    <a:pt x="2352" y="945"/>
                  </a:lnTo>
                  <a:lnTo>
                    <a:pt x="2354" y="945"/>
                  </a:lnTo>
                  <a:lnTo>
                    <a:pt x="2355" y="942"/>
                  </a:lnTo>
                  <a:lnTo>
                    <a:pt x="2354" y="940"/>
                  </a:lnTo>
                  <a:lnTo>
                    <a:pt x="2355" y="938"/>
                  </a:lnTo>
                  <a:lnTo>
                    <a:pt x="2356" y="938"/>
                  </a:lnTo>
                  <a:lnTo>
                    <a:pt x="2357" y="938"/>
                  </a:lnTo>
                  <a:lnTo>
                    <a:pt x="2355" y="940"/>
                  </a:lnTo>
                  <a:lnTo>
                    <a:pt x="2359" y="941"/>
                  </a:lnTo>
                  <a:lnTo>
                    <a:pt x="2361" y="943"/>
                  </a:lnTo>
                  <a:lnTo>
                    <a:pt x="2363" y="943"/>
                  </a:lnTo>
                  <a:lnTo>
                    <a:pt x="2363" y="945"/>
                  </a:lnTo>
                  <a:lnTo>
                    <a:pt x="2365" y="945"/>
                  </a:lnTo>
                  <a:lnTo>
                    <a:pt x="2368" y="942"/>
                  </a:lnTo>
                  <a:lnTo>
                    <a:pt x="2370" y="942"/>
                  </a:lnTo>
                  <a:lnTo>
                    <a:pt x="2370" y="942"/>
                  </a:lnTo>
                  <a:lnTo>
                    <a:pt x="2371" y="945"/>
                  </a:lnTo>
                  <a:lnTo>
                    <a:pt x="2371" y="946"/>
                  </a:lnTo>
                  <a:lnTo>
                    <a:pt x="2373" y="948"/>
                  </a:lnTo>
                  <a:lnTo>
                    <a:pt x="2373" y="948"/>
                  </a:lnTo>
                  <a:lnTo>
                    <a:pt x="2376" y="950"/>
                  </a:lnTo>
                  <a:lnTo>
                    <a:pt x="2376" y="951"/>
                  </a:lnTo>
                  <a:lnTo>
                    <a:pt x="2376" y="951"/>
                  </a:lnTo>
                  <a:lnTo>
                    <a:pt x="2379" y="954"/>
                  </a:lnTo>
                  <a:lnTo>
                    <a:pt x="2379" y="957"/>
                  </a:lnTo>
                  <a:lnTo>
                    <a:pt x="2378" y="958"/>
                  </a:lnTo>
                  <a:lnTo>
                    <a:pt x="2380" y="958"/>
                  </a:lnTo>
                  <a:lnTo>
                    <a:pt x="2381" y="960"/>
                  </a:lnTo>
                  <a:lnTo>
                    <a:pt x="2383" y="964"/>
                  </a:lnTo>
                  <a:lnTo>
                    <a:pt x="2385" y="966"/>
                  </a:lnTo>
                  <a:lnTo>
                    <a:pt x="2385" y="967"/>
                  </a:lnTo>
                  <a:lnTo>
                    <a:pt x="2386" y="971"/>
                  </a:lnTo>
                  <a:lnTo>
                    <a:pt x="2387" y="973"/>
                  </a:lnTo>
                  <a:lnTo>
                    <a:pt x="2388" y="975"/>
                  </a:lnTo>
                  <a:lnTo>
                    <a:pt x="2391" y="977"/>
                  </a:lnTo>
                  <a:lnTo>
                    <a:pt x="2394" y="977"/>
                  </a:lnTo>
                  <a:lnTo>
                    <a:pt x="2397" y="977"/>
                  </a:lnTo>
                  <a:lnTo>
                    <a:pt x="2399" y="980"/>
                  </a:lnTo>
                  <a:lnTo>
                    <a:pt x="2402" y="981"/>
                  </a:lnTo>
                  <a:lnTo>
                    <a:pt x="2405" y="982"/>
                  </a:lnTo>
                  <a:lnTo>
                    <a:pt x="2406" y="985"/>
                  </a:lnTo>
                  <a:lnTo>
                    <a:pt x="2408" y="987"/>
                  </a:lnTo>
                  <a:lnTo>
                    <a:pt x="2411" y="989"/>
                  </a:lnTo>
                  <a:lnTo>
                    <a:pt x="2414" y="989"/>
                  </a:lnTo>
                  <a:lnTo>
                    <a:pt x="2416" y="990"/>
                  </a:lnTo>
                  <a:lnTo>
                    <a:pt x="2416" y="991"/>
                  </a:lnTo>
                  <a:lnTo>
                    <a:pt x="2419" y="993"/>
                  </a:lnTo>
                  <a:lnTo>
                    <a:pt x="2422" y="994"/>
                  </a:lnTo>
                  <a:lnTo>
                    <a:pt x="2424" y="993"/>
                  </a:lnTo>
                  <a:lnTo>
                    <a:pt x="2427" y="994"/>
                  </a:lnTo>
                  <a:lnTo>
                    <a:pt x="2430" y="996"/>
                  </a:lnTo>
                  <a:lnTo>
                    <a:pt x="2432" y="997"/>
                  </a:lnTo>
                  <a:lnTo>
                    <a:pt x="2436" y="997"/>
                  </a:lnTo>
                  <a:lnTo>
                    <a:pt x="2438" y="996"/>
                  </a:lnTo>
                  <a:lnTo>
                    <a:pt x="2439" y="996"/>
                  </a:lnTo>
                  <a:lnTo>
                    <a:pt x="2441" y="993"/>
                  </a:lnTo>
                  <a:lnTo>
                    <a:pt x="2444" y="993"/>
                  </a:lnTo>
                  <a:lnTo>
                    <a:pt x="2446" y="991"/>
                  </a:lnTo>
                  <a:lnTo>
                    <a:pt x="2446" y="991"/>
                  </a:lnTo>
                  <a:lnTo>
                    <a:pt x="2448" y="990"/>
                  </a:lnTo>
                  <a:lnTo>
                    <a:pt x="2449" y="990"/>
                  </a:lnTo>
                  <a:lnTo>
                    <a:pt x="2451" y="989"/>
                  </a:lnTo>
                  <a:lnTo>
                    <a:pt x="2454" y="988"/>
                  </a:lnTo>
                  <a:lnTo>
                    <a:pt x="2457" y="988"/>
                  </a:lnTo>
                  <a:lnTo>
                    <a:pt x="2459" y="988"/>
                  </a:lnTo>
                  <a:lnTo>
                    <a:pt x="2463" y="988"/>
                  </a:lnTo>
                  <a:lnTo>
                    <a:pt x="2463" y="989"/>
                  </a:lnTo>
                  <a:lnTo>
                    <a:pt x="2465" y="992"/>
                  </a:lnTo>
                  <a:lnTo>
                    <a:pt x="2466" y="994"/>
                  </a:lnTo>
                  <a:lnTo>
                    <a:pt x="2466" y="997"/>
                  </a:lnTo>
                  <a:lnTo>
                    <a:pt x="2467" y="1000"/>
                  </a:lnTo>
                  <a:lnTo>
                    <a:pt x="2467" y="1002"/>
                  </a:lnTo>
                  <a:lnTo>
                    <a:pt x="2468" y="1006"/>
                  </a:lnTo>
                  <a:lnTo>
                    <a:pt x="2471" y="1008"/>
                  </a:lnTo>
                  <a:lnTo>
                    <a:pt x="2473" y="1008"/>
                  </a:lnTo>
                  <a:lnTo>
                    <a:pt x="2476" y="1010"/>
                  </a:lnTo>
                  <a:lnTo>
                    <a:pt x="2477" y="1009"/>
                  </a:lnTo>
                  <a:lnTo>
                    <a:pt x="2480" y="1011"/>
                  </a:lnTo>
                  <a:lnTo>
                    <a:pt x="2483" y="1011"/>
                  </a:lnTo>
                  <a:lnTo>
                    <a:pt x="2485" y="1010"/>
                  </a:lnTo>
                  <a:lnTo>
                    <a:pt x="2488" y="1011"/>
                  </a:lnTo>
                  <a:lnTo>
                    <a:pt x="2491" y="1011"/>
                  </a:lnTo>
                  <a:lnTo>
                    <a:pt x="2493" y="1014"/>
                  </a:lnTo>
                  <a:lnTo>
                    <a:pt x="2496" y="1013"/>
                  </a:lnTo>
                  <a:lnTo>
                    <a:pt x="2498" y="1013"/>
                  </a:lnTo>
                  <a:lnTo>
                    <a:pt x="2501" y="1014"/>
                  </a:lnTo>
                  <a:lnTo>
                    <a:pt x="2504" y="1014"/>
                  </a:lnTo>
                  <a:lnTo>
                    <a:pt x="2506" y="1014"/>
                  </a:lnTo>
                  <a:lnTo>
                    <a:pt x="2509" y="1014"/>
                  </a:lnTo>
                  <a:lnTo>
                    <a:pt x="2513" y="1015"/>
                  </a:lnTo>
                  <a:lnTo>
                    <a:pt x="2514" y="1013"/>
                  </a:lnTo>
                  <a:lnTo>
                    <a:pt x="2516" y="1015"/>
                  </a:lnTo>
                  <a:lnTo>
                    <a:pt x="2518" y="1016"/>
                  </a:lnTo>
                  <a:lnTo>
                    <a:pt x="2522" y="1016"/>
                  </a:lnTo>
                  <a:lnTo>
                    <a:pt x="2524" y="1018"/>
                  </a:lnTo>
                  <a:lnTo>
                    <a:pt x="2527" y="1016"/>
                  </a:lnTo>
                  <a:lnTo>
                    <a:pt x="2528" y="1016"/>
                  </a:lnTo>
                  <a:lnTo>
                    <a:pt x="2530" y="1016"/>
                  </a:lnTo>
                  <a:lnTo>
                    <a:pt x="2530" y="1018"/>
                  </a:lnTo>
                  <a:lnTo>
                    <a:pt x="2533" y="1017"/>
                  </a:lnTo>
                  <a:lnTo>
                    <a:pt x="2535" y="1016"/>
                  </a:lnTo>
                  <a:lnTo>
                    <a:pt x="2538" y="1017"/>
                  </a:lnTo>
                  <a:lnTo>
                    <a:pt x="2541" y="1016"/>
                  </a:lnTo>
                  <a:lnTo>
                    <a:pt x="2543" y="1015"/>
                  </a:lnTo>
                  <a:lnTo>
                    <a:pt x="2545" y="1016"/>
                  </a:lnTo>
                  <a:lnTo>
                    <a:pt x="2549" y="1016"/>
                  </a:lnTo>
                  <a:lnTo>
                    <a:pt x="2555" y="1016"/>
                  </a:lnTo>
                  <a:lnTo>
                    <a:pt x="2555" y="1014"/>
                  </a:lnTo>
                  <a:lnTo>
                    <a:pt x="2558" y="1014"/>
                  </a:lnTo>
                  <a:lnTo>
                    <a:pt x="2560" y="1015"/>
                  </a:lnTo>
                  <a:lnTo>
                    <a:pt x="2562" y="1013"/>
                  </a:lnTo>
                  <a:lnTo>
                    <a:pt x="2566" y="1015"/>
                  </a:lnTo>
                  <a:lnTo>
                    <a:pt x="2568" y="1015"/>
                  </a:lnTo>
                  <a:lnTo>
                    <a:pt x="2572" y="1015"/>
                  </a:lnTo>
                  <a:lnTo>
                    <a:pt x="2577" y="1015"/>
                  </a:lnTo>
                  <a:lnTo>
                    <a:pt x="2581" y="1014"/>
                  </a:lnTo>
                  <a:lnTo>
                    <a:pt x="2584" y="1015"/>
                  </a:lnTo>
                  <a:lnTo>
                    <a:pt x="2590" y="1013"/>
                  </a:lnTo>
                  <a:lnTo>
                    <a:pt x="2592" y="1013"/>
                  </a:lnTo>
                  <a:lnTo>
                    <a:pt x="2594" y="1013"/>
                  </a:lnTo>
                  <a:lnTo>
                    <a:pt x="2592" y="1011"/>
                  </a:lnTo>
                  <a:lnTo>
                    <a:pt x="2594" y="1010"/>
                  </a:lnTo>
                  <a:lnTo>
                    <a:pt x="2599" y="1016"/>
                  </a:lnTo>
                  <a:lnTo>
                    <a:pt x="2598" y="1019"/>
                  </a:lnTo>
                  <a:lnTo>
                    <a:pt x="2598" y="1020"/>
                  </a:lnTo>
                  <a:lnTo>
                    <a:pt x="2601" y="1022"/>
                  </a:lnTo>
                  <a:lnTo>
                    <a:pt x="2603" y="1023"/>
                  </a:lnTo>
                  <a:lnTo>
                    <a:pt x="2604" y="1025"/>
                  </a:lnTo>
                  <a:lnTo>
                    <a:pt x="2605" y="1027"/>
                  </a:lnTo>
                  <a:lnTo>
                    <a:pt x="2607" y="1032"/>
                  </a:lnTo>
                  <a:lnTo>
                    <a:pt x="2610" y="1033"/>
                  </a:lnTo>
                  <a:lnTo>
                    <a:pt x="2609" y="1034"/>
                  </a:lnTo>
                  <a:lnTo>
                    <a:pt x="2610" y="1035"/>
                  </a:lnTo>
                  <a:lnTo>
                    <a:pt x="2611" y="1035"/>
                  </a:lnTo>
                  <a:lnTo>
                    <a:pt x="2611" y="1036"/>
                  </a:lnTo>
                  <a:lnTo>
                    <a:pt x="2613" y="1035"/>
                  </a:lnTo>
                  <a:lnTo>
                    <a:pt x="2615" y="1035"/>
                  </a:lnTo>
                  <a:lnTo>
                    <a:pt x="2615" y="1035"/>
                  </a:lnTo>
                  <a:lnTo>
                    <a:pt x="2616" y="1035"/>
                  </a:lnTo>
                  <a:lnTo>
                    <a:pt x="2619" y="1037"/>
                  </a:lnTo>
                  <a:lnTo>
                    <a:pt x="2619" y="1040"/>
                  </a:lnTo>
                  <a:lnTo>
                    <a:pt x="2622" y="1037"/>
                  </a:lnTo>
                  <a:lnTo>
                    <a:pt x="2625" y="1036"/>
                  </a:lnTo>
                  <a:lnTo>
                    <a:pt x="2627" y="1036"/>
                  </a:lnTo>
                  <a:lnTo>
                    <a:pt x="2624" y="1037"/>
                  </a:lnTo>
                  <a:lnTo>
                    <a:pt x="2621" y="1040"/>
                  </a:lnTo>
                  <a:lnTo>
                    <a:pt x="2622" y="1042"/>
                  </a:lnTo>
                  <a:lnTo>
                    <a:pt x="2624" y="1044"/>
                  </a:lnTo>
                  <a:lnTo>
                    <a:pt x="2625" y="1045"/>
                  </a:lnTo>
                  <a:lnTo>
                    <a:pt x="2627" y="1048"/>
                  </a:lnTo>
                  <a:lnTo>
                    <a:pt x="2629" y="1049"/>
                  </a:lnTo>
                  <a:lnTo>
                    <a:pt x="2633" y="1050"/>
                  </a:lnTo>
                  <a:lnTo>
                    <a:pt x="2635" y="1051"/>
                  </a:lnTo>
                  <a:lnTo>
                    <a:pt x="2637" y="1052"/>
                  </a:lnTo>
                  <a:lnTo>
                    <a:pt x="2641" y="1050"/>
                  </a:lnTo>
                  <a:lnTo>
                    <a:pt x="2643" y="1050"/>
                  </a:lnTo>
                  <a:lnTo>
                    <a:pt x="2646" y="1049"/>
                  </a:lnTo>
                  <a:lnTo>
                    <a:pt x="2649" y="1049"/>
                  </a:lnTo>
                  <a:lnTo>
                    <a:pt x="2650" y="1047"/>
                  </a:lnTo>
                  <a:lnTo>
                    <a:pt x="2650" y="1049"/>
                  </a:lnTo>
                  <a:lnTo>
                    <a:pt x="2650" y="1049"/>
                  </a:lnTo>
                  <a:lnTo>
                    <a:pt x="2647" y="1051"/>
                  </a:lnTo>
                  <a:lnTo>
                    <a:pt x="2646" y="1054"/>
                  </a:lnTo>
                  <a:lnTo>
                    <a:pt x="2643" y="1054"/>
                  </a:lnTo>
                  <a:lnTo>
                    <a:pt x="2641" y="1057"/>
                  </a:lnTo>
                  <a:lnTo>
                    <a:pt x="2638" y="1058"/>
                  </a:lnTo>
                  <a:lnTo>
                    <a:pt x="2635" y="1058"/>
                  </a:lnTo>
                  <a:lnTo>
                    <a:pt x="2633" y="1059"/>
                  </a:lnTo>
                  <a:lnTo>
                    <a:pt x="2630" y="1056"/>
                  </a:lnTo>
                  <a:lnTo>
                    <a:pt x="2629" y="1058"/>
                  </a:lnTo>
                  <a:lnTo>
                    <a:pt x="2630" y="1060"/>
                  </a:lnTo>
                  <a:lnTo>
                    <a:pt x="2633" y="1062"/>
                  </a:lnTo>
                  <a:lnTo>
                    <a:pt x="2635" y="1066"/>
                  </a:lnTo>
                  <a:lnTo>
                    <a:pt x="2637" y="1068"/>
                  </a:lnTo>
                  <a:lnTo>
                    <a:pt x="2638" y="1068"/>
                  </a:lnTo>
                  <a:lnTo>
                    <a:pt x="2641" y="1070"/>
                  </a:lnTo>
                  <a:lnTo>
                    <a:pt x="2641" y="1071"/>
                  </a:lnTo>
                  <a:lnTo>
                    <a:pt x="2643" y="1074"/>
                  </a:lnTo>
                  <a:lnTo>
                    <a:pt x="2646" y="1076"/>
                  </a:lnTo>
                  <a:lnTo>
                    <a:pt x="2649" y="1078"/>
                  </a:lnTo>
                  <a:lnTo>
                    <a:pt x="2651" y="1079"/>
                  </a:lnTo>
                  <a:lnTo>
                    <a:pt x="2653" y="1081"/>
                  </a:lnTo>
                  <a:lnTo>
                    <a:pt x="2656" y="1081"/>
                  </a:lnTo>
                  <a:lnTo>
                    <a:pt x="2659" y="1081"/>
                  </a:lnTo>
                  <a:lnTo>
                    <a:pt x="2662" y="1079"/>
                  </a:lnTo>
                  <a:lnTo>
                    <a:pt x="2664" y="1077"/>
                  </a:lnTo>
                  <a:lnTo>
                    <a:pt x="2667" y="1076"/>
                  </a:lnTo>
                  <a:lnTo>
                    <a:pt x="2670" y="1075"/>
                  </a:lnTo>
                  <a:lnTo>
                    <a:pt x="2670" y="1075"/>
                  </a:lnTo>
                  <a:lnTo>
                    <a:pt x="2672" y="1073"/>
                  </a:lnTo>
                  <a:lnTo>
                    <a:pt x="2672" y="1071"/>
                  </a:lnTo>
                  <a:lnTo>
                    <a:pt x="2675" y="1069"/>
                  </a:lnTo>
                  <a:lnTo>
                    <a:pt x="2673" y="1066"/>
                  </a:lnTo>
                  <a:lnTo>
                    <a:pt x="2671" y="1065"/>
                  </a:lnTo>
                  <a:lnTo>
                    <a:pt x="2672" y="1062"/>
                  </a:lnTo>
                  <a:lnTo>
                    <a:pt x="2675" y="1061"/>
                  </a:lnTo>
                  <a:lnTo>
                    <a:pt x="2673" y="1059"/>
                  </a:lnTo>
                  <a:lnTo>
                    <a:pt x="2673" y="1059"/>
                  </a:lnTo>
                  <a:lnTo>
                    <a:pt x="2676" y="1058"/>
                  </a:lnTo>
                  <a:lnTo>
                    <a:pt x="2678" y="1059"/>
                  </a:lnTo>
                  <a:lnTo>
                    <a:pt x="2680" y="1059"/>
                  </a:lnTo>
                  <a:lnTo>
                    <a:pt x="2684" y="1059"/>
                  </a:lnTo>
                  <a:lnTo>
                    <a:pt x="2684" y="1059"/>
                  </a:lnTo>
                  <a:lnTo>
                    <a:pt x="2680" y="1060"/>
                  </a:lnTo>
                  <a:lnTo>
                    <a:pt x="2678" y="1061"/>
                  </a:lnTo>
                  <a:lnTo>
                    <a:pt x="2678" y="1064"/>
                  </a:lnTo>
                  <a:lnTo>
                    <a:pt x="2680" y="1062"/>
                  </a:lnTo>
                  <a:lnTo>
                    <a:pt x="2678" y="1066"/>
                  </a:lnTo>
                  <a:lnTo>
                    <a:pt x="2679" y="1067"/>
                  </a:lnTo>
                  <a:lnTo>
                    <a:pt x="2681" y="1067"/>
                  </a:lnTo>
                  <a:lnTo>
                    <a:pt x="2685" y="1067"/>
                  </a:lnTo>
                  <a:lnTo>
                    <a:pt x="2685" y="1067"/>
                  </a:lnTo>
                  <a:lnTo>
                    <a:pt x="2683" y="1068"/>
                  </a:lnTo>
                  <a:lnTo>
                    <a:pt x="2680" y="1069"/>
                  </a:lnTo>
                  <a:lnTo>
                    <a:pt x="2679" y="1073"/>
                  </a:lnTo>
                  <a:lnTo>
                    <a:pt x="2680" y="1075"/>
                  </a:lnTo>
                  <a:lnTo>
                    <a:pt x="2680" y="1076"/>
                  </a:lnTo>
                  <a:lnTo>
                    <a:pt x="2681" y="1075"/>
                  </a:lnTo>
                  <a:lnTo>
                    <a:pt x="2683" y="1078"/>
                  </a:lnTo>
                  <a:lnTo>
                    <a:pt x="2684" y="1081"/>
                  </a:lnTo>
                  <a:lnTo>
                    <a:pt x="2683" y="1083"/>
                  </a:lnTo>
                  <a:lnTo>
                    <a:pt x="2681" y="1086"/>
                  </a:lnTo>
                  <a:lnTo>
                    <a:pt x="2681" y="1087"/>
                  </a:lnTo>
                  <a:lnTo>
                    <a:pt x="2680" y="1087"/>
                  </a:lnTo>
                  <a:lnTo>
                    <a:pt x="2680" y="1090"/>
                  </a:lnTo>
                  <a:lnTo>
                    <a:pt x="2680" y="1091"/>
                  </a:lnTo>
                  <a:lnTo>
                    <a:pt x="2680" y="1093"/>
                  </a:lnTo>
                  <a:lnTo>
                    <a:pt x="2680" y="1095"/>
                  </a:lnTo>
                  <a:lnTo>
                    <a:pt x="2683" y="1097"/>
                  </a:lnTo>
                  <a:lnTo>
                    <a:pt x="2681" y="1097"/>
                  </a:lnTo>
                  <a:lnTo>
                    <a:pt x="2683" y="1101"/>
                  </a:lnTo>
                  <a:lnTo>
                    <a:pt x="2683" y="1101"/>
                  </a:lnTo>
                  <a:lnTo>
                    <a:pt x="2685" y="1102"/>
                  </a:lnTo>
                  <a:lnTo>
                    <a:pt x="2685" y="1102"/>
                  </a:lnTo>
                  <a:lnTo>
                    <a:pt x="2685" y="1102"/>
                  </a:lnTo>
                  <a:lnTo>
                    <a:pt x="2683" y="1101"/>
                  </a:lnTo>
                  <a:lnTo>
                    <a:pt x="2683" y="1101"/>
                  </a:lnTo>
                  <a:lnTo>
                    <a:pt x="2681" y="1103"/>
                  </a:lnTo>
                  <a:lnTo>
                    <a:pt x="2683" y="1105"/>
                  </a:lnTo>
                  <a:lnTo>
                    <a:pt x="2684" y="1104"/>
                  </a:lnTo>
                  <a:lnTo>
                    <a:pt x="2685" y="1104"/>
                  </a:lnTo>
                  <a:lnTo>
                    <a:pt x="2685" y="1105"/>
                  </a:lnTo>
                  <a:lnTo>
                    <a:pt x="2683" y="1108"/>
                  </a:lnTo>
                  <a:lnTo>
                    <a:pt x="2683" y="1109"/>
                  </a:lnTo>
                  <a:lnTo>
                    <a:pt x="2684" y="1112"/>
                  </a:lnTo>
                  <a:lnTo>
                    <a:pt x="2684" y="1114"/>
                  </a:lnTo>
                  <a:lnTo>
                    <a:pt x="2684" y="1118"/>
                  </a:lnTo>
                  <a:lnTo>
                    <a:pt x="2685" y="1120"/>
                  </a:lnTo>
                  <a:lnTo>
                    <a:pt x="2686" y="1122"/>
                  </a:lnTo>
                  <a:lnTo>
                    <a:pt x="2687" y="1126"/>
                  </a:lnTo>
                  <a:lnTo>
                    <a:pt x="2687" y="1128"/>
                  </a:lnTo>
                  <a:lnTo>
                    <a:pt x="2687" y="1129"/>
                  </a:lnTo>
                  <a:lnTo>
                    <a:pt x="2688" y="1133"/>
                  </a:lnTo>
                  <a:lnTo>
                    <a:pt x="2688" y="1135"/>
                  </a:lnTo>
                  <a:lnTo>
                    <a:pt x="2688" y="1137"/>
                  </a:lnTo>
                  <a:lnTo>
                    <a:pt x="2689" y="1139"/>
                  </a:lnTo>
                  <a:lnTo>
                    <a:pt x="2689" y="1142"/>
                  </a:lnTo>
                  <a:lnTo>
                    <a:pt x="2690" y="1145"/>
                  </a:lnTo>
                  <a:lnTo>
                    <a:pt x="2690" y="1147"/>
                  </a:lnTo>
                  <a:lnTo>
                    <a:pt x="2693" y="1151"/>
                  </a:lnTo>
                  <a:lnTo>
                    <a:pt x="2694" y="1152"/>
                  </a:lnTo>
                  <a:lnTo>
                    <a:pt x="2694" y="1152"/>
                  </a:lnTo>
                  <a:lnTo>
                    <a:pt x="2696" y="1154"/>
                  </a:lnTo>
                  <a:lnTo>
                    <a:pt x="2695" y="1155"/>
                  </a:lnTo>
                  <a:lnTo>
                    <a:pt x="2697" y="1159"/>
                  </a:lnTo>
                  <a:lnTo>
                    <a:pt x="2697" y="1161"/>
                  </a:lnTo>
                  <a:lnTo>
                    <a:pt x="2700" y="1163"/>
                  </a:lnTo>
                  <a:lnTo>
                    <a:pt x="2700" y="1164"/>
                  </a:lnTo>
                  <a:lnTo>
                    <a:pt x="2700" y="1164"/>
                  </a:lnTo>
                  <a:lnTo>
                    <a:pt x="2701" y="1165"/>
                  </a:lnTo>
                  <a:lnTo>
                    <a:pt x="2702" y="1167"/>
                  </a:lnTo>
                  <a:lnTo>
                    <a:pt x="2703" y="1169"/>
                  </a:lnTo>
                  <a:lnTo>
                    <a:pt x="2704" y="1172"/>
                  </a:lnTo>
                  <a:lnTo>
                    <a:pt x="2705" y="1172"/>
                  </a:lnTo>
                  <a:lnTo>
                    <a:pt x="2704" y="1172"/>
                  </a:lnTo>
                  <a:lnTo>
                    <a:pt x="2704" y="1172"/>
                  </a:lnTo>
                  <a:lnTo>
                    <a:pt x="2705" y="1176"/>
                  </a:lnTo>
                  <a:lnTo>
                    <a:pt x="2706" y="1178"/>
                  </a:lnTo>
                  <a:lnTo>
                    <a:pt x="2707" y="1180"/>
                  </a:lnTo>
                  <a:lnTo>
                    <a:pt x="2707" y="1180"/>
                  </a:lnTo>
                  <a:lnTo>
                    <a:pt x="2707" y="1181"/>
                  </a:lnTo>
                  <a:lnTo>
                    <a:pt x="2707" y="1184"/>
                  </a:lnTo>
                  <a:lnTo>
                    <a:pt x="2709" y="1187"/>
                  </a:lnTo>
                  <a:lnTo>
                    <a:pt x="2709" y="1189"/>
                  </a:lnTo>
                  <a:lnTo>
                    <a:pt x="2710" y="1191"/>
                  </a:lnTo>
                  <a:lnTo>
                    <a:pt x="2710" y="1193"/>
                  </a:lnTo>
                  <a:lnTo>
                    <a:pt x="2710" y="1193"/>
                  </a:lnTo>
                  <a:lnTo>
                    <a:pt x="2710" y="1193"/>
                  </a:lnTo>
                  <a:lnTo>
                    <a:pt x="2711" y="1195"/>
                  </a:lnTo>
                  <a:lnTo>
                    <a:pt x="2712" y="1197"/>
                  </a:lnTo>
                  <a:lnTo>
                    <a:pt x="2712" y="1198"/>
                  </a:lnTo>
                  <a:lnTo>
                    <a:pt x="2713" y="1201"/>
                  </a:lnTo>
                  <a:lnTo>
                    <a:pt x="2715" y="1203"/>
                  </a:lnTo>
                  <a:lnTo>
                    <a:pt x="2715" y="1204"/>
                  </a:lnTo>
                  <a:lnTo>
                    <a:pt x="2717" y="1204"/>
                  </a:lnTo>
                  <a:lnTo>
                    <a:pt x="2717" y="1204"/>
                  </a:lnTo>
                  <a:lnTo>
                    <a:pt x="2717" y="1205"/>
                  </a:lnTo>
                  <a:lnTo>
                    <a:pt x="2718" y="1206"/>
                  </a:lnTo>
                  <a:lnTo>
                    <a:pt x="2720" y="1208"/>
                  </a:lnTo>
                  <a:lnTo>
                    <a:pt x="2720" y="1210"/>
                  </a:lnTo>
                  <a:lnTo>
                    <a:pt x="2720" y="1210"/>
                  </a:lnTo>
                  <a:lnTo>
                    <a:pt x="2722" y="1213"/>
                  </a:lnTo>
                  <a:lnTo>
                    <a:pt x="2722" y="1215"/>
                  </a:lnTo>
                  <a:lnTo>
                    <a:pt x="2723" y="1218"/>
                  </a:lnTo>
                  <a:lnTo>
                    <a:pt x="2724" y="1221"/>
                  </a:lnTo>
                  <a:lnTo>
                    <a:pt x="2726" y="1223"/>
                  </a:lnTo>
                  <a:lnTo>
                    <a:pt x="2727" y="1225"/>
                  </a:lnTo>
                  <a:lnTo>
                    <a:pt x="2728" y="1229"/>
                  </a:lnTo>
                  <a:lnTo>
                    <a:pt x="2728" y="1231"/>
                  </a:lnTo>
                  <a:lnTo>
                    <a:pt x="2729" y="1231"/>
                  </a:lnTo>
                  <a:lnTo>
                    <a:pt x="2729" y="1232"/>
                  </a:lnTo>
                  <a:lnTo>
                    <a:pt x="2730" y="1233"/>
                  </a:lnTo>
                  <a:lnTo>
                    <a:pt x="2730" y="1236"/>
                  </a:lnTo>
                  <a:lnTo>
                    <a:pt x="2729" y="1233"/>
                  </a:lnTo>
                  <a:lnTo>
                    <a:pt x="2729" y="1232"/>
                  </a:lnTo>
                  <a:lnTo>
                    <a:pt x="2729" y="1232"/>
                  </a:lnTo>
                  <a:lnTo>
                    <a:pt x="2729" y="1233"/>
                  </a:lnTo>
                  <a:lnTo>
                    <a:pt x="2729" y="1236"/>
                  </a:lnTo>
                  <a:lnTo>
                    <a:pt x="2729" y="1238"/>
                  </a:lnTo>
                  <a:lnTo>
                    <a:pt x="2730" y="1240"/>
                  </a:lnTo>
                  <a:lnTo>
                    <a:pt x="2731" y="1244"/>
                  </a:lnTo>
                  <a:lnTo>
                    <a:pt x="2732" y="1246"/>
                  </a:lnTo>
                  <a:lnTo>
                    <a:pt x="2732" y="1246"/>
                  </a:lnTo>
                  <a:lnTo>
                    <a:pt x="2733" y="1247"/>
                  </a:lnTo>
                  <a:lnTo>
                    <a:pt x="2733" y="1247"/>
                  </a:lnTo>
                  <a:lnTo>
                    <a:pt x="2736" y="1249"/>
                  </a:lnTo>
                  <a:lnTo>
                    <a:pt x="2738" y="1253"/>
                  </a:lnTo>
                  <a:lnTo>
                    <a:pt x="2740" y="1255"/>
                  </a:lnTo>
                  <a:lnTo>
                    <a:pt x="2741" y="1255"/>
                  </a:lnTo>
                  <a:lnTo>
                    <a:pt x="2744" y="1257"/>
                  </a:lnTo>
                  <a:lnTo>
                    <a:pt x="2746" y="1258"/>
                  </a:lnTo>
                  <a:lnTo>
                    <a:pt x="2749" y="1256"/>
                  </a:lnTo>
                  <a:lnTo>
                    <a:pt x="2752" y="1255"/>
                  </a:lnTo>
                  <a:lnTo>
                    <a:pt x="2754" y="1253"/>
                  </a:lnTo>
                  <a:lnTo>
                    <a:pt x="2754" y="1249"/>
                  </a:lnTo>
                  <a:lnTo>
                    <a:pt x="2755" y="1248"/>
                  </a:lnTo>
                  <a:lnTo>
                    <a:pt x="2756" y="1245"/>
                  </a:lnTo>
                  <a:lnTo>
                    <a:pt x="2760" y="1244"/>
                  </a:lnTo>
                  <a:lnTo>
                    <a:pt x="2764" y="1241"/>
                  </a:lnTo>
                  <a:lnTo>
                    <a:pt x="2767" y="1241"/>
                  </a:lnTo>
                  <a:lnTo>
                    <a:pt x="2770" y="1241"/>
                  </a:lnTo>
                  <a:lnTo>
                    <a:pt x="2772" y="1244"/>
                  </a:lnTo>
                  <a:lnTo>
                    <a:pt x="2773" y="1244"/>
                  </a:lnTo>
                  <a:lnTo>
                    <a:pt x="2771" y="1241"/>
                  </a:lnTo>
                  <a:lnTo>
                    <a:pt x="2769" y="1241"/>
                  </a:lnTo>
                  <a:lnTo>
                    <a:pt x="2765" y="1239"/>
                  </a:lnTo>
                  <a:lnTo>
                    <a:pt x="2766" y="1237"/>
                  </a:lnTo>
                  <a:lnTo>
                    <a:pt x="2767" y="1233"/>
                  </a:lnTo>
                  <a:lnTo>
                    <a:pt x="2770" y="1231"/>
                  </a:lnTo>
                  <a:lnTo>
                    <a:pt x="2770" y="1230"/>
                  </a:lnTo>
                  <a:lnTo>
                    <a:pt x="2771" y="1228"/>
                  </a:lnTo>
                  <a:lnTo>
                    <a:pt x="2773" y="1227"/>
                  </a:lnTo>
                  <a:lnTo>
                    <a:pt x="2775" y="1227"/>
                  </a:lnTo>
                  <a:lnTo>
                    <a:pt x="2779" y="1225"/>
                  </a:lnTo>
                  <a:lnTo>
                    <a:pt x="2778" y="1223"/>
                  </a:lnTo>
                  <a:lnTo>
                    <a:pt x="2778" y="1215"/>
                  </a:lnTo>
                  <a:lnTo>
                    <a:pt x="2775" y="1213"/>
                  </a:lnTo>
                  <a:lnTo>
                    <a:pt x="2777" y="1213"/>
                  </a:lnTo>
                  <a:lnTo>
                    <a:pt x="2777" y="1211"/>
                  </a:lnTo>
                  <a:lnTo>
                    <a:pt x="2777" y="1207"/>
                  </a:lnTo>
                  <a:lnTo>
                    <a:pt x="2778" y="1207"/>
                  </a:lnTo>
                  <a:lnTo>
                    <a:pt x="2778" y="1206"/>
                  </a:lnTo>
                  <a:lnTo>
                    <a:pt x="2778" y="1206"/>
                  </a:lnTo>
                  <a:lnTo>
                    <a:pt x="2778" y="1206"/>
                  </a:lnTo>
                  <a:lnTo>
                    <a:pt x="2778" y="1204"/>
                  </a:lnTo>
                  <a:lnTo>
                    <a:pt x="2779" y="1204"/>
                  </a:lnTo>
                  <a:lnTo>
                    <a:pt x="2779" y="1203"/>
                  </a:lnTo>
                  <a:lnTo>
                    <a:pt x="2780" y="1201"/>
                  </a:lnTo>
                  <a:lnTo>
                    <a:pt x="2780" y="1201"/>
                  </a:lnTo>
                  <a:lnTo>
                    <a:pt x="2782" y="1197"/>
                  </a:lnTo>
                  <a:lnTo>
                    <a:pt x="2782" y="1197"/>
                  </a:lnTo>
                  <a:lnTo>
                    <a:pt x="2783" y="1195"/>
                  </a:lnTo>
                  <a:lnTo>
                    <a:pt x="2783" y="1191"/>
                  </a:lnTo>
                  <a:lnTo>
                    <a:pt x="2784" y="1189"/>
                  </a:lnTo>
                  <a:lnTo>
                    <a:pt x="2784" y="1186"/>
                  </a:lnTo>
                  <a:lnTo>
                    <a:pt x="2784" y="1184"/>
                  </a:lnTo>
                  <a:lnTo>
                    <a:pt x="2783" y="1184"/>
                  </a:lnTo>
                  <a:lnTo>
                    <a:pt x="2782" y="1182"/>
                  </a:lnTo>
                  <a:lnTo>
                    <a:pt x="2781" y="1182"/>
                  </a:lnTo>
                  <a:lnTo>
                    <a:pt x="2782" y="1181"/>
                  </a:lnTo>
                  <a:lnTo>
                    <a:pt x="2784" y="1182"/>
                  </a:lnTo>
                  <a:lnTo>
                    <a:pt x="2784" y="1182"/>
                  </a:lnTo>
                  <a:lnTo>
                    <a:pt x="2783" y="1180"/>
                  </a:lnTo>
                  <a:lnTo>
                    <a:pt x="2783" y="1177"/>
                  </a:lnTo>
                  <a:lnTo>
                    <a:pt x="2782" y="1174"/>
                  </a:lnTo>
                  <a:lnTo>
                    <a:pt x="2782" y="1171"/>
                  </a:lnTo>
                  <a:lnTo>
                    <a:pt x="2782" y="1169"/>
                  </a:lnTo>
                  <a:lnTo>
                    <a:pt x="2782" y="1168"/>
                  </a:lnTo>
                  <a:lnTo>
                    <a:pt x="2782" y="1167"/>
                  </a:lnTo>
                  <a:lnTo>
                    <a:pt x="2781" y="1164"/>
                  </a:lnTo>
                  <a:lnTo>
                    <a:pt x="2781" y="1162"/>
                  </a:lnTo>
                  <a:lnTo>
                    <a:pt x="2781" y="1159"/>
                  </a:lnTo>
                  <a:lnTo>
                    <a:pt x="2782" y="1156"/>
                  </a:lnTo>
                  <a:lnTo>
                    <a:pt x="2783" y="1154"/>
                  </a:lnTo>
                  <a:lnTo>
                    <a:pt x="2786" y="1151"/>
                  </a:lnTo>
                  <a:lnTo>
                    <a:pt x="2788" y="1150"/>
                  </a:lnTo>
                  <a:lnTo>
                    <a:pt x="2791" y="1150"/>
                  </a:lnTo>
                  <a:lnTo>
                    <a:pt x="2792" y="1147"/>
                  </a:lnTo>
                  <a:lnTo>
                    <a:pt x="2794" y="1150"/>
                  </a:lnTo>
                  <a:lnTo>
                    <a:pt x="2794" y="1151"/>
                  </a:lnTo>
                  <a:lnTo>
                    <a:pt x="2796" y="1148"/>
                  </a:lnTo>
                  <a:lnTo>
                    <a:pt x="2797" y="1145"/>
                  </a:lnTo>
                  <a:lnTo>
                    <a:pt x="2798" y="1143"/>
                  </a:lnTo>
                  <a:lnTo>
                    <a:pt x="2800" y="1143"/>
                  </a:lnTo>
                  <a:lnTo>
                    <a:pt x="2804" y="1143"/>
                  </a:lnTo>
                  <a:lnTo>
                    <a:pt x="2804" y="1143"/>
                  </a:lnTo>
                  <a:lnTo>
                    <a:pt x="2806" y="1143"/>
                  </a:lnTo>
                  <a:lnTo>
                    <a:pt x="2807" y="1142"/>
                  </a:lnTo>
                  <a:lnTo>
                    <a:pt x="2809" y="1141"/>
                  </a:lnTo>
                  <a:lnTo>
                    <a:pt x="2812" y="1139"/>
                  </a:lnTo>
                  <a:lnTo>
                    <a:pt x="2813" y="1136"/>
                  </a:lnTo>
                  <a:lnTo>
                    <a:pt x="2813" y="1133"/>
                  </a:lnTo>
                  <a:lnTo>
                    <a:pt x="2814" y="1131"/>
                  </a:lnTo>
                  <a:lnTo>
                    <a:pt x="2816" y="1129"/>
                  </a:lnTo>
                  <a:lnTo>
                    <a:pt x="2820" y="1128"/>
                  </a:lnTo>
                  <a:lnTo>
                    <a:pt x="2822" y="1127"/>
                  </a:lnTo>
                  <a:lnTo>
                    <a:pt x="2825" y="1125"/>
                  </a:lnTo>
                  <a:lnTo>
                    <a:pt x="2824" y="1124"/>
                  </a:lnTo>
                  <a:lnTo>
                    <a:pt x="2825" y="1124"/>
                  </a:lnTo>
                  <a:lnTo>
                    <a:pt x="2828" y="1121"/>
                  </a:lnTo>
                  <a:lnTo>
                    <a:pt x="2830" y="1119"/>
                  </a:lnTo>
                  <a:lnTo>
                    <a:pt x="2832" y="1118"/>
                  </a:lnTo>
                  <a:lnTo>
                    <a:pt x="2834" y="1117"/>
                  </a:lnTo>
                  <a:lnTo>
                    <a:pt x="2837" y="1114"/>
                  </a:lnTo>
                  <a:lnTo>
                    <a:pt x="2839" y="1112"/>
                  </a:lnTo>
                  <a:lnTo>
                    <a:pt x="2841" y="1110"/>
                  </a:lnTo>
                  <a:lnTo>
                    <a:pt x="2843" y="1107"/>
                  </a:lnTo>
                  <a:lnTo>
                    <a:pt x="2846" y="1104"/>
                  </a:lnTo>
                  <a:lnTo>
                    <a:pt x="2846" y="1104"/>
                  </a:lnTo>
                  <a:lnTo>
                    <a:pt x="2848" y="1101"/>
                  </a:lnTo>
                  <a:lnTo>
                    <a:pt x="2851" y="1099"/>
                  </a:lnTo>
                  <a:lnTo>
                    <a:pt x="2854" y="1097"/>
                  </a:lnTo>
                  <a:lnTo>
                    <a:pt x="2854" y="1096"/>
                  </a:lnTo>
                  <a:lnTo>
                    <a:pt x="2854" y="1096"/>
                  </a:lnTo>
                  <a:lnTo>
                    <a:pt x="2854" y="1096"/>
                  </a:lnTo>
                  <a:lnTo>
                    <a:pt x="2852" y="1096"/>
                  </a:lnTo>
                  <a:lnTo>
                    <a:pt x="2850" y="1099"/>
                  </a:lnTo>
                  <a:lnTo>
                    <a:pt x="2851" y="1095"/>
                  </a:lnTo>
                  <a:lnTo>
                    <a:pt x="2855" y="1093"/>
                  </a:lnTo>
                  <a:lnTo>
                    <a:pt x="2856" y="1095"/>
                  </a:lnTo>
                  <a:lnTo>
                    <a:pt x="2855" y="1095"/>
                  </a:lnTo>
                  <a:lnTo>
                    <a:pt x="2858" y="1095"/>
                  </a:lnTo>
                  <a:lnTo>
                    <a:pt x="2866" y="1093"/>
                  </a:lnTo>
                  <a:lnTo>
                    <a:pt x="2866" y="1091"/>
                  </a:lnTo>
                  <a:lnTo>
                    <a:pt x="2865" y="1090"/>
                  </a:lnTo>
                  <a:lnTo>
                    <a:pt x="2867" y="1091"/>
                  </a:lnTo>
                  <a:lnTo>
                    <a:pt x="2867" y="1091"/>
                  </a:lnTo>
                  <a:lnTo>
                    <a:pt x="2869" y="1088"/>
                  </a:lnTo>
                  <a:lnTo>
                    <a:pt x="2872" y="1087"/>
                  </a:lnTo>
                  <a:lnTo>
                    <a:pt x="2872" y="1087"/>
                  </a:lnTo>
                  <a:lnTo>
                    <a:pt x="2873" y="1084"/>
                  </a:lnTo>
                  <a:lnTo>
                    <a:pt x="2875" y="1083"/>
                  </a:lnTo>
                  <a:lnTo>
                    <a:pt x="2876" y="1082"/>
                  </a:lnTo>
                  <a:lnTo>
                    <a:pt x="2875" y="1082"/>
                  </a:lnTo>
                  <a:lnTo>
                    <a:pt x="2874" y="1081"/>
                  </a:lnTo>
                  <a:lnTo>
                    <a:pt x="2875" y="1077"/>
                  </a:lnTo>
                  <a:lnTo>
                    <a:pt x="2874" y="1075"/>
                  </a:lnTo>
                  <a:lnTo>
                    <a:pt x="2875" y="1073"/>
                  </a:lnTo>
                  <a:lnTo>
                    <a:pt x="2877" y="1069"/>
                  </a:lnTo>
                  <a:lnTo>
                    <a:pt x="2881" y="1069"/>
                  </a:lnTo>
                  <a:lnTo>
                    <a:pt x="2881" y="1069"/>
                  </a:lnTo>
                  <a:lnTo>
                    <a:pt x="2883" y="1068"/>
                  </a:lnTo>
                  <a:lnTo>
                    <a:pt x="2885" y="1068"/>
                  </a:lnTo>
                  <a:lnTo>
                    <a:pt x="2888" y="1066"/>
                  </a:lnTo>
                  <a:lnTo>
                    <a:pt x="2890" y="1064"/>
                  </a:lnTo>
                  <a:lnTo>
                    <a:pt x="2892" y="1061"/>
                  </a:lnTo>
                  <a:lnTo>
                    <a:pt x="2893" y="1062"/>
                  </a:lnTo>
                  <a:lnTo>
                    <a:pt x="2892" y="1065"/>
                  </a:lnTo>
                  <a:lnTo>
                    <a:pt x="2892" y="1067"/>
                  </a:lnTo>
                  <a:lnTo>
                    <a:pt x="2893" y="1068"/>
                  </a:lnTo>
                  <a:lnTo>
                    <a:pt x="2893" y="1068"/>
                  </a:lnTo>
                  <a:lnTo>
                    <a:pt x="2893" y="1069"/>
                  </a:lnTo>
                  <a:lnTo>
                    <a:pt x="2893" y="1068"/>
                  </a:lnTo>
                  <a:lnTo>
                    <a:pt x="2894" y="1067"/>
                  </a:lnTo>
                  <a:lnTo>
                    <a:pt x="2895" y="1067"/>
                  </a:lnTo>
                  <a:lnTo>
                    <a:pt x="2895" y="1068"/>
                  </a:lnTo>
                  <a:lnTo>
                    <a:pt x="2897" y="1066"/>
                  </a:lnTo>
                  <a:lnTo>
                    <a:pt x="2897" y="1065"/>
                  </a:lnTo>
                  <a:lnTo>
                    <a:pt x="2897" y="1067"/>
                  </a:lnTo>
                  <a:lnTo>
                    <a:pt x="2897" y="1068"/>
                  </a:lnTo>
                  <a:lnTo>
                    <a:pt x="2897" y="1068"/>
                  </a:lnTo>
                  <a:lnTo>
                    <a:pt x="2898" y="1069"/>
                  </a:lnTo>
                  <a:lnTo>
                    <a:pt x="2898" y="1069"/>
                  </a:lnTo>
                  <a:lnTo>
                    <a:pt x="2898" y="1068"/>
                  </a:lnTo>
                  <a:lnTo>
                    <a:pt x="2898" y="1066"/>
                  </a:lnTo>
                  <a:lnTo>
                    <a:pt x="2898" y="1064"/>
                  </a:lnTo>
                  <a:lnTo>
                    <a:pt x="2898" y="1061"/>
                  </a:lnTo>
                  <a:lnTo>
                    <a:pt x="2899" y="1060"/>
                  </a:lnTo>
                  <a:lnTo>
                    <a:pt x="2899" y="1060"/>
                  </a:lnTo>
                  <a:lnTo>
                    <a:pt x="2899" y="1062"/>
                  </a:lnTo>
                  <a:lnTo>
                    <a:pt x="2900" y="1061"/>
                  </a:lnTo>
                  <a:lnTo>
                    <a:pt x="2900" y="1062"/>
                  </a:lnTo>
                  <a:lnTo>
                    <a:pt x="2899" y="1065"/>
                  </a:lnTo>
                  <a:lnTo>
                    <a:pt x="2899" y="1067"/>
                  </a:lnTo>
                  <a:lnTo>
                    <a:pt x="2900" y="1068"/>
                  </a:lnTo>
                  <a:lnTo>
                    <a:pt x="2901" y="1067"/>
                  </a:lnTo>
                  <a:lnTo>
                    <a:pt x="2901" y="1067"/>
                  </a:lnTo>
                  <a:lnTo>
                    <a:pt x="2901" y="1066"/>
                  </a:lnTo>
                  <a:lnTo>
                    <a:pt x="2902" y="1068"/>
                  </a:lnTo>
                  <a:lnTo>
                    <a:pt x="2903" y="1065"/>
                  </a:lnTo>
                  <a:lnTo>
                    <a:pt x="2903" y="1065"/>
                  </a:lnTo>
                  <a:lnTo>
                    <a:pt x="2902" y="1064"/>
                  </a:lnTo>
                  <a:lnTo>
                    <a:pt x="2902" y="1062"/>
                  </a:lnTo>
                  <a:lnTo>
                    <a:pt x="2902" y="1062"/>
                  </a:lnTo>
                  <a:lnTo>
                    <a:pt x="2905" y="1060"/>
                  </a:lnTo>
                  <a:lnTo>
                    <a:pt x="2905" y="1061"/>
                  </a:lnTo>
                  <a:lnTo>
                    <a:pt x="2905" y="1064"/>
                  </a:lnTo>
                  <a:lnTo>
                    <a:pt x="2906" y="1066"/>
                  </a:lnTo>
                  <a:lnTo>
                    <a:pt x="2907" y="1066"/>
                  </a:lnTo>
                  <a:lnTo>
                    <a:pt x="2908" y="1064"/>
                  </a:lnTo>
                  <a:lnTo>
                    <a:pt x="2908" y="1062"/>
                  </a:lnTo>
                  <a:lnTo>
                    <a:pt x="2908" y="1066"/>
                  </a:lnTo>
                  <a:lnTo>
                    <a:pt x="2910" y="1065"/>
                  </a:lnTo>
                  <a:lnTo>
                    <a:pt x="2910" y="1061"/>
                  </a:lnTo>
                  <a:lnTo>
                    <a:pt x="2910" y="1059"/>
                  </a:lnTo>
                  <a:lnTo>
                    <a:pt x="2910" y="1058"/>
                  </a:lnTo>
                  <a:lnTo>
                    <a:pt x="2910" y="1061"/>
                  </a:lnTo>
                  <a:lnTo>
                    <a:pt x="2911" y="1062"/>
                  </a:lnTo>
                  <a:lnTo>
                    <a:pt x="2911" y="1060"/>
                  </a:lnTo>
                  <a:lnTo>
                    <a:pt x="2911" y="1058"/>
                  </a:lnTo>
                  <a:lnTo>
                    <a:pt x="2911" y="1060"/>
                  </a:lnTo>
                  <a:lnTo>
                    <a:pt x="2911" y="1064"/>
                  </a:lnTo>
                  <a:lnTo>
                    <a:pt x="2911" y="1064"/>
                  </a:lnTo>
                  <a:lnTo>
                    <a:pt x="2911" y="1065"/>
                  </a:lnTo>
                  <a:lnTo>
                    <a:pt x="2911" y="1066"/>
                  </a:lnTo>
                  <a:lnTo>
                    <a:pt x="2912" y="1064"/>
                  </a:lnTo>
                  <a:lnTo>
                    <a:pt x="2912" y="1064"/>
                  </a:lnTo>
                  <a:lnTo>
                    <a:pt x="2915" y="1065"/>
                  </a:lnTo>
                  <a:lnTo>
                    <a:pt x="2915" y="1061"/>
                  </a:lnTo>
                  <a:lnTo>
                    <a:pt x="2915" y="1059"/>
                  </a:lnTo>
                  <a:lnTo>
                    <a:pt x="2915" y="1057"/>
                  </a:lnTo>
                  <a:lnTo>
                    <a:pt x="2917" y="1056"/>
                  </a:lnTo>
                  <a:lnTo>
                    <a:pt x="2917" y="1056"/>
                  </a:lnTo>
                  <a:lnTo>
                    <a:pt x="2916" y="1058"/>
                  </a:lnTo>
                  <a:lnTo>
                    <a:pt x="2916" y="1060"/>
                  </a:lnTo>
                  <a:lnTo>
                    <a:pt x="2916" y="1062"/>
                  </a:lnTo>
                  <a:lnTo>
                    <a:pt x="2917" y="1062"/>
                  </a:lnTo>
                  <a:lnTo>
                    <a:pt x="2918" y="1060"/>
                  </a:lnTo>
                  <a:lnTo>
                    <a:pt x="2917" y="1062"/>
                  </a:lnTo>
                  <a:lnTo>
                    <a:pt x="2917" y="1062"/>
                  </a:lnTo>
                  <a:lnTo>
                    <a:pt x="2919" y="1061"/>
                  </a:lnTo>
                  <a:lnTo>
                    <a:pt x="2918" y="1062"/>
                  </a:lnTo>
                  <a:lnTo>
                    <a:pt x="2919" y="1064"/>
                  </a:lnTo>
                  <a:lnTo>
                    <a:pt x="2920" y="1065"/>
                  </a:lnTo>
                  <a:lnTo>
                    <a:pt x="2922" y="1062"/>
                  </a:lnTo>
                  <a:lnTo>
                    <a:pt x="2922" y="1062"/>
                  </a:lnTo>
                  <a:lnTo>
                    <a:pt x="2923" y="1061"/>
                  </a:lnTo>
                  <a:lnTo>
                    <a:pt x="2923" y="1059"/>
                  </a:lnTo>
                  <a:lnTo>
                    <a:pt x="2923" y="1061"/>
                  </a:lnTo>
                  <a:lnTo>
                    <a:pt x="2925" y="1059"/>
                  </a:lnTo>
                  <a:lnTo>
                    <a:pt x="2925" y="1057"/>
                  </a:lnTo>
                  <a:lnTo>
                    <a:pt x="2924" y="1056"/>
                  </a:lnTo>
                  <a:lnTo>
                    <a:pt x="2924" y="1053"/>
                  </a:lnTo>
                  <a:lnTo>
                    <a:pt x="2923" y="1052"/>
                  </a:lnTo>
                  <a:lnTo>
                    <a:pt x="2923" y="1052"/>
                  </a:lnTo>
                  <a:lnTo>
                    <a:pt x="2923" y="1051"/>
                  </a:lnTo>
                  <a:lnTo>
                    <a:pt x="2924" y="1049"/>
                  </a:lnTo>
                  <a:lnTo>
                    <a:pt x="2924" y="1048"/>
                  </a:lnTo>
                  <a:lnTo>
                    <a:pt x="2924" y="1048"/>
                  </a:lnTo>
                  <a:lnTo>
                    <a:pt x="2924" y="1048"/>
                  </a:lnTo>
                  <a:lnTo>
                    <a:pt x="2925" y="1044"/>
                  </a:lnTo>
                  <a:lnTo>
                    <a:pt x="2924" y="1044"/>
                  </a:lnTo>
                  <a:lnTo>
                    <a:pt x="2922" y="1042"/>
                  </a:lnTo>
                  <a:lnTo>
                    <a:pt x="2920" y="1042"/>
                  </a:lnTo>
                  <a:lnTo>
                    <a:pt x="2920" y="1042"/>
                  </a:lnTo>
                  <a:lnTo>
                    <a:pt x="2920" y="1042"/>
                  </a:lnTo>
                  <a:lnTo>
                    <a:pt x="2924" y="1042"/>
                  </a:lnTo>
                  <a:lnTo>
                    <a:pt x="2924" y="1040"/>
                  </a:lnTo>
                  <a:lnTo>
                    <a:pt x="2924" y="1040"/>
                  </a:lnTo>
                  <a:lnTo>
                    <a:pt x="2926" y="1040"/>
                  </a:lnTo>
                  <a:lnTo>
                    <a:pt x="2926" y="1041"/>
                  </a:lnTo>
                  <a:lnTo>
                    <a:pt x="2927" y="1041"/>
                  </a:lnTo>
                  <a:lnTo>
                    <a:pt x="2927" y="1041"/>
                  </a:lnTo>
                  <a:lnTo>
                    <a:pt x="2926" y="1043"/>
                  </a:lnTo>
                  <a:lnTo>
                    <a:pt x="2926" y="1045"/>
                  </a:lnTo>
                  <a:lnTo>
                    <a:pt x="2926" y="1048"/>
                  </a:lnTo>
                  <a:lnTo>
                    <a:pt x="2926" y="1048"/>
                  </a:lnTo>
                  <a:lnTo>
                    <a:pt x="2927" y="1049"/>
                  </a:lnTo>
                  <a:lnTo>
                    <a:pt x="2928" y="1051"/>
                  </a:lnTo>
                  <a:lnTo>
                    <a:pt x="2929" y="1054"/>
                  </a:lnTo>
                  <a:lnTo>
                    <a:pt x="2931" y="1054"/>
                  </a:lnTo>
                  <a:lnTo>
                    <a:pt x="2933" y="1051"/>
                  </a:lnTo>
                  <a:lnTo>
                    <a:pt x="2936" y="1051"/>
                  </a:lnTo>
                  <a:lnTo>
                    <a:pt x="2937" y="1050"/>
                  </a:lnTo>
                  <a:lnTo>
                    <a:pt x="2937" y="1052"/>
                  </a:lnTo>
                  <a:lnTo>
                    <a:pt x="2940" y="1054"/>
                  </a:lnTo>
                  <a:lnTo>
                    <a:pt x="2941" y="1058"/>
                  </a:lnTo>
                  <a:lnTo>
                    <a:pt x="2942" y="1058"/>
                  </a:lnTo>
                  <a:lnTo>
                    <a:pt x="2943" y="1058"/>
                  </a:lnTo>
                  <a:lnTo>
                    <a:pt x="2943" y="1058"/>
                  </a:lnTo>
                  <a:lnTo>
                    <a:pt x="2942" y="1058"/>
                  </a:lnTo>
                  <a:lnTo>
                    <a:pt x="2942" y="1061"/>
                  </a:lnTo>
                  <a:lnTo>
                    <a:pt x="2943" y="1062"/>
                  </a:lnTo>
                  <a:lnTo>
                    <a:pt x="2943" y="1064"/>
                  </a:lnTo>
                  <a:lnTo>
                    <a:pt x="2944" y="1067"/>
                  </a:lnTo>
                  <a:lnTo>
                    <a:pt x="2944" y="1069"/>
                  </a:lnTo>
                  <a:lnTo>
                    <a:pt x="2945" y="1071"/>
                  </a:lnTo>
                  <a:lnTo>
                    <a:pt x="2945" y="1075"/>
                  </a:lnTo>
                  <a:lnTo>
                    <a:pt x="2948" y="1077"/>
                  </a:lnTo>
                  <a:lnTo>
                    <a:pt x="2948" y="1078"/>
                  </a:lnTo>
                  <a:lnTo>
                    <a:pt x="2948" y="1076"/>
                  </a:lnTo>
                  <a:lnTo>
                    <a:pt x="2949" y="1079"/>
                  </a:lnTo>
                  <a:lnTo>
                    <a:pt x="2950" y="1082"/>
                  </a:lnTo>
                  <a:lnTo>
                    <a:pt x="2952" y="1084"/>
                  </a:lnTo>
                  <a:lnTo>
                    <a:pt x="2954" y="1087"/>
                  </a:lnTo>
                  <a:lnTo>
                    <a:pt x="2954" y="1084"/>
                  </a:lnTo>
                  <a:lnTo>
                    <a:pt x="2954" y="1083"/>
                  </a:lnTo>
                  <a:lnTo>
                    <a:pt x="2956" y="1085"/>
                  </a:lnTo>
                  <a:lnTo>
                    <a:pt x="2957" y="1086"/>
                  </a:lnTo>
                  <a:lnTo>
                    <a:pt x="2956" y="1087"/>
                  </a:lnTo>
                  <a:lnTo>
                    <a:pt x="2957" y="1088"/>
                  </a:lnTo>
                  <a:lnTo>
                    <a:pt x="2959" y="1086"/>
                  </a:lnTo>
                  <a:lnTo>
                    <a:pt x="2959" y="1084"/>
                  </a:lnTo>
                  <a:lnTo>
                    <a:pt x="2959" y="1084"/>
                  </a:lnTo>
                  <a:lnTo>
                    <a:pt x="2959" y="1084"/>
                  </a:lnTo>
                  <a:lnTo>
                    <a:pt x="2959" y="1084"/>
                  </a:lnTo>
                  <a:lnTo>
                    <a:pt x="2959" y="1086"/>
                  </a:lnTo>
                  <a:lnTo>
                    <a:pt x="2959" y="1086"/>
                  </a:lnTo>
                  <a:lnTo>
                    <a:pt x="2960" y="1086"/>
                  </a:lnTo>
                  <a:lnTo>
                    <a:pt x="2958" y="1088"/>
                  </a:lnTo>
                  <a:lnTo>
                    <a:pt x="2960" y="1088"/>
                  </a:lnTo>
                  <a:lnTo>
                    <a:pt x="2960" y="1088"/>
                  </a:lnTo>
                  <a:lnTo>
                    <a:pt x="2959" y="1091"/>
                  </a:lnTo>
                  <a:lnTo>
                    <a:pt x="2960" y="1094"/>
                  </a:lnTo>
                  <a:lnTo>
                    <a:pt x="2960" y="1091"/>
                  </a:lnTo>
                  <a:lnTo>
                    <a:pt x="2960" y="1091"/>
                  </a:lnTo>
                  <a:lnTo>
                    <a:pt x="2961" y="1091"/>
                  </a:lnTo>
                  <a:lnTo>
                    <a:pt x="2962" y="1091"/>
                  </a:lnTo>
                  <a:lnTo>
                    <a:pt x="2962" y="1090"/>
                  </a:lnTo>
                  <a:lnTo>
                    <a:pt x="2961" y="1087"/>
                  </a:lnTo>
                  <a:lnTo>
                    <a:pt x="2963" y="1090"/>
                  </a:lnTo>
                  <a:lnTo>
                    <a:pt x="2963" y="1090"/>
                  </a:lnTo>
                  <a:lnTo>
                    <a:pt x="2962" y="1090"/>
                  </a:lnTo>
                  <a:lnTo>
                    <a:pt x="2970" y="1102"/>
                  </a:lnTo>
                  <a:lnTo>
                    <a:pt x="2970" y="1102"/>
                  </a:lnTo>
                  <a:lnTo>
                    <a:pt x="2970" y="1102"/>
                  </a:lnTo>
                  <a:lnTo>
                    <a:pt x="2972" y="1101"/>
                  </a:lnTo>
                  <a:lnTo>
                    <a:pt x="2972" y="1101"/>
                  </a:lnTo>
                  <a:lnTo>
                    <a:pt x="2972" y="1103"/>
                  </a:lnTo>
                  <a:lnTo>
                    <a:pt x="2972" y="1105"/>
                  </a:lnTo>
                  <a:lnTo>
                    <a:pt x="2975" y="1109"/>
                  </a:lnTo>
                  <a:lnTo>
                    <a:pt x="2975" y="1110"/>
                  </a:lnTo>
                  <a:lnTo>
                    <a:pt x="2976" y="1113"/>
                  </a:lnTo>
                  <a:lnTo>
                    <a:pt x="2977" y="1116"/>
                  </a:lnTo>
                  <a:lnTo>
                    <a:pt x="2978" y="1117"/>
                  </a:lnTo>
                  <a:lnTo>
                    <a:pt x="2978" y="1119"/>
                  </a:lnTo>
                  <a:lnTo>
                    <a:pt x="2978" y="1122"/>
                  </a:lnTo>
                  <a:lnTo>
                    <a:pt x="2980" y="1125"/>
                  </a:lnTo>
                  <a:lnTo>
                    <a:pt x="2979" y="1127"/>
                  </a:lnTo>
                  <a:lnTo>
                    <a:pt x="2979" y="1130"/>
                  </a:lnTo>
                  <a:lnTo>
                    <a:pt x="2978" y="1131"/>
                  </a:lnTo>
                  <a:lnTo>
                    <a:pt x="2978" y="1134"/>
                  </a:lnTo>
                  <a:lnTo>
                    <a:pt x="2977" y="1136"/>
                  </a:lnTo>
                  <a:lnTo>
                    <a:pt x="2976" y="1139"/>
                  </a:lnTo>
                  <a:lnTo>
                    <a:pt x="2976" y="1142"/>
                  </a:lnTo>
                  <a:lnTo>
                    <a:pt x="2975" y="1145"/>
                  </a:lnTo>
                  <a:lnTo>
                    <a:pt x="2975" y="1147"/>
                  </a:lnTo>
                  <a:lnTo>
                    <a:pt x="2977" y="1147"/>
                  </a:lnTo>
                  <a:lnTo>
                    <a:pt x="2979" y="1144"/>
                  </a:lnTo>
                  <a:lnTo>
                    <a:pt x="2982" y="1142"/>
                  </a:lnTo>
                  <a:lnTo>
                    <a:pt x="2982" y="1141"/>
                  </a:lnTo>
                  <a:lnTo>
                    <a:pt x="2982" y="1141"/>
                  </a:lnTo>
                  <a:lnTo>
                    <a:pt x="2982" y="1141"/>
                  </a:lnTo>
                  <a:lnTo>
                    <a:pt x="2982" y="1143"/>
                  </a:lnTo>
                  <a:lnTo>
                    <a:pt x="2982" y="1145"/>
                  </a:lnTo>
                  <a:lnTo>
                    <a:pt x="2980" y="1147"/>
                  </a:lnTo>
                  <a:lnTo>
                    <a:pt x="2983" y="1145"/>
                  </a:lnTo>
                  <a:lnTo>
                    <a:pt x="2982" y="1148"/>
                  </a:lnTo>
                  <a:lnTo>
                    <a:pt x="2984" y="1145"/>
                  </a:lnTo>
                  <a:lnTo>
                    <a:pt x="2985" y="1144"/>
                  </a:lnTo>
                  <a:lnTo>
                    <a:pt x="2984" y="1147"/>
                  </a:lnTo>
                  <a:lnTo>
                    <a:pt x="2985" y="1147"/>
                  </a:lnTo>
                  <a:lnTo>
                    <a:pt x="2984" y="1150"/>
                  </a:lnTo>
                  <a:lnTo>
                    <a:pt x="2985" y="1151"/>
                  </a:lnTo>
                  <a:lnTo>
                    <a:pt x="2986" y="1148"/>
                  </a:lnTo>
                  <a:lnTo>
                    <a:pt x="2987" y="1145"/>
                  </a:lnTo>
                  <a:lnTo>
                    <a:pt x="2988" y="1146"/>
                  </a:lnTo>
                  <a:lnTo>
                    <a:pt x="2988" y="1146"/>
                  </a:lnTo>
                  <a:lnTo>
                    <a:pt x="2987" y="1147"/>
                  </a:lnTo>
                  <a:lnTo>
                    <a:pt x="2987" y="1150"/>
                  </a:lnTo>
                  <a:lnTo>
                    <a:pt x="2989" y="1147"/>
                  </a:lnTo>
                  <a:lnTo>
                    <a:pt x="2989" y="1146"/>
                  </a:lnTo>
                  <a:lnTo>
                    <a:pt x="2989" y="1146"/>
                  </a:lnTo>
                  <a:lnTo>
                    <a:pt x="2991" y="1145"/>
                  </a:lnTo>
                  <a:lnTo>
                    <a:pt x="2991" y="1148"/>
                  </a:lnTo>
                  <a:lnTo>
                    <a:pt x="2989" y="1151"/>
                  </a:lnTo>
                  <a:lnTo>
                    <a:pt x="2992" y="1151"/>
                  </a:lnTo>
                  <a:lnTo>
                    <a:pt x="2994" y="1148"/>
                  </a:lnTo>
                  <a:lnTo>
                    <a:pt x="2995" y="1146"/>
                  </a:lnTo>
                  <a:lnTo>
                    <a:pt x="2995" y="1145"/>
                  </a:lnTo>
                  <a:lnTo>
                    <a:pt x="2997" y="1144"/>
                  </a:lnTo>
                  <a:lnTo>
                    <a:pt x="3000" y="1143"/>
                  </a:lnTo>
                  <a:lnTo>
                    <a:pt x="3002" y="1143"/>
                  </a:lnTo>
                  <a:lnTo>
                    <a:pt x="3003" y="1141"/>
                  </a:lnTo>
                  <a:lnTo>
                    <a:pt x="3003" y="1139"/>
                  </a:lnTo>
                  <a:lnTo>
                    <a:pt x="3002" y="1137"/>
                  </a:lnTo>
                  <a:lnTo>
                    <a:pt x="3002" y="1137"/>
                  </a:lnTo>
                  <a:lnTo>
                    <a:pt x="3002" y="1137"/>
                  </a:lnTo>
                  <a:lnTo>
                    <a:pt x="3003" y="1136"/>
                  </a:lnTo>
                  <a:lnTo>
                    <a:pt x="3003" y="1136"/>
                  </a:lnTo>
                  <a:lnTo>
                    <a:pt x="3003" y="1138"/>
                  </a:lnTo>
                  <a:lnTo>
                    <a:pt x="3005" y="1141"/>
                  </a:lnTo>
                  <a:lnTo>
                    <a:pt x="3008" y="1139"/>
                  </a:lnTo>
                  <a:lnTo>
                    <a:pt x="3011" y="1137"/>
                  </a:lnTo>
                  <a:lnTo>
                    <a:pt x="3011" y="1135"/>
                  </a:lnTo>
                  <a:lnTo>
                    <a:pt x="3011" y="1133"/>
                  </a:lnTo>
                  <a:lnTo>
                    <a:pt x="3011" y="1131"/>
                  </a:lnTo>
                  <a:lnTo>
                    <a:pt x="3012" y="1129"/>
                  </a:lnTo>
                  <a:lnTo>
                    <a:pt x="3011" y="1127"/>
                  </a:lnTo>
                  <a:lnTo>
                    <a:pt x="3013" y="1130"/>
                  </a:lnTo>
                  <a:lnTo>
                    <a:pt x="3016" y="1131"/>
                  </a:lnTo>
                  <a:lnTo>
                    <a:pt x="3016" y="1135"/>
                  </a:lnTo>
                  <a:lnTo>
                    <a:pt x="3017" y="1136"/>
                  </a:lnTo>
                  <a:lnTo>
                    <a:pt x="3018" y="1139"/>
                  </a:lnTo>
                  <a:lnTo>
                    <a:pt x="3020" y="1141"/>
                  </a:lnTo>
                  <a:lnTo>
                    <a:pt x="3021" y="1141"/>
                  </a:lnTo>
                  <a:lnTo>
                    <a:pt x="3022" y="1139"/>
                  </a:lnTo>
                  <a:lnTo>
                    <a:pt x="3023" y="1139"/>
                  </a:lnTo>
                  <a:lnTo>
                    <a:pt x="3022" y="1141"/>
                  </a:lnTo>
                  <a:lnTo>
                    <a:pt x="3021" y="1142"/>
                  </a:lnTo>
                  <a:lnTo>
                    <a:pt x="3021" y="1145"/>
                  </a:lnTo>
                  <a:lnTo>
                    <a:pt x="3021" y="1146"/>
                  </a:lnTo>
                  <a:lnTo>
                    <a:pt x="3022" y="1150"/>
                  </a:lnTo>
                  <a:lnTo>
                    <a:pt x="3023" y="1152"/>
                  </a:lnTo>
                  <a:lnTo>
                    <a:pt x="3023" y="1153"/>
                  </a:lnTo>
                  <a:lnTo>
                    <a:pt x="3023" y="1155"/>
                  </a:lnTo>
                  <a:lnTo>
                    <a:pt x="3023" y="1159"/>
                  </a:lnTo>
                  <a:lnTo>
                    <a:pt x="3023" y="1161"/>
                  </a:lnTo>
                  <a:lnTo>
                    <a:pt x="3025" y="1162"/>
                  </a:lnTo>
                  <a:lnTo>
                    <a:pt x="3023" y="1163"/>
                  </a:lnTo>
                  <a:lnTo>
                    <a:pt x="3027" y="1165"/>
                  </a:lnTo>
                  <a:lnTo>
                    <a:pt x="3026" y="1168"/>
                  </a:lnTo>
                  <a:lnTo>
                    <a:pt x="3027" y="1171"/>
                  </a:lnTo>
                  <a:lnTo>
                    <a:pt x="3027" y="1172"/>
                  </a:lnTo>
                  <a:lnTo>
                    <a:pt x="3028" y="1176"/>
                  </a:lnTo>
                  <a:lnTo>
                    <a:pt x="3028" y="1178"/>
                  </a:lnTo>
                  <a:lnTo>
                    <a:pt x="3029" y="1180"/>
                  </a:lnTo>
                  <a:lnTo>
                    <a:pt x="3029" y="1178"/>
                  </a:lnTo>
                  <a:lnTo>
                    <a:pt x="3029" y="1176"/>
                  </a:lnTo>
                  <a:lnTo>
                    <a:pt x="3029" y="1174"/>
                  </a:lnTo>
                  <a:lnTo>
                    <a:pt x="3029" y="1176"/>
                  </a:lnTo>
                  <a:lnTo>
                    <a:pt x="3030" y="1178"/>
                  </a:lnTo>
                  <a:lnTo>
                    <a:pt x="3031" y="1180"/>
                  </a:lnTo>
                  <a:lnTo>
                    <a:pt x="3033" y="1184"/>
                  </a:lnTo>
                  <a:lnTo>
                    <a:pt x="3034" y="1186"/>
                  </a:lnTo>
                  <a:lnTo>
                    <a:pt x="3035" y="1188"/>
                  </a:lnTo>
                  <a:lnTo>
                    <a:pt x="3035" y="1191"/>
                  </a:lnTo>
                  <a:lnTo>
                    <a:pt x="3036" y="1194"/>
                  </a:lnTo>
                  <a:lnTo>
                    <a:pt x="3036" y="1194"/>
                  </a:lnTo>
                  <a:lnTo>
                    <a:pt x="3036" y="1195"/>
                  </a:lnTo>
                  <a:lnTo>
                    <a:pt x="3035" y="1197"/>
                  </a:lnTo>
                  <a:lnTo>
                    <a:pt x="3036" y="1198"/>
                  </a:lnTo>
                  <a:lnTo>
                    <a:pt x="3036" y="1199"/>
                  </a:lnTo>
                  <a:lnTo>
                    <a:pt x="3037" y="1201"/>
                  </a:lnTo>
                  <a:lnTo>
                    <a:pt x="3036" y="1202"/>
                  </a:lnTo>
                  <a:lnTo>
                    <a:pt x="3036" y="1205"/>
                  </a:lnTo>
                  <a:lnTo>
                    <a:pt x="3035" y="1207"/>
                  </a:lnTo>
                  <a:lnTo>
                    <a:pt x="3038" y="1206"/>
                  </a:lnTo>
                  <a:lnTo>
                    <a:pt x="3037" y="1208"/>
                  </a:lnTo>
                  <a:lnTo>
                    <a:pt x="3037" y="1211"/>
                  </a:lnTo>
                  <a:lnTo>
                    <a:pt x="3037" y="1214"/>
                  </a:lnTo>
                  <a:lnTo>
                    <a:pt x="3037" y="1216"/>
                  </a:lnTo>
                  <a:lnTo>
                    <a:pt x="3035" y="1219"/>
                  </a:lnTo>
                  <a:lnTo>
                    <a:pt x="3033" y="1221"/>
                  </a:lnTo>
                  <a:lnTo>
                    <a:pt x="3034" y="1224"/>
                  </a:lnTo>
                  <a:lnTo>
                    <a:pt x="3034" y="1225"/>
                  </a:lnTo>
                  <a:lnTo>
                    <a:pt x="3034" y="1229"/>
                  </a:lnTo>
                  <a:lnTo>
                    <a:pt x="3034" y="1231"/>
                  </a:lnTo>
                  <a:lnTo>
                    <a:pt x="3034" y="1231"/>
                  </a:lnTo>
                  <a:lnTo>
                    <a:pt x="3035" y="1231"/>
                  </a:lnTo>
                  <a:lnTo>
                    <a:pt x="3036" y="1229"/>
                  </a:lnTo>
                  <a:lnTo>
                    <a:pt x="3037" y="1227"/>
                  </a:lnTo>
                  <a:lnTo>
                    <a:pt x="3037" y="1227"/>
                  </a:lnTo>
                  <a:lnTo>
                    <a:pt x="3037" y="1227"/>
                  </a:lnTo>
                  <a:lnTo>
                    <a:pt x="3036" y="1229"/>
                  </a:lnTo>
                  <a:lnTo>
                    <a:pt x="3036" y="1230"/>
                  </a:lnTo>
                  <a:lnTo>
                    <a:pt x="3035" y="1231"/>
                  </a:lnTo>
                  <a:lnTo>
                    <a:pt x="3035" y="1231"/>
                  </a:lnTo>
                  <a:lnTo>
                    <a:pt x="3035" y="1231"/>
                  </a:lnTo>
                  <a:lnTo>
                    <a:pt x="3035" y="1231"/>
                  </a:lnTo>
                  <a:lnTo>
                    <a:pt x="3035" y="1232"/>
                  </a:lnTo>
                  <a:lnTo>
                    <a:pt x="3035" y="1233"/>
                  </a:lnTo>
                  <a:lnTo>
                    <a:pt x="3035" y="1235"/>
                  </a:lnTo>
                  <a:lnTo>
                    <a:pt x="3033" y="1238"/>
                  </a:lnTo>
                  <a:lnTo>
                    <a:pt x="3033" y="1238"/>
                  </a:lnTo>
                  <a:lnTo>
                    <a:pt x="3033" y="1238"/>
                  </a:lnTo>
                  <a:lnTo>
                    <a:pt x="3031" y="1241"/>
                  </a:lnTo>
                  <a:lnTo>
                    <a:pt x="3031" y="1244"/>
                  </a:lnTo>
                  <a:lnTo>
                    <a:pt x="3031" y="1244"/>
                  </a:lnTo>
                  <a:lnTo>
                    <a:pt x="3030" y="1247"/>
                  </a:lnTo>
                  <a:lnTo>
                    <a:pt x="3030" y="1248"/>
                  </a:lnTo>
                  <a:lnTo>
                    <a:pt x="3030" y="1249"/>
                  </a:lnTo>
                  <a:lnTo>
                    <a:pt x="3029" y="1250"/>
                  </a:lnTo>
                  <a:lnTo>
                    <a:pt x="3029" y="1253"/>
                  </a:lnTo>
                  <a:lnTo>
                    <a:pt x="3030" y="1255"/>
                  </a:lnTo>
                  <a:lnTo>
                    <a:pt x="3036" y="1254"/>
                  </a:lnTo>
                  <a:lnTo>
                    <a:pt x="3036" y="1256"/>
                  </a:lnTo>
                  <a:lnTo>
                    <a:pt x="3042" y="1261"/>
                  </a:lnTo>
                  <a:lnTo>
                    <a:pt x="3042" y="1263"/>
                  </a:lnTo>
                  <a:lnTo>
                    <a:pt x="3044" y="1264"/>
                  </a:lnTo>
                  <a:lnTo>
                    <a:pt x="3045" y="1266"/>
                  </a:lnTo>
                  <a:lnTo>
                    <a:pt x="3048" y="1268"/>
                  </a:lnTo>
                  <a:lnTo>
                    <a:pt x="3050" y="1271"/>
                  </a:lnTo>
                  <a:lnTo>
                    <a:pt x="3051" y="1271"/>
                  </a:lnTo>
                  <a:lnTo>
                    <a:pt x="3050" y="1273"/>
                  </a:lnTo>
                  <a:lnTo>
                    <a:pt x="3055" y="1281"/>
                  </a:lnTo>
                  <a:lnTo>
                    <a:pt x="3055" y="1281"/>
                  </a:lnTo>
                  <a:lnTo>
                    <a:pt x="3055" y="1281"/>
                  </a:lnTo>
                  <a:lnTo>
                    <a:pt x="3055" y="1281"/>
                  </a:lnTo>
                  <a:lnTo>
                    <a:pt x="3056" y="1283"/>
                  </a:lnTo>
                  <a:lnTo>
                    <a:pt x="3057" y="1284"/>
                  </a:lnTo>
                  <a:lnTo>
                    <a:pt x="3059" y="1287"/>
                  </a:lnTo>
                  <a:lnTo>
                    <a:pt x="3060" y="1290"/>
                  </a:lnTo>
                  <a:lnTo>
                    <a:pt x="3059" y="1292"/>
                  </a:lnTo>
                  <a:lnTo>
                    <a:pt x="3060" y="1293"/>
                  </a:lnTo>
                  <a:lnTo>
                    <a:pt x="3060" y="1296"/>
                  </a:lnTo>
                  <a:lnTo>
                    <a:pt x="3060" y="1298"/>
                  </a:lnTo>
                  <a:lnTo>
                    <a:pt x="3060" y="1301"/>
                  </a:lnTo>
                  <a:lnTo>
                    <a:pt x="3062" y="1304"/>
                  </a:lnTo>
                  <a:lnTo>
                    <a:pt x="3063" y="1306"/>
                  </a:lnTo>
                  <a:lnTo>
                    <a:pt x="3062" y="1309"/>
                  </a:lnTo>
                  <a:lnTo>
                    <a:pt x="3063" y="1312"/>
                  </a:lnTo>
                  <a:lnTo>
                    <a:pt x="3067" y="1314"/>
                  </a:lnTo>
                  <a:lnTo>
                    <a:pt x="3065" y="1316"/>
                  </a:lnTo>
                  <a:lnTo>
                    <a:pt x="3065" y="1317"/>
                  </a:lnTo>
                  <a:lnTo>
                    <a:pt x="3068" y="1319"/>
                  </a:lnTo>
                  <a:lnTo>
                    <a:pt x="3070" y="1322"/>
                  </a:lnTo>
                  <a:lnTo>
                    <a:pt x="3072" y="1324"/>
                  </a:lnTo>
                  <a:lnTo>
                    <a:pt x="3073" y="1327"/>
                  </a:lnTo>
                  <a:lnTo>
                    <a:pt x="3072" y="1330"/>
                  </a:lnTo>
                  <a:lnTo>
                    <a:pt x="3074" y="1332"/>
                  </a:lnTo>
                  <a:lnTo>
                    <a:pt x="3077" y="1333"/>
                  </a:lnTo>
                  <a:lnTo>
                    <a:pt x="3078" y="1333"/>
                  </a:lnTo>
                  <a:lnTo>
                    <a:pt x="3079" y="1333"/>
                  </a:lnTo>
                  <a:lnTo>
                    <a:pt x="3081" y="1336"/>
                  </a:lnTo>
                  <a:lnTo>
                    <a:pt x="3084" y="1339"/>
                  </a:lnTo>
                  <a:lnTo>
                    <a:pt x="3087" y="1340"/>
                  </a:lnTo>
                  <a:lnTo>
                    <a:pt x="3088" y="1340"/>
                  </a:lnTo>
                  <a:lnTo>
                    <a:pt x="3089" y="1341"/>
                  </a:lnTo>
                  <a:lnTo>
                    <a:pt x="3091" y="1343"/>
                  </a:lnTo>
                  <a:lnTo>
                    <a:pt x="3094" y="1344"/>
                  </a:lnTo>
                  <a:lnTo>
                    <a:pt x="3096" y="1345"/>
                  </a:lnTo>
                  <a:lnTo>
                    <a:pt x="3099" y="1347"/>
                  </a:lnTo>
                  <a:lnTo>
                    <a:pt x="3102" y="1350"/>
                  </a:lnTo>
                  <a:lnTo>
                    <a:pt x="3104" y="1350"/>
                  </a:lnTo>
                  <a:lnTo>
                    <a:pt x="3105" y="1349"/>
                  </a:lnTo>
                  <a:lnTo>
                    <a:pt x="3108" y="1349"/>
                  </a:lnTo>
                  <a:lnTo>
                    <a:pt x="3108" y="1347"/>
                  </a:lnTo>
                  <a:lnTo>
                    <a:pt x="3108" y="1345"/>
                  </a:lnTo>
                  <a:lnTo>
                    <a:pt x="3110" y="1349"/>
                  </a:lnTo>
                  <a:lnTo>
                    <a:pt x="3113" y="1350"/>
                  </a:lnTo>
                  <a:lnTo>
                    <a:pt x="3112" y="1347"/>
                  </a:lnTo>
                  <a:lnTo>
                    <a:pt x="3112" y="1344"/>
                  </a:lnTo>
                  <a:lnTo>
                    <a:pt x="3111" y="1341"/>
                  </a:lnTo>
                  <a:lnTo>
                    <a:pt x="3108" y="1339"/>
                  </a:lnTo>
                  <a:lnTo>
                    <a:pt x="3107" y="1336"/>
                  </a:lnTo>
                  <a:lnTo>
                    <a:pt x="3107" y="1335"/>
                  </a:lnTo>
                  <a:lnTo>
                    <a:pt x="3106" y="1333"/>
                  </a:lnTo>
                  <a:lnTo>
                    <a:pt x="3104" y="1332"/>
                  </a:lnTo>
                  <a:lnTo>
                    <a:pt x="3103" y="1332"/>
                  </a:lnTo>
                  <a:lnTo>
                    <a:pt x="3102" y="1329"/>
                  </a:lnTo>
                  <a:lnTo>
                    <a:pt x="3102" y="1324"/>
                  </a:lnTo>
                  <a:lnTo>
                    <a:pt x="3102" y="1321"/>
                  </a:lnTo>
                  <a:lnTo>
                    <a:pt x="3100" y="1319"/>
                  </a:lnTo>
                  <a:lnTo>
                    <a:pt x="3100" y="1317"/>
                  </a:lnTo>
                  <a:lnTo>
                    <a:pt x="3102" y="1314"/>
                  </a:lnTo>
                  <a:lnTo>
                    <a:pt x="3102" y="1312"/>
                  </a:lnTo>
                  <a:lnTo>
                    <a:pt x="3102" y="1312"/>
                  </a:lnTo>
                  <a:lnTo>
                    <a:pt x="3102" y="1309"/>
                  </a:lnTo>
                  <a:lnTo>
                    <a:pt x="3102" y="1306"/>
                  </a:lnTo>
                  <a:lnTo>
                    <a:pt x="3102" y="1304"/>
                  </a:lnTo>
                  <a:lnTo>
                    <a:pt x="3099" y="1300"/>
                  </a:lnTo>
                  <a:lnTo>
                    <a:pt x="3098" y="1298"/>
                  </a:lnTo>
                  <a:lnTo>
                    <a:pt x="3097" y="1296"/>
                  </a:lnTo>
                  <a:lnTo>
                    <a:pt x="3097" y="1296"/>
                  </a:lnTo>
                  <a:lnTo>
                    <a:pt x="3094" y="1292"/>
                  </a:lnTo>
                  <a:lnTo>
                    <a:pt x="3091" y="1291"/>
                  </a:lnTo>
                  <a:lnTo>
                    <a:pt x="3089" y="1289"/>
                  </a:lnTo>
                  <a:lnTo>
                    <a:pt x="3087" y="1285"/>
                  </a:lnTo>
                  <a:lnTo>
                    <a:pt x="3085" y="1283"/>
                  </a:lnTo>
                  <a:lnTo>
                    <a:pt x="3082" y="1283"/>
                  </a:lnTo>
                  <a:lnTo>
                    <a:pt x="3080" y="1281"/>
                  </a:lnTo>
                  <a:lnTo>
                    <a:pt x="3078" y="1279"/>
                  </a:lnTo>
                  <a:lnTo>
                    <a:pt x="3076" y="1275"/>
                  </a:lnTo>
                  <a:lnTo>
                    <a:pt x="3073" y="1274"/>
                  </a:lnTo>
                  <a:lnTo>
                    <a:pt x="3072" y="1274"/>
                  </a:lnTo>
                  <a:lnTo>
                    <a:pt x="3069" y="1274"/>
                  </a:lnTo>
                  <a:lnTo>
                    <a:pt x="3067" y="1273"/>
                  </a:lnTo>
                  <a:lnTo>
                    <a:pt x="3063" y="1272"/>
                  </a:lnTo>
                  <a:lnTo>
                    <a:pt x="3061" y="1271"/>
                  </a:lnTo>
                  <a:lnTo>
                    <a:pt x="3060" y="1268"/>
                  </a:lnTo>
                  <a:lnTo>
                    <a:pt x="3056" y="1266"/>
                  </a:lnTo>
                  <a:lnTo>
                    <a:pt x="3056" y="1263"/>
                  </a:lnTo>
                  <a:lnTo>
                    <a:pt x="3056" y="1262"/>
                  </a:lnTo>
                  <a:lnTo>
                    <a:pt x="3057" y="1265"/>
                  </a:lnTo>
                  <a:lnTo>
                    <a:pt x="3060" y="1267"/>
                  </a:lnTo>
                  <a:lnTo>
                    <a:pt x="3060" y="1267"/>
                  </a:lnTo>
                  <a:lnTo>
                    <a:pt x="3060" y="1267"/>
                  </a:lnTo>
                  <a:lnTo>
                    <a:pt x="3060" y="1265"/>
                  </a:lnTo>
                  <a:lnTo>
                    <a:pt x="3060" y="1262"/>
                  </a:lnTo>
                  <a:lnTo>
                    <a:pt x="3059" y="1261"/>
                  </a:lnTo>
                  <a:lnTo>
                    <a:pt x="3057" y="1256"/>
                  </a:lnTo>
                  <a:lnTo>
                    <a:pt x="3057" y="1254"/>
                  </a:lnTo>
                  <a:lnTo>
                    <a:pt x="3056" y="1252"/>
                  </a:lnTo>
                  <a:lnTo>
                    <a:pt x="3056" y="1253"/>
                  </a:lnTo>
                  <a:lnTo>
                    <a:pt x="3056" y="1252"/>
                  </a:lnTo>
                  <a:lnTo>
                    <a:pt x="3056" y="1254"/>
                  </a:lnTo>
                  <a:lnTo>
                    <a:pt x="3054" y="1252"/>
                  </a:lnTo>
                  <a:lnTo>
                    <a:pt x="3054" y="1250"/>
                  </a:lnTo>
                  <a:lnTo>
                    <a:pt x="3053" y="1247"/>
                  </a:lnTo>
                  <a:lnTo>
                    <a:pt x="3053" y="1246"/>
                  </a:lnTo>
                  <a:lnTo>
                    <a:pt x="3053" y="1244"/>
                  </a:lnTo>
                  <a:lnTo>
                    <a:pt x="3051" y="1241"/>
                  </a:lnTo>
                  <a:lnTo>
                    <a:pt x="3048" y="1241"/>
                  </a:lnTo>
                  <a:lnTo>
                    <a:pt x="3046" y="1242"/>
                  </a:lnTo>
                  <a:lnTo>
                    <a:pt x="3045" y="1240"/>
                  </a:lnTo>
                  <a:lnTo>
                    <a:pt x="3044" y="1239"/>
                  </a:lnTo>
                  <a:lnTo>
                    <a:pt x="3044" y="1237"/>
                  </a:lnTo>
                  <a:lnTo>
                    <a:pt x="3043" y="1235"/>
                  </a:lnTo>
                  <a:lnTo>
                    <a:pt x="3043" y="1231"/>
                  </a:lnTo>
                  <a:lnTo>
                    <a:pt x="3043" y="1231"/>
                  </a:lnTo>
                  <a:lnTo>
                    <a:pt x="3043" y="1229"/>
                  </a:lnTo>
                  <a:lnTo>
                    <a:pt x="3044" y="1227"/>
                  </a:lnTo>
                  <a:lnTo>
                    <a:pt x="3044" y="1225"/>
                  </a:lnTo>
                  <a:lnTo>
                    <a:pt x="3044" y="1223"/>
                  </a:lnTo>
                  <a:lnTo>
                    <a:pt x="3046" y="1221"/>
                  </a:lnTo>
                  <a:lnTo>
                    <a:pt x="3046" y="1221"/>
                  </a:lnTo>
                  <a:lnTo>
                    <a:pt x="3046" y="1221"/>
                  </a:lnTo>
                  <a:lnTo>
                    <a:pt x="3047" y="1218"/>
                  </a:lnTo>
                  <a:lnTo>
                    <a:pt x="3047" y="1218"/>
                  </a:lnTo>
                  <a:lnTo>
                    <a:pt x="3047" y="1216"/>
                  </a:lnTo>
                  <a:lnTo>
                    <a:pt x="3048" y="1213"/>
                  </a:lnTo>
                  <a:lnTo>
                    <a:pt x="3048" y="1212"/>
                  </a:lnTo>
                  <a:lnTo>
                    <a:pt x="3050" y="1210"/>
                  </a:lnTo>
                  <a:lnTo>
                    <a:pt x="3052" y="1207"/>
                  </a:lnTo>
                  <a:lnTo>
                    <a:pt x="3052" y="1206"/>
                  </a:lnTo>
                  <a:lnTo>
                    <a:pt x="3052" y="1206"/>
                  </a:lnTo>
                  <a:lnTo>
                    <a:pt x="3052" y="1204"/>
                  </a:lnTo>
                  <a:lnTo>
                    <a:pt x="3054" y="1202"/>
                  </a:lnTo>
                  <a:lnTo>
                    <a:pt x="3054" y="1202"/>
                  </a:lnTo>
                  <a:lnTo>
                    <a:pt x="3054" y="1202"/>
                  </a:lnTo>
                  <a:lnTo>
                    <a:pt x="3054" y="1198"/>
                  </a:lnTo>
                  <a:lnTo>
                    <a:pt x="3054" y="1195"/>
                  </a:lnTo>
                  <a:lnTo>
                    <a:pt x="3054" y="1195"/>
                  </a:lnTo>
                  <a:lnTo>
                    <a:pt x="3054" y="1194"/>
                  </a:lnTo>
                  <a:lnTo>
                    <a:pt x="3055" y="1189"/>
                  </a:lnTo>
                  <a:lnTo>
                    <a:pt x="3055" y="1189"/>
                  </a:lnTo>
                  <a:lnTo>
                    <a:pt x="3055" y="1189"/>
                  </a:lnTo>
                  <a:lnTo>
                    <a:pt x="3054" y="1187"/>
                  </a:lnTo>
                  <a:lnTo>
                    <a:pt x="3054" y="1186"/>
                  </a:lnTo>
                  <a:lnTo>
                    <a:pt x="3055" y="1184"/>
                  </a:lnTo>
                  <a:lnTo>
                    <a:pt x="3057" y="1182"/>
                  </a:lnTo>
                  <a:lnTo>
                    <a:pt x="3061" y="1184"/>
                  </a:lnTo>
                  <a:lnTo>
                    <a:pt x="3062" y="1181"/>
                  </a:lnTo>
                  <a:lnTo>
                    <a:pt x="3065" y="1184"/>
                  </a:lnTo>
                  <a:lnTo>
                    <a:pt x="3068" y="1184"/>
                  </a:lnTo>
                  <a:lnTo>
                    <a:pt x="3068" y="1184"/>
                  </a:lnTo>
                  <a:lnTo>
                    <a:pt x="3067" y="1185"/>
                  </a:lnTo>
                  <a:lnTo>
                    <a:pt x="3067" y="1186"/>
                  </a:lnTo>
                  <a:lnTo>
                    <a:pt x="3067" y="1189"/>
                  </a:lnTo>
                  <a:lnTo>
                    <a:pt x="3067" y="1190"/>
                  </a:lnTo>
                  <a:lnTo>
                    <a:pt x="3067" y="1191"/>
                  </a:lnTo>
                  <a:lnTo>
                    <a:pt x="3067" y="1193"/>
                  </a:lnTo>
                  <a:lnTo>
                    <a:pt x="3068" y="1195"/>
                  </a:lnTo>
                  <a:lnTo>
                    <a:pt x="3070" y="1195"/>
                  </a:lnTo>
                  <a:lnTo>
                    <a:pt x="3071" y="1195"/>
                  </a:lnTo>
                  <a:lnTo>
                    <a:pt x="3073" y="1195"/>
                  </a:lnTo>
                  <a:lnTo>
                    <a:pt x="3079" y="1194"/>
                  </a:lnTo>
                  <a:lnTo>
                    <a:pt x="3081" y="1196"/>
                  </a:lnTo>
                  <a:lnTo>
                    <a:pt x="3082" y="1197"/>
                  </a:lnTo>
                  <a:lnTo>
                    <a:pt x="3082" y="1197"/>
                  </a:lnTo>
                  <a:lnTo>
                    <a:pt x="3085" y="1199"/>
                  </a:lnTo>
                  <a:lnTo>
                    <a:pt x="3086" y="1198"/>
                  </a:lnTo>
                  <a:lnTo>
                    <a:pt x="3087" y="1202"/>
                  </a:lnTo>
                  <a:lnTo>
                    <a:pt x="3089" y="1201"/>
                  </a:lnTo>
                  <a:lnTo>
                    <a:pt x="3091" y="1203"/>
                  </a:lnTo>
                  <a:lnTo>
                    <a:pt x="3091" y="1203"/>
                  </a:lnTo>
                  <a:lnTo>
                    <a:pt x="3091" y="1204"/>
                  </a:lnTo>
                  <a:lnTo>
                    <a:pt x="3094" y="1206"/>
                  </a:lnTo>
                  <a:lnTo>
                    <a:pt x="3094" y="1206"/>
                  </a:lnTo>
                  <a:lnTo>
                    <a:pt x="3094" y="1207"/>
                  </a:lnTo>
                  <a:lnTo>
                    <a:pt x="3094" y="1208"/>
                  </a:lnTo>
                  <a:lnTo>
                    <a:pt x="3094" y="1206"/>
                  </a:lnTo>
                  <a:lnTo>
                    <a:pt x="3094" y="1206"/>
                  </a:lnTo>
                  <a:lnTo>
                    <a:pt x="3094" y="1208"/>
                  </a:lnTo>
                  <a:lnTo>
                    <a:pt x="3094" y="1206"/>
                  </a:lnTo>
                  <a:lnTo>
                    <a:pt x="3095" y="1208"/>
                  </a:lnTo>
                  <a:lnTo>
                    <a:pt x="3096" y="1208"/>
                  </a:lnTo>
                  <a:lnTo>
                    <a:pt x="3095" y="1210"/>
                  </a:lnTo>
                  <a:lnTo>
                    <a:pt x="3095" y="1210"/>
                  </a:lnTo>
                  <a:lnTo>
                    <a:pt x="3095" y="1210"/>
                  </a:lnTo>
                  <a:lnTo>
                    <a:pt x="3096" y="1210"/>
                  </a:lnTo>
                  <a:lnTo>
                    <a:pt x="3097" y="1211"/>
                  </a:lnTo>
                  <a:lnTo>
                    <a:pt x="3097" y="1215"/>
                  </a:lnTo>
                  <a:lnTo>
                    <a:pt x="3097" y="1216"/>
                  </a:lnTo>
                  <a:lnTo>
                    <a:pt x="3097" y="1218"/>
                  </a:lnTo>
                  <a:lnTo>
                    <a:pt x="3097" y="1219"/>
                  </a:lnTo>
                  <a:lnTo>
                    <a:pt x="3097" y="1220"/>
                  </a:lnTo>
                  <a:lnTo>
                    <a:pt x="3100" y="1220"/>
                  </a:lnTo>
                  <a:lnTo>
                    <a:pt x="3100" y="1219"/>
                  </a:lnTo>
                  <a:lnTo>
                    <a:pt x="3100" y="1219"/>
                  </a:lnTo>
                  <a:lnTo>
                    <a:pt x="3102" y="1216"/>
                  </a:lnTo>
                  <a:lnTo>
                    <a:pt x="3103" y="1215"/>
                  </a:lnTo>
                  <a:lnTo>
                    <a:pt x="3105" y="1218"/>
                  </a:lnTo>
                  <a:lnTo>
                    <a:pt x="3105" y="1219"/>
                  </a:lnTo>
                  <a:lnTo>
                    <a:pt x="3104" y="1221"/>
                  </a:lnTo>
                  <a:lnTo>
                    <a:pt x="3105" y="1221"/>
                  </a:lnTo>
                  <a:lnTo>
                    <a:pt x="3105" y="1221"/>
                  </a:lnTo>
                  <a:lnTo>
                    <a:pt x="3103" y="1222"/>
                  </a:lnTo>
                  <a:lnTo>
                    <a:pt x="3103" y="1222"/>
                  </a:lnTo>
                  <a:lnTo>
                    <a:pt x="3103" y="1222"/>
                  </a:lnTo>
                  <a:lnTo>
                    <a:pt x="3103" y="1223"/>
                  </a:lnTo>
                  <a:lnTo>
                    <a:pt x="3105" y="1224"/>
                  </a:lnTo>
                  <a:lnTo>
                    <a:pt x="3107" y="1223"/>
                  </a:lnTo>
                  <a:lnTo>
                    <a:pt x="3113" y="1225"/>
                  </a:lnTo>
                  <a:lnTo>
                    <a:pt x="3114" y="1224"/>
                  </a:lnTo>
                  <a:lnTo>
                    <a:pt x="3115" y="1227"/>
                  </a:lnTo>
                  <a:lnTo>
                    <a:pt x="3116" y="1225"/>
                  </a:lnTo>
                  <a:lnTo>
                    <a:pt x="3115" y="1227"/>
                  </a:lnTo>
                  <a:lnTo>
                    <a:pt x="3115" y="1227"/>
                  </a:lnTo>
                  <a:lnTo>
                    <a:pt x="3115" y="1227"/>
                  </a:lnTo>
                  <a:lnTo>
                    <a:pt x="3117" y="1229"/>
                  </a:lnTo>
                  <a:lnTo>
                    <a:pt x="3120" y="1229"/>
                  </a:lnTo>
                  <a:lnTo>
                    <a:pt x="3123" y="1231"/>
                  </a:lnTo>
                  <a:lnTo>
                    <a:pt x="3124" y="1233"/>
                  </a:lnTo>
                  <a:lnTo>
                    <a:pt x="3121" y="1233"/>
                  </a:lnTo>
                  <a:lnTo>
                    <a:pt x="3121" y="1233"/>
                  </a:lnTo>
                  <a:lnTo>
                    <a:pt x="3121" y="1233"/>
                  </a:lnTo>
                  <a:lnTo>
                    <a:pt x="3121" y="1237"/>
                  </a:lnTo>
                  <a:lnTo>
                    <a:pt x="3120" y="1238"/>
                  </a:lnTo>
                  <a:lnTo>
                    <a:pt x="3120" y="1238"/>
                  </a:lnTo>
                  <a:lnTo>
                    <a:pt x="3120" y="1238"/>
                  </a:lnTo>
                  <a:lnTo>
                    <a:pt x="3120" y="1240"/>
                  </a:lnTo>
                  <a:lnTo>
                    <a:pt x="3120" y="1248"/>
                  </a:lnTo>
                  <a:lnTo>
                    <a:pt x="3122" y="1248"/>
                  </a:lnTo>
                  <a:lnTo>
                    <a:pt x="3122" y="1249"/>
                  </a:lnTo>
                  <a:lnTo>
                    <a:pt x="3120" y="1250"/>
                  </a:lnTo>
                  <a:lnTo>
                    <a:pt x="3120" y="1250"/>
                  </a:lnTo>
                  <a:lnTo>
                    <a:pt x="3120" y="1250"/>
                  </a:lnTo>
                  <a:lnTo>
                    <a:pt x="3122" y="1252"/>
                  </a:lnTo>
                  <a:lnTo>
                    <a:pt x="3124" y="1249"/>
                  </a:lnTo>
                  <a:lnTo>
                    <a:pt x="3125" y="1249"/>
                  </a:lnTo>
                  <a:lnTo>
                    <a:pt x="3125" y="1249"/>
                  </a:lnTo>
                  <a:lnTo>
                    <a:pt x="3127" y="1248"/>
                  </a:lnTo>
                  <a:lnTo>
                    <a:pt x="3128" y="1246"/>
                  </a:lnTo>
                  <a:lnTo>
                    <a:pt x="3128" y="1246"/>
                  </a:lnTo>
                  <a:lnTo>
                    <a:pt x="3128" y="1246"/>
                  </a:lnTo>
                  <a:lnTo>
                    <a:pt x="3128" y="1245"/>
                  </a:lnTo>
                  <a:lnTo>
                    <a:pt x="3131" y="1244"/>
                  </a:lnTo>
                  <a:lnTo>
                    <a:pt x="3137" y="1241"/>
                  </a:lnTo>
                  <a:lnTo>
                    <a:pt x="3138" y="1240"/>
                  </a:lnTo>
                  <a:lnTo>
                    <a:pt x="3138" y="1239"/>
                  </a:lnTo>
                  <a:lnTo>
                    <a:pt x="3138" y="1239"/>
                  </a:lnTo>
                  <a:lnTo>
                    <a:pt x="3138" y="1237"/>
                  </a:lnTo>
                  <a:lnTo>
                    <a:pt x="3137" y="1235"/>
                  </a:lnTo>
                  <a:lnTo>
                    <a:pt x="3134" y="1232"/>
                  </a:lnTo>
                  <a:lnTo>
                    <a:pt x="3134" y="1232"/>
                  </a:lnTo>
                  <a:lnTo>
                    <a:pt x="3136" y="1233"/>
                  </a:lnTo>
                  <a:lnTo>
                    <a:pt x="3138" y="1236"/>
                  </a:lnTo>
                  <a:lnTo>
                    <a:pt x="3141" y="1238"/>
                  </a:lnTo>
                  <a:lnTo>
                    <a:pt x="3144" y="1237"/>
                  </a:lnTo>
                  <a:lnTo>
                    <a:pt x="3144" y="1237"/>
                  </a:lnTo>
                  <a:lnTo>
                    <a:pt x="3144" y="1237"/>
                  </a:lnTo>
                  <a:lnTo>
                    <a:pt x="3144" y="1235"/>
                  </a:lnTo>
                  <a:lnTo>
                    <a:pt x="3141" y="1231"/>
                  </a:lnTo>
                  <a:lnTo>
                    <a:pt x="3140" y="1231"/>
                  </a:lnTo>
                  <a:lnTo>
                    <a:pt x="3139" y="1230"/>
                  </a:lnTo>
                  <a:lnTo>
                    <a:pt x="3138" y="1229"/>
                  </a:lnTo>
                  <a:lnTo>
                    <a:pt x="3140" y="1230"/>
                  </a:lnTo>
                  <a:lnTo>
                    <a:pt x="3140" y="1231"/>
                  </a:lnTo>
                  <a:lnTo>
                    <a:pt x="3141" y="1231"/>
                  </a:lnTo>
                  <a:lnTo>
                    <a:pt x="3144" y="1233"/>
                  </a:lnTo>
                  <a:lnTo>
                    <a:pt x="3144" y="1233"/>
                  </a:lnTo>
                  <a:lnTo>
                    <a:pt x="3144" y="1233"/>
                  </a:lnTo>
                  <a:lnTo>
                    <a:pt x="3144" y="1231"/>
                  </a:lnTo>
                  <a:lnTo>
                    <a:pt x="3142" y="1231"/>
                  </a:lnTo>
                  <a:lnTo>
                    <a:pt x="3144" y="1231"/>
                  </a:lnTo>
                  <a:lnTo>
                    <a:pt x="3145" y="1231"/>
                  </a:lnTo>
                  <a:lnTo>
                    <a:pt x="3146" y="1230"/>
                  </a:lnTo>
                  <a:lnTo>
                    <a:pt x="3146" y="1230"/>
                  </a:lnTo>
                  <a:lnTo>
                    <a:pt x="3144" y="1228"/>
                  </a:lnTo>
                  <a:lnTo>
                    <a:pt x="3142" y="1228"/>
                  </a:lnTo>
                  <a:lnTo>
                    <a:pt x="3142" y="1228"/>
                  </a:lnTo>
                  <a:lnTo>
                    <a:pt x="3145" y="1228"/>
                  </a:lnTo>
                  <a:lnTo>
                    <a:pt x="3145" y="1228"/>
                  </a:lnTo>
                  <a:lnTo>
                    <a:pt x="3145" y="1228"/>
                  </a:lnTo>
                  <a:lnTo>
                    <a:pt x="3145" y="1224"/>
                  </a:lnTo>
                  <a:lnTo>
                    <a:pt x="3145" y="1224"/>
                  </a:lnTo>
                  <a:lnTo>
                    <a:pt x="3147" y="1222"/>
                  </a:lnTo>
                  <a:lnTo>
                    <a:pt x="3147" y="1222"/>
                  </a:lnTo>
                  <a:lnTo>
                    <a:pt x="3148" y="1222"/>
                  </a:lnTo>
                  <a:lnTo>
                    <a:pt x="3149" y="1222"/>
                  </a:lnTo>
                  <a:lnTo>
                    <a:pt x="3150" y="1224"/>
                  </a:lnTo>
                  <a:lnTo>
                    <a:pt x="3154" y="1225"/>
                  </a:lnTo>
                  <a:lnTo>
                    <a:pt x="3157" y="1224"/>
                  </a:lnTo>
                  <a:lnTo>
                    <a:pt x="3161" y="1222"/>
                  </a:lnTo>
                  <a:lnTo>
                    <a:pt x="3163" y="1222"/>
                  </a:lnTo>
                  <a:lnTo>
                    <a:pt x="3165" y="1220"/>
                  </a:lnTo>
                  <a:lnTo>
                    <a:pt x="3166" y="1219"/>
                  </a:lnTo>
                  <a:lnTo>
                    <a:pt x="3168" y="1218"/>
                  </a:lnTo>
                  <a:lnTo>
                    <a:pt x="3171" y="1215"/>
                  </a:lnTo>
                  <a:lnTo>
                    <a:pt x="3175" y="1213"/>
                  </a:lnTo>
                  <a:lnTo>
                    <a:pt x="3178" y="1211"/>
                  </a:lnTo>
                  <a:lnTo>
                    <a:pt x="3178" y="1211"/>
                  </a:lnTo>
                  <a:lnTo>
                    <a:pt x="3178" y="1211"/>
                  </a:lnTo>
                  <a:lnTo>
                    <a:pt x="3178" y="1210"/>
                  </a:lnTo>
                  <a:lnTo>
                    <a:pt x="3180" y="1207"/>
                  </a:lnTo>
                  <a:lnTo>
                    <a:pt x="3180" y="1207"/>
                  </a:lnTo>
                  <a:lnTo>
                    <a:pt x="3181" y="1207"/>
                  </a:lnTo>
                  <a:lnTo>
                    <a:pt x="3179" y="1206"/>
                  </a:lnTo>
                  <a:lnTo>
                    <a:pt x="3180" y="1204"/>
                  </a:lnTo>
                  <a:lnTo>
                    <a:pt x="3180" y="1204"/>
                  </a:lnTo>
                  <a:lnTo>
                    <a:pt x="3180" y="1204"/>
                  </a:lnTo>
                  <a:lnTo>
                    <a:pt x="3180" y="1203"/>
                  </a:lnTo>
                  <a:lnTo>
                    <a:pt x="3181" y="1201"/>
                  </a:lnTo>
                  <a:lnTo>
                    <a:pt x="3180" y="1201"/>
                  </a:lnTo>
                  <a:lnTo>
                    <a:pt x="3180" y="1201"/>
                  </a:lnTo>
                  <a:lnTo>
                    <a:pt x="3180" y="1201"/>
                  </a:lnTo>
                  <a:lnTo>
                    <a:pt x="3180" y="1199"/>
                  </a:lnTo>
                  <a:lnTo>
                    <a:pt x="3180" y="1199"/>
                  </a:lnTo>
                  <a:lnTo>
                    <a:pt x="3180" y="1197"/>
                  </a:lnTo>
                  <a:lnTo>
                    <a:pt x="3181" y="1197"/>
                  </a:lnTo>
                  <a:lnTo>
                    <a:pt x="3181" y="1197"/>
                  </a:lnTo>
                  <a:lnTo>
                    <a:pt x="3181" y="1197"/>
                  </a:lnTo>
                  <a:lnTo>
                    <a:pt x="3181" y="1195"/>
                  </a:lnTo>
                  <a:lnTo>
                    <a:pt x="3183" y="1195"/>
                  </a:lnTo>
                  <a:lnTo>
                    <a:pt x="3183" y="1195"/>
                  </a:lnTo>
                  <a:lnTo>
                    <a:pt x="3183" y="1195"/>
                  </a:lnTo>
                  <a:lnTo>
                    <a:pt x="3183" y="1191"/>
                  </a:lnTo>
                  <a:lnTo>
                    <a:pt x="3183" y="1191"/>
                  </a:lnTo>
                  <a:lnTo>
                    <a:pt x="3183" y="1191"/>
                  </a:lnTo>
                  <a:lnTo>
                    <a:pt x="3183" y="1191"/>
                  </a:lnTo>
                  <a:lnTo>
                    <a:pt x="3182" y="1189"/>
                  </a:lnTo>
                  <a:lnTo>
                    <a:pt x="3182" y="1189"/>
                  </a:lnTo>
                  <a:lnTo>
                    <a:pt x="3182" y="1186"/>
                  </a:lnTo>
                  <a:lnTo>
                    <a:pt x="3181" y="1184"/>
                  </a:lnTo>
                  <a:lnTo>
                    <a:pt x="3181" y="1177"/>
                  </a:lnTo>
                  <a:lnTo>
                    <a:pt x="3181" y="1174"/>
                  </a:lnTo>
                  <a:lnTo>
                    <a:pt x="3180" y="1172"/>
                  </a:lnTo>
                  <a:lnTo>
                    <a:pt x="3179" y="1169"/>
                  </a:lnTo>
                  <a:lnTo>
                    <a:pt x="3179" y="1167"/>
                  </a:lnTo>
                  <a:lnTo>
                    <a:pt x="3178" y="1164"/>
                  </a:lnTo>
                  <a:lnTo>
                    <a:pt x="3176" y="1162"/>
                  </a:lnTo>
                  <a:lnTo>
                    <a:pt x="3175" y="1160"/>
                  </a:lnTo>
                  <a:lnTo>
                    <a:pt x="3175" y="1158"/>
                  </a:lnTo>
                  <a:lnTo>
                    <a:pt x="3174" y="1158"/>
                  </a:lnTo>
                  <a:lnTo>
                    <a:pt x="3174" y="1156"/>
                  </a:lnTo>
                  <a:lnTo>
                    <a:pt x="3172" y="1155"/>
                  </a:lnTo>
                  <a:lnTo>
                    <a:pt x="3171" y="1153"/>
                  </a:lnTo>
                  <a:lnTo>
                    <a:pt x="3170" y="1150"/>
                  </a:lnTo>
                  <a:lnTo>
                    <a:pt x="3168" y="1150"/>
                  </a:lnTo>
                  <a:lnTo>
                    <a:pt x="3167" y="1147"/>
                  </a:lnTo>
                  <a:lnTo>
                    <a:pt x="3167" y="1147"/>
                  </a:lnTo>
                  <a:lnTo>
                    <a:pt x="3167" y="1147"/>
                  </a:lnTo>
                  <a:lnTo>
                    <a:pt x="3167" y="1147"/>
                  </a:lnTo>
                  <a:lnTo>
                    <a:pt x="3166" y="1146"/>
                  </a:lnTo>
                  <a:lnTo>
                    <a:pt x="3167" y="1147"/>
                  </a:lnTo>
                  <a:lnTo>
                    <a:pt x="3166" y="1147"/>
                  </a:lnTo>
                  <a:lnTo>
                    <a:pt x="3166" y="1147"/>
                  </a:lnTo>
                  <a:lnTo>
                    <a:pt x="3166" y="1147"/>
                  </a:lnTo>
                  <a:lnTo>
                    <a:pt x="3166" y="1147"/>
                  </a:lnTo>
                  <a:lnTo>
                    <a:pt x="3167" y="1147"/>
                  </a:lnTo>
                  <a:lnTo>
                    <a:pt x="3167" y="1147"/>
                  </a:lnTo>
                  <a:lnTo>
                    <a:pt x="3166" y="1145"/>
                  </a:lnTo>
                  <a:lnTo>
                    <a:pt x="3165" y="1145"/>
                  </a:lnTo>
                  <a:lnTo>
                    <a:pt x="3162" y="1144"/>
                  </a:lnTo>
                  <a:lnTo>
                    <a:pt x="3161" y="1141"/>
                  </a:lnTo>
                  <a:lnTo>
                    <a:pt x="3159" y="1141"/>
                  </a:lnTo>
                  <a:lnTo>
                    <a:pt x="3158" y="1141"/>
                  </a:lnTo>
                  <a:lnTo>
                    <a:pt x="3156" y="1138"/>
                  </a:lnTo>
                  <a:lnTo>
                    <a:pt x="3156" y="1139"/>
                  </a:lnTo>
                  <a:lnTo>
                    <a:pt x="3156" y="1139"/>
                  </a:lnTo>
                  <a:lnTo>
                    <a:pt x="3156" y="1138"/>
                  </a:lnTo>
                  <a:lnTo>
                    <a:pt x="3154" y="1136"/>
                  </a:lnTo>
                  <a:lnTo>
                    <a:pt x="3151" y="1136"/>
                  </a:lnTo>
                  <a:lnTo>
                    <a:pt x="3151" y="1133"/>
                  </a:lnTo>
                  <a:lnTo>
                    <a:pt x="3147" y="1129"/>
                  </a:lnTo>
                  <a:lnTo>
                    <a:pt x="3145" y="1127"/>
                  </a:lnTo>
                  <a:lnTo>
                    <a:pt x="3144" y="1125"/>
                  </a:lnTo>
                  <a:lnTo>
                    <a:pt x="3142" y="1124"/>
                  </a:lnTo>
                  <a:lnTo>
                    <a:pt x="3142" y="1124"/>
                  </a:lnTo>
                  <a:lnTo>
                    <a:pt x="3141" y="1124"/>
                  </a:lnTo>
                  <a:lnTo>
                    <a:pt x="3141" y="1124"/>
                  </a:lnTo>
                  <a:lnTo>
                    <a:pt x="3142" y="1124"/>
                  </a:lnTo>
                  <a:lnTo>
                    <a:pt x="3142" y="1121"/>
                  </a:lnTo>
                  <a:lnTo>
                    <a:pt x="3144" y="1120"/>
                  </a:lnTo>
                  <a:lnTo>
                    <a:pt x="3138" y="1117"/>
                  </a:lnTo>
                  <a:lnTo>
                    <a:pt x="3134" y="1113"/>
                  </a:lnTo>
                  <a:lnTo>
                    <a:pt x="3133" y="1110"/>
                  </a:lnTo>
                  <a:lnTo>
                    <a:pt x="3132" y="1110"/>
                  </a:lnTo>
                  <a:lnTo>
                    <a:pt x="3131" y="1105"/>
                  </a:lnTo>
                  <a:lnTo>
                    <a:pt x="3133" y="1102"/>
                  </a:lnTo>
                  <a:lnTo>
                    <a:pt x="3133" y="1096"/>
                  </a:lnTo>
                  <a:lnTo>
                    <a:pt x="3134" y="1095"/>
                  </a:lnTo>
                  <a:lnTo>
                    <a:pt x="3136" y="1092"/>
                  </a:lnTo>
                  <a:lnTo>
                    <a:pt x="3138" y="1092"/>
                  </a:lnTo>
                  <a:lnTo>
                    <a:pt x="3139" y="1092"/>
                  </a:lnTo>
                  <a:lnTo>
                    <a:pt x="3144" y="1087"/>
                  </a:lnTo>
                  <a:lnTo>
                    <a:pt x="3144" y="1087"/>
                  </a:lnTo>
                  <a:lnTo>
                    <a:pt x="3144" y="1087"/>
                  </a:lnTo>
                  <a:lnTo>
                    <a:pt x="3142" y="1087"/>
                  </a:lnTo>
                  <a:lnTo>
                    <a:pt x="3145" y="1084"/>
                  </a:lnTo>
                  <a:lnTo>
                    <a:pt x="3145" y="1082"/>
                  </a:lnTo>
                  <a:lnTo>
                    <a:pt x="3145" y="1082"/>
                  </a:lnTo>
                  <a:lnTo>
                    <a:pt x="3146" y="1082"/>
                  </a:lnTo>
                  <a:lnTo>
                    <a:pt x="3146" y="1082"/>
                  </a:lnTo>
                  <a:lnTo>
                    <a:pt x="3146" y="1082"/>
                  </a:lnTo>
                  <a:lnTo>
                    <a:pt x="3146" y="1079"/>
                  </a:lnTo>
                  <a:lnTo>
                    <a:pt x="3146" y="1079"/>
                  </a:lnTo>
                  <a:lnTo>
                    <a:pt x="3147" y="1078"/>
                  </a:lnTo>
                  <a:lnTo>
                    <a:pt x="3147" y="1078"/>
                  </a:lnTo>
                  <a:lnTo>
                    <a:pt x="3147" y="1078"/>
                  </a:lnTo>
                  <a:lnTo>
                    <a:pt x="3146" y="1077"/>
                  </a:lnTo>
                  <a:lnTo>
                    <a:pt x="3146" y="1077"/>
                  </a:lnTo>
                  <a:lnTo>
                    <a:pt x="3148" y="1078"/>
                  </a:lnTo>
                  <a:lnTo>
                    <a:pt x="3150" y="1077"/>
                  </a:lnTo>
                  <a:lnTo>
                    <a:pt x="3150" y="1078"/>
                  </a:lnTo>
                  <a:lnTo>
                    <a:pt x="3154" y="1077"/>
                  </a:lnTo>
                  <a:lnTo>
                    <a:pt x="3154" y="1077"/>
                  </a:lnTo>
                  <a:lnTo>
                    <a:pt x="3154" y="1077"/>
                  </a:lnTo>
                  <a:lnTo>
                    <a:pt x="3155" y="1075"/>
                  </a:lnTo>
                  <a:lnTo>
                    <a:pt x="3155" y="1074"/>
                  </a:lnTo>
                  <a:lnTo>
                    <a:pt x="3156" y="1074"/>
                  </a:lnTo>
                  <a:lnTo>
                    <a:pt x="3156" y="1074"/>
                  </a:lnTo>
                  <a:lnTo>
                    <a:pt x="3156" y="1074"/>
                  </a:lnTo>
                  <a:lnTo>
                    <a:pt x="3156" y="1074"/>
                  </a:lnTo>
                  <a:lnTo>
                    <a:pt x="3157" y="1073"/>
                  </a:lnTo>
                  <a:lnTo>
                    <a:pt x="3161" y="1071"/>
                  </a:lnTo>
                  <a:lnTo>
                    <a:pt x="3164" y="1070"/>
                  </a:lnTo>
                  <a:lnTo>
                    <a:pt x="3164" y="1070"/>
                  </a:lnTo>
                  <a:lnTo>
                    <a:pt x="3164" y="1070"/>
                  </a:lnTo>
                  <a:lnTo>
                    <a:pt x="3164" y="1070"/>
                  </a:lnTo>
                  <a:lnTo>
                    <a:pt x="3164" y="1069"/>
                  </a:lnTo>
                  <a:lnTo>
                    <a:pt x="3166" y="1069"/>
                  </a:lnTo>
                  <a:lnTo>
                    <a:pt x="3168" y="1067"/>
                  </a:lnTo>
                  <a:lnTo>
                    <a:pt x="3171" y="1069"/>
                  </a:lnTo>
                  <a:lnTo>
                    <a:pt x="3171" y="1066"/>
                  </a:lnTo>
                  <a:lnTo>
                    <a:pt x="3170" y="1065"/>
                  </a:lnTo>
                  <a:lnTo>
                    <a:pt x="3170" y="1064"/>
                  </a:lnTo>
                  <a:lnTo>
                    <a:pt x="3170" y="1065"/>
                  </a:lnTo>
                  <a:lnTo>
                    <a:pt x="3172" y="1065"/>
                  </a:lnTo>
                  <a:lnTo>
                    <a:pt x="3173" y="1067"/>
                  </a:lnTo>
                  <a:lnTo>
                    <a:pt x="3173" y="1068"/>
                  </a:lnTo>
                  <a:lnTo>
                    <a:pt x="3176" y="1066"/>
                  </a:lnTo>
                  <a:lnTo>
                    <a:pt x="3179" y="1068"/>
                  </a:lnTo>
                  <a:lnTo>
                    <a:pt x="3178" y="1070"/>
                  </a:lnTo>
                  <a:lnTo>
                    <a:pt x="3181" y="1070"/>
                  </a:lnTo>
                  <a:lnTo>
                    <a:pt x="3181" y="1070"/>
                  </a:lnTo>
                  <a:lnTo>
                    <a:pt x="3183" y="1070"/>
                  </a:lnTo>
                  <a:lnTo>
                    <a:pt x="3183" y="1067"/>
                  </a:lnTo>
                  <a:lnTo>
                    <a:pt x="3187" y="1068"/>
                  </a:lnTo>
                  <a:lnTo>
                    <a:pt x="3188" y="1070"/>
                  </a:lnTo>
                  <a:lnTo>
                    <a:pt x="3188" y="1068"/>
                  </a:lnTo>
                  <a:lnTo>
                    <a:pt x="3190" y="1070"/>
                  </a:lnTo>
                  <a:lnTo>
                    <a:pt x="3190" y="1071"/>
                  </a:lnTo>
                  <a:lnTo>
                    <a:pt x="3188" y="1074"/>
                  </a:lnTo>
                  <a:lnTo>
                    <a:pt x="3187" y="1076"/>
                  </a:lnTo>
                  <a:lnTo>
                    <a:pt x="3187" y="1077"/>
                  </a:lnTo>
                  <a:lnTo>
                    <a:pt x="3189" y="1083"/>
                  </a:lnTo>
                  <a:lnTo>
                    <a:pt x="3191" y="1085"/>
                  </a:lnTo>
                  <a:lnTo>
                    <a:pt x="3191" y="1087"/>
                  </a:lnTo>
                  <a:lnTo>
                    <a:pt x="3195" y="1087"/>
                  </a:lnTo>
                  <a:lnTo>
                    <a:pt x="3197" y="1086"/>
                  </a:lnTo>
                  <a:lnTo>
                    <a:pt x="3198" y="1084"/>
                  </a:lnTo>
                  <a:lnTo>
                    <a:pt x="3196" y="1081"/>
                  </a:lnTo>
                  <a:lnTo>
                    <a:pt x="3197" y="1081"/>
                  </a:lnTo>
                  <a:lnTo>
                    <a:pt x="3197" y="1079"/>
                  </a:lnTo>
                  <a:lnTo>
                    <a:pt x="3193" y="1079"/>
                  </a:lnTo>
                  <a:lnTo>
                    <a:pt x="3193" y="1076"/>
                  </a:lnTo>
                  <a:lnTo>
                    <a:pt x="3195" y="1075"/>
                  </a:lnTo>
                  <a:lnTo>
                    <a:pt x="3197" y="1074"/>
                  </a:lnTo>
                  <a:lnTo>
                    <a:pt x="3196" y="1071"/>
                  </a:lnTo>
                  <a:lnTo>
                    <a:pt x="3197" y="1074"/>
                  </a:lnTo>
                  <a:lnTo>
                    <a:pt x="3199" y="1074"/>
                  </a:lnTo>
                  <a:lnTo>
                    <a:pt x="3200" y="1071"/>
                  </a:lnTo>
                  <a:lnTo>
                    <a:pt x="3201" y="1070"/>
                  </a:lnTo>
                  <a:lnTo>
                    <a:pt x="3200" y="1071"/>
                  </a:lnTo>
                  <a:lnTo>
                    <a:pt x="3204" y="1071"/>
                  </a:lnTo>
                  <a:lnTo>
                    <a:pt x="3207" y="1070"/>
                  </a:lnTo>
                  <a:lnTo>
                    <a:pt x="3207" y="1070"/>
                  </a:lnTo>
                  <a:lnTo>
                    <a:pt x="3208" y="1070"/>
                  </a:lnTo>
                  <a:lnTo>
                    <a:pt x="3210" y="1069"/>
                  </a:lnTo>
                  <a:lnTo>
                    <a:pt x="3210" y="1069"/>
                  </a:lnTo>
                  <a:lnTo>
                    <a:pt x="3213" y="1069"/>
                  </a:lnTo>
                  <a:lnTo>
                    <a:pt x="3215" y="1067"/>
                  </a:lnTo>
                  <a:lnTo>
                    <a:pt x="3217" y="1067"/>
                  </a:lnTo>
                  <a:lnTo>
                    <a:pt x="3217" y="1066"/>
                  </a:lnTo>
                  <a:lnTo>
                    <a:pt x="3217" y="1065"/>
                  </a:lnTo>
                  <a:lnTo>
                    <a:pt x="3217" y="1065"/>
                  </a:lnTo>
                  <a:lnTo>
                    <a:pt x="3218" y="1065"/>
                  </a:lnTo>
                  <a:lnTo>
                    <a:pt x="3218" y="1065"/>
                  </a:lnTo>
                  <a:lnTo>
                    <a:pt x="3218" y="1065"/>
                  </a:lnTo>
                  <a:lnTo>
                    <a:pt x="3218" y="1065"/>
                  </a:lnTo>
                  <a:lnTo>
                    <a:pt x="3221" y="1067"/>
                  </a:lnTo>
                  <a:lnTo>
                    <a:pt x="3223" y="1067"/>
                  </a:lnTo>
                  <a:lnTo>
                    <a:pt x="3224" y="1065"/>
                  </a:lnTo>
                  <a:lnTo>
                    <a:pt x="3224" y="1064"/>
                  </a:lnTo>
                  <a:lnTo>
                    <a:pt x="3224" y="1065"/>
                  </a:lnTo>
                  <a:lnTo>
                    <a:pt x="3226" y="1066"/>
                  </a:lnTo>
                  <a:lnTo>
                    <a:pt x="3230" y="1064"/>
                  </a:lnTo>
                  <a:lnTo>
                    <a:pt x="3232" y="1064"/>
                  </a:lnTo>
                  <a:lnTo>
                    <a:pt x="3232" y="1061"/>
                  </a:lnTo>
                  <a:lnTo>
                    <a:pt x="3233" y="1059"/>
                  </a:lnTo>
                  <a:lnTo>
                    <a:pt x="3236" y="1060"/>
                  </a:lnTo>
                  <a:lnTo>
                    <a:pt x="3235" y="1058"/>
                  </a:lnTo>
                  <a:lnTo>
                    <a:pt x="3234" y="1054"/>
                  </a:lnTo>
                  <a:lnTo>
                    <a:pt x="3235" y="1057"/>
                  </a:lnTo>
                  <a:lnTo>
                    <a:pt x="3238" y="1059"/>
                  </a:lnTo>
                  <a:lnTo>
                    <a:pt x="3238" y="1060"/>
                  </a:lnTo>
                  <a:lnTo>
                    <a:pt x="3240" y="1060"/>
                  </a:lnTo>
                  <a:lnTo>
                    <a:pt x="3240" y="1054"/>
                  </a:lnTo>
                  <a:lnTo>
                    <a:pt x="3238" y="1052"/>
                  </a:lnTo>
                  <a:lnTo>
                    <a:pt x="3238" y="1052"/>
                  </a:lnTo>
                  <a:lnTo>
                    <a:pt x="3238" y="1052"/>
                  </a:lnTo>
                  <a:lnTo>
                    <a:pt x="3239" y="1051"/>
                  </a:lnTo>
                  <a:lnTo>
                    <a:pt x="3236" y="1050"/>
                  </a:lnTo>
                  <a:lnTo>
                    <a:pt x="3235" y="1050"/>
                  </a:lnTo>
                  <a:lnTo>
                    <a:pt x="3236" y="1050"/>
                  </a:lnTo>
                  <a:lnTo>
                    <a:pt x="3238" y="1049"/>
                  </a:lnTo>
                  <a:lnTo>
                    <a:pt x="3238" y="1048"/>
                  </a:lnTo>
                  <a:lnTo>
                    <a:pt x="3238" y="1047"/>
                  </a:lnTo>
                  <a:lnTo>
                    <a:pt x="3239" y="1048"/>
                  </a:lnTo>
                  <a:lnTo>
                    <a:pt x="3241" y="1047"/>
                  </a:lnTo>
                  <a:lnTo>
                    <a:pt x="3242" y="1047"/>
                  </a:lnTo>
                  <a:lnTo>
                    <a:pt x="3241" y="1047"/>
                  </a:lnTo>
                  <a:lnTo>
                    <a:pt x="3239" y="1048"/>
                  </a:lnTo>
                  <a:lnTo>
                    <a:pt x="3240" y="1048"/>
                  </a:lnTo>
                  <a:lnTo>
                    <a:pt x="3241" y="1048"/>
                  </a:lnTo>
                  <a:lnTo>
                    <a:pt x="3241" y="1049"/>
                  </a:lnTo>
                  <a:lnTo>
                    <a:pt x="3241" y="1052"/>
                  </a:lnTo>
                  <a:lnTo>
                    <a:pt x="3242" y="1052"/>
                  </a:lnTo>
                  <a:lnTo>
                    <a:pt x="3244" y="1056"/>
                  </a:lnTo>
                  <a:lnTo>
                    <a:pt x="3247" y="1056"/>
                  </a:lnTo>
                  <a:lnTo>
                    <a:pt x="3248" y="1058"/>
                  </a:lnTo>
                  <a:lnTo>
                    <a:pt x="3248" y="1058"/>
                  </a:lnTo>
                  <a:lnTo>
                    <a:pt x="3249" y="1058"/>
                  </a:lnTo>
                  <a:lnTo>
                    <a:pt x="3250" y="1059"/>
                  </a:lnTo>
                  <a:lnTo>
                    <a:pt x="3250" y="1056"/>
                  </a:lnTo>
                  <a:lnTo>
                    <a:pt x="3249" y="1054"/>
                  </a:lnTo>
                  <a:lnTo>
                    <a:pt x="3251" y="1054"/>
                  </a:lnTo>
                  <a:lnTo>
                    <a:pt x="3252" y="1054"/>
                  </a:lnTo>
                  <a:lnTo>
                    <a:pt x="3252" y="1056"/>
                  </a:lnTo>
                  <a:lnTo>
                    <a:pt x="3253" y="1053"/>
                  </a:lnTo>
                  <a:lnTo>
                    <a:pt x="3252" y="1053"/>
                  </a:lnTo>
                  <a:lnTo>
                    <a:pt x="3256" y="1051"/>
                  </a:lnTo>
                  <a:lnTo>
                    <a:pt x="3256" y="1053"/>
                  </a:lnTo>
                  <a:lnTo>
                    <a:pt x="3256" y="1054"/>
                  </a:lnTo>
                  <a:lnTo>
                    <a:pt x="3259" y="1053"/>
                  </a:lnTo>
                  <a:lnTo>
                    <a:pt x="3262" y="1051"/>
                  </a:lnTo>
                  <a:lnTo>
                    <a:pt x="3264" y="1051"/>
                  </a:lnTo>
                  <a:lnTo>
                    <a:pt x="3265" y="1052"/>
                  </a:lnTo>
                  <a:lnTo>
                    <a:pt x="3267" y="1053"/>
                  </a:lnTo>
                  <a:lnTo>
                    <a:pt x="3267" y="1053"/>
                  </a:lnTo>
                  <a:lnTo>
                    <a:pt x="3268" y="1050"/>
                  </a:lnTo>
                  <a:lnTo>
                    <a:pt x="3270" y="1051"/>
                  </a:lnTo>
                  <a:lnTo>
                    <a:pt x="3273" y="1050"/>
                  </a:lnTo>
                  <a:lnTo>
                    <a:pt x="3274" y="1050"/>
                  </a:lnTo>
                  <a:lnTo>
                    <a:pt x="3274" y="1049"/>
                  </a:lnTo>
                  <a:lnTo>
                    <a:pt x="3274" y="1050"/>
                  </a:lnTo>
                  <a:lnTo>
                    <a:pt x="3275" y="1050"/>
                  </a:lnTo>
                  <a:lnTo>
                    <a:pt x="3278" y="1049"/>
                  </a:lnTo>
                  <a:lnTo>
                    <a:pt x="3281" y="1049"/>
                  </a:lnTo>
                  <a:lnTo>
                    <a:pt x="3281" y="1047"/>
                  </a:lnTo>
                  <a:lnTo>
                    <a:pt x="3281" y="1045"/>
                  </a:lnTo>
                  <a:lnTo>
                    <a:pt x="3281" y="1045"/>
                  </a:lnTo>
                  <a:lnTo>
                    <a:pt x="3282" y="1045"/>
                  </a:lnTo>
                  <a:lnTo>
                    <a:pt x="3282" y="1043"/>
                  </a:lnTo>
                  <a:lnTo>
                    <a:pt x="3284" y="1042"/>
                  </a:lnTo>
                  <a:lnTo>
                    <a:pt x="3285" y="1042"/>
                  </a:lnTo>
                  <a:lnTo>
                    <a:pt x="3285" y="1039"/>
                  </a:lnTo>
                  <a:lnTo>
                    <a:pt x="3289" y="1040"/>
                  </a:lnTo>
                  <a:lnTo>
                    <a:pt x="3292" y="1036"/>
                  </a:lnTo>
                  <a:lnTo>
                    <a:pt x="3292" y="1036"/>
                  </a:lnTo>
                  <a:lnTo>
                    <a:pt x="3295" y="1035"/>
                  </a:lnTo>
                  <a:lnTo>
                    <a:pt x="3296" y="1033"/>
                  </a:lnTo>
                  <a:lnTo>
                    <a:pt x="3296" y="1033"/>
                  </a:lnTo>
                  <a:lnTo>
                    <a:pt x="3299" y="1033"/>
                  </a:lnTo>
                  <a:lnTo>
                    <a:pt x="3301" y="1031"/>
                  </a:lnTo>
                  <a:lnTo>
                    <a:pt x="3301" y="1027"/>
                  </a:lnTo>
                  <a:lnTo>
                    <a:pt x="3299" y="1027"/>
                  </a:lnTo>
                  <a:lnTo>
                    <a:pt x="3298" y="1027"/>
                  </a:lnTo>
                  <a:lnTo>
                    <a:pt x="3300" y="1027"/>
                  </a:lnTo>
                  <a:lnTo>
                    <a:pt x="3302" y="1026"/>
                  </a:lnTo>
                  <a:lnTo>
                    <a:pt x="3303" y="1025"/>
                  </a:lnTo>
                  <a:lnTo>
                    <a:pt x="3306" y="1025"/>
                  </a:lnTo>
                  <a:lnTo>
                    <a:pt x="3308" y="1025"/>
                  </a:lnTo>
                  <a:lnTo>
                    <a:pt x="3310" y="1025"/>
                  </a:lnTo>
                  <a:lnTo>
                    <a:pt x="3309" y="1023"/>
                  </a:lnTo>
                  <a:lnTo>
                    <a:pt x="3311" y="1020"/>
                  </a:lnTo>
                  <a:lnTo>
                    <a:pt x="3315" y="1019"/>
                  </a:lnTo>
                  <a:lnTo>
                    <a:pt x="3313" y="1017"/>
                  </a:lnTo>
                  <a:lnTo>
                    <a:pt x="3316" y="1017"/>
                  </a:lnTo>
                  <a:lnTo>
                    <a:pt x="3318" y="1017"/>
                  </a:lnTo>
                  <a:lnTo>
                    <a:pt x="3317" y="1014"/>
                  </a:lnTo>
                  <a:lnTo>
                    <a:pt x="3317" y="1013"/>
                  </a:lnTo>
                  <a:lnTo>
                    <a:pt x="3320" y="1011"/>
                  </a:lnTo>
                  <a:lnTo>
                    <a:pt x="3320" y="1014"/>
                  </a:lnTo>
                  <a:lnTo>
                    <a:pt x="3323" y="1011"/>
                  </a:lnTo>
                  <a:lnTo>
                    <a:pt x="3320" y="1010"/>
                  </a:lnTo>
                  <a:lnTo>
                    <a:pt x="3321" y="1009"/>
                  </a:lnTo>
                  <a:lnTo>
                    <a:pt x="3323" y="1006"/>
                  </a:lnTo>
                  <a:lnTo>
                    <a:pt x="3320" y="1005"/>
                  </a:lnTo>
                  <a:lnTo>
                    <a:pt x="3320" y="1005"/>
                  </a:lnTo>
                  <a:lnTo>
                    <a:pt x="3319" y="1006"/>
                  </a:lnTo>
                  <a:lnTo>
                    <a:pt x="3318" y="1005"/>
                  </a:lnTo>
                  <a:lnTo>
                    <a:pt x="3316" y="1002"/>
                  </a:lnTo>
                  <a:lnTo>
                    <a:pt x="3320" y="1005"/>
                  </a:lnTo>
                  <a:lnTo>
                    <a:pt x="3321" y="1002"/>
                  </a:lnTo>
                  <a:lnTo>
                    <a:pt x="3325" y="1000"/>
                  </a:lnTo>
                  <a:lnTo>
                    <a:pt x="3327" y="999"/>
                  </a:lnTo>
                  <a:lnTo>
                    <a:pt x="3325" y="999"/>
                  </a:lnTo>
                  <a:lnTo>
                    <a:pt x="3325" y="997"/>
                  </a:lnTo>
                  <a:lnTo>
                    <a:pt x="3325" y="997"/>
                  </a:lnTo>
                  <a:lnTo>
                    <a:pt x="3323" y="996"/>
                  </a:lnTo>
                  <a:lnTo>
                    <a:pt x="3321" y="993"/>
                  </a:lnTo>
                  <a:lnTo>
                    <a:pt x="3328" y="993"/>
                  </a:lnTo>
                  <a:lnTo>
                    <a:pt x="3328" y="994"/>
                  </a:lnTo>
                  <a:lnTo>
                    <a:pt x="3326" y="997"/>
                  </a:lnTo>
                  <a:lnTo>
                    <a:pt x="3328" y="996"/>
                  </a:lnTo>
                  <a:lnTo>
                    <a:pt x="3329" y="993"/>
                  </a:lnTo>
                  <a:lnTo>
                    <a:pt x="3332" y="989"/>
                  </a:lnTo>
                  <a:lnTo>
                    <a:pt x="3334" y="988"/>
                  </a:lnTo>
                  <a:lnTo>
                    <a:pt x="3330" y="987"/>
                  </a:lnTo>
                  <a:lnTo>
                    <a:pt x="3334" y="988"/>
                  </a:lnTo>
                  <a:lnTo>
                    <a:pt x="3335" y="984"/>
                  </a:lnTo>
                  <a:lnTo>
                    <a:pt x="3336" y="981"/>
                  </a:lnTo>
                  <a:lnTo>
                    <a:pt x="3337" y="981"/>
                  </a:lnTo>
                  <a:lnTo>
                    <a:pt x="3338" y="979"/>
                  </a:lnTo>
                  <a:lnTo>
                    <a:pt x="3337" y="975"/>
                  </a:lnTo>
                  <a:lnTo>
                    <a:pt x="3336" y="974"/>
                  </a:lnTo>
                  <a:lnTo>
                    <a:pt x="3338" y="975"/>
                  </a:lnTo>
                  <a:lnTo>
                    <a:pt x="3341" y="975"/>
                  </a:lnTo>
                  <a:lnTo>
                    <a:pt x="3343" y="973"/>
                  </a:lnTo>
                  <a:lnTo>
                    <a:pt x="3343" y="971"/>
                  </a:lnTo>
                  <a:lnTo>
                    <a:pt x="3344" y="970"/>
                  </a:lnTo>
                  <a:lnTo>
                    <a:pt x="3345" y="972"/>
                  </a:lnTo>
                  <a:lnTo>
                    <a:pt x="3347" y="971"/>
                  </a:lnTo>
                  <a:lnTo>
                    <a:pt x="3349" y="967"/>
                  </a:lnTo>
                  <a:lnTo>
                    <a:pt x="3349" y="965"/>
                  </a:lnTo>
                  <a:lnTo>
                    <a:pt x="3345" y="965"/>
                  </a:lnTo>
                  <a:lnTo>
                    <a:pt x="3344" y="963"/>
                  </a:lnTo>
                  <a:lnTo>
                    <a:pt x="3346" y="965"/>
                  </a:lnTo>
                  <a:lnTo>
                    <a:pt x="3347" y="965"/>
                  </a:lnTo>
                  <a:lnTo>
                    <a:pt x="3351" y="964"/>
                  </a:lnTo>
                  <a:lnTo>
                    <a:pt x="3350" y="959"/>
                  </a:lnTo>
                  <a:lnTo>
                    <a:pt x="3347" y="958"/>
                  </a:lnTo>
                  <a:lnTo>
                    <a:pt x="3350" y="956"/>
                  </a:lnTo>
                  <a:lnTo>
                    <a:pt x="3352" y="957"/>
                  </a:lnTo>
                  <a:lnTo>
                    <a:pt x="3353" y="958"/>
                  </a:lnTo>
                  <a:lnTo>
                    <a:pt x="3354" y="955"/>
                  </a:lnTo>
                  <a:lnTo>
                    <a:pt x="3354" y="953"/>
                  </a:lnTo>
                  <a:lnTo>
                    <a:pt x="3351" y="953"/>
                  </a:lnTo>
                  <a:lnTo>
                    <a:pt x="3349" y="954"/>
                  </a:lnTo>
                  <a:lnTo>
                    <a:pt x="3347" y="954"/>
                  </a:lnTo>
                  <a:lnTo>
                    <a:pt x="3351" y="953"/>
                  </a:lnTo>
                  <a:lnTo>
                    <a:pt x="3352" y="951"/>
                  </a:lnTo>
                  <a:lnTo>
                    <a:pt x="3353" y="949"/>
                  </a:lnTo>
                  <a:lnTo>
                    <a:pt x="3355" y="948"/>
                  </a:lnTo>
                  <a:lnTo>
                    <a:pt x="3353" y="946"/>
                  </a:lnTo>
                  <a:lnTo>
                    <a:pt x="3351" y="946"/>
                  </a:lnTo>
                  <a:lnTo>
                    <a:pt x="3350" y="945"/>
                  </a:lnTo>
                  <a:lnTo>
                    <a:pt x="3350" y="945"/>
                  </a:lnTo>
                  <a:lnTo>
                    <a:pt x="3347" y="942"/>
                  </a:lnTo>
                  <a:lnTo>
                    <a:pt x="3345" y="941"/>
                  </a:lnTo>
                  <a:lnTo>
                    <a:pt x="3343" y="941"/>
                  </a:lnTo>
                  <a:lnTo>
                    <a:pt x="3342" y="942"/>
                  </a:lnTo>
                  <a:lnTo>
                    <a:pt x="3337" y="943"/>
                  </a:lnTo>
                  <a:lnTo>
                    <a:pt x="3338" y="945"/>
                  </a:lnTo>
                  <a:lnTo>
                    <a:pt x="3337" y="943"/>
                  </a:lnTo>
                  <a:lnTo>
                    <a:pt x="3336" y="940"/>
                  </a:lnTo>
                  <a:lnTo>
                    <a:pt x="3334" y="941"/>
                  </a:lnTo>
                  <a:lnTo>
                    <a:pt x="3332" y="941"/>
                  </a:lnTo>
                  <a:lnTo>
                    <a:pt x="3333" y="940"/>
                  </a:lnTo>
                  <a:lnTo>
                    <a:pt x="3336" y="939"/>
                  </a:lnTo>
                  <a:lnTo>
                    <a:pt x="3338" y="940"/>
                  </a:lnTo>
                  <a:lnTo>
                    <a:pt x="3340" y="940"/>
                  </a:lnTo>
                  <a:lnTo>
                    <a:pt x="3341" y="938"/>
                  </a:lnTo>
                  <a:lnTo>
                    <a:pt x="3345" y="936"/>
                  </a:lnTo>
                  <a:lnTo>
                    <a:pt x="3349" y="933"/>
                  </a:lnTo>
                  <a:lnTo>
                    <a:pt x="3353" y="932"/>
                  </a:lnTo>
                  <a:lnTo>
                    <a:pt x="3353" y="930"/>
                  </a:lnTo>
                  <a:lnTo>
                    <a:pt x="3352" y="928"/>
                  </a:lnTo>
                  <a:lnTo>
                    <a:pt x="3350" y="925"/>
                  </a:lnTo>
                  <a:lnTo>
                    <a:pt x="3349" y="924"/>
                  </a:lnTo>
                  <a:lnTo>
                    <a:pt x="3346" y="923"/>
                  </a:lnTo>
                  <a:lnTo>
                    <a:pt x="3343" y="920"/>
                  </a:lnTo>
                  <a:lnTo>
                    <a:pt x="3338" y="919"/>
                  </a:lnTo>
                  <a:lnTo>
                    <a:pt x="3337" y="915"/>
                  </a:lnTo>
                  <a:lnTo>
                    <a:pt x="3335" y="915"/>
                  </a:lnTo>
                  <a:lnTo>
                    <a:pt x="3332" y="916"/>
                  </a:lnTo>
                  <a:lnTo>
                    <a:pt x="3328" y="916"/>
                  </a:lnTo>
                  <a:lnTo>
                    <a:pt x="3328" y="916"/>
                  </a:lnTo>
                  <a:lnTo>
                    <a:pt x="3326" y="914"/>
                  </a:lnTo>
                  <a:lnTo>
                    <a:pt x="3324" y="912"/>
                  </a:lnTo>
                  <a:lnTo>
                    <a:pt x="3323" y="913"/>
                  </a:lnTo>
                  <a:lnTo>
                    <a:pt x="3324" y="911"/>
                  </a:lnTo>
                  <a:lnTo>
                    <a:pt x="3323" y="910"/>
                  </a:lnTo>
                  <a:lnTo>
                    <a:pt x="3325" y="911"/>
                  </a:lnTo>
                  <a:lnTo>
                    <a:pt x="3327" y="913"/>
                  </a:lnTo>
                  <a:lnTo>
                    <a:pt x="3328" y="915"/>
                  </a:lnTo>
                  <a:lnTo>
                    <a:pt x="3330" y="916"/>
                  </a:lnTo>
                  <a:lnTo>
                    <a:pt x="3330" y="916"/>
                  </a:lnTo>
                  <a:lnTo>
                    <a:pt x="3334" y="914"/>
                  </a:lnTo>
                  <a:lnTo>
                    <a:pt x="3334" y="914"/>
                  </a:lnTo>
                  <a:lnTo>
                    <a:pt x="3337" y="914"/>
                  </a:lnTo>
                  <a:lnTo>
                    <a:pt x="3340" y="915"/>
                  </a:lnTo>
                  <a:lnTo>
                    <a:pt x="3341" y="917"/>
                  </a:lnTo>
                  <a:lnTo>
                    <a:pt x="3343" y="917"/>
                  </a:lnTo>
                  <a:lnTo>
                    <a:pt x="3346" y="917"/>
                  </a:lnTo>
                  <a:lnTo>
                    <a:pt x="3349" y="917"/>
                  </a:lnTo>
                  <a:lnTo>
                    <a:pt x="3351" y="919"/>
                  </a:lnTo>
                  <a:lnTo>
                    <a:pt x="3353" y="920"/>
                  </a:lnTo>
                  <a:lnTo>
                    <a:pt x="3353" y="917"/>
                  </a:lnTo>
                  <a:lnTo>
                    <a:pt x="3351" y="914"/>
                  </a:lnTo>
                  <a:lnTo>
                    <a:pt x="3351" y="914"/>
                  </a:lnTo>
                  <a:lnTo>
                    <a:pt x="3347" y="913"/>
                  </a:lnTo>
                  <a:lnTo>
                    <a:pt x="3347" y="910"/>
                  </a:lnTo>
                  <a:lnTo>
                    <a:pt x="3344" y="908"/>
                  </a:lnTo>
                  <a:lnTo>
                    <a:pt x="3342" y="906"/>
                  </a:lnTo>
                  <a:lnTo>
                    <a:pt x="3340" y="906"/>
                  </a:lnTo>
                  <a:lnTo>
                    <a:pt x="3340" y="903"/>
                  </a:lnTo>
                  <a:lnTo>
                    <a:pt x="3341" y="900"/>
                  </a:lnTo>
                  <a:lnTo>
                    <a:pt x="3338" y="898"/>
                  </a:lnTo>
                  <a:lnTo>
                    <a:pt x="3337" y="895"/>
                  </a:lnTo>
                  <a:lnTo>
                    <a:pt x="3336" y="893"/>
                  </a:lnTo>
                  <a:lnTo>
                    <a:pt x="3335" y="890"/>
                  </a:lnTo>
                  <a:lnTo>
                    <a:pt x="3333" y="885"/>
                  </a:lnTo>
                  <a:lnTo>
                    <a:pt x="3333" y="883"/>
                  </a:lnTo>
                  <a:lnTo>
                    <a:pt x="3332" y="880"/>
                  </a:lnTo>
                  <a:lnTo>
                    <a:pt x="3328" y="878"/>
                  </a:lnTo>
                  <a:lnTo>
                    <a:pt x="3325" y="878"/>
                  </a:lnTo>
                  <a:lnTo>
                    <a:pt x="3325" y="877"/>
                  </a:lnTo>
                  <a:lnTo>
                    <a:pt x="3323" y="876"/>
                  </a:lnTo>
                  <a:lnTo>
                    <a:pt x="3319" y="873"/>
                  </a:lnTo>
                  <a:lnTo>
                    <a:pt x="3317" y="873"/>
                  </a:lnTo>
                  <a:lnTo>
                    <a:pt x="3317" y="871"/>
                  </a:lnTo>
                  <a:lnTo>
                    <a:pt x="3317" y="869"/>
                  </a:lnTo>
                  <a:lnTo>
                    <a:pt x="3318" y="868"/>
                  </a:lnTo>
                  <a:lnTo>
                    <a:pt x="3319" y="866"/>
                  </a:lnTo>
                  <a:lnTo>
                    <a:pt x="3321" y="863"/>
                  </a:lnTo>
                  <a:lnTo>
                    <a:pt x="3324" y="860"/>
                  </a:lnTo>
                  <a:lnTo>
                    <a:pt x="3326" y="860"/>
                  </a:lnTo>
                  <a:lnTo>
                    <a:pt x="3328" y="857"/>
                  </a:lnTo>
                  <a:lnTo>
                    <a:pt x="3329" y="855"/>
                  </a:lnTo>
                  <a:lnTo>
                    <a:pt x="3330" y="855"/>
                  </a:lnTo>
                  <a:lnTo>
                    <a:pt x="3330" y="853"/>
                  </a:lnTo>
                  <a:lnTo>
                    <a:pt x="3329" y="852"/>
                  </a:lnTo>
                  <a:lnTo>
                    <a:pt x="3329" y="851"/>
                  </a:lnTo>
                  <a:lnTo>
                    <a:pt x="3333" y="849"/>
                  </a:lnTo>
                  <a:lnTo>
                    <a:pt x="3333" y="852"/>
                  </a:lnTo>
                  <a:lnTo>
                    <a:pt x="3335" y="853"/>
                  </a:lnTo>
                  <a:lnTo>
                    <a:pt x="3337" y="852"/>
                  </a:lnTo>
                  <a:lnTo>
                    <a:pt x="3337" y="848"/>
                  </a:lnTo>
                  <a:lnTo>
                    <a:pt x="3340" y="847"/>
                  </a:lnTo>
                  <a:lnTo>
                    <a:pt x="3340" y="844"/>
                  </a:lnTo>
                  <a:lnTo>
                    <a:pt x="3338" y="845"/>
                  </a:lnTo>
                  <a:lnTo>
                    <a:pt x="3340" y="844"/>
                  </a:lnTo>
                  <a:lnTo>
                    <a:pt x="3341" y="845"/>
                  </a:lnTo>
                  <a:lnTo>
                    <a:pt x="3346" y="843"/>
                  </a:lnTo>
                  <a:lnTo>
                    <a:pt x="3349" y="842"/>
                  </a:lnTo>
                  <a:lnTo>
                    <a:pt x="3351" y="840"/>
                  </a:lnTo>
                  <a:lnTo>
                    <a:pt x="3353" y="839"/>
                  </a:lnTo>
                  <a:lnTo>
                    <a:pt x="3355" y="839"/>
                  </a:lnTo>
                  <a:lnTo>
                    <a:pt x="3358" y="838"/>
                  </a:lnTo>
                  <a:lnTo>
                    <a:pt x="3358" y="840"/>
                  </a:lnTo>
                  <a:lnTo>
                    <a:pt x="3361" y="840"/>
                  </a:lnTo>
                  <a:lnTo>
                    <a:pt x="3362" y="838"/>
                  </a:lnTo>
                  <a:lnTo>
                    <a:pt x="3363" y="836"/>
                  </a:lnTo>
                  <a:lnTo>
                    <a:pt x="3363" y="833"/>
                  </a:lnTo>
                  <a:lnTo>
                    <a:pt x="3360" y="831"/>
                  </a:lnTo>
                  <a:lnTo>
                    <a:pt x="3360" y="831"/>
                  </a:lnTo>
                  <a:lnTo>
                    <a:pt x="3356" y="829"/>
                  </a:lnTo>
                  <a:lnTo>
                    <a:pt x="3355" y="831"/>
                  </a:lnTo>
                  <a:lnTo>
                    <a:pt x="3354" y="830"/>
                  </a:lnTo>
                  <a:lnTo>
                    <a:pt x="3349" y="831"/>
                  </a:lnTo>
                  <a:lnTo>
                    <a:pt x="3346" y="828"/>
                  </a:lnTo>
                  <a:lnTo>
                    <a:pt x="3344" y="829"/>
                  </a:lnTo>
                  <a:lnTo>
                    <a:pt x="3342" y="826"/>
                  </a:lnTo>
                  <a:lnTo>
                    <a:pt x="3338" y="825"/>
                  </a:lnTo>
                  <a:lnTo>
                    <a:pt x="3336" y="826"/>
                  </a:lnTo>
                  <a:lnTo>
                    <a:pt x="3333" y="827"/>
                  </a:lnTo>
                  <a:lnTo>
                    <a:pt x="3330" y="830"/>
                  </a:lnTo>
                  <a:lnTo>
                    <a:pt x="3328" y="831"/>
                  </a:lnTo>
                  <a:lnTo>
                    <a:pt x="3326" y="834"/>
                  </a:lnTo>
                  <a:lnTo>
                    <a:pt x="3324" y="836"/>
                  </a:lnTo>
                  <a:lnTo>
                    <a:pt x="3323" y="836"/>
                  </a:lnTo>
                  <a:lnTo>
                    <a:pt x="3319" y="836"/>
                  </a:lnTo>
                  <a:lnTo>
                    <a:pt x="3317" y="836"/>
                  </a:lnTo>
                  <a:lnTo>
                    <a:pt x="3313" y="834"/>
                  </a:lnTo>
                  <a:lnTo>
                    <a:pt x="3313" y="833"/>
                  </a:lnTo>
                  <a:lnTo>
                    <a:pt x="3313" y="830"/>
                  </a:lnTo>
                  <a:lnTo>
                    <a:pt x="3315" y="827"/>
                  </a:lnTo>
                  <a:lnTo>
                    <a:pt x="3316" y="825"/>
                  </a:lnTo>
                  <a:lnTo>
                    <a:pt x="3313" y="822"/>
                  </a:lnTo>
                  <a:lnTo>
                    <a:pt x="3311" y="819"/>
                  </a:lnTo>
                  <a:lnTo>
                    <a:pt x="3310" y="820"/>
                  </a:lnTo>
                  <a:lnTo>
                    <a:pt x="3309" y="822"/>
                  </a:lnTo>
                  <a:lnTo>
                    <a:pt x="3306" y="820"/>
                  </a:lnTo>
                  <a:lnTo>
                    <a:pt x="3303" y="820"/>
                  </a:lnTo>
                  <a:lnTo>
                    <a:pt x="3301" y="820"/>
                  </a:lnTo>
                  <a:lnTo>
                    <a:pt x="3299" y="818"/>
                  </a:lnTo>
                  <a:lnTo>
                    <a:pt x="3299" y="818"/>
                  </a:lnTo>
                  <a:lnTo>
                    <a:pt x="3295" y="816"/>
                  </a:lnTo>
                  <a:lnTo>
                    <a:pt x="3294" y="812"/>
                  </a:lnTo>
                  <a:lnTo>
                    <a:pt x="3294" y="810"/>
                  </a:lnTo>
                  <a:lnTo>
                    <a:pt x="3296" y="808"/>
                  </a:lnTo>
                  <a:lnTo>
                    <a:pt x="3296" y="806"/>
                  </a:lnTo>
                  <a:lnTo>
                    <a:pt x="3298" y="804"/>
                  </a:lnTo>
                  <a:lnTo>
                    <a:pt x="3301" y="803"/>
                  </a:lnTo>
                  <a:lnTo>
                    <a:pt x="3307" y="805"/>
                  </a:lnTo>
                  <a:lnTo>
                    <a:pt x="3309" y="803"/>
                  </a:lnTo>
                  <a:lnTo>
                    <a:pt x="3311" y="804"/>
                  </a:lnTo>
                  <a:lnTo>
                    <a:pt x="3315" y="803"/>
                  </a:lnTo>
                  <a:lnTo>
                    <a:pt x="3318" y="800"/>
                  </a:lnTo>
                  <a:lnTo>
                    <a:pt x="3318" y="797"/>
                  </a:lnTo>
                  <a:lnTo>
                    <a:pt x="3319" y="794"/>
                  </a:lnTo>
                  <a:lnTo>
                    <a:pt x="3323" y="792"/>
                  </a:lnTo>
                  <a:lnTo>
                    <a:pt x="3325" y="791"/>
                  </a:lnTo>
                  <a:lnTo>
                    <a:pt x="3326" y="791"/>
                  </a:lnTo>
                  <a:lnTo>
                    <a:pt x="3327" y="791"/>
                  </a:lnTo>
                  <a:lnTo>
                    <a:pt x="3328" y="789"/>
                  </a:lnTo>
                  <a:lnTo>
                    <a:pt x="3332" y="787"/>
                  </a:lnTo>
                  <a:lnTo>
                    <a:pt x="3336" y="785"/>
                  </a:lnTo>
                  <a:lnTo>
                    <a:pt x="3337" y="782"/>
                  </a:lnTo>
                  <a:lnTo>
                    <a:pt x="3340" y="779"/>
                  </a:lnTo>
                  <a:lnTo>
                    <a:pt x="3342" y="779"/>
                  </a:lnTo>
                  <a:lnTo>
                    <a:pt x="3343" y="776"/>
                  </a:lnTo>
                  <a:lnTo>
                    <a:pt x="3344" y="775"/>
                  </a:lnTo>
                  <a:lnTo>
                    <a:pt x="3346" y="775"/>
                  </a:lnTo>
                  <a:lnTo>
                    <a:pt x="3350" y="777"/>
                  </a:lnTo>
                  <a:lnTo>
                    <a:pt x="3351" y="777"/>
                  </a:lnTo>
                  <a:lnTo>
                    <a:pt x="3353" y="774"/>
                  </a:lnTo>
                  <a:lnTo>
                    <a:pt x="3353" y="775"/>
                  </a:lnTo>
                  <a:lnTo>
                    <a:pt x="3355" y="778"/>
                  </a:lnTo>
                  <a:lnTo>
                    <a:pt x="3358" y="779"/>
                  </a:lnTo>
                  <a:lnTo>
                    <a:pt x="3358" y="780"/>
                  </a:lnTo>
                  <a:lnTo>
                    <a:pt x="3359" y="783"/>
                  </a:lnTo>
                  <a:lnTo>
                    <a:pt x="3356" y="785"/>
                  </a:lnTo>
                  <a:lnTo>
                    <a:pt x="3355" y="788"/>
                  </a:lnTo>
                  <a:lnTo>
                    <a:pt x="3354" y="791"/>
                  </a:lnTo>
                  <a:lnTo>
                    <a:pt x="3353" y="791"/>
                  </a:lnTo>
                  <a:lnTo>
                    <a:pt x="3351" y="792"/>
                  </a:lnTo>
                  <a:lnTo>
                    <a:pt x="3349" y="794"/>
                  </a:lnTo>
                  <a:lnTo>
                    <a:pt x="3349" y="796"/>
                  </a:lnTo>
                  <a:lnTo>
                    <a:pt x="3347" y="796"/>
                  </a:lnTo>
                  <a:lnTo>
                    <a:pt x="3345" y="797"/>
                  </a:lnTo>
                  <a:lnTo>
                    <a:pt x="3347" y="797"/>
                  </a:lnTo>
                  <a:lnTo>
                    <a:pt x="3349" y="801"/>
                  </a:lnTo>
                  <a:lnTo>
                    <a:pt x="3354" y="800"/>
                  </a:lnTo>
                  <a:lnTo>
                    <a:pt x="3353" y="801"/>
                  </a:lnTo>
                  <a:lnTo>
                    <a:pt x="3350" y="803"/>
                  </a:lnTo>
                  <a:lnTo>
                    <a:pt x="3349" y="805"/>
                  </a:lnTo>
                  <a:lnTo>
                    <a:pt x="3346" y="806"/>
                  </a:lnTo>
                  <a:lnTo>
                    <a:pt x="3344" y="808"/>
                  </a:lnTo>
                  <a:lnTo>
                    <a:pt x="3344" y="811"/>
                  </a:lnTo>
                  <a:lnTo>
                    <a:pt x="3347" y="810"/>
                  </a:lnTo>
                  <a:lnTo>
                    <a:pt x="3350" y="808"/>
                  </a:lnTo>
                  <a:lnTo>
                    <a:pt x="3355" y="805"/>
                  </a:lnTo>
                  <a:lnTo>
                    <a:pt x="3358" y="803"/>
                  </a:lnTo>
                  <a:lnTo>
                    <a:pt x="3360" y="801"/>
                  </a:lnTo>
                  <a:lnTo>
                    <a:pt x="3362" y="799"/>
                  </a:lnTo>
                  <a:lnTo>
                    <a:pt x="3366" y="797"/>
                  </a:lnTo>
                  <a:lnTo>
                    <a:pt x="3371" y="795"/>
                  </a:lnTo>
                  <a:lnTo>
                    <a:pt x="3373" y="794"/>
                  </a:lnTo>
                  <a:lnTo>
                    <a:pt x="3376" y="793"/>
                  </a:lnTo>
                  <a:lnTo>
                    <a:pt x="3377" y="793"/>
                  </a:lnTo>
                  <a:lnTo>
                    <a:pt x="3379" y="793"/>
                  </a:lnTo>
                  <a:lnTo>
                    <a:pt x="3385" y="793"/>
                  </a:lnTo>
                  <a:lnTo>
                    <a:pt x="3387" y="791"/>
                  </a:lnTo>
                  <a:lnTo>
                    <a:pt x="3387" y="791"/>
                  </a:lnTo>
                  <a:lnTo>
                    <a:pt x="3388" y="788"/>
                  </a:lnTo>
                  <a:lnTo>
                    <a:pt x="3389" y="789"/>
                  </a:lnTo>
                  <a:lnTo>
                    <a:pt x="3389" y="789"/>
                  </a:lnTo>
                  <a:lnTo>
                    <a:pt x="3389" y="789"/>
                  </a:lnTo>
                  <a:lnTo>
                    <a:pt x="3388" y="791"/>
                  </a:lnTo>
                  <a:lnTo>
                    <a:pt x="3388" y="791"/>
                  </a:lnTo>
                  <a:lnTo>
                    <a:pt x="3388" y="793"/>
                  </a:lnTo>
                  <a:lnTo>
                    <a:pt x="3390" y="795"/>
                  </a:lnTo>
                  <a:lnTo>
                    <a:pt x="3394" y="794"/>
                  </a:lnTo>
                  <a:lnTo>
                    <a:pt x="3396" y="796"/>
                  </a:lnTo>
                  <a:lnTo>
                    <a:pt x="3397" y="796"/>
                  </a:lnTo>
                  <a:lnTo>
                    <a:pt x="3400" y="797"/>
                  </a:lnTo>
                  <a:lnTo>
                    <a:pt x="3403" y="797"/>
                  </a:lnTo>
                  <a:lnTo>
                    <a:pt x="3402" y="800"/>
                  </a:lnTo>
                  <a:lnTo>
                    <a:pt x="3402" y="802"/>
                  </a:lnTo>
                  <a:lnTo>
                    <a:pt x="3401" y="804"/>
                  </a:lnTo>
                  <a:lnTo>
                    <a:pt x="3398" y="808"/>
                  </a:lnTo>
                  <a:lnTo>
                    <a:pt x="3400" y="810"/>
                  </a:lnTo>
                  <a:lnTo>
                    <a:pt x="3400" y="811"/>
                  </a:lnTo>
                  <a:lnTo>
                    <a:pt x="3403" y="810"/>
                  </a:lnTo>
                  <a:lnTo>
                    <a:pt x="3405" y="812"/>
                  </a:lnTo>
                  <a:lnTo>
                    <a:pt x="3405" y="812"/>
                  </a:lnTo>
                  <a:lnTo>
                    <a:pt x="3404" y="812"/>
                  </a:lnTo>
                  <a:lnTo>
                    <a:pt x="3402" y="811"/>
                  </a:lnTo>
                  <a:lnTo>
                    <a:pt x="3400" y="811"/>
                  </a:lnTo>
                  <a:lnTo>
                    <a:pt x="3396" y="813"/>
                  </a:lnTo>
                  <a:lnTo>
                    <a:pt x="3396" y="814"/>
                  </a:lnTo>
                  <a:lnTo>
                    <a:pt x="3395" y="816"/>
                  </a:lnTo>
                  <a:lnTo>
                    <a:pt x="3395" y="818"/>
                  </a:lnTo>
                  <a:lnTo>
                    <a:pt x="3394" y="820"/>
                  </a:lnTo>
                  <a:lnTo>
                    <a:pt x="3396" y="821"/>
                  </a:lnTo>
                  <a:lnTo>
                    <a:pt x="3400" y="821"/>
                  </a:lnTo>
                  <a:lnTo>
                    <a:pt x="3396" y="822"/>
                  </a:lnTo>
                  <a:lnTo>
                    <a:pt x="3396" y="823"/>
                  </a:lnTo>
                  <a:lnTo>
                    <a:pt x="3398" y="825"/>
                  </a:lnTo>
                  <a:lnTo>
                    <a:pt x="3401" y="826"/>
                  </a:lnTo>
                  <a:lnTo>
                    <a:pt x="3403" y="823"/>
                  </a:lnTo>
                  <a:lnTo>
                    <a:pt x="3403" y="827"/>
                  </a:lnTo>
                  <a:lnTo>
                    <a:pt x="3405" y="825"/>
                  </a:lnTo>
                  <a:lnTo>
                    <a:pt x="3405" y="822"/>
                  </a:lnTo>
                  <a:lnTo>
                    <a:pt x="3407" y="822"/>
                  </a:lnTo>
                  <a:lnTo>
                    <a:pt x="3410" y="825"/>
                  </a:lnTo>
                  <a:lnTo>
                    <a:pt x="3413" y="825"/>
                  </a:lnTo>
                  <a:lnTo>
                    <a:pt x="3415" y="823"/>
                  </a:lnTo>
                  <a:lnTo>
                    <a:pt x="3419" y="826"/>
                  </a:lnTo>
                  <a:lnTo>
                    <a:pt x="3420" y="825"/>
                  </a:lnTo>
                  <a:lnTo>
                    <a:pt x="3420" y="825"/>
                  </a:lnTo>
                  <a:lnTo>
                    <a:pt x="3420" y="827"/>
                  </a:lnTo>
                  <a:lnTo>
                    <a:pt x="3418" y="826"/>
                  </a:lnTo>
                  <a:lnTo>
                    <a:pt x="3418" y="827"/>
                  </a:lnTo>
                  <a:lnTo>
                    <a:pt x="3419" y="829"/>
                  </a:lnTo>
                  <a:lnTo>
                    <a:pt x="3420" y="831"/>
                  </a:lnTo>
                  <a:lnTo>
                    <a:pt x="3420" y="831"/>
                  </a:lnTo>
                  <a:lnTo>
                    <a:pt x="3421" y="835"/>
                  </a:lnTo>
                  <a:lnTo>
                    <a:pt x="3420" y="836"/>
                  </a:lnTo>
                  <a:lnTo>
                    <a:pt x="3422" y="836"/>
                  </a:lnTo>
                  <a:lnTo>
                    <a:pt x="3424" y="839"/>
                  </a:lnTo>
                  <a:lnTo>
                    <a:pt x="3422" y="842"/>
                  </a:lnTo>
                  <a:lnTo>
                    <a:pt x="3421" y="838"/>
                  </a:lnTo>
                  <a:lnTo>
                    <a:pt x="3418" y="839"/>
                  </a:lnTo>
                  <a:lnTo>
                    <a:pt x="3415" y="840"/>
                  </a:lnTo>
                  <a:lnTo>
                    <a:pt x="3413" y="840"/>
                  </a:lnTo>
                  <a:lnTo>
                    <a:pt x="3413" y="843"/>
                  </a:lnTo>
                  <a:lnTo>
                    <a:pt x="3414" y="843"/>
                  </a:lnTo>
                  <a:lnTo>
                    <a:pt x="3417" y="844"/>
                  </a:lnTo>
                  <a:lnTo>
                    <a:pt x="3419" y="846"/>
                  </a:lnTo>
                  <a:lnTo>
                    <a:pt x="3418" y="849"/>
                  </a:lnTo>
                  <a:lnTo>
                    <a:pt x="3418" y="852"/>
                  </a:lnTo>
                  <a:lnTo>
                    <a:pt x="3420" y="853"/>
                  </a:lnTo>
                  <a:lnTo>
                    <a:pt x="3419" y="854"/>
                  </a:lnTo>
                  <a:lnTo>
                    <a:pt x="3421" y="856"/>
                  </a:lnTo>
                  <a:lnTo>
                    <a:pt x="3418" y="859"/>
                  </a:lnTo>
                  <a:lnTo>
                    <a:pt x="3420" y="861"/>
                  </a:lnTo>
                  <a:lnTo>
                    <a:pt x="3417" y="862"/>
                  </a:lnTo>
                  <a:lnTo>
                    <a:pt x="3417" y="862"/>
                  </a:lnTo>
                  <a:lnTo>
                    <a:pt x="3415" y="865"/>
                  </a:lnTo>
                  <a:lnTo>
                    <a:pt x="3417" y="868"/>
                  </a:lnTo>
                  <a:lnTo>
                    <a:pt x="3413" y="866"/>
                  </a:lnTo>
                  <a:lnTo>
                    <a:pt x="3414" y="869"/>
                  </a:lnTo>
                  <a:lnTo>
                    <a:pt x="3415" y="871"/>
                  </a:lnTo>
                  <a:lnTo>
                    <a:pt x="3417" y="872"/>
                  </a:lnTo>
                  <a:lnTo>
                    <a:pt x="3419" y="872"/>
                  </a:lnTo>
                  <a:lnTo>
                    <a:pt x="3417" y="873"/>
                  </a:lnTo>
                  <a:lnTo>
                    <a:pt x="3417" y="876"/>
                  </a:lnTo>
                  <a:lnTo>
                    <a:pt x="3414" y="874"/>
                  </a:lnTo>
                  <a:lnTo>
                    <a:pt x="3417" y="877"/>
                  </a:lnTo>
                  <a:lnTo>
                    <a:pt x="3417" y="879"/>
                  </a:lnTo>
                  <a:lnTo>
                    <a:pt x="3419" y="879"/>
                  </a:lnTo>
                  <a:lnTo>
                    <a:pt x="3420" y="877"/>
                  </a:lnTo>
                  <a:lnTo>
                    <a:pt x="3423" y="877"/>
                  </a:lnTo>
                  <a:lnTo>
                    <a:pt x="3426" y="874"/>
                  </a:lnTo>
                  <a:lnTo>
                    <a:pt x="3428" y="873"/>
                  </a:lnTo>
                  <a:lnTo>
                    <a:pt x="3427" y="876"/>
                  </a:lnTo>
                  <a:lnTo>
                    <a:pt x="3429" y="878"/>
                  </a:lnTo>
                  <a:lnTo>
                    <a:pt x="3429" y="877"/>
                  </a:lnTo>
                  <a:lnTo>
                    <a:pt x="3430" y="876"/>
                  </a:lnTo>
                  <a:lnTo>
                    <a:pt x="3430" y="876"/>
                  </a:lnTo>
                  <a:lnTo>
                    <a:pt x="3429" y="872"/>
                  </a:lnTo>
                  <a:lnTo>
                    <a:pt x="3430" y="871"/>
                  </a:lnTo>
                  <a:lnTo>
                    <a:pt x="3431" y="874"/>
                  </a:lnTo>
                  <a:lnTo>
                    <a:pt x="3434" y="873"/>
                  </a:lnTo>
                  <a:lnTo>
                    <a:pt x="3431" y="871"/>
                  </a:lnTo>
                  <a:lnTo>
                    <a:pt x="3435" y="870"/>
                  </a:lnTo>
                  <a:lnTo>
                    <a:pt x="3436" y="870"/>
                  </a:lnTo>
                  <a:lnTo>
                    <a:pt x="3438" y="868"/>
                  </a:lnTo>
                  <a:lnTo>
                    <a:pt x="3439" y="871"/>
                  </a:lnTo>
                  <a:lnTo>
                    <a:pt x="3441" y="871"/>
                  </a:lnTo>
                  <a:lnTo>
                    <a:pt x="3443" y="872"/>
                  </a:lnTo>
                  <a:lnTo>
                    <a:pt x="3444" y="871"/>
                  </a:lnTo>
                  <a:lnTo>
                    <a:pt x="3444" y="869"/>
                  </a:lnTo>
                  <a:lnTo>
                    <a:pt x="3446" y="866"/>
                  </a:lnTo>
                  <a:lnTo>
                    <a:pt x="3448" y="868"/>
                  </a:lnTo>
                  <a:lnTo>
                    <a:pt x="3451" y="868"/>
                  </a:lnTo>
                  <a:lnTo>
                    <a:pt x="3451" y="866"/>
                  </a:lnTo>
                  <a:lnTo>
                    <a:pt x="3454" y="866"/>
                  </a:lnTo>
                  <a:lnTo>
                    <a:pt x="3455" y="866"/>
                  </a:lnTo>
                  <a:lnTo>
                    <a:pt x="3456" y="863"/>
                  </a:lnTo>
                  <a:lnTo>
                    <a:pt x="3456" y="861"/>
                  </a:lnTo>
                  <a:lnTo>
                    <a:pt x="3457" y="859"/>
                  </a:lnTo>
                  <a:lnTo>
                    <a:pt x="3458" y="856"/>
                  </a:lnTo>
                  <a:lnTo>
                    <a:pt x="3460" y="854"/>
                  </a:lnTo>
                  <a:lnTo>
                    <a:pt x="3457" y="854"/>
                  </a:lnTo>
                  <a:lnTo>
                    <a:pt x="3456" y="851"/>
                  </a:lnTo>
                  <a:lnTo>
                    <a:pt x="3456" y="848"/>
                  </a:lnTo>
                  <a:lnTo>
                    <a:pt x="3457" y="845"/>
                  </a:lnTo>
                  <a:lnTo>
                    <a:pt x="3457" y="843"/>
                  </a:lnTo>
                  <a:lnTo>
                    <a:pt x="3457" y="840"/>
                  </a:lnTo>
                  <a:lnTo>
                    <a:pt x="3457" y="837"/>
                  </a:lnTo>
                  <a:lnTo>
                    <a:pt x="3456" y="836"/>
                  </a:lnTo>
                  <a:lnTo>
                    <a:pt x="3455" y="833"/>
                  </a:lnTo>
                  <a:lnTo>
                    <a:pt x="3454" y="831"/>
                  </a:lnTo>
                  <a:lnTo>
                    <a:pt x="3451" y="826"/>
                  </a:lnTo>
                  <a:lnTo>
                    <a:pt x="3448" y="823"/>
                  </a:lnTo>
                  <a:lnTo>
                    <a:pt x="3447" y="820"/>
                  </a:lnTo>
                  <a:lnTo>
                    <a:pt x="3445" y="818"/>
                  </a:lnTo>
                  <a:lnTo>
                    <a:pt x="3445" y="817"/>
                  </a:lnTo>
                  <a:lnTo>
                    <a:pt x="3444" y="814"/>
                  </a:lnTo>
                  <a:lnTo>
                    <a:pt x="3443" y="812"/>
                  </a:lnTo>
                  <a:lnTo>
                    <a:pt x="3440" y="810"/>
                  </a:lnTo>
                  <a:lnTo>
                    <a:pt x="3437" y="808"/>
                  </a:lnTo>
                  <a:lnTo>
                    <a:pt x="3435" y="805"/>
                  </a:lnTo>
                  <a:lnTo>
                    <a:pt x="3432" y="804"/>
                  </a:lnTo>
                  <a:lnTo>
                    <a:pt x="3430" y="803"/>
                  </a:lnTo>
                  <a:lnTo>
                    <a:pt x="3429" y="802"/>
                  </a:lnTo>
                  <a:lnTo>
                    <a:pt x="3430" y="800"/>
                  </a:lnTo>
                  <a:lnTo>
                    <a:pt x="3430" y="800"/>
                  </a:lnTo>
                  <a:lnTo>
                    <a:pt x="3431" y="796"/>
                  </a:lnTo>
                  <a:lnTo>
                    <a:pt x="3431" y="794"/>
                  </a:lnTo>
                  <a:lnTo>
                    <a:pt x="3434" y="793"/>
                  </a:lnTo>
                  <a:lnTo>
                    <a:pt x="3437" y="791"/>
                  </a:lnTo>
                  <a:lnTo>
                    <a:pt x="3437" y="791"/>
                  </a:lnTo>
                  <a:lnTo>
                    <a:pt x="3439" y="789"/>
                  </a:lnTo>
                  <a:lnTo>
                    <a:pt x="3443" y="789"/>
                  </a:lnTo>
                  <a:lnTo>
                    <a:pt x="3445" y="787"/>
                  </a:lnTo>
                  <a:lnTo>
                    <a:pt x="3447" y="785"/>
                  </a:lnTo>
                  <a:lnTo>
                    <a:pt x="3451" y="784"/>
                  </a:lnTo>
                  <a:lnTo>
                    <a:pt x="3453" y="783"/>
                  </a:lnTo>
                  <a:lnTo>
                    <a:pt x="3454" y="780"/>
                  </a:lnTo>
                  <a:lnTo>
                    <a:pt x="3456" y="778"/>
                  </a:lnTo>
                  <a:lnTo>
                    <a:pt x="3458" y="777"/>
                  </a:lnTo>
                  <a:lnTo>
                    <a:pt x="3462" y="776"/>
                  </a:lnTo>
                  <a:lnTo>
                    <a:pt x="3461" y="772"/>
                  </a:lnTo>
                  <a:lnTo>
                    <a:pt x="3462" y="770"/>
                  </a:lnTo>
                  <a:lnTo>
                    <a:pt x="3462" y="769"/>
                  </a:lnTo>
                  <a:lnTo>
                    <a:pt x="3462" y="768"/>
                  </a:lnTo>
                  <a:lnTo>
                    <a:pt x="3461" y="765"/>
                  </a:lnTo>
                  <a:lnTo>
                    <a:pt x="3462" y="762"/>
                  </a:lnTo>
                  <a:lnTo>
                    <a:pt x="3463" y="759"/>
                  </a:lnTo>
                  <a:lnTo>
                    <a:pt x="3465" y="758"/>
                  </a:lnTo>
                  <a:lnTo>
                    <a:pt x="3465" y="758"/>
                  </a:lnTo>
                  <a:lnTo>
                    <a:pt x="3468" y="756"/>
                  </a:lnTo>
                  <a:lnTo>
                    <a:pt x="3470" y="753"/>
                  </a:lnTo>
                  <a:lnTo>
                    <a:pt x="3473" y="753"/>
                  </a:lnTo>
                  <a:lnTo>
                    <a:pt x="3474" y="753"/>
                  </a:lnTo>
                  <a:lnTo>
                    <a:pt x="3475" y="750"/>
                  </a:lnTo>
                  <a:lnTo>
                    <a:pt x="3474" y="748"/>
                  </a:lnTo>
                  <a:lnTo>
                    <a:pt x="3480" y="746"/>
                  </a:lnTo>
                  <a:lnTo>
                    <a:pt x="3483" y="744"/>
                  </a:lnTo>
                  <a:lnTo>
                    <a:pt x="3484" y="742"/>
                  </a:lnTo>
                  <a:lnTo>
                    <a:pt x="3487" y="740"/>
                  </a:lnTo>
                  <a:lnTo>
                    <a:pt x="3488" y="737"/>
                  </a:lnTo>
                  <a:lnTo>
                    <a:pt x="3489" y="736"/>
                  </a:lnTo>
                  <a:lnTo>
                    <a:pt x="3492" y="736"/>
                  </a:lnTo>
                  <a:lnTo>
                    <a:pt x="3490" y="739"/>
                  </a:lnTo>
                  <a:lnTo>
                    <a:pt x="3494" y="739"/>
                  </a:lnTo>
                  <a:lnTo>
                    <a:pt x="3496" y="736"/>
                  </a:lnTo>
                  <a:lnTo>
                    <a:pt x="3497" y="740"/>
                  </a:lnTo>
                  <a:lnTo>
                    <a:pt x="3496" y="742"/>
                  </a:lnTo>
                  <a:lnTo>
                    <a:pt x="3501" y="743"/>
                  </a:lnTo>
                  <a:lnTo>
                    <a:pt x="3506" y="744"/>
                  </a:lnTo>
                  <a:lnTo>
                    <a:pt x="3508" y="746"/>
                  </a:lnTo>
                  <a:lnTo>
                    <a:pt x="3514" y="744"/>
                  </a:lnTo>
                  <a:lnTo>
                    <a:pt x="3516" y="743"/>
                  </a:lnTo>
                  <a:lnTo>
                    <a:pt x="3518" y="743"/>
                  </a:lnTo>
                  <a:lnTo>
                    <a:pt x="3522" y="741"/>
                  </a:lnTo>
                  <a:lnTo>
                    <a:pt x="3524" y="740"/>
                  </a:lnTo>
                  <a:lnTo>
                    <a:pt x="3526" y="737"/>
                  </a:lnTo>
                  <a:lnTo>
                    <a:pt x="3528" y="737"/>
                  </a:lnTo>
                  <a:lnTo>
                    <a:pt x="3530" y="736"/>
                  </a:lnTo>
                  <a:lnTo>
                    <a:pt x="3531" y="735"/>
                  </a:lnTo>
                  <a:lnTo>
                    <a:pt x="3535" y="733"/>
                  </a:lnTo>
                  <a:lnTo>
                    <a:pt x="3537" y="729"/>
                  </a:lnTo>
                  <a:lnTo>
                    <a:pt x="3539" y="728"/>
                  </a:lnTo>
                  <a:lnTo>
                    <a:pt x="3539" y="728"/>
                  </a:lnTo>
                  <a:lnTo>
                    <a:pt x="3540" y="725"/>
                  </a:lnTo>
                  <a:lnTo>
                    <a:pt x="3542" y="723"/>
                  </a:lnTo>
                  <a:lnTo>
                    <a:pt x="3547" y="717"/>
                  </a:lnTo>
                  <a:lnTo>
                    <a:pt x="3549" y="716"/>
                  </a:lnTo>
                  <a:lnTo>
                    <a:pt x="3550" y="714"/>
                  </a:lnTo>
                  <a:lnTo>
                    <a:pt x="3552" y="711"/>
                  </a:lnTo>
                  <a:lnTo>
                    <a:pt x="3555" y="709"/>
                  </a:lnTo>
                  <a:lnTo>
                    <a:pt x="3556" y="708"/>
                  </a:lnTo>
                  <a:lnTo>
                    <a:pt x="3558" y="705"/>
                  </a:lnTo>
                  <a:lnTo>
                    <a:pt x="3564" y="700"/>
                  </a:lnTo>
                  <a:lnTo>
                    <a:pt x="3568" y="695"/>
                  </a:lnTo>
                  <a:lnTo>
                    <a:pt x="3575" y="688"/>
                  </a:lnTo>
                  <a:lnTo>
                    <a:pt x="3577" y="683"/>
                  </a:lnTo>
                  <a:lnTo>
                    <a:pt x="3577" y="682"/>
                  </a:lnTo>
                  <a:lnTo>
                    <a:pt x="3580" y="680"/>
                  </a:lnTo>
                  <a:lnTo>
                    <a:pt x="3580" y="677"/>
                  </a:lnTo>
                  <a:lnTo>
                    <a:pt x="3582" y="674"/>
                  </a:lnTo>
                  <a:lnTo>
                    <a:pt x="3586" y="668"/>
                  </a:lnTo>
                  <a:lnTo>
                    <a:pt x="3589" y="666"/>
                  </a:lnTo>
                  <a:lnTo>
                    <a:pt x="3590" y="664"/>
                  </a:lnTo>
                  <a:lnTo>
                    <a:pt x="3591" y="662"/>
                  </a:lnTo>
                  <a:lnTo>
                    <a:pt x="3593" y="658"/>
                  </a:lnTo>
                  <a:lnTo>
                    <a:pt x="3596" y="656"/>
                  </a:lnTo>
                  <a:lnTo>
                    <a:pt x="3598" y="654"/>
                  </a:lnTo>
                  <a:lnTo>
                    <a:pt x="3601" y="651"/>
                  </a:lnTo>
                  <a:lnTo>
                    <a:pt x="3602" y="650"/>
                  </a:lnTo>
                  <a:lnTo>
                    <a:pt x="3605" y="648"/>
                  </a:lnTo>
                  <a:lnTo>
                    <a:pt x="3605" y="643"/>
                  </a:lnTo>
                  <a:lnTo>
                    <a:pt x="3606" y="640"/>
                  </a:lnTo>
                  <a:lnTo>
                    <a:pt x="3606" y="638"/>
                  </a:lnTo>
                  <a:lnTo>
                    <a:pt x="3607" y="638"/>
                  </a:lnTo>
                  <a:lnTo>
                    <a:pt x="3607" y="635"/>
                  </a:lnTo>
                  <a:lnTo>
                    <a:pt x="3607" y="633"/>
                  </a:lnTo>
                  <a:lnTo>
                    <a:pt x="3607" y="633"/>
                  </a:lnTo>
                  <a:lnTo>
                    <a:pt x="3608" y="631"/>
                  </a:lnTo>
                  <a:lnTo>
                    <a:pt x="3609" y="628"/>
                  </a:lnTo>
                  <a:lnTo>
                    <a:pt x="3609" y="625"/>
                  </a:lnTo>
                  <a:lnTo>
                    <a:pt x="3608" y="623"/>
                  </a:lnTo>
                  <a:lnTo>
                    <a:pt x="3609" y="621"/>
                  </a:lnTo>
                  <a:lnTo>
                    <a:pt x="3609" y="618"/>
                  </a:lnTo>
                  <a:lnTo>
                    <a:pt x="3609" y="615"/>
                  </a:lnTo>
                  <a:lnTo>
                    <a:pt x="3609" y="613"/>
                  </a:lnTo>
                  <a:lnTo>
                    <a:pt x="3609" y="612"/>
                  </a:lnTo>
                  <a:lnTo>
                    <a:pt x="3608" y="607"/>
                  </a:lnTo>
                  <a:lnTo>
                    <a:pt x="3611" y="601"/>
                  </a:lnTo>
                  <a:lnTo>
                    <a:pt x="3611" y="599"/>
                  </a:lnTo>
                  <a:lnTo>
                    <a:pt x="3614" y="597"/>
                  </a:lnTo>
                  <a:lnTo>
                    <a:pt x="3615" y="594"/>
                  </a:lnTo>
                  <a:lnTo>
                    <a:pt x="3615" y="591"/>
                  </a:lnTo>
                  <a:lnTo>
                    <a:pt x="3618" y="589"/>
                  </a:lnTo>
                  <a:lnTo>
                    <a:pt x="3620" y="587"/>
                  </a:lnTo>
                  <a:lnTo>
                    <a:pt x="3620" y="583"/>
                  </a:lnTo>
                  <a:lnTo>
                    <a:pt x="3623" y="581"/>
                  </a:lnTo>
                  <a:lnTo>
                    <a:pt x="3623" y="580"/>
                  </a:lnTo>
                  <a:lnTo>
                    <a:pt x="3620" y="579"/>
                  </a:lnTo>
                  <a:lnTo>
                    <a:pt x="3617" y="578"/>
                  </a:lnTo>
                  <a:lnTo>
                    <a:pt x="3619" y="574"/>
                  </a:lnTo>
                  <a:lnTo>
                    <a:pt x="3619" y="572"/>
                  </a:lnTo>
                  <a:lnTo>
                    <a:pt x="3619" y="570"/>
                  </a:lnTo>
                  <a:lnTo>
                    <a:pt x="3611" y="564"/>
                  </a:lnTo>
                  <a:lnTo>
                    <a:pt x="3617" y="566"/>
                  </a:lnTo>
                  <a:lnTo>
                    <a:pt x="3619" y="564"/>
                  </a:lnTo>
                  <a:lnTo>
                    <a:pt x="3620" y="562"/>
                  </a:lnTo>
                  <a:lnTo>
                    <a:pt x="3618" y="560"/>
                  </a:lnTo>
                  <a:lnTo>
                    <a:pt x="3616" y="558"/>
                  </a:lnTo>
                  <a:lnTo>
                    <a:pt x="3612" y="555"/>
                  </a:lnTo>
                  <a:lnTo>
                    <a:pt x="3609" y="554"/>
                  </a:lnTo>
                  <a:lnTo>
                    <a:pt x="3607" y="552"/>
                  </a:lnTo>
                  <a:lnTo>
                    <a:pt x="3606" y="548"/>
                  </a:lnTo>
                  <a:lnTo>
                    <a:pt x="3605" y="546"/>
                  </a:lnTo>
                  <a:lnTo>
                    <a:pt x="3602" y="545"/>
                  </a:lnTo>
                  <a:lnTo>
                    <a:pt x="3599" y="543"/>
                  </a:lnTo>
                  <a:lnTo>
                    <a:pt x="3597" y="543"/>
                  </a:lnTo>
                  <a:lnTo>
                    <a:pt x="3593" y="544"/>
                  </a:lnTo>
                  <a:lnTo>
                    <a:pt x="3591" y="544"/>
                  </a:lnTo>
                  <a:lnTo>
                    <a:pt x="3588" y="543"/>
                  </a:lnTo>
                  <a:lnTo>
                    <a:pt x="3585" y="541"/>
                  </a:lnTo>
                  <a:lnTo>
                    <a:pt x="3584" y="545"/>
                  </a:lnTo>
                  <a:lnTo>
                    <a:pt x="3585" y="547"/>
                  </a:lnTo>
                  <a:lnTo>
                    <a:pt x="3584" y="549"/>
                  </a:lnTo>
                  <a:lnTo>
                    <a:pt x="3583" y="553"/>
                  </a:lnTo>
                  <a:lnTo>
                    <a:pt x="3582" y="555"/>
                  </a:lnTo>
                  <a:lnTo>
                    <a:pt x="3579" y="556"/>
                  </a:lnTo>
                  <a:lnTo>
                    <a:pt x="3580" y="554"/>
                  </a:lnTo>
                  <a:lnTo>
                    <a:pt x="3582" y="551"/>
                  </a:lnTo>
                  <a:lnTo>
                    <a:pt x="3582" y="548"/>
                  </a:lnTo>
                  <a:lnTo>
                    <a:pt x="3580" y="549"/>
                  </a:lnTo>
                  <a:lnTo>
                    <a:pt x="3579" y="552"/>
                  </a:lnTo>
                  <a:lnTo>
                    <a:pt x="3573" y="555"/>
                  </a:lnTo>
                  <a:lnTo>
                    <a:pt x="3568" y="556"/>
                  </a:lnTo>
                  <a:lnTo>
                    <a:pt x="3568" y="556"/>
                  </a:lnTo>
                  <a:lnTo>
                    <a:pt x="3565" y="556"/>
                  </a:lnTo>
                  <a:lnTo>
                    <a:pt x="3567" y="553"/>
                  </a:lnTo>
                  <a:lnTo>
                    <a:pt x="3568" y="551"/>
                  </a:lnTo>
                  <a:lnTo>
                    <a:pt x="3572" y="549"/>
                  </a:lnTo>
                  <a:lnTo>
                    <a:pt x="3568" y="548"/>
                  </a:lnTo>
                  <a:lnTo>
                    <a:pt x="3566" y="547"/>
                  </a:lnTo>
                  <a:lnTo>
                    <a:pt x="3568" y="544"/>
                  </a:lnTo>
                  <a:lnTo>
                    <a:pt x="3571" y="541"/>
                  </a:lnTo>
                  <a:lnTo>
                    <a:pt x="3567" y="541"/>
                  </a:lnTo>
                  <a:lnTo>
                    <a:pt x="3565" y="543"/>
                  </a:lnTo>
                  <a:lnTo>
                    <a:pt x="3562" y="545"/>
                  </a:lnTo>
                  <a:lnTo>
                    <a:pt x="3565" y="546"/>
                  </a:lnTo>
                  <a:lnTo>
                    <a:pt x="3564" y="549"/>
                  </a:lnTo>
                  <a:lnTo>
                    <a:pt x="3560" y="551"/>
                  </a:lnTo>
                  <a:lnTo>
                    <a:pt x="3558" y="552"/>
                  </a:lnTo>
                  <a:lnTo>
                    <a:pt x="3558" y="552"/>
                  </a:lnTo>
                  <a:lnTo>
                    <a:pt x="3556" y="548"/>
                  </a:lnTo>
                  <a:lnTo>
                    <a:pt x="3558" y="546"/>
                  </a:lnTo>
                  <a:lnTo>
                    <a:pt x="3557" y="540"/>
                  </a:lnTo>
                  <a:lnTo>
                    <a:pt x="3558" y="538"/>
                  </a:lnTo>
                  <a:lnTo>
                    <a:pt x="3558" y="536"/>
                  </a:lnTo>
                  <a:lnTo>
                    <a:pt x="3556" y="535"/>
                  </a:lnTo>
                  <a:lnTo>
                    <a:pt x="3552" y="536"/>
                  </a:lnTo>
                  <a:lnTo>
                    <a:pt x="3550" y="536"/>
                  </a:lnTo>
                  <a:lnTo>
                    <a:pt x="3545" y="537"/>
                  </a:lnTo>
                  <a:lnTo>
                    <a:pt x="3542" y="535"/>
                  </a:lnTo>
                  <a:lnTo>
                    <a:pt x="3539" y="535"/>
                  </a:lnTo>
                  <a:lnTo>
                    <a:pt x="3537" y="534"/>
                  </a:lnTo>
                  <a:lnTo>
                    <a:pt x="3535" y="531"/>
                  </a:lnTo>
                  <a:lnTo>
                    <a:pt x="3538" y="529"/>
                  </a:lnTo>
                  <a:lnTo>
                    <a:pt x="3541" y="527"/>
                  </a:lnTo>
                  <a:lnTo>
                    <a:pt x="3543" y="526"/>
                  </a:lnTo>
                  <a:lnTo>
                    <a:pt x="3549" y="522"/>
                  </a:lnTo>
                  <a:lnTo>
                    <a:pt x="3551" y="520"/>
                  </a:lnTo>
                  <a:lnTo>
                    <a:pt x="3554" y="518"/>
                  </a:lnTo>
                  <a:lnTo>
                    <a:pt x="3556" y="517"/>
                  </a:lnTo>
                  <a:lnTo>
                    <a:pt x="3559" y="514"/>
                  </a:lnTo>
                  <a:lnTo>
                    <a:pt x="3562" y="513"/>
                  </a:lnTo>
                  <a:lnTo>
                    <a:pt x="3566" y="510"/>
                  </a:lnTo>
                  <a:lnTo>
                    <a:pt x="3567" y="509"/>
                  </a:lnTo>
                  <a:lnTo>
                    <a:pt x="3569" y="506"/>
                  </a:lnTo>
                  <a:lnTo>
                    <a:pt x="3575" y="502"/>
                  </a:lnTo>
                  <a:lnTo>
                    <a:pt x="3577" y="501"/>
                  </a:lnTo>
                  <a:lnTo>
                    <a:pt x="3576" y="497"/>
                  </a:lnTo>
                  <a:lnTo>
                    <a:pt x="3580" y="495"/>
                  </a:lnTo>
                  <a:lnTo>
                    <a:pt x="3580" y="494"/>
                  </a:lnTo>
                  <a:lnTo>
                    <a:pt x="3585" y="491"/>
                  </a:lnTo>
                  <a:lnTo>
                    <a:pt x="3588" y="488"/>
                  </a:lnTo>
                  <a:lnTo>
                    <a:pt x="3590" y="486"/>
                  </a:lnTo>
                  <a:lnTo>
                    <a:pt x="3592" y="484"/>
                  </a:lnTo>
                  <a:lnTo>
                    <a:pt x="3594" y="484"/>
                  </a:lnTo>
                  <a:lnTo>
                    <a:pt x="3598" y="480"/>
                  </a:lnTo>
                  <a:lnTo>
                    <a:pt x="3600" y="479"/>
                  </a:lnTo>
                  <a:lnTo>
                    <a:pt x="3602" y="476"/>
                  </a:lnTo>
                  <a:lnTo>
                    <a:pt x="3608" y="475"/>
                  </a:lnTo>
                  <a:lnTo>
                    <a:pt x="3609" y="471"/>
                  </a:lnTo>
                  <a:lnTo>
                    <a:pt x="3610" y="469"/>
                  </a:lnTo>
                  <a:lnTo>
                    <a:pt x="3611" y="466"/>
                  </a:lnTo>
                  <a:lnTo>
                    <a:pt x="3614" y="463"/>
                  </a:lnTo>
                  <a:lnTo>
                    <a:pt x="3616" y="461"/>
                  </a:lnTo>
                  <a:lnTo>
                    <a:pt x="3619" y="461"/>
                  </a:lnTo>
                  <a:lnTo>
                    <a:pt x="3625" y="457"/>
                  </a:lnTo>
                  <a:lnTo>
                    <a:pt x="3627" y="454"/>
                  </a:lnTo>
                  <a:lnTo>
                    <a:pt x="3628" y="451"/>
                  </a:lnTo>
                  <a:lnTo>
                    <a:pt x="3631" y="449"/>
                  </a:lnTo>
                  <a:lnTo>
                    <a:pt x="3636" y="445"/>
                  </a:lnTo>
                  <a:lnTo>
                    <a:pt x="3642" y="444"/>
                  </a:lnTo>
                  <a:lnTo>
                    <a:pt x="3645" y="443"/>
                  </a:lnTo>
                  <a:lnTo>
                    <a:pt x="3645" y="443"/>
                  </a:lnTo>
                  <a:lnTo>
                    <a:pt x="3649" y="443"/>
                  </a:lnTo>
                  <a:lnTo>
                    <a:pt x="3651" y="443"/>
                  </a:lnTo>
                  <a:lnTo>
                    <a:pt x="3651" y="443"/>
                  </a:lnTo>
                  <a:lnTo>
                    <a:pt x="3657" y="442"/>
                  </a:lnTo>
                  <a:lnTo>
                    <a:pt x="3660" y="442"/>
                  </a:lnTo>
                  <a:lnTo>
                    <a:pt x="3662" y="442"/>
                  </a:lnTo>
                  <a:lnTo>
                    <a:pt x="3665" y="443"/>
                  </a:lnTo>
                  <a:lnTo>
                    <a:pt x="3670" y="443"/>
                  </a:lnTo>
                  <a:lnTo>
                    <a:pt x="3673" y="442"/>
                  </a:lnTo>
                  <a:lnTo>
                    <a:pt x="3676" y="442"/>
                  </a:lnTo>
                  <a:lnTo>
                    <a:pt x="3678" y="442"/>
                  </a:lnTo>
                  <a:lnTo>
                    <a:pt x="3682" y="442"/>
                  </a:lnTo>
                  <a:lnTo>
                    <a:pt x="3682" y="445"/>
                  </a:lnTo>
                  <a:lnTo>
                    <a:pt x="3684" y="447"/>
                  </a:lnTo>
                  <a:lnTo>
                    <a:pt x="3686" y="446"/>
                  </a:lnTo>
                  <a:lnTo>
                    <a:pt x="3688" y="443"/>
                  </a:lnTo>
                  <a:lnTo>
                    <a:pt x="3691" y="441"/>
                  </a:lnTo>
                  <a:lnTo>
                    <a:pt x="3694" y="443"/>
                  </a:lnTo>
                  <a:lnTo>
                    <a:pt x="3696" y="443"/>
                  </a:lnTo>
                  <a:lnTo>
                    <a:pt x="3702" y="444"/>
                  </a:lnTo>
                  <a:lnTo>
                    <a:pt x="3704" y="445"/>
                  </a:lnTo>
                  <a:lnTo>
                    <a:pt x="3708" y="444"/>
                  </a:lnTo>
                  <a:lnTo>
                    <a:pt x="3710" y="442"/>
                  </a:lnTo>
                  <a:lnTo>
                    <a:pt x="3712" y="442"/>
                  </a:lnTo>
                  <a:lnTo>
                    <a:pt x="3716" y="442"/>
                  </a:lnTo>
                  <a:lnTo>
                    <a:pt x="3717" y="444"/>
                  </a:lnTo>
                  <a:lnTo>
                    <a:pt x="3720" y="445"/>
                  </a:lnTo>
                  <a:lnTo>
                    <a:pt x="3722" y="444"/>
                  </a:lnTo>
                  <a:lnTo>
                    <a:pt x="3721" y="442"/>
                  </a:lnTo>
                  <a:lnTo>
                    <a:pt x="3722" y="440"/>
                  </a:lnTo>
                  <a:lnTo>
                    <a:pt x="3726" y="441"/>
                  </a:lnTo>
                  <a:lnTo>
                    <a:pt x="3726" y="437"/>
                  </a:lnTo>
                  <a:lnTo>
                    <a:pt x="3728" y="436"/>
                  </a:lnTo>
                  <a:lnTo>
                    <a:pt x="3731" y="435"/>
                  </a:lnTo>
                  <a:lnTo>
                    <a:pt x="3734" y="435"/>
                  </a:lnTo>
                  <a:lnTo>
                    <a:pt x="3737" y="435"/>
                  </a:lnTo>
                  <a:lnTo>
                    <a:pt x="3738" y="436"/>
                  </a:lnTo>
                  <a:lnTo>
                    <a:pt x="3740" y="436"/>
                  </a:lnTo>
                  <a:lnTo>
                    <a:pt x="3743" y="437"/>
                  </a:lnTo>
                  <a:lnTo>
                    <a:pt x="3746" y="438"/>
                  </a:lnTo>
                  <a:lnTo>
                    <a:pt x="3748" y="440"/>
                  </a:lnTo>
                  <a:lnTo>
                    <a:pt x="3746" y="440"/>
                  </a:lnTo>
                  <a:lnTo>
                    <a:pt x="3748" y="441"/>
                  </a:lnTo>
                  <a:lnTo>
                    <a:pt x="3751" y="441"/>
                  </a:lnTo>
                  <a:lnTo>
                    <a:pt x="3753" y="438"/>
                  </a:lnTo>
                  <a:lnTo>
                    <a:pt x="3756" y="438"/>
                  </a:lnTo>
                  <a:lnTo>
                    <a:pt x="3759" y="440"/>
                  </a:lnTo>
                  <a:lnTo>
                    <a:pt x="3761" y="442"/>
                  </a:lnTo>
                  <a:lnTo>
                    <a:pt x="3762" y="444"/>
                  </a:lnTo>
                  <a:lnTo>
                    <a:pt x="3764" y="444"/>
                  </a:lnTo>
                  <a:lnTo>
                    <a:pt x="3768" y="446"/>
                  </a:lnTo>
                  <a:lnTo>
                    <a:pt x="3762" y="447"/>
                  </a:lnTo>
                  <a:lnTo>
                    <a:pt x="3760" y="447"/>
                  </a:lnTo>
                  <a:lnTo>
                    <a:pt x="3756" y="447"/>
                  </a:lnTo>
                  <a:lnTo>
                    <a:pt x="3754" y="447"/>
                  </a:lnTo>
                  <a:lnTo>
                    <a:pt x="3755" y="451"/>
                  </a:lnTo>
                  <a:lnTo>
                    <a:pt x="3756" y="453"/>
                  </a:lnTo>
                  <a:lnTo>
                    <a:pt x="3761" y="453"/>
                  </a:lnTo>
                  <a:lnTo>
                    <a:pt x="3762" y="453"/>
                  </a:lnTo>
                  <a:lnTo>
                    <a:pt x="3765" y="452"/>
                  </a:lnTo>
                  <a:lnTo>
                    <a:pt x="3768" y="451"/>
                  </a:lnTo>
                  <a:lnTo>
                    <a:pt x="3770" y="450"/>
                  </a:lnTo>
                  <a:lnTo>
                    <a:pt x="3776" y="452"/>
                  </a:lnTo>
                  <a:lnTo>
                    <a:pt x="3779" y="451"/>
                  </a:lnTo>
                  <a:lnTo>
                    <a:pt x="3781" y="449"/>
                  </a:lnTo>
                  <a:lnTo>
                    <a:pt x="3785" y="449"/>
                  </a:lnTo>
                  <a:lnTo>
                    <a:pt x="3785" y="445"/>
                  </a:lnTo>
                  <a:lnTo>
                    <a:pt x="3788" y="446"/>
                  </a:lnTo>
                  <a:lnTo>
                    <a:pt x="3790" y="446"/>
                  </a:lnTo>
                  <a:lnTo>
                    <a:pt x="3793" y="449"/>
                  </a:lnTo>
                  <a:lnTo>
                    <a:pt x="3796" y="449"/>
                  </a:lnTo>
                  <a:lnTo>
                    <a:pt x="3798" y="446"/>
                  </a:lnTo>
                  <a:lnTo>
                    <a:pt x="3802" y="446"/>
                  </a:lnTo>
                  <a:lnTo>
                    <a:pt x="3807" y="446"/>
                  </a:lnTo>
                  <a:lnTo>
                    <a:pt x="3810" y="445"/>
                  </a:lnTo>
                  <a:lnTo>
                    <a:pt x="3808" y="442"/>
                  </a:lnTo>
                  <a:lnTo>
                    <a:pt x="3806" y="441"/>
                  </a:lnTo>
                  <a:lnTo>
                    <a:pt x="3803" y="440"/>
                  </a:lnTo>
                  <a:lnTo>
                    <a:pt x="3801" y="441"/>
                  </a:lnTo>
                  <a:lnTo>
                    <a:pt x="3798" y="441"/>
                  </a:lnTo>
                  <a:lnTo>
                    <a:pt x="3795" y="440"/>
                  </a:lnTo>
                  <a:lnTo>
                    <a:pt x="3798" y="437"/>
                  </a:lnTo>
                  <a:lnTo>
                    <a:pt x="3797" y="435"/>
                  </a:lnTo>
                  <a:lnTo>
                    <a:pt x="3797" y="432"/>
                  </a:lnTo>
                  <a:lnTo>
                    <a:pt x="3799" y="433"/>
                  </a:lnTo>
                  <a:lnTo>
                    <a:pt x="3801" y="429"/>
                  </a:lnTo>
                  <a:lnTo>
                    <a:pt x="3802" y="427"/>
                  </a:lnTo>
                  <a:lnTo>
                    <a:pt x="3804" y="425"/>
                  </a:lnTo>
                  <a:lnTo>
                    <a:pt x="3807" y="423"/>
                  </a:lnTo>
                  <a:lnTo>
                    <a:pt x="3813" y="419"/>
                  </a:lnTo>
                  <a:lnTo>
                    <a:pt x="3815" y="417"/>
                  </a:lnTo>
                  <a:lnTo>
                    <a:pt x="3819" y="416"/>
                  </a:lnTo>
                  <a:lnTo>
                    <a:pt x="3821" y="410"/>
                  </a:lnTo>
                  <a:lnTo>
                    <a:pt x="3824" y="408"/>
                  </a:lnTo>
                  <a:lnTo>
                    <a:pt x="3827" y="406"/>
                  </a:lnTo>
                  <a:lnTo>
                    <a:pt x="3830" y="404"/>
                  </a:lnTo>
                  <a:lnTo>
                    <a:pt x="3830" y="402"/>
                  </a:lnTo>
                  <a:lnTo>
                    <a:pt x="3830" y="399"/>
                  </a:lnTo>
                  <a:lnTo>
                    <a:pt x="3833" y="398"/>
                  </a:lnTo>
                  <a:lnTo>
                    <a:pt x="3836" y="395"/>
                  </a:lnTo>
                  <a:lnTo>
                    <a:pt x="3838" y="394"/>
                  </a:lnTo>
                  <a:lnTo>
                    <a:pt x="3841" y="392"/>
                  </a:lnTo>
                  <a:lnTo>
                    <a:pt x="3847" y="393"/>
                  </a:lnTo>
                  <a:lnTo>
                    <a:pt x="3849" y="394"/>
                  </a:lnTo>
                  <a:lnTo>
                    <a:pt x="3852" y="392"/>
                  </a:lnTo>
                  <a:lnTo>
                    <a:pt x="3855" y="392"/>
                  </a:lnTo>
                  <a:lnTo>
                    <a:pt x="3859" y="392"/>
                  </a:lnTo>
                  <a:lnTo>
                    <a:pt x="3863" y="390"/>
                  </a:lnTo>
                  <a:lnTo>
                    <a:pt x="3865" y="390"/>
                  </a:lnTo>
                  <a:lnTo>
                    <a:pt x="3867" y="392"/>
                  </a:lnTo>
                  <a:lnTo>
                    <a:pt x="3870" y="395"/>
                  </a:lnTo>
                  <a:lnTo>
                    <a:pt x="3872" y="394"/>
                  </a:lnTo>
                  <a:lnTo>
                    <a:pt x="3879" y="390"/>
                  </a:lnTo>
                  <a:lnTo>
                    <a:pt x="3881" y="393"/>
                  </a:lnTo>
                  <a:lnTo>
                    <a:pt x="3876" y="401"/>
                  </a:lnTo>
                  <a:lnTo>
                    <a:pt x="3875" y="401"/>
                  </a:lnTo>
                  <a:lnTo>
                    <a:pt x="3873" y="403"/>
                  </a:lnTo>
                  <a:lnTo>
                    <a:pt x="3875" y="406"/>
                  </a:lnTo>
                  <a:lnTo>
                    <a:pt x="3874" y="409"/>
                  </a:lnTo>
                  <a:lnTo>
                    <a:pt x="3875" y="409"/>
                  </a:lnTo>
                  <a:lnTo>
                    <a:pt x="3879" y="408"/>
                  </a:lnTo>
                  <a:lnTo>
                    <a:pt x="3881" y="408"/>
                  </a:lnTo>
                  <a:lnTo>
                    <a:pt x="3881" y="411"/>
                  </a:lnTo>
                  <a:lnTo>
                    <a:pt x="3879" y="414"/>
                  </a:lnTo>
                  <a:lnTo>
                    <a:pt x="3878" y="416"/>
                  </a:lnTo>
                  <a:lnTo>
                    <a:pt x="3880" y="416"/>
                  </a:lnTo>
                  <a:lnTo>
                    <a:pt x="3883" y="415"/>
                  </a:lnTo>
                  <a:lnTo>
                    <a:pt x="3885" y="415"/>
                  </a:lnTo>
                  <a:lnTo>
                    <a:pt x="3888" y="411"/>
                  </a:lnTo>
                  <a:lnTo>
                    <a:pt x="3893" y="408"/>
                  </a:lnTo>
                  <a:lnTo>
                    <a:pt x="3896" y="404"/>
                  </a:lnTo>
                  <a:lnTo>
                    <a:pt x="3901" y="401"/>
                  </a:lnTo>
                  <a:lnTo>
                    <a:pt x="3905" y="400"/>
                  </a:lnTo>
                  <a:lnTo>
                    <a:pt x="3907" y="397"/>
                  </a:lnTo>
                  <a:lnTo>
                    <a:pt x="3909" y="395"/>
                  </a:lnTo>
                  <a:lnTo>
                    <a:pt x="3910" y="395"/>
                  </a:lnTo>
                  <a:lnTo>
                    <a:pt x="3913" y="397"/>
                  </a:lnTo>
                  <a:lnTo>
                    <a:pt x="3916" y="394"/>
                  </a:lnTo>
                  <a:lnTo>
                    <a:pt x="3916" y="398"/>
                  </a:lnTo>
                  <a:lnTo>
                    <a:pt x="3919" y="397"/>
                  </a:lnTo>
                  <a:lnTo>
                    <a:pt x="3919" y="393"/>
                  </a:lnTo>
                  <a:lnTo>
                    <a:pt x="3916" y="393"/>
                  </a:lnTo>
                  <a:lnTo>
                    <a:pt x="3917" y="390"/>
                  </a:lnTo>
                  <a:lnTo>
                    <a:pt x="3918" y="387"/>
                  </a:lnTo>
                  <a:lnTo>
                    <a:pt x="3918" y="384"/>
                  </a:lnTo>
                  <a:lnTo>
                    <a:pt x="3918" y="382"/>
                  </a:lnTo>
                  <a:lnTo>
                    <a:pt x="3922" y="381"/>
                  </a:lnTo>
                  <a:lnTo>
                    <a:pt x="3919" y="378"/>
                  </a:lnTo>
                  <a:lnTo>
                    <a:pt x="3923" y="376"/>
                  </a:lnTo>
                  <a:lnTo>
                    <a:pt x="3925" y="375"/>
                  </a:lnTo>
                  <a:lnTo>
                    <a:pt x="3929" y="375"/>
                  </a:lnTo>
                  <a:lnTo>
                    <a:pt x="3931" y="374"/>
                  </a:lnTo>
                  <a:lnTo>
                    <a:pt x="3934" y="374"/>
                  </a:lnTo>
                  <a:lnTo>
                    <a:pt x="3936" y="374"/>
                  </a:lnTo>
                  <a:lnTo>
                    <a:pt x="3939" y="375"/>
                  </a:lnTo>
                  <a:lnTo>
                    <a:pt x="3942" y="376"/>
                  </a:lnTo>
                  <a:lnTo>
                    <a:pt x="3944" y="377"/>
                  </a:lnTo>
                  <a:lnTo>
                    <a:pt x="3950" y="378"/>
                  </a:lnTo>
                  <a:lnTo>
                    <a:pt x="3952" y="378"/>
                  </a:lnTo>
                  <a:lnTo>
                    <a:pt x="3953" y="378"/>
                  </a:lnTo>
                  <a:lnTo>
                    <a:pt x="3952" y="378"/>
                  </a:lnTo>
                  <a:lnTo>
                    <a:pt x="3948" y="378"/>
                  </a:lnTo>
                  <a:lnTo>
                    <a:pt x="3948" y="381"/>
                  </a:lnTo>
                  <a:lnTo>
                    <a:pt x="3946" y="380"/>
                  </a:lnTo>
                  <a:lnTo>
                    <a:pt x="3942" y="380"/>
                  </a:lnTo>
                  <a:lnTo>
                    <a:pt x="3940" y="378"/>
                  </a:lnTo>
                  <a:lnTo>
                    <a:pt x="3938" y="378"/>
                  </a:lnTo>
                  <a:lnTo>
                    <a:pt x="3934" y="381"/>
                  </a:lnTo>
                  <a:lnTo>
                    <a:pt x="3932" y="383"/>
                  </a:lnTo>
                  <a:lnTo>
                    <a:pt x="3932" y="385"/>
                  </a:lnTo>
                  <a:lnTo>
                    <a:pt x="3931" y="389"/>
                  </a:lnTo>
                  <a:lnTo>
                    <a:pt x="3931" y="394"/>
                  </a:lnTo>
                  <a:lnTo>
                    <a:pt x="3929" y="395"/>
                  </a:lnTo>
                  <a:lnTo>
                    <a:pt x="3927" y="399"/>
                  </a:lnTo>
                  <a:lnTo>
                    <a:pt x="3930" y="401"/>
                  </a:lnTo>
                  <a:lnTo>
                    <a:pt x="3930" y="403"/>
                  </a:lnTo>
                  <a:lnTo>
                    <a:pt x="3927" y="406"/>
                  </a:lnTo>
                  <a:lnTo>
                    <a:pt x="3924" y="408"/>
                  </a:lnTo>
                  <a:lnTo>
                    <a:pt x="3927" y="410"/>
                  </a:lnTo>
                  <a:lnTo>
                    <a:pt x="3922" y="414"/>
                  </a:lnTo>
                  <a:lnTo>
                    <a:pt x="3919" y="414"/>
                  </a:lnTo>
                  <a:lnTo>
                    <a:pt x="3916" y="414"/>
                  </a:lnTo>
                  <a:lnTo>
                    <a:pt x="3914" y="417"/>
                  </a:lnTo>
                  <a:lnTo>
                    <a:pt x="3910" y="417"/>
                  </a:lnTo>
                  <a:lnTo>
                    <a:pt x="3908" y="418"/>
                  </a:lnTo>
                  <a:lnTo>
                    <a:pt x="3906" y="419"/>
                  </a:lnTo>
                  <a:lnTo>
                    <a:pt x="3902" y="420"/>
                  </a:lnTo>
                  <a:lnTo>
                    <a:pt x="3902" y="424"/>
                  </a:lnTo>
                  <a:lnTo>
                    <a:pt x="3900" y="426"/>
                  </a:lnTo>
                  <a:lnTo>
                    <a:pt x="3898" y="428"/>
                  </a:lnTo>
                  <a:lnTo>
                    <a:pt x="3895" y="429"/>
                  </a:lnTo>
                  <a:lnTo>
                    <a:pt x="3893" y="433"/>
                  </a:lnTo>
                  <a:lnTo>
                    <a:pt x="3890" y="435"/>
                  </a:lnTo>
                  <a:lnTo>
                    <a:pt x="3888" y="437"/>
                  </a:lnTo>
                  <a:lnTo>
                    <a:pt x="3885" y="438"/>
                  </a:lnTo>
                  <a:lnTo>
                    <a:pt x="3882" y="440"/>
                  </a:lnTo>
                  <a:lnTo>
                    <a:pt x="3881" y="442"/>
                  </a:lnTo>
                  <a:lnTo>
                    <a:pt x="3879" y="444"/>
                  </a:lnTo>
                  <a:lnTo>
                    <a:pt x="3875" y="446"/>
                  </a:lnTo>
                  <a:lnTo>
                    <a:pt x="3873" y="449"/>
                  </a:lnTo>
                  <a:lnTo>
                    <a:pt x="3873" y="451"/>
                  </a:lnTo>
                  <a:lnTo>
                    <a:pt x="3871" y="453"/>
                  </a:lnTo>
                  <a:lnTo>
                    <a:pt x="3868" y="457"/>
                  </a:lnTo>
                  <a:lnTo>
                    <a:pt x="3865" y="459"/>
                  </a:lnTo>
                  <a:lnTo>
                    <a:pt x="3863" y="461"/>
                  </a:lnTo>
                  <a:lnTo>
                    <a:pt x="3861" y="463"/>
                  </a:lnTo>
                  <a:lnTo>
                    <a:pt x="3857" y="464"/>
                  </a:lnTo>
                  <a:lnTo>
                    <a:pt x="3855" y="467"/>
                  </a:lnTo>
                  <a:lnTo>
                    <a:pt x="3852" y="469"/>
                  </a:lnTo>
                  <a:lnTo>
                    <a:pt x="3849" y="470"/>
                  </a:lnTo>
                  <a:lnTo>
                    <a:pt x="3847" y="470"/>
                  </a:lnTo>
                  <a:lnTo>
                    <a:pt x="3844" y="470"/>
                  </a:lnTo>
                  <a:lnTo>
                    <a:pt x="3842" y="472"/>
                  </a:lnTo>
                  <a:lnTo>
                    <a:pt x="3839" y="475"/>
                  </a:lnTo>
                  <a:lnTo>
                    <a:pt x="3837" y="475"/>
                  </a:lnTo>
                  <a:lnTo>
                    <a:pt x="3833" y="474"/>
                  </a:lnTo>
                  <a:lnTo>
                    <a:pt x="3831" y="475"/>
                  </a:lnTo>
                  <a:lnTo>
                    <a:pt x="3833" y="478"/>
                  </a:lnTo>
                  <a:lnTo>
                    <a:pt x="3835" y="480"/>
                  </a:lnTo>
                  <a:lnTo>
                    <a:pt x="3833" y="484"/>
                  </a:lnTo>
                  <a:lnTo>
                    <a:pt x="3831" y="486"/>
                  </a:lnTo>
                  <a:lnTo>
                    <a:pt x="3830" y="488"/>
                  </a:lnTo>
                  <a:lnTo>
                    <a:pt x="3828" y="489"/>
                  </a:lnTo>
                  <a:lnTo>
                    <a:pt x="3825" y="492"/>
                  </a:lnTo>
                  <a:lnTo>
                    <a:pt x="3822" y="495"/>
                  </a:lnTo>
                  <a:lnTo>
                    <a:pt x="3820" y="497"/>
                  </a:lnTo>
                  <a:lnTo>
                    <a:pt x="3820" y="501"/>
                  </a:lnTo>
                  <a:lnTo>
                    <a:pt x="3819" y="503"/>
                  </a:lnTo>
                  <a:lnTo>
                    <a:pt x="3818" y="505"/>
                  </a:lnTo>
                  <a:lnTo>
                    <a:pt x="3816" y="509"/>
                  </a:lnTo>
                  <a:lnTo>
                    <a:pt x="3816" y="511"/>
                  </a:lnTo>
                  <a:lnTo>
                    <a:pt x="3816" y="513"/>
                  </a:lnTo>
                  <a:lnTo>
                    <a:pt x="3816" y="515"/>
                  </a:lnTo>
                  <a:lnTo>
                    <a:pt x="3815" y="519"/>
                  </a:lnTo>
                  <a:lnTo>
                    <a:pt x="3815" y="521"/>
                  </a:lnTo>
                  <a:lnTo>
                    <a:pt x="3815" y="523"/>
                  </a:lnTo>
                  <a:lnTo>
                    <a:pt x="3815" y="527"/>
                  </a:lnTo>
                  <a:lnTo>
                    <a:pt x="3815" y="529"/>
                  </a:lnTo>
                  <a:lnTo>
                    <a:pt x="3816" y="532"/>
                  </a:lnTo>
                  <a:lnTo>
                    <a:pt x="3816" y="535"/>
                  </a:lnTo>
                  <a:lnTo>
                    <a:pt x="3816" y="537"/>
                  </a:lnTo>
                  <a:lnTo>
                    <a:pt x="3818" y="540"/>
                  </a:lnTo>
                  <a:lnTo>
                    <a:pt x="3818" y="543"/>
                  </a:lnTo>
                  <a:lnTo>
                    <a:pt x="3819" y="546"/>
                  </a:lnTo>
                  <a:lnTo>
                    <a:pt x="3820" y="548"/>
                  </a:lnTo>
                  <a:lnTo>
                    <a:pt x="3820" y="551"/>
                  </a:lnTo>
                  <a:lnTo>
                    <a:pt x="3821" y="554"/>
                  </a:lnTo>
                  <a:lnTo>
                    <a:pt x="3821" y="556"/>
                  </a:lnTo>
                  <a:lnTo>
                    <a:pt x="3821" y="560"/>
                  </a:lnTo>
                  <a:lnTo>
                    <a:pt x="3822" y="562"/>
                  </a:lnTo>
                  <a:lnTo>
                    <a:pt x="3822" y="564"/>
                  </a:lnTo>
                  <a:lnTo>
                    <a:pt x="3822" y="568"/>
                  </a:lnTo>
                  <a:lnTo>
                    <a:pt x="3823" y="570"/>
                  </a:lnTo>
                  <a:lnTo>
                    <a:pt x="3824" y="573"/>
                  </a:lnTo>
                  <a:lnTo>
                    <a:pt x="3827" y="574"/>
                  </a:lnTo>
                  <a:lnTo>
                    <a:pt x="3825" y="578"/>
                  </a:lnTo>
                  <a:lnTo>
                    <a:pt x="3827" y="580"/>
                  </a:lnTo>
                  <a:lnTo>
                    <a:pt x="3828" y="583"/>
                  </a:lnTo>
                  <a:lnTo>
                    <a:pt x="3828" y="586"/>
                  </a:lnTo>
                  <a:lnTo>
                    <a:pt x="3828" y="588"/>
                  </a:lnTo>
                  <a:lnTo>
                    <a:pt x="3828" y="591"/>
                  </a:lnTo>
                  <a:lnTo>
                    <a:pt x="3828" y="594"/>
                  </a:lnTo>
                  <a:lnTo>
                    <a:pt x="3828" y="597"/>
                  </a:lnTo>
                  <a:lnTo>
                    <a:pt x="3831" y="599"/>
                  </a:lnTo>
                  <a:lnTo>
                    <a:pt x="3831" y="601"/>
                  </a:lnTo>
                  <a:lnTo>
                    <a:pt x="3830" y="605"/>
                  </a:lnTo>
                  <a:lnTo>
                    <a:pt x="3832" y="603"/>
                  </a:lnTo>
                  <a:lnTo>
                    <a:pt x="3836" y="600"/>
                  </a:lnTo>
                  <a:lnTo>
                    <a:pt x="3837" y="599"/>
                  </a:lnTo>
                  <a:lnTo>
                    <a:pt x="3840" y="597"/>
                  </a:lnTo>
                  <a:lnTo>
                    <a:pt x="3842" y="594"/>
                  </a:lnTo>
                  <a:lnTo>
                    <a:pt x="3845" y="592"/>
                  </a:lnTo>
                  <a:lnTo>
                    <a:pt x="3847" y="590"/>
                  </a:lnTo>
                  <a:lnTo>
                    <a:pt x="3850" y="588"/>
                  </a:lnTo>
                  <a:lnTo>
                    <a:pt x="3853" y="585"/>
                  </a:lnTo>
                  <a:lnTo>
                    <a:pt x="3853" y="582"/>
                  </a:lnTo>
                  <a:lnTo>
                    <a:pt x="3854" y="580"/>
                  </a:lnTo>
                  <a:lnTo>
                    <a:pt x="3856" y="577"/>
                  </a:lnTo>
                  <a:lnTo>
                    <a:pt x="3856" y="574"/>
                  </a:lnTo>
                  <a:lnTo>
                    <a:pt x="3856" y="571"/>
                  </a:lnTo>
                  <a:lnTo>
                    <a:pt x="3857" y="569"/>
                  </a:lnTo>
                  <a:lnTo>
                    <a:pt x="3855" y="568"/>
                  </a:lnTo>
                  <a:lnTo>
                    <a:pt x="3856" y="565"/>
                  </a:lnTo>
                  <a:lnTo>
                    <a:pt x="3858" y="568"/>
                  </a:lnTo>
                  <a:lnTo>
                    <a:pt x="3861" y="566"/>
                  </a:lnTo>
                  <a:lnTo>
                    <a:pt x="3863" y="564"/>
                  </a:lnTo>
                  <a:lnTo>
                    <a:pt x="3866" y="563"/>
                  </a:lnTo>
                  <a:lnTo>
                    <a:pt x="3868" y="562"/>
                  </a:lnTo>
                  <a:lnTo>
                    <a:pt x="3872" y="562"/>
                  </a:lnTo>
                  <a:lnTo>
                    <a:pt x="3874" y="563"/>
                  </a:lnTo>
                  <a:lnTo>
                    <a:pt x="3875" y="564"/>
                  </a:lnTo>
                  <a:lnTo>
                    <a:pt x="3876" y="562"/>
                  </a:lnTo>
                  <a:lnTo>
                    <a:pt x="3875" y="561"/>
                  </a:lnTo>
                  <a:lnTo>
                    <a:pt x="3874" y="558"/>
                  </a:lnTo>
                  <a:lnTo>
                    <a:pt x="3875" y="555"/>
                  </a:lnTo>
                  <a:lnTo>
                    <a:pt x="3873" y="553"/>
                  </a:lnTo>
                  <a:lnTo>
                    <a:pt x="3874" y="549"/>
                  </a:lnTo>
                  <a:lnTo>
                    <a:pt x="3874" y="547"/>
                  </a:lnTo>
                  <a:lnTo>
                    <a:pt x="3875" y="545"/>
                  </a:lnTo>
                  <a:lnTo>
                    <a:pt x="3879" y="543"/>
                  </a:lnTo>
                  <a:lnTo>
                    <a:pt x="3881" y="540"/>
                  </a:lnTo>
                  <a:lnTo>
                    <a:pt x="3884" y="538"/>
                  </a:lnTo>
                  <a:lnTo>
                    <a:pt x="3887" y="537"/>
                  </a:lnTo>
                  <a:lnTo>
                    <a:pt x="3890" y="536"/>
                  </a:lnTo>
                  <a:lnTo>
                    <a:pt x="3892" y="537"/>
                  </a:lnTo>
                  <a:lnTo>
                    <a:pt x="3895" y="538"/>
                  </a:lnTo>
                  <a:lnTo>
                    <a:pt x="3898" y="537"/>
                  </a:lnTo>
                  <a:lnTo>
                    <a:pt x="3900" y="536"/>
                  </a:lnTo>
                  <a:lnTo>
                    <a:pt x="3904" y="534"/>
                  </a:lnTo>
                  <a:lnTo>
                    <a:pt x="3905" y="531"/>
                  </a:lnTo>
                  <a:lnTo>
                    <a:pt x="3904" y="529"/>
                  </a:lnTo>
                  <a:lnTo>
                    <a:pt x="3900" y="526"/>
                  </a:lnTo>
                  <a:lnTo>
                    <a:pt x="3899" y="523"/>
                  </a:lnTo>
                  <a:lnTo>
                    <a:pt x="3899" y="520"/>
                  </a:lnTo>
                  <a:lnTo>
                    <a:pt x="3899" y="518"/>
                  </a:lnTo>
                  <a:lnTo>
                    <a:pt x="3900" y="514"/>
                  </a:lnTo>
                  <a:lnTo>
                    <a:pt x="3902" y="512"/>
                  </a:lnTo>
                  <a:lnTo>
                    <a:pt x="3904" y="510"/>
                  </a:lnTo>
                  <a:lnTo>
                    <a:pt x="3905" y="506"/>
                  </a:lnTo>
                  <a:lnTo>
                    <a:pt x="3908" y="505"/>
                  </a:lnTo>
                  <a:lnTo>
                    <a:pt x="3909" y="505"/>
                  </a:lnTo>
                  <a:lnTo>
                    <a:pt x="3908" y="502"/>
                  </a:lnTo>
                  <a:lnTo>
                    <a:pt x="3912" y="501"/>
                  </a:lnTo>
                  <a:lnTo>
                    <a:pt x="3914" y="501"/>
                  </a:lnTo>
                  <a:lnTo>
                    <a:pt x="3917" y="498"/>
                  </a:lnTo>
                  <a:lnTo>
                    <a:pt x="3916" y="501"/>
                  </a:lnTo>
                  <a:lnTo>
                    <a:pt x="3913" y="502"/>
                  </a:lnTo>
                  <a:lnTo>
                    <a:pt x="3912" y="505"/>
                  </a:lnTo>
                  <a:lnTo>
                    <a:pt x="3914" y="508"/>
                  </a:lnTo>
                  <a:lnTo>
                    <a:pt x="3916" y="509"/>
                  </a:lnTo>
                  <a:lnTo>
                    <a:pt x="3919" y="506"/>
                  </a:lnTo>
                  <a:lnTo>
                    <a:pt x="3922" y="504"/>
                  </a:lnTo>
                  <a:lnTo>
                    <a:pt x="3921" y="501"/>
                  </a:lnTo>
                  <a:lnTo>
                    <a:pt x="3921" y="498"/>
                  </a:lnTo>
                  <a:lnTo>
                    <a:pt x="3921" y="496"/>
                  </a:lnTo>
                  <a:lnTo>
                    <a:pt x="3917" y="495"/>
                  </a:lnTo>
                  <a:lnTo>
                    <a:pt x="3915" y="495"/>
                  </a:lnTo>
                  <a:lnTo>
                    <a:pt x="3914" y="492"/>
                  </a:lnTo>
                  <a:lnTo>
                    <a:pt x="3914" y="489"/>
                  </a:lnTo>
                  <a:lnTo>
                    <a:pt x="3914" y="487"/>
                  </a:lnTo>
                  <a:lnTo>
                    <a:pt x="3914" y="486"/>
                  </a:lnTo>
                  <a:lnTo>
                    <a:pt x="3914" y="483"/>
                  </a:lnTo>
                  <a:lnTo>
                    <a:pt x="3916" y="480"/>
                  </a:lnTo>
                  <a:lnTo>
                    <a:pt x="3919" y="478"/>
                  </a:lnTo>
                  <a:lnTo>
                    <a:pt x="3921" y="476"/>
                  </a:lnTo>
                  <a:lnTo>
                    <a:pt x="3918" y="474"/>
                  </a:lnTo>
                  <a:lnTo>
                    <a:pt x="3915" y="472"/>
                  </a:lnTo>
                  <a:lnTo>
                    <a:pt x="3913" y="470"/>
                  </a:lnTo>
                  <a:lnTo>
                    <a:pt x="3909" y="472"/>
                  </a:lnTo>
                  <a:lnTo>
                    <a:pt x="3909" y="475"/>
                  </a:lnTo>
                  <a:lnTo>
                    <a:pt x="3907" y="475"/>
                  </a:lnTo>
                  <a:lnTo>
                    <a:pt x="3905" y="472"/>
                  </a:lnTo>
                  <a:lnTo>
                    <a:pt x="3902" y="470"/>
                  </a:lnTo>
                  <a:lnTo>
                    <a:pt x="3902" y="467"/>
                  </a:lnTo>
                  <a:lnTo>
                    <a:pt x="3905" y="461"/>
                  </a:lnTo>
                  <a:lnTo>
                    <a:pt x="3907" y="459"/>
                  </a:lnTo>
                  <a:lnTo>
                    <a:pt x="3909" y="457"/>
                  </a:lnTo>
                  <a:lnTo>
                    <a:pt x="3912" y="454"/>
                  </a:lnTo>
                  <a:lnTo>
                    <a:pt x="3915" y="452"/>
                  </a:lnTo>
                  <a:lnTo>
                    <a:pt x="3917" y="450"/>
                  </a:lnTo>
                  <a:lnTo>
                    <a:pt x="3915" y="447"/>
                  </a:lnTo>
                  <a:lnTo>
                    <a:pt x="3917" y="447"/>
                  </a:lnTo>
                  <a:lnTo>
                    <a:pt x="3918" y="444"/>
                  </a:lnTo>
                  <a:lnTo>
                    <a:pt x="3921" y="444"/>
                  </a:lnTo>
                  <a:lnTo>
                    <a:pt x="3921" y="442"/>
                  </a:lnTo>
                  <a:lnTo>
                    <a:pt x="3919" y="438"/>
                  </a:lnTo>
                  <a:lnTo>
                    <a:pt x="3922" y="437"/>
                  </a:lnTo>
                  <a:lnTo>
                    <a:pt x="3922" y="435"/>
                  </a:lnTo>
                  <a:lnTo>
                    <a:pt x="3923" y="433"/>
                  </a:lnTo>
                  <a:lnTo>
                    <a:pt x="3926" y="432"/>
                  </a:lnTo>
                  <a:lnTo>
                    <a:pt x="3925" y="429"/>
                  </a:lnTo>
                  <a:lnTo>
                    <a:pt x="3929" y="428"/>
                  </a:lnTo>
                  <a:lnTo>
                    <a:pt x="3931" y="429"/>
                  </a:lnTo>
                  <a:lnTo>
                    <a:pt x="3932" y="429"/>
                  </a:lnTo>
                  <a:lnTo>
                    <a:pt x="3931" y="433"/>
                  </a:lnTo>
                  <a:lnTo>
                    <a:pt x="3934" y="430"/>
                  </a:lnTo>
                  <a:lnTo>
                    <a:pt x="3935" y="429"/>
                  </a:lnTo>
                  <a:lnTo>
                    <a:pt x="3938" y="428"/>
                  </a:lnTo>
                  <a:lnTo>
                    <a:pt x="3940" y="429"/>
                  </a:lnTo>
                  <a:lnTo>
                    <a:pt x="3941" y="433"/>
                  </a:lnTo>
                  <a:lnTo>
                    <a:pt x="3943" y="433"/>
                  </a:lnTo>
                  <a:lnTo>
                    <a:pt x="3947" y="430"/>
                  </a:lnTo>
                  <a:lnTo>
                    <a:pt x="3947" y="429"/>
                  </a:lnTo>
                  <a:lnTo>
                    <a:pt x="3944" y="428"/>
                  </a:lnTo>
                  <a:lnTo>
                    <a:pt x="3947" y="428"/>
                  </a:lnTo>
                  <a:lnTo>
                    <a:pt x="3950" y="426"/>
                  </a:lnTo>
                  <a:lnTo>
                    <a:pt x="3952" y="425"/>
                  </a:lnTo>
                  <a:lnTo>
                    <a:pt x="3956" y="424"/>
                  </a:lnTo>
                  <a:lnTo>
                    <a:pt x="3958" y="421"/>
                  </a:lnTo>
                  <a:lnTo>
                    <a:pt x="3960" y="420"/>
                  </a:lnTo>
                  <a:lnTo>
                    <a:pt x="3961" y="423"/>
                  </a:lnTo>
                  <a:lnTo>
                    <a:pt x="3961" y="426"/>
                  </a:lnTo>
                  <a:lnTo>
                    <a:pt x="3960" y="428"/>
                  </a:lnTo>
                  <a:lnTo>
                    <a:pt x="3960" y="429"/>
                  </a:lnTo>
                  <a:lnTo>
                    <a:pt x="3959" y="433"/>
                  </a:lnTo>
                  <a:lnTo>
                    <a:pt x="3963" y="433"/>
                  </a:lnTo>
                  <a:lnTo>
                    <a:pt x="3965" y="430"/>
                  </a:lnTo>
                  <a:lnTo>
                    <a:pt x="3965" y="429"/>
                  </a:lnTo>
                  <a:lnTo>
                    <a:pt x="3968" y="427"/>
                  </a:lnTo>
                  <a:lnTo>
                    <a:pt x="3970" y="425"/>
                  </a:lnTo>
                  <a:lnTo>
                    <a:pt x="3973" y="421"/>
                  </a:lnTo>
                  <a:lnTo>
                    <a:pt x="3975" y="423"/>
                  </a:lnTo>
                  <a:lnTo>
                    <a:pt x="3977" y="421"/>
                  </a:lnTo>
                  <a:lnTo>
                    <a:pt x="3981" y="420"/>
                  </a:lnTo>
                  <a:lnTo>
                    <a:pt x="3983" y="419"/>
                  </a:lnTo>
                  <a:lnTo>
                    <a:pt x="3986" y="418"/>
                  </a:lnTo>
                  <a:lnTo>
                    <a:pt x="3989" y="418"/>
                  </a:lnTo>
                  <a:lnTo>
                    <a:pt x="3992" y="418"/>
                  </a:lnTo>
                  <a:lnTo>
                    <a:pt x="3994" y="418"/>
                  </a:lnTo>
                  <a:lnTo>
                    <a:pt x="3998" y="418"/>
                  </a:lnTo>
                  <a:lnTo>
                    <a:pt x="4000" y="418"/>
                  </a:lnTo>
                  <a:lnTo>
                    <a:pt x="4002" y="417"/>
                  </a:lnTo>
                  <a:lnTo>
                    <a:pt x="4006" y="419"/>
                  </a:lnTo>
                  <a:lnTo>
                    <a:pt x="4007" y="420"/>
                  </a:lnTo>
                  <a:lnTo>
                    <a:pt x="4009" y="423"/>
                  </a:lnTo>
                  <a:lnTo>
                    <a:pt x="4011" y="425"/>
                  </a:lnTo>
                  <a:lnTo>
                    <a:pt x="4011" y="427"/>
                  </a:lnTo>
                  <a:lnTo>
                    <a:pt x="4012" y="428"/>
                  </a:lnTo>
                  <a:lnTo>
                    <a:pt x="4015" y="429"/>
                  </a:lnTo>
                  <a:lnTo>
                    <a:pt x="4017" y="432"/>
                  </a:lnTo>
                  <a:lnTo>
                    <a:pt x="4018" y="429"/>
                  </a:lnTo>
                  <a:lnTo>
                    <a:pt x="4019" y="427"/>
                  </a:lnTo>
                  <a:lnTo>
                    <a:pt x="4019" y="425"/>
                  </a:lnTo>
                  <a:lnTo>
                    <a:pt x="4021" y="421"/>
                  </a:lnTo>
                  <a:lnTo>
                    <a:pt x="4024" y="419"/>
                  </a:lnTo>
                  <a:lnTo>
                    <a:pt x="4026" y="419"/>
                  </a:lnTo>
                  <a:lnTo>
                    <a:pt x="4029" y="418"/>
                  </a:lnTo>
                  <a:lnTo>
                    <a:pt x="4032" y="415"/>
                  </a:lnTo>
                  <a:lnTo>
                    <a:pt x="4035" y="415"/>
                  </a:lnTo>
                  <a:lnTo>
                    <a:pt x="4037" y="412"/>
                  </a:lnTo>
                  <a:lnTo>
                    <a:pt x="4041" y="412"/>
                  </a:lnTo>
                  <a:lnTo>
                    <a:pt x="4042" y="411"/>
                  </a:lnTo>
                  <a:lnTo>
                    <a:pt x="4042" y="409"/>
                  </a:lnTo>
                  <a:lnTo>
                    <a:pt x="4045" y="409"/>
                  </a:lnTo>
                  <a:lnTo>
                    <a:pt x="4043" y="407"/>
                  </a:lnTo>
                  <a:lnTo>
                    <a:pt x="4046" y="404"/>
                  </a:lnTo>
                  <a:lnTo>
                    <a:pt x="4049" y="406"/>
                  </a:lnTo>
                  <a:lnTo>
                    <a:pt x="4050" y="402"/>
                  </a:lnTo>
                  <a:lnTo>
                    <a:pt x="4052" y="403"/>
                  </a:lnTo>
                  <a:lnTo>
                    <a:pt x="4051" y="401"/>
                  </a:lnTo>
                  <a:lnTo>
                    <a:pt x="4053" y="400"/>
                  </a:lnTo>
                  <a:lnTo>
                    <a:pt x="4055" y="401"/>
                  </a:lnTo>
                  <a:lnTo>
                    <a:pt x="4058" y="398"/>
                  </a:lnTo>
                  <a:lnTo>
                    <a:pt x="4061" y="395"/>
                  </a:lnTo>
                  <a:lnTo>
                    <a:pt x="4063" y="394"/>
                  </a:lnTo>
                  <a:lnTo>
                    <a:pt x="4066" y="394"/>
                  </a:lnTo>
                  <a:lnTo>
                    <a:pt x="4069" y="393"/>
                  </a:lnTo>
                  <a:lnTo>
                    <a:pt x="4071" y="392"/>
                  </a:lnTo>
                  <a:lnTo>
                    <a:pt x="4074" y="392"/>
                  </a:lnTo>
                  <a:lnTo>
                    <a:pt x="4077" y="392"/>
                  </a:lnTo>
                  <a:lnTo>
                    <a:pt x="4076" y="389"/>
                  </a:lnTo>
                  <a:lnTo>
                    <a:pt x="4078" y="390"/>
                  </a:lnTo>
                  <a:lnTo>
                    <a:pt x="4081" y="389"/>
                  </a:lnTo>
                  <a:lnTo>
                    <a:pt x="4084" y="387"/>
                  </a:lnTo>
                  <a:lnTo>
                    <a:pt x="4085" y="385"/>
                  </a:lnTo>
                  <a:lnTo>
                    <a:pt x="4087" y="385"/>
                  </a:lnTo>
                  <a:lnTo>
                    <a:pt x="4091" y="384"/>
                  </a:lnTo>
                  <a:lnTo>
                    <a:pt x="4093" y="383"/>
                  </a:lnTo>
                  <a:lnTo>
                    <a:pt x="4096" y="383"/>
                  </a:lnTo>
                  <a:lnTo>
                    <a:pt x="4098" y="382"/>
                  </a:lnTo>
                  <a:lnTo>
                    <a:pt x="4102" y="380"/>
                  </a:lnTo>
                  <a:lnTo>
                    <a:pt x="4104" y="377"/>
                  </a:lnTo>
                  <a:lnTo>
                    <a:pt x="4107" y="377"/>
                  </a:lnTo>
                  <a:lnTo>
                    <a:pt x="4110" y="376"/>
                  </a:lnTo>
                  <a:lnTo>
                    <a:pt x="4107" y="374"/>
                  </a:lnTo>
                  <a:lnTo>
                    <a:pt x="4109" y="370"/>
                  </a:lnTo>
                  <a:lnTo>
                    <a:pt x="4109" y="370"/>
                  </a:lnTo>
                  <a:lnTo>
                    <a:pt x="4111" y="373"/>
                  </a:lnTo>
                  <a:lnTo>
                    <a:pt x="4113" y="372"/>
                  </a:lnTo>
                  <a:lnTo>
                    <a:pt x="4113" y="374"/>
                  </a:lnTo>
                  <a:lnTo>
                    <a:pt x="4115" y="376"/>
                  </a:lnTo>
                  <a:lnTo>
                    <a:pt x="4119" y="376"/>
                  </a:lnTo>
                  <a:lnTo>
                    <a:pt x="4121" y="376"/>
                  </a:lnTo>
                  <a:lnTo>
                    <a:pt x="4124" y="377"/>
                  </a:lnTo>
                  <a:lnTo>
                    <a:pt x="4127" y="378"/>
                  </a:lnTo>
                  <a:lnTo>
                    <a:pt x="4130" y="380"/>
                  </a:lnTo>
                  <a:lnTo>
                    <a:pt x="4132" y="380"/>
                  </a:lnTo>
                  <a:lnTo>
                    <a:pt x="4135" y="381"/>
                  </a:lnTo>
                  <a:lnTo>
                    <a:pt x="4138" y="382"/>
                  </a:lnTo>
                  <a:lnTo>
                    <a:pt x="4137" y="378"/>
                  </a:lnTo>
                  <a:lnTo>
                    <a:pt x="4140" y="377"/>
                  </a:lnTo>
                  <a:lnTo>
                    <a:pt x="4143" y="375"/>
                  </a:lnTo>
                  <a:lnTo>
                    <a:pt x="4144" y="373"/>
                  </a:lnTo>
                  <a:lnTo>
                    <a:pt x="4143" y="369"/>
                  </a:lnTo>
                  <a:lnTo>
                    <a:pt x="4140" y="369"/>
                  </a:lnTo>
                  <a:lnTo>
                    <a:pt x="4139" y="366"/>
                  </a:lnTo>
                  <a:lnTo>
                    <a:pt x="4140" y="364"/>
                  </a:lnTo>
                  <a:lnTo>
                    <a:pt x="4138" y="361"/>
                  </a:lnTo>
                  <a:lnTo>
                    <a:pt x="4135" y="360"/>
                  </a:lnTo>
                  <a:lnTo>
                    <a:pt x="4135" y="359"/>
                  </a:lnTo>
                  <a:lnTo>
                    <a:pt x="4134" y="356"/>
                  </a:lnTo>
                  <a:lnTo>
                    <a:pt x="4132" y="359"/>
                  </a:lnTo>
                  <a:lnTo>
                    <a:pt x="4132" y="356"/>
                  </a:lnTo>
                  <a:lnTo>
                    <a:pt x="4130" y="355"/>
                  </a:lnTo>
                  <a:lnTo>
                    <a:pt x="4127" y="356"/>
                  </a:lnTo>
                  <a:lnTo>
                    <a:pt x="4130" y="353"/>
                  </a:lnTo>
                  <a:lnTo>
                    <a:pt x="4132" y="353"/>
                  </a:lnTo>
                  <a:lnTo>
                    <a:pt x="4132" y="351"/>
                  </a:lnTo>
                  <a:lnTo>
                    <a:pt x="4131" y="348"/>
                  </a:lnTo>
                  <a:lnTo>
                    <a:pt x="4130" y="346"/>
                  </a:lnTo>
                  <a:lnTo>
                    <a:pt x="4129" y="343"/>
                  </a:lnTo>
                  <a:lnTo>
                    <a:pt x="4128" y="340"/>
                  </a:lnTo>
                  <a:lnTo>
                    <a:pt x="4127" y="338"/>
                  </a:lnTo>
                  <a:lnTo>
                    <a:pt x="4123" y="340"/>
                  </a:lnTo>
                  <a:lnTo>
                    <a:pt x="4121" y="340"/>
                  </a:lnTo>
                  <a:lnTo>
                    <a:pt x="4118" y="339"/>
                  </a:lnTo>
                  <a:lnTo>
                    <a:pt x="4115" y="337"/>
                  </a:lnTo>
                  <a:lnTo>
                    <a:pt x="4113" y="334"/>
                  </a:lnTo>
                  <a:lnTo>
                    <a:pt x="4114" y="331"/>
                  </a:lnTo>
                  <a:lnTo>
                    <a:pt x="4113" y="329"/>
                  </a:lnTo>
                  <a:lnTo>
                    <a:pt x="4111" y="330"/>
                  </a:lnTo>
                  <a:lnTo>
                    <a:pt x="4109" y="330"/>
                  </a:lnTo>
                  <a:lnTo>
                    <a:pt x="4105" y="332"/>
                  </a:lnTo>
                  <a:lnTo>
                    <a:pt x="4103" y="331"/>
                  </a:lnTo>
                  <a:lnTo>
                    <a:pt x="4100" y="331"/>
                  </a:lnTo>
                  <a:lnTo>
                    <a:pt x="4097" y="332"/>
                  </a:lnTo>
                  <a:lnTo>
                    <a:pt x="4100" y="331"/>
                  </a:lnTo>
                  <a:lnTo>
                    <a:pt x="4098" y="327"/>
                  </a:lnTo>
                  <a:lnTo>
                    <a:pt x="4096" y="325"/>
                  </a:lnTo>
                  <a:lnTo>
                    <a:pt x="4094" y="325"/>
                  </a:lnTo>
                  <a:lnTo>
                    <a:pt x="4097" y="325"/>
                  </a:lnTo>
                  <a:lnTo>
                    <a:pt x="4100" y="326"/>
                  </a:lnTo>
                  <a:lnTo>
                    <a:pt x="4103" y="326"/>
                  </a:lnTo>
                  <a:lnTo>
                    <a:pt x="4105" y="326"/>
                  </a:lnTo>
                  <a:lnTo>
                    <a:pt x="4109" y="327"/>
                  </a:lnTo>
                  <a:lnTo>
                    <a:pt x="4111" y="327"/>
                  </a:lnTo>
                  <a:lnTo>
                    <a:pt x="4112" y="325"/>
                  </a:lnTo>
                  <a:lnTo>
                    <a:pt x="4109" y="323"/>
                  </a:lnTo>
                  <a:lnTo>
                    <a:pt x="4106" y="322"/>
                  </a:lnTo>
                  <a:lnTo>
                    <a:pt x="4103" y="323"/>
                  </a:lnTo>
                  <a:lnTo>
                    <a:pt x="4101" y="322"/>
                  </a:lnTo>
                  <a:lnTo>
                    <a:pt x="4103" y="323"/>
                  </a:lnTo>
                  <a:lnTo>
                    <a:pt x="4106" y="322"/>
                  </a:lnTo>
                  <a:lnTo>
                    <a:pt x="4109" y="322"/>
                  </a:lnTo>
                  <a:lnTo>
                    <a:pt x="4112" y="324"/>
                  </a:lnTo>
                  <a:lnTo>
                    <a:pt x="4114" y="325"/>
                  </a:lnTo>
                  <a:lnTo>
                    <a:pt x="4115" y="327"/>
                  </a:lnTo>
                  <a:lnTo>
                    <a:pt x="4118" y="330"/>
                  </a:lnTo>
                  <a:lnTo>
                    <a:pt x="4121" y="330"/>
                  </a:lnTo>
                  <a:lnTo>
                    <a:pt x="4123" y="331"/>
                  </a:lnTo>
                  <a:lnTo>
                    <a:pt x="4127" y="331"/>
                  </a:lnTo>
                  <a:lnTo>
                    <a:pt x="4129" y="331"/>
                  </a:lnTo>
                  <a:lnTo>
                    <a:pt x="4132" y="330"/>
                  </a:lnTo>
                  <a:lnTo>
                    <a:pt x="4130" y="332"/>
                  </a:lnTo>
                  <a:lnTo>
                    <a:pt x="4132" y="331"/>
                  </a:lnTo>
                  <a:lnTo>
                    <a:pt x="4135" y="330"/>
                  </a:lnTo>
                  <a:lnTo>
                    <a:pt x="4138" y="329"/>
                  </a:lnTo>
                  <a:lnTo>
                    <a:pt x="4140" y="327"/>
                  </a:lnTo>
                  <a:lnTo>
                    <a:pt x="4143" y="326"/>
                  </a:lnTo>
                  <a:lnTo>
                    <a:pt x="4146" y="324"/>
                  </a:lnTo>
                  <a:lnTo>
                    <a:pt x="4148" y="322"/>
                  </a:lnTo>
                  <a:lnTo>
                    <a:pt x="4149" y="322"/>
                  </a:lnTo>
                  <a:lnTo>
                    <a:pt x="4152" y="322"/>
                  </a:lnTo>
                  <a:lnTo>
                    <a:pt x="4154" y="320"/>
                  </a:lnTo>
                  <a:lnTo>
                    <a:pt x="4156" y="317"/>
                  </a:lnTo>
                  <a:lnTo>
                    <a:pt x="4155" y="314"/>
                  </a:lnTo>
                  <a:lnTo>
                    <a:pt x="4153" y="315"/>
                  </a:lnTo>
                  <a:lnTo>
                    <a:pt x="4149" y="316"/>
                  </a:lnTo>
                  <a:lnTo>
                    <a:pt x="4149" y="314"/>
                  </a:lnTo>
                  <a:lnTo>
                    <a:pt x="4151" y="314"/>
                  </a:lnTo>
                  <a:lnTo>
                    <a:pt x="4154" y="314"/>
                  </a:lnTo>
                  <a:lnTo>
                    <a:pt x="4156" y="314"/>
                  </a:lnTo>
                  <a:lnTo>
                    <a:pt x="4160" y="312"/>
                  </a:lnTo>
                  <a:lnTo>
                    <a:pt x="4157" y="308"/>
                  </a:lnTo>
                  <a:lnTo>
                    <a:pt x="4155" y="306"/>
                  </a:lnTo>
                  <a:lnTo>
                    <a:pt x="4153" y="304"/>
                  </a:lnTo>
                  <a:lnTo>
                    <a:pt x="4152" y="300"/>
                  </a:lnTo>
                  <a:lnTo>
                    <a:pt x="4154" y="298"/>
                  </a:lnTo>
                  <a:lnTo>
                    <a:pt x="4156" y="298"/>
                  </a:lnTo>
                  <a:lnTo>
                    <a:pt x="4160" y="297"/>
                  </a:lnTo>
                  <a:lnTo>
                    <a:pt x="4160" y="295"/>
                  </a:lnTo>
                  <a:lnTo>
                    <a:pt x="4162" y="292"/>
                  </a:lnTo>
                  <a:lnTo>
                    <a:pt x="4162" y="296"/>
                  </a:lnTo>
                  <a:lnTo>
                    <a:pt x="4164" y="297"/>
                  </a:lnTo>
                  <a:lnTo>
                    <a:pt x="4168" y="295"/>
                  </a:lnTo>
                  <a:lnTo>
                    <a:pt x="4170" y="293"/>
                  </a:lnTo>
                  <a:lnTo>
                    <a:pt x="4169" y="296"/>
                  </a:lnTo>
                  <a:lnTo>
                    <a:pt x="4168" y="299"/>
                  </a:lnTo>
                  <a:lnTo>
                    <a:pt x="4165" y="301"/>
                  </a:lnTo>
                  <a:lnTo>
                    <a:pt x="4166" y="305"/>
                  </a:lnTo>
                  <a:lnTo>
                    <a:pt x="4170" y="306"/>
                  </a:lnTo>
                  <a:lnTo>
                    <a:pt x="4170" y="309"/>
                  </a:lnTo>
                  <a:lnTo>
                    <a:pt x="4169" y="312"/>
                  </a:lnTo>
                  <a:lnTo>
                    <a:pt x="4172" y="313"/>
                  </a:lnTo>
                  <a:lnTo>
                    <a:pt x="4181" y="313"/>
                  </a:lnTo>
                  <a:lnTo>
                    <a:pt x="4183" y="313"/>
                  </a:lnTo>
                  <a:lnTo>
                    <a:pt x="4186" y="312"/>
                  </a:lnTo>
                  <a:lnTo>
                    <a:pt x="4189" y="309"/>
                  </a:lnTo>
                  <a:lnTo>
                    <a:pt x="4191" y="309"/>
                  </a:lnTo>
                  <a:lnTo>
                    <a:pt x="4195" y="310"/>
                  </a:lnTo>
                  <a:lnTo>
                    <a:pt x="4197" y="312"/>
                  </a:lnTo>
                  <a:lnTo>
                    <a:pt x="4199" y="313"/>
                  </a:lnTo>
                  <a:lnTo>
                    <a:pt x="4203" y="313"/>
                  </a:lnTo>
                  <a:lnTo>
                    <a:pt x="4205" y="314"/>
                  </a:lnTo>
                  <a:lnTo>
                    <a:pt x="4206" y="317"/>
                  </a:lnTo>
                  <a:lnTo>
                    <a:pt x="4207" y="320"/>
                  </a:lnTo>
                  <a:lnTo>
                    <a:pt x="4206" y="323"/>
                  </a:lnTo>
                  <a:lnTo>
                    <a:pt x="4208" y="325"/>
                  </a:lnTo>
                  <a:lnTo>
                    <a:pt x="4212" y="326"/>
                  </a:lnTo>
                  <a:lnTo>
                    <a:pt x="4214" y="327"/>
                  </a:lnTo>
                  <a:lnTo>
                    <a:pt x="4217" y="329"/>
                  </a:lnTo>
                  <a:lnTo>
                    <a:pt x="4220" y="329"/>
                  </a:lnTo>
                  <a:lnTo>
                    <a:pt x="4223" y="330"/>
                  </a:lnTo>
                  <a:lnTo>
                    <a:pt x="4225" y="331"/>
                  </a:lnTo>
                  <a:lnTo>
                    <a:pt x="4228" y="331"/>
                  </a:lnTo>
                  <a:lnTo>
                    <a:pt x="4230" y="333"/>
                  </a:lnTo>
                  <a:lnTo>
                    <a:pt x="4231" y="335"/>
                  </a:lnTo>
                  <a:lnTo>
                    <a:pt x="4233" y="337"/>
                  </a:lnTo>
                  <a:lnTo>
                    <a:pt x="4237" y="338"/>
                  </a:lnTo>
                  <a:lnTo>
                    <a:pt x="4239" y="337"/>
                  </a:lnTo>
                  <a:lnTo>
                    <a:pt x="4240" y="334"/>
                  </a:lnTo>
                  <a:lnTo>
                    <a:pt x="4240" y="332"/>
                  </a:lnTo>
                  <a:lnTo>
                    <a:pt x="4241" y="334"/>
                  </a:lnTo>
                  <a:lnTo>
                    <a:pt x="4240" y="338"/>
                  </a:lnTo>
                  <a:lnTo>
                    <a:pt x="4242" y="340"/>
                  </a:lnTo>
                  <a:lnTo>
                    <a:pt x="4242" y="340"/>
                  </a:lnTo>
                  <a:lnTo>
                    <a:pt x="4246" y="339"/>
                  </a:lnTo>
                  <a:lnTo>
                    <a:pt x="4247" y="337"/>
                  </a:lnTo>
                  <a:lnTo>
                    <a:pt x="4252" y="337"/>
                  </a:lnTo>
                  <a:lnTo>
                    <a:pt x="4255" y="335"/>
                  </a:lnTo>
                  <a:lnTo>
                    <a:pt x="4252" y="333"/>
                  </a:lnTo>
                  <a:lnTo>
                    <a:pt x="4250" y="332"/>
                  </a:lnTo>
                  <a:lnTo>
                    <a:pt x="4248" y="331"/>
                  </a:lnTo>
                  <a:lnTo>
                    <a:pt x="4245" y="331"/>
                  </a:lnTo>
                  <a:lnTo>
                    <a:pt x="4247" y="330"/>
                  </a:lnTo>
                  <a:lnTo>
                    <a:pt x="4247" y="326"/>
                  </a:lnTo>
                  <a:lnTo>
                    <a:pt x="4243" y="327"/>
                  </a:lnTo>
                  <a:lnTo>
                    <a:pt x="4247" y="326"/>
                  </a:lnTo>
                  <a:lnTo>
                    <a:pt x="4249" y="326"/>
                  </a:lnTo>
                  <a:lnTo>
                    <a:pt x="4252" y="325"/>
                  </a:lnTo>
                  <a:lnTo>
                    <a:pt x="4255" y="324"/>
                  </a:lnTo>
                  <a:lnTo>
                    <a:pt x="4257" y="321"/>
                  </a:lnTo>
                  <a:lnTo>
                    <a:pt x="4255" y="318"/>
                  </a:lnTo>
                  <a:lnTo>
                    <a:pt x="4251" y="318"/>
                  </a:lnTo>
                  <a:lnTo>
                    <a:pt x="4255" y="317"/>
                  </a:lnTo>
                  <a:lnTo>
                    <a:pt x="4256" y="318"/>
                  </a:lnTo>
                  <a:lnTo>
                    <a:pt x="4256" y="315"/>
                  </a:lnTo>
                  <a:lnTo>
                    <a:pt x="4257" y="313"/>
                  </a:lnTo>
                  <a:lnTo>
                    <a:pt x="4255" y="314"/>
                  </a:lnTo>
                  <a:lnTo>
                    <a:pt x="4254" y="310"/>
                  </a:lnTo>
                  <a:lnTo>
                    <a:pt x="4250" y="309"/>
                  </a:lnTo>
                  <a:lnTo>
                    <a:pt x="4248" y="308"/>
                  </a:lnTo>
                  <a:lnTo>
                    <a:pt x="4250" y="307"/>
                  </a:lnTo>
                  <a:lnTo>
                    <a:pt x="4254" y="308"/>
                  </a:lnTo>
                  <a:lnTo>
                    <a:pt x="4255" y="310"/>
                  </a:lnTo>
                  <a:lnTo>
                    <a:pt x="4257" y="310"/>
                  </a:lnTo>
                  <a:lnTo>
                    <a:pt x="4260" y="312"/>
                  </a:lnTo>
                  <a:lnTo>
                    <a:pt x="4263" y="312"/>
                  </a:lnTo>
                  <a:lnTo>
                    <a:pt x="4266" y="312"/>
                  </a:lnTo>
                  <a:lnTo>
                    <a:pt x="4268" y="312"/>
                  </a:lnTo>
                  <a:lnTo>
                    <a:pt x="4272" y="313"/>
                  </a:lnTo>
                  <a:lnTo>
                    <a:pt x="4273" y="309"/>
                  </a:lnTo>
                  <a:lnTo>
                    <a:pt x="4269" y="309"/>
                  </a:lnTo>
                  <a:lnTo>
                    <a:pt x="4267" y="306"/>
                  </a:lnTo>
                  <a:lnTo>
                    <a:pt x="4269" y="307"/>
                  </a:lnTo>
                  <a:lnTo>
                    <a:pt x="4273" y="308"/>
                  </a:lnTo>
                  <a:lnTo>
                    <a:pt x="4275" y="309"/>
                  </a:lnTo>
                  <a:lnTo>
                    <a:pt x="4279" y="309"/>
                  </a:lnTo>
                  <a:lnTo>
                    <a:pt x="4280" y="307"/>
                  </a:lnTo>
                  <a:lnTo>
                    <a:pt x="4280" y="305"/>
                  </a:lnTo>
                  <a:lnTo>
                    <a:pt x="4282" y="301"/>
                  </a:lnTo>
                  <a:lnTo>
                    <a:pt x="4285" y="300"/>
                  </a:lnTo>
                  <a:lnTo>
                    <a:pt x="4286" y="300"/>
                  </a:lnTo>
                  <a:lnTo>
                    <a:pt x="4290" y="301"/>
                  </a:lnTo>
                  <a:lnTo>
                    <a:pt x="4291" y="298"/>
                  </a:lnTo>
                  <a:lnTo>
                    <a:pt x="4288" y="297"/>
                  </a:lnTo>
                  <a:close/>
                  <a:moveTo>
                    <a:pt x="2110" y="1489"/>
                  </a:moveTo>
                  <a:lnTo>
                    <a:pt x="2107" y="1487"/>
                  </a:lnTo>
                  <a:lnTo>
                    <a:pt x="2106" y="1486"/>
                  </a:lnTo>
                  <a:lnTo>
                    <a:pt x="2103" y="1486"/>
                  </a:lnTo>
                  <a:lnTo>
                    <a:pt x="2101" y="1484"/>
                  </a:lnTo>
                  <a:lnTo>
                    <a:pt x="2104" y="1481"/>
                  </a:lnTo>
                  <a:lnTo>
                    <a:pt x="2103" y="1479"/>
                  </a:lnTo>
                  <a:lnTo>
                    <a:pt x="2099" y="1477"/>
                  </a:lnTo>
                  <a:lnTo>
                    <a:pt x="2098" y="1475"/>
                  </a:lnTo>
                  <a:lnTo>
                    <a:pt x="2098" y="1469"/>
                  </a:lnTo>
                  <a:lnTo>
                    <a:pt x="2096" y="1467"/>
                  </a:lnTo>
                  <a:lnTo>
                    <a:pt x="2092" y="1466"/>
                  </a:lnTo>
                  <a:lnTo>
                    <a:pt x="2089" y="1460"/>
                  </a:lnTo>
                  <a:lnTo>
                    <a:pt x="2087" y="1454"/>
                  </a:lnTo>
                  <a:lnTo>
                    <a:pt x="2084" y="1452"/>
                  </a:lnTo>
                  <a:lnTo>
                    <a:pt x="2084" y="1450"/>
                  </a:lnTo>
                  <a:lnTo>
                    <a:pt x="2087" y="1447"/>
                  </a:lnTo>
                  <a:lnTo>
                    <a:pt x="2087" y="1444"/>
                  </a:lnTo>
                  <a:lnTo>
                    <a:pt x="2084" y="1442"/>
                  </a:lnTo>
                  <a:lnTo>
                    <a:pt x="2083" y="1439"/>
                  </a:lnTo>
                  <a:lnTo>
                    <a:pt x="2083" y="1435"/>
                  </a:lnTo>
                  <a:lnTo>
                    <a:pt x="2083" y="1432"/>
                  </a:lnTo>
                  <a:lnTo>
                    <a:pt x="2086" y="1426"/>
                  </a:lnTo>
                  <a:lnTo>
                    <a:pt x="2082" y="1428"/>
                  </a:lnTo>
                  <a:lnTo>
                    <a:pt x="2083" y="1425"/>
                  </a:lnTo>
                  <a:lnTo>
                    <a:pt x="2084" y="1417"/>
                  </a:lnTo>
                  <a:lnTo>
                    <a:pt x="2084" y="1415"/>
                  </a:lnTo>
                  <a:lnTo>
                    <a:pt x="2086" y="1415"/>
                  </a:lnTo>
                  <a:lnTo>
                    <a:pt x="2087" y="1417"/>
                  </a:lnTo>
                  <a:lnTo>
                    <a:pt x="2087" y="1420"/>
                  </a:lnTo>
                  <a:lnTo>
                    <a:pt x="2091" y="1429"/>
                  </a:lnTo>
                  <a:lnTo>
                    <a:pt x="2090" y="1435"/>
                  </a:lnTo>
                  <a:lnTo>
                    <a:pt x="2092" y="1437"/>
                  </a:lnTo>
                  <a:lnTo>
                    <a:pt x="2092" y="1439"/>
                  </a:lnTo>
                  <a:lnTo>
                    <a:pt x="2092" y="1442"/>
                  </a:lnTo>
                  <a:lnTo>
                    <a:pt x="2092" y="1445"/>
                  </a:lnTo>
                  <a:lnTo>
                    <a:pt x="2095" y="1447"/>
                  </a:lnTo>
                  <a:lnTo>
                    <a:pt x="2095" y="1450"/>
                  </a:lnTo>
                  <a:lnTo>
                    <a:pt x="2091" y="1453"/>
                  </a:lnTo>
                  <a:lnTo>
                    <a:pt x="2092" y="1455"/>
                  </a:lnTo>
                  <a:lnTo>
                    <a:pt x="2096" y="1458"/>
                  </a:lnTo>
                  <a:lnTo>
                    <a:pt x="2098" y="1459"/>
                  </a:lnTo>
                  <a:lnTo>
                    <a:pt x="2103" y="1463"/>
                  </a:lnTo>
                  <a:lnTo>
                    <a:pt x="2104" y="1469"/>
                  </a:lnTo>
                  <a:lnTo>
                    <a:pt x="2104" y="1471"/>
                  </a:lnTo>
                  <a:lnTo>
                    <a:pt x="2108" y="1479"/>
                  </a:lnTo>
                  <a:lnTo>
                    <a:pt x="2108" y="1481"/>
                  </a:lnTo>
                  <a:lnTo>
                    <a:pt x="2110" y="1484"/>
                  </a:lnTo>
                  <a:lnTo>
                    <a:pt x="2112" y="1487"/>
                  </a:lnTo>
                  <a:lnTo>
                    <a:pt x="2110" y="1489"/>
                  </a:lnTo>
                  <a:close/>
                  <a:moveTo>
                    <a:pt x="2115" y="1336"/>
                  </a:moveTo>
                  <a:lnTo>
                    <a:pt x="2114" y="1338"/>
                  </a:lnTo>
                  <a:lnTo>
                    <a:pt x="2115" y="1342"/>
                  </a:lnTo>
                  <a:lnTo>
                    <a:pt x="2114" y="1344"/>
                  </a:lnTo>
                  <a:lnTo>
                    <a:pt x="2112" y="1347"/>
                  </a:lnTo>
                  <a:lnTo>
                    <a:pt x="2108" y="1348"/>
                  </a:lnTo>
                  <a:lnTo>
                    <a:pt x="2105" y="1353"/>
                  </a:lnTo>
                  <a:lnTo>
                    <a:pt x="2103" y="1351"/>
                  </a:lnTo>
                  <a:lnTo>
                    <a:pt x="2103" y="1355"/>
                  </a:lnTo>
                  <a:lnTo>
                    <a:pt x="2101" y="1352"/>
                  </a:lnTo>
                  <a:lnTo>
                    <a:pt x="2101" y="1350"/>
                  </a:lnTo>
                  <a:lnTo>
                    <a:pt x="2104" y="1347"/>
                  </a:lnTo>
                  <a:lnTo>
                    <a:pt x="2112" y="1340"/>
                  </a:lnTo>
                  <a:lnTo>
                    <a:pt x="2113" y="1339"/>
                  </a:lnTo>
                  <a:lnTo>
                    <a:pt x="2114" y="1338"/>
                  </a:lnTo>
                  <a:lnTo>
                    <a:pt x="2115" y="1335"/>
                  </a:lnTo>
                  <a:lnTo>
                    <a:pt x="2115" y="1336"/>
                  </a:lnTo>
                  <a:close/>
                  <a:moveTo>
                    <a:pt x="2150" y="1501"/>
                  </a:moveTo>
                  <a:lnTo>
                    <a:pt x="2152" y="1501"/>
                  </a:lnTo>
                  <a:lnTo>
                    <a:pt x="2155" y="1502"/>
                  </a:lnTo>
                  <a:lnTo>
                    <a:pt x="2157" y="1505"/>
                  </a:lnTo>
                  <a:lnTo>
                    <a:pt x="2157" y="1506"/>
                  </a:lnTo>
                  <a:lnTo>
                    <a:pt x="2158" y="1506"/>
                  </a:lnTo>
                  <a:lnTo>
                    <a:pt x="2158" y="1507"/>
                  </a:lnTo>
                  <a:lnTo>
                    <a:pt x="2158" y="1507"/>
                  </a:lnTo>
                  <a:lnTo>
                    <a:pt x="2158" y="1513"/>
                  </a:lnTo>
                  <a:lnTo>
                    <a:pt x="2159" y="1514"/>
                  </a:lnTo>
                  <a:lnTo>
                    <a:pt x="2159" y="1516"/>
                  </a:lnTo>
                  <a:lnTo>
                    <a:pt x="2158" y="1520"/>
                  </a:lnTo>
                  <a:lnTo>
                    <a:pt x="2159" y="1522"/>
                  </a:lnTo>
                  <a:lnTo>
                    <a:pt x="2163" y="1526"/>
                  </a:lnTo>
                  <a:lnTo>
                    <a:pt x="2164" y="1528"/>
                  </a:lnTo>
                  <a:lnTo>
                    <a:pt x="2164" y="1530"/>
                  </a:lnTo>
                  <a:lnTo>
                    <a:pt x="2163" y="1532"/>
                  </a:lnTo>
                  <a:lnTo>
                    <a:pt x="2160" y="1536"/>
                  </a:lnTo>
                  <a:lnTo>
                    <a:pt x="2160" y="1538"/>
                  </a:lnTo>
                  <a:lnTo>
                    <a:pt x="2160" y="1541"/>
                  </a:lnTo>
                  <a:lnTo>
                    <a:pt x="2161" y="1544"/>
                  </a:lnTo>
                  <a:lnTo>
                    <a:pt x="2160" y="1546"/>
                  </a:lnTo>
                  <a:lnTo>
                    <a:pt x="2161" y="1549"/>
                  </a:lnTo>
                  <a:lnTo>
                    <a:pt x="2161" y="1552"/>
                  </a:lnTo>
                  <a:lnTo>
                    <a:pt x="2163" y="1555"/>
                  </a:lnTo>
                  <a:lnTo>
                    <a:pt x="2164" y="1557"/>
                  </a:lnTo>
                  <a:lnTo>
                    <a:pt x="2165" y="1560"/>
                  </a:lnTo>
                  <a:lnTo>
                    <a:pt x="2167" y="1564"/>
                  </a:lnTo>
                  <a:lnTo>
                    <a:pt x="2167" y="1567"/>
                  </a:lnTo>
                  <a:lnTo>
                    <a:pt x="2164" y="1564"/>
                  </a:lnTo>
                  <a:lnTo>
                    <a:pt x="2163" y="1563"/>
                  </a:lnTo>
                  <a:lnTo>
                    <a:pt x="2160" y="1565"/>
                  </a:lnTo>
                  <a:lnTo>
                    <a:pt x="2159" y="1565"/>
                  </a:lnTo>
                  <a:lnTo>
                    <a:pt x="2158" y="1563"/>
                  </a:lnTo>
                  <a:lnTo>
                    <a:pt x="2158" y="1557"/>
                  </a:lnTo>
                  <a:lnTo>
                    <a:pt x="2156" y="1555"/>
                  </a:lnTo>
                  <a:lnTo>
                    <a:pt x="2155" y="1553"/>
                  </a:lnTo>
                  <a:lnTo>
                    <a:pt x="2155" y="1549"/>
                  </a:lnTo>
                  <a:lnTo>
                    <a:pt x="2154" y="1544"/>
                  </a:lnTo>
                  <a:lnTo>
                    <a:pt x="2154" y="1543"/>
                  </a:lnTo>
                  <a:lnTo>
                    <a:pt x="2152" y="1540"/>
                  </a:lnTo>
                  <a:lnTo>
                    <a:pt x="2150" y="1537"/>
                  </a:lnTo>
                  <a:lnTo>
                    <a:pt x="2151" y="1533"/>
                  </a:lnTo>
                  <a:lnTo>
                    <a:pt x="2155" y="1528"/>
                  </a:lnTo>
                  <a:lnTo>
                    <a:pt x="2154" y="1522"/>
                  </a:lnTo>
                  <a:lnTo>
                    <a:pt x="2154" y="1516"/>
                  </a:lnTo>
                  <a:lnTo>
                    <a:pt x="2152" y="1514"/>
                  </a:lnTo>
                  <a:lnTo>
                    <a:pt x="2154" y="1511"/>
                  </a:lnTo>
                  <a:lnTo>
                    <a:pt x="2151" y="1509"/>
                  </a:lnTo>
                  <a:lnTo>
                    <a:pt x="2150" y="1506"/>
                  </a:lnTo>
                  <a:lnTo>
                    <a:pt x="2149" y="1502"/>
                  </a:lnTo>
                  <a:lnTo>
                    <a:pt x="2150" y="1501"/>
                  </a:lnTo>
                  <a:close/>
                  <a:moveTo>
                    <a:pt x="2434" y="776"/>
                  </a:moveTo>
                  <a:lnTo>
                    <a:pt x="2434" y="776"/>
                  </a:lnTo>
                  <a:lnTo>
                    <a:pt x="2434" y="777"/>
                  </a:lnTo>
                  <a:lnTo>
                    <a:pt x="2434" y="777"/>
                  </a:lnTo>
                  <a:lnTo>
                    <a:pt x="2434" y="777"/>
                  </a:lnTo>
                  <a:lnTo>
                    <a:pt x="2433" y="777"/>
                  </a:lnTo>
                  <a:lnTo>
                    <a:pt x="2433" y="777"/>
                  </a:lnTo>
                  <a:lnTo>
                    <a:pt x="2433" y="777"/>
                  </a:lnTo>
                  <a:lnTo>
                    <a:pt x="2433" y="778"/>
                  </a:lnTo>
                  <a:lnTo>
                    <a:pt x="2432" y="778"/>
                  </a:lnTo>
                  <a:lnTo>
                    <a:pt x="2432" y="778"/>
                  </a:lnTo>
                  <a:lnTo>
                    <a:pt x="2431" y="778"/>
                  </a:lnTo>
                  <a:lnTo>
                    <a:pt x="2431" y="778"/>
                  </a:lnTo>
                  <a:lnTo>
                    <a:pt x="2431" y="778"/>
                  </a:lnTo>
                  <a:lnTo>
                    <a:pt x="2431" y="778"/>
                  </a:lnTo>
                  <a:lnTo>
                    <a:pt x="2431" y="778"/>
                  </a:lnTo>
                  <a:lnTo>
                    <a:pt x="2431" y="777"/>
                  </a:lnTo>
                  <a:lnTo>
                    <a:pt x="2431" y="777"/>
                  </a:lnTo>
                  <a:lnTo>
                    <a:pt x="2431" y="777"/>
                  </a:lnTo>
                  <a:lnTo>
                    <a:pt x="2431" y="777"/>
                  </a:lnTo>
                  <a:lnTo>
                    <a:pt x="2431" y="777"/>
                  </a:lnTo>
                  <a:lnTo>
                    <a:pt x="2430" y="777"/>
                  </a:lnTo>
                  <a:lnTo>
                    <a:pt x="2430" y="777"/>
                  </a:lnTo>
                  <a:lnTo>
                    <a:pt x="2430" y="777"/>
                  </a:lnTo>
                  <a:lnTo>
                    <a:pt x="2430" y="777"/>
                  </a:lnTo>
                  <a:lnTo>
                    <a:pt x="2430" y="776"/>
                  </a:lnTo>
                  <a:lnTo>
                    <a:pt x="2429" y="776"/>
                  </a:lnTo>
                  <a:lnTo>
                    <a:pt x="2429" y="776"/>
                  </a:lnTo>
                  <a:lnTo>
                    <a:pt x="2429" y="776"/>
                  </a:lnTo>
                  <a:lnTo>
                    <a:pt x="2429" y="776"/>
                  </a:lnTo>
                  <a:lnTo>
                    <a:pt x="2429" y="776"/>
                  </a:lnTo>
                  <a:lnTo>
                    <a:pt x="2429" y="777"/>
                  </a:lnTo>
                  <a:lnTo>
                    <a:pt x="2428" y="777"/>
                  </a:lnTo>
                  <a:lnTo>
                    <a:pt x="2428" y="777"/>
                  </a:lnTo>
                  <a:lnTo>
                    <a:pt x="2429" y="777"/>
                  </a:lnTo>
                  <a:lnTo>
                    <a:pt x="2429" y="778"/>
                  </a:lnTo>
                  <a:lnTo>
                    <a:pt x="2429" y="778"/>
                  </a:lnTo>
                  <a:lnTo>
                    <a:pt x="2429" y="778"/>
                  </a:lnTo>
                  <a:lnTo>
                    <a:pt x="2429" y="778"/>
                  </a:lnTo>
                  <a:lnTo>
                    <a:pt x="2429" y="779"/>
                  </a:lnTo>
                  <a:lnTo>
                    <a:pt x="2430" y="779"/>
                  </a:lnTo>
                  <a:lnTo>
                    <a:pt x="2430" y="779"/>
                  </a:lnTo>
                  <a:lnTo>
                    <a:pt x="2430" y="779"/>
                  </a:lnTo>
                  <a:lnTo>
                    <a:pt x="2430" y="780"/>
                  </a:lnTo>
                  <a:lnTo>
                    <a:pt x="2430" y="780"/>
                  </a:lnTo>
                  <a:lnTo>
                    <a:pt x="2430" y="780"/>
                  </a:lnTo>
                  <a:lnTo>
                    <a:pt x="2428" y="780"/>
                  </a:lnTo>
                  <a:lnTo>
                    <a:pt x="2428" y="780"/>
                  </a:lnTo>
                  <a:lnTo>
                    <a:pt x="2428" y="780"/>
                  </a:lnTo>
                  <a:lnTo>
                    <a:pt x="2428" y="779"/>
                  </a:lnTo>
                  <a:lnTo>
                    <a:pt x="2428" y="779"/>
                  </a:lnTo>
                  <a:lnTo>
                    <a:pt x="2428" y="779"/>
                  </a:lnTo>
                  <a:lnTo>
                    <a:pt x="2428" y="779"/>
                  </a:lnTo>
                  <a:lnTo>
                    <a:pt x="2427" y="779"/>
                  </a:lnTo>
                  <a:lnTo>
                    <a:pt x="2425" y="779"/>
                  </a:lnTo>
                  <a:lnTo>
                    <a:pt x="2425" y="779"/>
                  </a:lnTo>
                  <a:lnTo>
                    <a:pt x="2425" y="779"/>
                  </a:lnTo>
                  <a:lnTo>
                    <a:pt x="2425" y="780"/>
                  </a:lnTo>
                  <a:lnTo>
                    <a:pt x="2425" y="780"/>
                  </a:lnTo>
                  <a:lnTo>
                    <a:pt x="2425" y="780"/>
                  </a:lnTo>
                  <a:lnTo>
                    <a:pt x="2424" y="780"/>
                  </a:lnTo>
                  <a:lnTo>
                    <a:pt x="2424" y="780"/>
                  </a:lnTo>
                  <a:lnTo>
                    <a:pt x="2423" y="780"/>
                  </a:lnTo>
                  <a:lnTo>
                    <a:pt x="2423" y="780"/>
                  </a:lnTo>
                  <a:lnTo>
                    <a:pt x="2423" y="780"/>
                  </a:lnTo>
                  <a:lnTo>
                    <a:pt x="2423" y="780"/>
                  </a:lnTo>
                  <a:lnTo>
                    <a:pt x="2423" y="780"/>
                  </a:lnTo>
                  <a:lnTo>
                    <a:pt x="2423" y="782"/>
                  </a:lnTo>
                  <a:lnTo>
                    <a:pt x="2422" y="782"/>
                  </a:lnTo>
                  <a:lnTo>
                    <a:pt x="2422" y="780"/>
                  </a:lnTo>
                  <a:lnTo>
                    <a:pt x="2421" y="780"/>
                  </a:lnTo>
                  <a:lnTo>
                    <a:pt x="2421" y="782"/>
                  </a:lnTo>
                  <a:lnTo>
                    <a:pt x="2421" y="782"/>
                  </a:lnTo>
                  <a:lnTo>
                    <a:pt x="2421" y="780"/>
                  </a:lnTo>
                  <a:lnTo>
                    <a:pt x="2421" y="780"/>
                  </a:lnTo>
                  <a:lnTo>
                    <a:pt x="2421" y="780"/>
                  </a:lnTo>
                  <a:lnTo>
                    <a:pt x="2421" y="779"/>
                  </a:lnTo>
                  <a:lnTo>
                    <a:pt x="2420" y="779"/>
                  </a:lnTo>
                  <a:lnTo>
                    <a:pt x="2420" y="779"/>
                  </a:lnTo>
                  <a:lnTo>
                    <a:pt x="2420" y="779"/>
                  </a:lnTo>
                  <a:lnTo>
                    <a:pt x="2420" y="778"/>
                  </a:lnTo>
                  <a:lnTo>
                    <a:pt x="2420" y="778"/>
                  </a:lnTo>
                  <a:lnTo>
                    <a:pt x="2420" y="778"/>
                  </a:lnTo>
                  <a:lnTo>
                    <a:pt x="2420" y="778"/>
                  </a:lnTo>
                  <a:lnTo>
                    <a:pt x="2420" y="778"/>
                  </a:lnTo>
                  <a:lnTo>
                    <a:pt x="2420" y="778"/>
                  </a:lnTo>
                  <a:lnTo>
                    <a:pt x="2420" y="777"/>
                  </a:lnTo>
                  <a:lnTo>
                    <a:pt x="2420" y="777"/>
                  </a:lnTo>
                  <a:lnTo>
                    <a:pt x="2420" y="777"/>
                  </a:lnTo>
                  <a:lnTo>
                    <a:pt x="2419" y="777"/>
                  </a:lnTo>
                  <a:lnTo>
                    <a:pt x="2419" y="777"/>
                  </a:lnTo>
                  <a:lnTo>
                    <a:pt x="2419" y="777"/>
                  </a:lnTo>
                  <a:lnTo>
                    <a:pt x="2419" y="777"/>
                  </a:lnTo>
                  <a:lnTo>
                    <a:pt x="2419" y="778"/>
                  </a:lnTo>
                  <a:lnTo>
                    <a:pt x="2419" y="778"/>
                  </a:lnTo>
                  <a:lnTo>
                    <a:pt x="2419" y="778"/>
                  </a:lnTo>
                  <a:lnTo>
                    <a:pt x="2419" y="778"/>
                  </a:lnTo>
                  <a:lnTo>
                    <a:pt x="2419" y="779"/>
                  </a:lnTo>
                  <a:lnTo>
                    <a:pt x="2417" y="779"/>
                  </a:lnTo>
                  <a:lnTo>
                    <a:pt x="2417" y="779"/>
                  </a:lnTo>
                  <a:lnTo>
                    <a:pt x="2417" y="779"/>
                  </a:lnTo>
                  <a:lnTo>
                    <a:pt x="2416" y="779"/>
                  </a:lnTo>
                  <a:lnTo>
                    <a:pt x="2416" y="779"/>
                  </a:lnTo>
                  <a:lnTo>
                    <a:pt x="2416" y="778"/>
                  </a:lnTo>
                  <a:lnTo>
                    <a:pt x="2416" y="778"/>
                  </a:lnTo>
                  <a:lnTo>
                    <a:pt x="2416" y="778"/>
                  </a:lnTo>
                  <a:lnTo>
                    <a:pt x="2415" y="778"/>
                  </a:lnTo>
                  <a:lnTo>
                    <a:pt x="2415" y="778"/>
                  </a:lnTo>
                  <a:lnTo>
                    <a:pt x="2415" y="778"/>
                  </a:lnTo>
                  <a:lnTo>
                    <a:pt x="2415" y="778"/>
                  </a:lnTo>
                  <a:lnTo>
                    <a:pt x="2414" y="778"/>
                  </a:lnTo>
                  <a:lnTo>
                    <a:pt x="2414" y="778"/>
                  </a:lnTo>
                  <a:lnTo>
                    <a:pt x="2414" y="778"/>
                  </a:lnTo>
                  <a:lnTo>
                    <a:pt x="2414" y="778"/>
                  </a:lnTo>
                  <a:lnTo>
                    <a:pt x="2414" y="778"/>
                  </a:lnTo>
                  <a:lnTo>
                    <a:pt x="2414" y="778"/>
                  </a:lnTo>
                  <a:lnTo>
                    <a:pt x="2414" y="778"/>
                  </a:lnTo>
                  <a:lnTo>
                    <a:pt x="2413" y="778"/>
                  </a:lnTo>
                  <a:lnTo>
                    <a:pt x="2412" y="778"/>
                  </a:lnTo>
                  <a:lnTo>
                    <a:pt x="2412" y="778"/>
                  </a:lnTo>
                  <a:lnTo>
                    <a:pt x="2412" y="778"/>
                  </a:lnTo>
                  <a:lnTo>
                    <a:pt x="2412" y="778"/>
                  </a:lnTo>
                  <a:lnTo>
                    <a:pt x="2412" y="777"/>
                  </a:lnTo>
                  <a:lnTo>
                    <a:pt x="2412" y="777"/>
                  </a:lnTo>
                  <a:lnTo>
                    <a:pt x="2412" y="777"/>
                  </a:lnTo>
                  <a:lnTo>
                    <a:pt x="2412" y="777"/>
                  </a:lnTo>
                  <a:lnTo>
                    <a:pt x="2412" y="777"/>
                  </a:lnTo>
                  <a:lnTo>
                    <a:pt x="2412" y="777"/>
                  </a:lnTo>
                  <a:lnTo>
                    <a:pt x="2412" y="777"/>
                  </a:lnTo>
                  <a:lnTo>
                    <a:pt x="2411" y="777"/>
                  </a:lnTo>
                  <a:lnTo>
                    <a:pt x="2411" y="776"/>
                  </a:lnTo>
                  <a:lnTo>
                    <a:pt x="2411" y="776"/>
                  </a:lnTo>
                  <a:lnTo>
                    <a:pt x="2411" y="776"/>
                  </a:lnTo>
                  <a:lnTo>
                    <a:pt x="2411" y="775"/>
                  </a:lnTo>
                  <a:lnTo>
                    <a:pt x="2411" y="775"/>
                  </a:lnTo>
                  <a:lnTo>
                    <a:pt x="2411" y="775"/>
                  </a:lnTo>
                  <a:lnTo>
                    <a:pt x="2411" y="775"/>
                  </a:lnTo>
                  <a:lnTo>
                    <a:pt x="2410" y="774"/>
                  </a:lnTo>
                  <a:lnTo>
                    <a:pt x="2410" y="775"/>
                  </a:lnTo>
                  <a:lnTo>
                    <a:pt x="2410" y="775"/>
                  </a:lnTo>
                  <a:lnTo>
                    <a:pt x="2410" y="776"/>
                  </a:lnTo>
                  <a:lnTo>
                    <a:pt x="2410" y="776"/>
                  </a:lnTo>
                  <a:lnTo>
                    <a:pt x="2410" y="777"/>
                  </a:lnTo>
                  <a:lnTo>
                    <a:pt x="2410" y="777"/>
                  </a:lnTo>
                  <a:lnTo>
                    <a:pt x="2410" y="777"/>
                  </a:lnTo>
                  <a:lnTo>
                    <a:pt x="2410" y="778"/>
                  </a:lnTo>
                  <a:lnTo>
                    <a:pt x="2410" y="779"/>
                  </a:lnTo>
                  <a:lnTo>
                    <a:pt x="2408" y="779"/>
                  </a:lnTo>
                  <a:lnTo>
                    <a:pt x="2408" y="779"/>
                  </a:lnTo>
                  <a:lnTo>
                    <a:pt x="2410" y="779"/>
                  </a:lnTo>
                  <a:lnTo>
                    <a:pt x="2410" y="780"/>
                  </a:lnTo>
                  <a:lnTo>
                    <a:pt x="2408" y="780"/>
                  </a:lnTo>
                  <a:lnTo>
                    <a:pt x="2408" y="780"/>
                  </a:lnTo>
                  <a:lnTo>
                    <a:pt x="2408" y="782"/>
                  </a:lnTo>
                  <a:lnTo>
                    <a:pt x="2408" y="782"/>
                  </a:lnTo>
                  <a:lnTo>
                    <a:pt x="2408" y="782"/>
                  </a:lnTo>
                  <a:lnTo>
                    <a:pt x="2407" y="782"/>
                  </a:lnTo>
                  <a:lnTo>
                    <a:pt x="2407" y="783"/>
                  </a:lnTo>
                  <a:lnTo>
                    <a:pt x="2407" y="783"/>
                  </a:lnTo>
                  <a:lnTo>
                    <a:pt x="2407" y="783"/>
                  </a:lnTo>
                  <a:lnTo>
                    <a:pt x="2407" y="784"/>
                  </a:lnTo>
                  <a:lnTo>
                    <a:pt x="2407" y="784"/>
                  </a:lnTo>
                  <a:lnTo>
                    <a:pt x="2407" y="785"/>
                  </a:lnTo>
                  <a:lnTo>
                    <a:pt x="2407" y="785"/>
                  </a:lnTo>
                  <a:lnTo>
                    <a:pt x="2407" y="785"/>
                  </a:lnTo>
                  <a:lnTo>
                    <a:pt x="2407" y="786"/>
                  </a:lnTo>
                  <a:lnTo>
                    <a:pt x="2406" y="786"/>
                  </a:lnTo>
                  <a:lnTo>
                    <a:pt x="2406" y="786"/>
                  </a:lnTo>
                  <a:lnTo>
                    <a:pt x="2407" y="786"/>
                  </a:lnTo>
                  <a:lnTo>
                    <a:pt x="2407" y="787"/>
                  </a:lnTo>
                  <a:lnTo>
                    <a:pt x="2407" y="787"/>
                  </a:lnTo>
                  <a:lnTo>
                    <a:pt x="2407" y="787"/>
                  </a:lnTo>
                  <a:lnTo>
                    <a:pt x="2407" y="787"/>
                  </a:lnTo>
                  <a:lnTo>
                    <a:pt x="2407" y="788"/>
                  </a:lnTo>
                  <a:lnTo>
                    <a:pt x="2407" y="788"/>
                  </a:lnTo>
                  <a:lnTo>
                    <a:pt x="2407" y="788"/>
                  </a:lnTo>
                  <a:lnTo>
                    <a:pt x="2407" y="789"/>
                  </a:lnTo>
                  <a:lnTo>
                    <a:pt x="2407" y="789"/>
                  </a:lnTo>
                  <a:lnTo>
                    <a:pt x="2407" y="789"/>
                  </a:lnTo>
                  <a:lnTo>
                    <a:pt x="2407" y="791"/>
                  </a:lnTo>
                  <a:lnTo>
                    <a:pt x="2407" y="791"/>
                  </a:lnTo>
                  <a:lnTo>
                    <a:pt x="2408" y="791"/>
                  </a:lnTo>
                  <a:lnTo>
                    <a:pt x="2408" y="792"/>
                  </a:lnTo>
                  <a:lnTo>
                    <a:pt x="2408" y="792"/>
                  </a:lnTo>
                  <a:lnTo>
                    <a:pt x="2408" y="792"/>
                  </a:lnTo>
                  <a:lnTo>
                    <a:pt x="2410" y="792"/>
                  </a:lnTo>
                  <a:lnTo>
                    <a:pt x="2410" y="792"/>
                  </a:lnTo>
                  <a:lnTo>
                    <a:pt x="2410" y="792"/>
                  </a:lnTo>
                  <a:lnTo>
                    <a:pt x="2410" y="793"/>
                  </a:lnTo>
                  <a:lnTo>
                    <a:pt x="2410" y="793"/>
                  </a:lnTo>
                  <a:lnTo>
                    <a:pt x="2410" y="793"/>
                  </a:lnTo>
                  <a:lnTo>
                    <a:pt x="2410" y="793"/>
                  </a:lnTo>
                  <a:lnTo>
                    <a:pt x="2410" y="793"/>
                  </a:lnTo>
                  <a:lnTo>
                    <a:pt x="2410" y="792"/>
                  </a:lnTo>
                  <a:lnTo>
                    <a:pt x="2410" y="792"/>
                  </a:lnTo>
                  <a:lnTo>
                    <a:pt x="2410" y="792"/>
                  </a:lnTo>
                  <a:lnTo>
                    <a:pt x="2410" y="791"/>
                  </a:lnTo>
                  <a:lnTo>
                    <a:pt x="2410" y="791"/>
                  </a:lnTo>
                  <a:lnTo>
                    <a:pt x="2410" y="791"/>
                  </a:lnTo>
                  <a:lnTo>
                    <a:pt x="2410" y="791"/>
                  </a:lnTo>
                  <a:lnTo>
                    <a:pt x="2410" y="791"/>
                  </a:lnTo>
                  <a:lnTo>
                    <a:pt x="2410" y="791"/>
                  </a:lnTo>
                  <a:lnTo>
                    <a:pt x="2410" y="791"/>
                  </a:lnTo>
                  <a:lnTo>
                    <a:pt x="2410" y="791"/>
                  </a:lnTo>
                  <a:lnTo>
                    <a:pt x="2410" y="792"/>
                  </a:lnTo>
                  <a:lnTo>
                    <a:pt x="2410" y="791"/>
                  </a:lnTo>
                  <a:lnTo>
                    <a:pt x="2411" y="792"/>
                  </a:lnTo>
                  <a:lnTo>
                    <a:pt x="2411" y="792"/>
                  </a:lnTo>
                  <a:lnTo>
                    <a:pt x="2411" y="791"/>
                  </a:lnTo>
                  <a:lnTo>
                    <a:pt x="2411" y="791"/>
                  </a:lnTo>
                  <a:lnTo>
                    <a:pt x="2411" y="792"/>
                  </a:lnTo>
                  <a:lnTo>
                    <a:pt x="2411" y="791"/>
                  </a:lnTo>
                  <a:lnTo>
                    <a:pt x="2412" y="791"/>
                  </a:lnTo>
                  <a:lnTo>
                    <a:pt x="2412" y="792"/>
                  </a:lnTo>
                  <a:lnTo>
                    <a:pt x="2412" y="792"/>
                  </a:lnTo>
                  <a:lnTo>
                    <a:pt x="2412" y="792"/>
                  </a:lnTo>
                  <a:lnTo>
                    <a:pt x="2412" y="792"/>
                  </a:lnTo>
                  <a:lnTo>
                    <a:pt x="2413" y="792"/>
                  </a:lnTo>
                  <a:lnTo>
                    <a:pt x="2413" y="791"/>
                  </a:lnTo>
                  <a:lnTo>
                    <a:pt x="2414" y="791"/>
                  </a:lnTo>
                  <a:lnTo>
                    <a:pt x="2414" y="792"/>
                  </a:lnTo>
                  <a:lnTo>
                    <a:pt x="2414" y="792"/>
                  </a:lnTo>
                  <a:lnTo>
                    <a:pt x="2414" y="792"/>
                  </a:lnTo>
                  <a:lnTo>
                    <a:pt x="2414" y="792"/>
                  </a:lnTo>
                  <a:lnTo>
                    <a:pt x="2415" y="792"/>
                  </a:lnTo>
                  <a:lnTo>
                    <a:pt x="2415" y="792"/>
                  </a:lnTo>
                  <a:lnTo>
                    <a:pt x="2415" y="792"/>
                  </a:lnTo>
                  <a:lnTo>
                    <a:pt x="2416" y="792"/>
                  </a:lnTo>
                  <a:lnTo>
                    <a:pt x="2416" y="792"/>
                  </a:lnTo>
                  <a:lnTo>
                    <a:pt x="2416" y="792"/>
                  </a:lnTo>
                  <a:lnTo>
                    <a:pt x="2416" y="792"/>
                  </a:lnTo>
                  <a:lnTo>
                    <a:pt x="2416" y="792"/>
                  </a:lnTo>
                  <a:lnTo>
                    <a:pt x="2416" y="792"/>
                  </a:lnTo>
                  <a:lnTo>
                    <a:pt x="2417" y="792"/>
                  </a:lnTo>
                  <a:lnTo>
                    <a:pt x="2417" y="792"/>
                  </a:lnTo>
                  <a:lnTo>
                    <a:pt x="2416" y="792"/>
                  </a:lnTo>
                  <a:lnTo>
                    <a:pt x="2416" y="792"/>
                  </a:lnTo>
                  <a:lnTo>
                    <a:pt x="2417" y="792"/>
                  </a:lnTo>
                  <a:lnTo>
                    <a:pt x="2417" y="792"/>
                  </a:lnTo>
                  <a:lnTo>
                    <a:pt x="2417" y="793"/>
                  </a:lnTo>
                  <a:lnTo>
                    <a:pt x="2417" y="793"/>
                  </a:lnTo>
                  <a:lnTo>
                    <a:pt x="2417" y="793"/>
                  </a:lnTo>
                  <a:lnTo>
                    <a:pt x="2417" y="794"/>
                  </a:lnTo>
                  <a:lnTo>
                    <a:pt x="2417" y="794"/>
                  </a:lnTo>
                  <a:lnTo>
                    <a:pt x="2416" y="794"/>
                  </a:lnTo>
                  <a:lnTo>
                    <a:pt x="2416" y="794"/>
                  </a:lnTo>
                  <a:lnTo>
                    <a:pt x="2416" y="794"/>
                  </a:lnTo>
                  <a:lnTo>
                    <a:pt x="2416" y="794"/>
                  </a:lnTo>
                  <a:lnTo>
                    <a:pt x="2416" y="795"/>
                  </a:lnTo>
                  <a:lnTo>
                    <a:pt x="2416" y="795"/>
                  </a:lnTo>
                  <a:lnTo>
                    <a:pt x="2416" y="795"/>
                  </a:lnTo>
                  <a:lnTo>
                    <a:pt x="2416" y="795"/>
                  </a:lnTo>
                  <a:lnTo>
                    <a:pt x="2416" y="796"/>
                  </a:lnTo>
                  <a:lnTo>
                    <a:pt x="2417" y="796"/>
                  </a:lnTo>
                  <a:lnTo>
                    <a:pt x="2417" y="796"/>
                  </a:lnTo>
                  <a:lnTo>
                    <a:pt x="2417" y="796"/>
                  </a:lnTo>
                  <a:lnTo>
                    <a:pt x="2417" y="796"/>
                  </a:lnTo>
                  <a:lnTo>
                    <a:pt x="2419" y="796"/>
                  </a:lnTo>
                  <a:lnTo>
                    <a:pt x="2419" y="796"/>
                  </a:lnTo>
                  <a:lnTo>
                    <a:pt x="2419" y="796"/>
                  </a:lnTo>
                  <a:lnTo>
                    <a:pt x="2419" y="796"/>
                  </a:lnTo>
                  <a:lnTo>
                    <a:pt x="2419" y="796"/>
                  </a:lnTo>
                  <a:lnTo>
                    <a:pt x="2419" y="797"/>
                  </a:lnTo>
                  <a:lnTo>
                    <a:pt x="2419" y="796"/>
                  </a:lnTo>
                  <a:lnTo>
                    <a:pt x="2419" y="797"/>
                  </a:lnTo>
                  <a:lnTo>
                    <a:pt x="2420" y="797"/>
                  </a:lnTo>
                  <a:lnTo>
                    <a:pt x="2420" y="797"/>
                  </a:lnTo>
                  <a:lnTo>
                    <a:pt x="2420" y="797"/>
                  </a:lnTo>
                  <a:lnTo>
                    <a:pt x="2420" y="797"/>
                  </a:lnTo>
                  <a:lnTo>
                    <a:pt x="2421" y="797"/>
                  </a:lnTo>
                  <a:lnTo>
                    <a:pt x="2421" y="799"/>
                  </a:lnTo>
                  <a:lnTo>
                    <a:pt x="2420" y="799"/>
                  </a:lnTo>
                  <a:lnTo>
                    <a:pt x="2420" y="797"/>
                  </a:lnTo>
                  <a:lnTo>
                    <a:pt x="2420" y="799"/>
                  </a:lnTo>
                  <a:lnTo>
                    <a:pt x="2420" y="799"/>
                  </a:lnTo>
                  <a:lnTo>
                    <a:pt x="2420" y="799"/>
                  </a:lnTo>
                  <a:lnTo>
                    <a:pt x="2420" y="799"/>
                  </a:lnTo>
                  <a:lnTo>
                    <a:pt x="2420" y="799"/>
                  </a:lnTo>
                  <a:lnTo>
                    <a:pt x="2420" y="799"/>
                  </a:lnTo>
                  <a:lnTo>
                    <a:pt x="2420" y="799"/>
                  </a:lnTo>
                  <a:lnTo>
                    <a:pt x="2419" y="799"/>
                  </a:lnTo>
                  <a:lnTo>
                    <a:pt x="2419" y="799"/>
                  </a:lnTo>
                  <a:lnTo>
                    <a:pt x="2419" y="799"/>
                  </a:lnTo>
                  <a:lnTo>
                    <a:pt x="2419" y="799"/>
                  </a:lnTo>
                  <a:lnTo>
                    <a:pt x="2419" y="799"/>
                  </a:lnTo>
                  <a:lnTo>
                    <a:pt x="2419" y="800"/>
                  </a:lnTo>
                  <a:lnTo>
                    <a:pt x="2417" y="799"/>
                  </a:lnTo>
                  <a:lnTo>
                    <a:pt x="2419" y="799"/>
                  </a:lnTo>
                  <a:lnTo>
                    <a:pt x="2419" y="799"/>
                  </a:lnTo>
                  <a:lnTo>
                    <a:pt x="2419" y="799"/>
                  </a:lnTo>
                  <a:lnTo>
                    <a:pt x="2419" y="797"/>
                  </a:lnTo>
                  <a:lnTo>
                    <a:pt x="2419" y="797"/>
                  </a:lnTo>
                  <a:lnTo>
                    <a:pt x="2419" y="797"/>
                  </a:lnTo>
                  <a:lnTo>
                    <a:pt x="2417" y="797"/>
                  </a:lnTo>
                  <a:lnTo>
                    <a:pt x="2417" y="797"/>
                  </a:lnTo>
                  <a:lnTo>
                    <a:pt x="2417" y="797"/>
                  </a:lnTo>
                  <a:lnTo>
                    <a:pt x="2417" y="797"/>
                  </a:lnTo>
                  <a:lnTo>
                    <a:pt x="2417" y="797"/>
                  </a:lnTo>
                  <a:lnTo>
                    <a:pt x="2417" y="797"/>
                  </a:lnTo>
                  <a:lnTo>
                    <a:pt x="2417" y="797"/>
                  </a:lnTo>
                  <a:lnTo>
                    <a:pt x="2417" y="799"/>
                  </a:lnTo>
                  <a:lnTo>
                    <a:pt x="2417" y="797"/>
                  </a:lnTo>
                  <a:lnTo>
                    <a:pt x="2417" y="797"/>
                  </a:lnTo>
                  <a:lnTo>
                    <a:pt x="2416" y="799"/>
                  </a:lnTo>
                  <a:lnTo>
                    <a:pt x="2415" y="799"/>
                  </a:lnTo>
                  <a:lnTo>
                    <a:pt x="2415" y="799"/>
                  </a:lnTo>
                  <a:lnTo>
                    <a:pt x="2414" y="799"/>
                  </a:lnTo>
                  <a:lnTo>
                    <a:pt x="2414" y="797"/>
                  </a:lnTo>
                  <a:lnTo>
                    <a:pt x="2414" y="797"/>
                  </a:lnTo>
                  <a:lnTo>
                    <a:pt x="2414" y="797"/>
                  </a:lnTo>
                  <a:lnTo>
                    <a:pt x="2415" y="797"/>
                  </a:lnTo>
                  <a:lnTo>
                    <a:pt x="2415" y="796"/>
                  </a:lnTo>
                  <a:lnTo>
                    <a:pt x="2415" y="796"/>
                  </a:lnTo>
                  <a:lnTo>
                    <a:pt x="2415" y="796"/>
                  </a:lnTo>
                  <a:lnTo>
                    <a:pt x="2415" y="796"/>
                  </a:lnTo>
                  <a:lnTo>
                    <a:pt x="2414" y="796"/>
                  </a:lnTo>
                  <a:lnTo>
                    <a:pt x="2414" y="796"/>
                  </a:lnTo>
                  <a:lnTo>
                    <a:pt x="2414" y="797"/>
                  </a:lnTo>
                  <a:lnTo>
                    <a:pt x="2414" y="797"/>
                  </a:lnTo>
                  <a:lnTo>
                    <a:pt x="2414" y="797"/>
                  </a:lnTo>
                  <a:lnTo>
                    <a:pt x="2414" y="797"/>
                  </a:lnTo>
                  <a:lnTo>
                    <a:pt x="2414" y="799"/>
                  </a:lnTo>
                  <a:lnTo>
                    <a:pt x="2413" y="799"/>
                  </a:lnTo>
                  <a:lnTo>
                    <a:pt x="2413" y="799"/>
                  </a:lnTo>
                  <a:lnTo>
                    <a:pt x="2413" y="799"/>
                  </a:lnTo>
                  <a:lnTo>
                    <a:pt x="2413" y="800"/>
                  </a:lnTo>
                  <a:lnTo>
                    <a:pt x="2413" y="800"/>
                  </a:lnTo>
                  <a:lnTo>
                    <a:pt x="2413" y="800"/>
                  </a:lnTo>
                  <a:lnTo>
                    <a:pt x="2412" y="800"/>
                  </a:lnTo>
                  <a:lnTo>
                    <a:pt x="2412" y="801"/>
                  </a:lnTo>
                  <a:lnTo>
                    <a:pt x="2413" y="801"/>
                  </a:lnTo>
                  <a:lnTo>
                    <a:pt x="2413" y="802"/>
                  </a:lnTo>
                  <a:lnTo>
                    <a:pt x="2413" y="802"/>
                  </a:lnTo>
                  <a:lnTo>
                    <a:pt x="2413" y="803"/>
                  </a:lnTo>
                  <a:lnTo>
                    <a:pt x="2413" y="803"/>
                  </a:lnTo>
                  <a:lnTo>
                    <a:pt x="2413" y="802"/>
                  </a:lnTo>
                  <a:lnTo>
                    <a:pt x="2414" y="802"/>
                  </a:lnTo>
                  <a:lnTo>
                    <a:pt x="2414" y="802"/>
                  </a:lnTo>
                  <a:lnTo>
                    <a:pt x="2414" y="802"/>
                  </a:lnTo>
                  <a:lnTo>
                    <a:pt x="2414" y="801"/>
                  </a:lnTo>
                  <a:lnTo>
                    <a:pt x="2413" y="801"/>
                  </a:lnTo>
                  <a:lnTo>
                    <a:pt x="2413" y="801"/>
                  </a:lnTo>
                  <a:lnTo>
                    <a:pt x="2414" y="801"/>
                  </a:lnTo>
                  <a:lnTo>
                    <a:pt x="2414" y="801"/>
                  </a:lnTo>
                  <a:lnTo>
                    <a:pt x="2414" y="801"/>
                  </a:lnTo>
                  <a:lnTo>
                    <a:pt x="2415" y="801"/>
                  </a:lnTo>
                  <a:lnTo>
                    <a:pt x="2415" y="801"/>
                  </a:lnTo>
                  <a:lnTo>
                    <a:pt x="2416" y="801"/>
                  </a:lnTo>
                  <a:lnTo>
                    <a:pt x="2416" y="802"/>
                  </a:lnTo>
                  <a:lnTo>
                    <a:pt x="2416" y="802"/>
                  </a:lnTo>
                  <a:lnTo>
                    <a:pt x="2416" y="802"/>
                  </a:lnTo>
                  <a:lnTo>
                    <a:pt x="2417" y="802"/>
                  </a:lnTo>
                  <a:lnTo>
                    <a:pt x="2417" y="802"/>
                  </a:lnTo>
                  <a:lnTo>
                    <a:pt x="2417" y="802"/>
                  </a:lnTo>
                  <a:lnTo>
                    <a:pt x="2417" y="802"/>
                  </a:lnTo>
                  <a:lnTo>
                    <a:pt x="2419" y="802"/>
                  </a:lnTo>
                  <a:lnTo>
                    <a:pt x="2417" y="802"/>
                  </a:lnTo>
                  <a:lnTo>
                    <a:pt x="2419" y="802"/>
                  </a:lnTo>
                  <a:lnTo>
                    <a:pt x="2419" y="803"/>
                  </a:lnTo>
                  <a:lnTo>
                    <a:pt x="2419" y="803"/>
                  </a:lnTo>
                  <a:lnTo>
                    <a:pt x="2419" y="803"/>
                  </a:lnTo>
                  <a:lnTo>
                    <a:pt x="2419" y="803"/>
                  </a:lnTo>
                  <a:lnTo>
                    <a:pt x="2419" y="803"/>
                  </a:lnTo>
                  <a:lnTo>
                    <a:pt x="2419" y="803"/>
                  </a:lnTo>
                  <a:lnTo>
                    <a:pt x="2419" y="803"/>
                  </a:lnTo>
                  <a:lnTo>
                    <a:pt x="2419" y="803"/>
                  </a:lnTo>
                  <a:lnTo>
                    <a:pt x="2419" y="804"/>
                  </a:lnTo>
                  <a:lnTo>
                    <a:pt x="2419" y="804"/>
                  </a:lnTo>
                  <a:lnTo>
                    <a:pt x="2419" y="803"/>
                  </a:lnTo>
                  <a:lnTo>
                    <a:pt x="2420" y="803"/>
                  </a:lnTo>
                  <a:lnTo>
                    <a:pt x="2420" y="804"/>
                  </a:lnTo>
                  <a:lnTo>
                    <a:pt x="2419" y="804"/>
                  </a:lnTo>
                  <a:lnTo>
                    <a:pt x="2420" y="804"/>
                  </a:lnTo>
                  <a:lnTo>
                    <a:pt x="2420" y="804"/>
                  </a:lnTo>
                  <a:lnTo>
                    <a:pt x="2420" y="804"/>
                  </a:lnTo>
                  <a:lnTo>
                    <a:pt x="2420" y="805"/>
                  </a:lnTo>
                  <a:lnTo>
                    <a:pt x="2420" y="805"/>
                  </a:lnTo>
                  <a:lnTo>
                    <a:pt x="2420" y="805"/>
                  </a:lnTo>
                  <a:lnTo>
                    <a:pt x="2420" y="805"/>
                  </a:lnTo>
                  <a:lnTo>
                    <a:pt x="2420" y="805"/>
                  </a:lnTo>
                  <a:lnTo>
                    <a:pt x="2420" y="804"/>
                  </a:lnTo>
                  <a:lnTo>
                    <a:pt x="2421" y="804"/>
                  </a:lnTo>
                  <a:lnTo>
                    <a:pt x="2421" y="804"/>
                  </a:lnTo>
                  <a:lnTo>
                    <a:pt x="2421" y="804"/>
                  </a:lnTo>
                  <a:lnTo>
                    <a:pt x="2421" y="804"/>
                  </a:lnTo>
                  <a:lnTo>
                    <a:pt x="2421" y="804"/>
                  </a:lnTo>
                  <a:lnTo>
                    <a:pt x="2421" y="806"/>
                  </a:lnTo>
                  <a:lnTo>
                    <a:pt x="2421" y="806"/>
                  </a:lnTo>
                  <a:lnTo>
                    <a:pt x="2421" y="806"/>
                  </a:lnTo>
                  <a:lnTo>
                    <a:pt x="2421" y="806"/>
                  </a:lnTo>
                  <a:lnTo>
                    <a:pt x="2421" y="806"/>
                  </a:lnTo>
                  <a:lnTo>
                    <a:pt x="2421" y="806"/>
                  </a:lnTo>
                  <a:lnTo>
                    <a:pt x="2421" y="806"/>
                  </a:lnTo>
                  <a:lnTo>
                    <a:pt x="2422" y="806"/>
                  </a:lnTo>
                  <a:lnTo>
                    <a:pt x="2422" y="806"/>
                  </a:lnTo>
                  <a:lnTo>
                    <a:pt x="2423" y="806"/>
                  </a:lnTo>
                  <a:lnTo>
                    <a:pt x="2423" y="806"/>
                  </a:lnTo>
                  <a:lnTo>
                    <a:pt x="2423" y="806"/>
                  </a:lnTo>
                  <a:lnTo>
                    <a:pt x="2423" y="808"/>
                  </a:lnTo>
                  <a:lnTo>
                    <a:pt x="2423" y="808"/>
                  </a:lnTo>
                  <a:lnTo>
                    <a:pt x="2423" y="808"/>
                  </a:lnTo>
                  <a:lnTo>
                    <a:pt x="2423" y="808"/>
                  </a:lnTo>
                  <a:lnTo>
                    <a:pt x="2423" y="808"/>
                  </a:lnTo>
                  <a:lnTo>
                    <a:pt x="2424" y="809"/>
                  </a:lnTo>
                  <a:lnTo>
                    <a:pt x="2424" y="809"/>
                  </a:lnTo>
                  <a:lnTo>
                    <a:pt x="2424" y="809"/>
                  </a:lnTo>
                  <a:lnTo>
                    <a:pt x="2424" y="809"/>
                  </a:lnTo>
                  <a:lnTo>
                    <a:pt x="2424" y="809"/>
                  </a:lnTo>
                  <a:lnTo>
                    <a:pt x="2424" y="809"/>
                  </a:lnTo>
                  <a:lnTo>
                    <a:pt x="2424" y="809"/>
                  </a:lnTo>
                  <a:lnTo>
                    <a:pt x="2424" y="809"/>
                  </a:lnTo>
                  <a:lnTo>
                    <a:pt x="2424" y="809"/>
                  </a:lnTo>
                  <a:lnTo>
                    <a:pt x="2424" y="809"/>
                  </a:lnTo>
                  <a:lnTo>
                    <a:pt x="2424" y="810"/>
                  </a:lnTo>
                  <a:lnTo>
                    <a:pt x="2424" y="810"/>
                  </a:lnTo>
                  <a:lnTo>
                    <a:pt x="2423" y="810"/>
                  </a:lnTo>
                  <a:lnTo>
                    <a:pt x="2423" y="811"/>
                  </a:lnTo>
                  <a:lnTo>
                    <a:pt x="2423" y="811"/>
                  </a:lnTo>
                  <a:lnTo>
                    <a:pt x="2423" y="812"/>
                  </a:lnTo>
                  <a:lnTo>
                    <a:pt x="2423" y="812"/>
                  </a:lnTo>
                  <a:lnTo>
                    <a:pt x="2423" y="812"/>
                  </a:lnTo>
                  <a:lnTo>
                    <a:pt x="2423" y="812"/>
                  </a:lnTo>
                  <a:lnTo>
                    <a:pt x="2423" y="813"/>
                  </a:lnTo>
                  <a:lnTo>
                    <a:pt x="2422" y="813"/>
                  </a:lnTo>
                  <a:lnTo>
                    <a:pt x="2422" y="814"/>
                  </a:lnTo>
                  <a:lnTo>
                    <a:pt x="2422" y="814"/>
                  </a:lnTo>
                  <a:lnTo>
                    <a:pt x="2422" y="816"/>
                  </a:lnTo>
                  <a:lnTo>
                    <a:pt x="2422" y="816"/>
                  </a:lnTo>
                  <a:lnTo>
                    <a:pt x="2422" y="817"/>
                  </a:lnTo>
                  <a:lnTo>
                    <a:pt x="2423" y="817"/>
                  </a:lnTo>
                  <a:lnTo>
                    <a:pt x="2423" y="818"/>
                  </a:lnTo>
                  <a:lnTo>
                    <a:pt x="2423" y="818"/>
                  </a:lnTo>
                  <a:lnTo>
                    <a:pt x="2423" y="818"/>
                  </a:lnTo>
                  <a:lnTo>
                    <a:pt x="2423" y="820"/>
                  </a:lnTo>
                  <a:lnTo>
                    <a:pt x="2422" y="821"/>
                  </a:lnTo>
                  <a:lnTo>
                    <a:pt x="2422" y="821"/>
                  </a:lnTo>
                  <a:lnTo>
                    <a:pt x="2422" y="821"/>
                  </a:lnTo>
                  <a:lnTo>
                    <a:pt x="2422" y="822"/>
                  </a:lnTo>
                  <a:lnTo>
                    <a:pt x="2422" y="822"/>
                  </a:lnTo>
                  <a:lnTo>
                    <a:pt x="2422" y="826"/>
                  </a:lnTo>
                  <a:lnTo>
                    <a:pt x="2422" y="826"/>
                  </a:lnTo>
                  <a:lnTo>
                    <a:pt x="2422" y="827"/>
                  </a:lnTo>
                  <a:lnTo>
                    <a:pt x="2422" y="828"/>
                  </a:lnTo>
                  <a:lnTo>
                    <a:pt x="2422" y="829"/>
                  </a:lnTo>
                  <a:lnTo>
                    <a:pt x="2423" y="829"/>
                  </a:lnTo>
                  <a:lnTo>
                    <a:pt x="2423" y="830"/>
                  </a:lnTo>
                  <a:lnTo>
                    <a:pt x="2423" y="830"/>
                  </a:lnTo>
                  <a:lnTo>
                    <a:pt x="2423" y="830"/>
                  </a:lnTo>
                  <a:lnTo>
                    <a:pt x="2423" y="831"/>
                  </a:lnTo>
                  <a:lnTo>
                    <a:pt x="2423" y="834"/>
                  </a:lnTo>
                  <a:lnTo>
                    <a:pt x="2423" y="834"/>
                  </a:lnTo>
                  <a:lnTo>
                    <a:pt x="2423" y="835"/>
                  </a:lnTo>
                  <a:lnTo>
                    <a:pt x="2424" y="835"/>
                  </a:lnTo>
                  <a:lnTo>
                    <a:pt x="2424" y="835"/>
                  </a:lnTo>
                  <a:lnTo>
                    <a:pt x="2424" y="836"/>
                  </a:lnTo>
                  <a:lnTo>
                    <a:pt x="2424" y="837"/>
                  </a:lnTo>
                  <a:lnTo>
                    <a:pt x="2424" y="837"/>
                  </a:lnTo>
                  <a:lnTo>
                    <a:pt x="2424" y="838"/>
                  </a:lnTo>
                  <a:lnTo>
                    <a:pt x="2424" y="838"/>
                  </a:lnTo>
                  <a:lnTo>
                    <a:pt x="2424" y="838"/>
                  </a:lnTo>
                  <a:lnTo>
                    <a:pt x="2424" y="838"/>
                  </a:lnTo>
                  <a:lnTo>
                    <a:pt x="2424" y="839"/>
                  </a:lnTo>
                  <a:lnTo>
                    <a:pt x="2424" y="839"/>
                  </a:lnTo>
                  <a:lnTo>
                    <a:pt x="2424" y="839"/>
                  </a:lnTo>
                  <a:lnTo>
                    <a:pt x="2425" y="839"/>
                  </a:lnTo>
                  <a:lnTo>
                    <a:pt x="2425" y="842"/>
                  </a:lnTo>
                  <a:lnTo>
                    <a:pt x="2424" y="842"/>
                  </a:lnTo>
                  <a:lnTo>
                    <a:pt x="2424" y="842"/>
                  </a:lnTo>
                  <a:lnTo>
                    <a:pt x="2421" y="842"/>
                  </a:lnTo>
                  <a:lnTo>
                    <a:pt x="2421" y="842"/>
                  </a:lnTo>
                  <a:lnTo>
                    <a:pt x="2420" y="842"/>
                  </a:lnTo>
                  <a:lnTo>
                    <a:pt x="2420" y="842"/>
                  </a:lnTo>
                  <a:lnTo>
                    <a:pt x="2420" y="842"/>
                  </a:lnTo>
                  <a:lnTo>
                    <a:pt x="2420" y="842"/>
                  </a:lnTo>
                  <a:lnTo>
                    <a:pt x="2420" y="840"/>
                  </a:lnTo>
                  <a:lnTo>
                    <a:pt x="2420" y="840"/>
                  </a:lnTo>
                  <a:lnTo>
                    <a:pt x="2420" y="840"/>
                  </a:lnTo>
                  <a:lnTo>
                    <a:pt x="2416" y="840"/>
                  </a:lnTo>
                  <a:lnTo>
                    <a:pt x="2416" y="840"/>
                  </a:lnTo>
                  <a:lnTo>
                    <a:pt x="2415" y="840"/>
                  </a:lnTo>
                  <a:lnTo>
                    <a:pt x="2415" y="842"/>
                  </a:lnTo>
                  <a:lnTo>
                    <a:pt x="2414" y="842"/>
                  </a:lnTo>
                  <a:lnTo>
                    <a:pt x="2413" y="842"/>
                  </a:lnTo>
                  <a:lnTo>
                    <a:pt x="2413" y="842"/>
                  </a:lnTo>
                  <a:lnTo>
                    <a:pt x="2413" y="842"/>
                  </a:lnTo>
                  <a:lnTo>
                    <a:pt x="2412" y="842"/>
                  </a:lnTo>
                  <a:lnTo>
                    <a:pt x="2412" y="842"/>
                  </a:lnTo>
                  <a:lnTo>
                    <a:pt x="2411" y="842"/>
                  </a:lnTo>
                  <a:lnTo>
                    <a:pt x="2411" y="843"/>
                  </a:lnTo>
                  <a:lnTo>
                    <a:pt x="2411" y="843"/>
                  </a:lnTo>
                  <a:lnTo>
                    <a:pt x="2410" y="843"/>
                  </a:lnTo>
                  <a:lnTo>
                    <a:pt x="2410" y="843"/>
                  </a:lnTo>
                  <a:lnTo>
                    <a:pt x="2408" y="843"/>
                  </a:lnTo>
                  <a:lnTo>
                    <a:pt x="2408" y="843"/>
                  </a:lnTo>
                  <a:lnTo>
                    <a:pt x="2408" y="843"/>
                  </a:lnTo>
                  <a:lnTo>
                    <a:pt x="2406" y="843"/>
                  </a:lnTo>
                  <a:lnTo>
                    <a:pt x="2406" y="844"/>
                  </a:lnTo>
                  <a:lnTo>
                    <a:pt x="2406" y="844"/>
                  </a:lnTo>
                  <a:lnTo>
                    <a:pt x="2405" y="844"/>
                  </a:lnTo>
                  <a:lnTo>
                    <a:pt x="2404" y="844"/>
                  </a:lnTo>
                  <a:lnTo>
                    <a:pt x="2404" y="844"/>
                  </a:lnTo>
                  <a:lnTo>
                    <a:pt x="2403" y="844"/>
                  </a:lnTo>
                  <a:lnTo>
                    <a:pt x="2402" y="844"/>
                  </a:lnTo>
                  <a:lnTo>
                    <a:pt x="2402" y="844"/>
                  </a:lnTo>
                  <a:lnTo>
                    <a:pt x="2402" y="844"/>
                  </a:lnTo>
                  <a:lnTo>
                    <a:pt x="2400" y="844"/>
                  </a:lnTo>
                  <a:lnTo>
                    <a:pt x="2400" y="845"/>
                  </a:lnTo>
                  <a:lnTo>
                    <a:pt x="2399" y="845"/>
                  </a:lnTo>
                  <a:lnTo>
                    <a:pt x="2399" y="845"/>
                  </a:lnTo>
                  <a:lnTo>
                    <a:pt x="2399" y="845"/>
                  </a:lnTo>
                  <a:lnTo>
                    <a:pt x="2398" y="845"/>
                  </a:lnTo>
                  <a:lnTo>
                    <a:pt x="2398" y="845"/>
                  </a:lnTo>
                  <a:lnTo>
                    <a:pt x="2397" y="845"/>
                  </a:lnTo>
                  <a:lnTo>
                    <a:pt x="2395" y="845"/>
                  </a:lnTo>
                  <a:lnTo>
                    <a:pt x="2395" y="845"/>
                  </a:lnTo>
                  <a:lnTo>
                    <a:pt x="2394" y="845"/>
                  </a:lnTo>
                  <a:lnTo>
                    <a:pt x="2394" y="845"/>
                  </a:lnTo>
                  <a:lnTo>
                    <a:pt x="2394" y="845"/>
                  </a:lnTo>
                  <a:lnTo>
                    <a:pt x="2393" y="845"/>
                  </a:lnTo>
                  <a:lnTo>
                    <a:pt x="2391" y="845"/>
                  </a:lnTo>
                  <a:lnTo>
                    <a:pt x="2391" y="844"/>
                  </a:lnTo>
                  <a:lnTo>
                    <a:pt x="2390" y="844"/>
                  </a:lnTo>
                  <a:lnTo>
                    <a:pt x="2390" y="844"/>
                  </a:lnTo>
                  <a:lnTo>
                    <a:pt x="2389" y="844"/>
                  </a:lnTo>
                  <a:lnTo>
                    <a:pt x="2389" y="844"/>
                  </a:lnTo>
                  <a:lnTo>
                    <a:pt x="2389" y="844"/>
                  </a:lnTo>
                  <a:lnTo>
                    <a:pt x="2388" y="844"/>
                  </a:lnTo>
                  <a:lnTo>
                    <a:pt x="2387" y="844"/>
                  </a:lnTo>
                  <a:lnTo>
                    <a:pt x="2387" y="844"/>
                  </a:lnTo>
                  <a:lnTo>
                    <a:pt x="2386" y="844"/>
                  </a:lnTo>
                  <a:lnTo>
                    <a:pt x="2385" y="843"/>
                  </a:lnTo>
                  <a:lnTo>
                    <a:pt x="2385" y="843"/>
                  </a:lnTo>
                  <a:lnTo>
                    <a:pt x="2385" y="843"/>
                  </a:lnTo>
                  <a:lnTo>
                    <a:pt x="2383" y="843"/>
                  </a:lnTo>
                  <a:lnTo>
                    <a:pt x="2383" y="843"/>
                  </a:lnTo>
                  <a:lnTo>
                    <a:pt x="2383" y="843"/>
                  </a:lnTo>
                  <a:lnTo>
                    <a:pt x="2383" y="843"/>
                  </a:lnTo>
                  <a:lnTo>
                    <a:pt x="2383" y="843"/>
                  </a:lnTo>
                  <a:lnTo>
                    <a:pt x="2382" y="842"/>
                  </a:lnTo>
                  <a:lnTo>
                    <a:pt x="2382" y="842"/>
                  </a:lnTo>
                  <a:lnTo>
                    <a:pt x="2382" y="842"/>
                  </a:lnTo>
                  <a:lnTo>
                    <a:pt x="2381" y="842"/>
                  </a:lnTo>
                  <a:lnTo>
                    <a:pt x="2381" y="842"/>
                  </a:lnTo>
                  <a:lnTo>
                    <a:pt x="2381" y="842"/>
                  </a:lnTo>
                  <a:lnTo>
                    <a:pt x="2381" y="840"/>
                  </a:lnTo>
                  <a:lnTo>
                    <a:pt x="2380" y="840"/>
                  </a:lnTo>
                  <a:lnTo>
                    <a:pt x="2380" y="840"/>
                  </a:lnTo>
                  <a:lnTo>
                    <a:pt x="2380" y="840"/>
                  </a:lnTo>
                  <a:lnTo>
                    <a:pt x="2380" y="840"/>
                  </a:lnTo>
                  <a:lnTo>
                    <a:pt x="2379" y="840"/>
                  </a:lnTo>
                  <a:lnTo>
                    <a:pt x="2379" y="839"/>
                  </a:lnTo>
                  <a:lnTo>
                    <a:pt x="2379" y="839"/>
                  </a:lnTo>
                  <a:lnTo>
                    <a:pt x="2379" y="839"/>
                  </a:lnTo>
                  <a:lnTo>
                    <a:pt x="2379" y="839"/>
                  </a:lnTo>
                  <a:lnTo>
                    <a:pt x="2378" y="839"/>
                  </a:lnTo>
                  <a:lnTo>
                    <a:pt x="2378" y="839"/>
                  </a:lnTo>
                  <a:lnTo>
                    <a:pt x="2378" y="839"/>
                  </a:lnTo>
                  <a:lnTo>
                    <a:pt x="2377" y="838"/>
                  </a:lnTo>
                  <a:lnTo>
                    <a:pt x="2377" y="838"/>
                  </a:lnTo>
                  <a:lnTo>
                    <a:pt x="2376" y="838"/>
                  </a:lnTo>
                  <a:lnTo>
                    <a:pt x="2376" y="838"/>
                  </a:lnTo>
                  <a:lnTo>
                    <a:pt x="2376" y="838"/>
                  </a:lnTo>
                  <a:lnTo>
                    <a:pt x="2376" y="837"/>
                  </a:lnTo>
                  <a:lnTo>
                    <a:pt x="2376" y="837"/>
                  </a:lnTo>
                  <a:lnTo>
                    <a:pt x="2376" y="837"/>
                  </a:lnTo>
                  <a:lnTo>
                    <a:pt x="2374" y="837"/>
                  </a:lnTo>
                  <a:lnTo>
                    <a:pt x="2374" y="837"/>
                  </a:lnTo>
                  <a:lnTo>
                    <a:pt x="2374" y="837"/>
                  </a:lnTo>
                  <a:lnTo>
                    <a:pt x="2374" y="836"/>
                  </a:lnTo>
                  <a:lnTo>
                    <a:pt x="2374" y="836"/>
                  </a:lnTo>
                  <a:lnTo>
                    <a:pt x="2374" y="836"/>
                  </a:lnTo>
                  <a:lnTo>
                    <a:pt x="2373" y="836"/>
                  </a:lnTo>
                  <a:lnTo>
                    <a:pt x="2373" y="835"/>
                  </a:lnTo>
                  <a:lnTo>
                    <a:pt x="2373" y="835"/>
                  </a:lnTo>
                  <a:lnTo>
                    <a:pt x="2373" y="835"/>
                  </a:lnTo>
                  <a:lnTo>
                    <a:pt x="2373" y="835"/>
                  </a:lnTo>
                  <a:lnTo>
                    <a:pt x="2373" y="835"/>
                  </a:lnTo>
                  <a:lnTo>
                    <a:pt x="2373" y="834"/>
                  </a:lnTo>
                  <a:lnTo>
                    <a:pt x="2373" y="833"/>
                  </a:lnTo>
                  <a:lnTo>
                    <a:pt x="2372" y="833"/>
                  </a:lnTo>
                  <a:lnTo>
                    <a:pt x="2372" y="833"/>
                  </a:lnTo>
                  <a:lnTo>
                    <a:pt x="2372" y="833"/>
                  </a:lnTo>
                  <a:lnTo>
                    <a:pt x="2372" y="833"/>
                  </a:lnTo>
                  <a:lnTo>
                    <a:pt x="2371" y="833"/>
                  </a:lnTo>
                  <a:lnTo>
                    <a:pt x="2371" y="833"/>
                  </a:lnTo>
                  <a:lnTo>
                    <a:pt x="2370" y="833"/>
                  </a:lnTo>
                  <a:lnTo>
                    <a:pt x="2370" y="831"/>
                  </a:lnTo>
                  <a:lnTo>
                    <a:pt x="2369" y="831"/>
                  </a:lnTo>
                  <a:lnTo>
                    <a:pt x="2369" y="831"/>
                  </a:lnTo>
                  <a:lnTo>
                    <a:pt x="2369" y="831"/>
                  </a:lnTo>
                  <a:lnTo>
                    <a:pt x="2369" y="831"/>
                  </a:lnTo>
                  <a:lnTo>
                    <a:pt x="2369" y="831"/>
                  </a:lnTo>
                  <a:lnTo>
                    <a:pt x="2369" y="831"/>
                  </a:lnTo>
                  <a:lnTo>
                    <a:pt x="2366" y="831"/>
                  </a:lnTo>
                  <a:lnTo>
                    <a:pt x="2365" y="831"/>
                  </a:lnTo>
                  <a:lnTo>
                    <a:pt x="2363" y="831"/>
                  </a:lnTo>
                  <a:lnTo>
                    <a:pt x="2363" y="831"/>
                  </a:lnTo>
                  <a:lnTo>
                    <a:pt x="2362" y="831"/>
                  </a:lnTo>
                  <a:lnTo>
                    <a:pt x="2362" y="830"/>
                  </a:lnTo>
                  <a:lnTo>
                    <a:pt x="2361" y="830"/>
                  </a:lnTo>
                  <a:lnTo>
                    <a:pt x="2361" y="830"/>
                  </a:lnTo>
                  <a:lnTo>
                    <a:pt x="2361" y="830"/>
                  </a:lnTo>
                  <a:lnTo>
                    <a:pt x="2360" y="830"/>
                  </a:lnTo>
                  <a:lnTo>
                    <a:pt x="2360" y="830"/>
                  </a:lnTo>
                  <a:lnTo>
                    <a:pt x="2359" y="830"/>
                  </a:lnTo>
                  <a:lnTo>
                    <a:pt x="2359" y="829"/>
                  </a:lnTo>
                  <a:lnTo>
                    <a:pt x="2359" y="829"/>
                  </a:lnTo>
                  <a:lnTo>
                    <a:pt x="2359" y="829"/>
                  </a:lnTo>
                  <a:lnTo>
                    <a:pt x="2359" y="829"/>
                  </a:lnTo>
                  <a:lnTo>
                    <a:pt x="2359" y="829"/>
                  </a:lnTo>
                  <a:lnTo>
                    <a:pt x="2357" y="829"/>
                  </a:lnTo>
                  <a:lnTo>
                    <a:pt x="2357" y="829"/>
                  </a:lnTo>
                  <a:lnTo>
                    <a:pt x="2357" y="829"/>
                  </a:lnTo>
                  <a:lnTo>
                    <a:pt x="2357" y="828"/>
                  </a:lnTo>
                  <a:lnTo>
                    <a:pt x="2356" y="828"/>
                  </a:lnTo>
                  <a:lnTo>
                    <a:pt x="2356" y="828"/>
                  </a:lnTo>
                  <a:lnTo>
                    <a:pt x="2356" y="827"/>
                  </a:lnTo>
                  <a:lnTo>
                    <a:pt x="2356" y="827"/>
                  </a:lnTo>
                  <a:lnTo>
                    <a:pt x="2356" y="827"/>
                  </a:lnTo>
                  <a:lnTo>
                    <a:pt x="2356" y="826"/>
                  </a:lnTo>
                  <a:lnTo>
                    <a:pt x="2355" y="826"/>
                  </a:lnTo>
                  <a:lnTo>
                    <a:pt x="2355" y="825"/>
                  </a:lnTo>
                  <a:lnTo>
                    <a:pt x="2355" y="825"/>
                  </a:lnTo>
                  <a:lnTo>
                    <a:pt x="2355" y="823"/>
                  </a:lnTo>
                  <a:lnTo>
                    <a:pt x="2355" y="823"/>
                  </a:lnTo>
                  <a:lnTo>
                    <a:pt x="2355" y="822"/>
                  </a:lnTo>
                  <a:lnTo>
                    <a:pt x="2355" y="822"/>
                  </a:lnTo>
                  <a:lnTo>
                    <a:pt x="2355" y="821"/>
                  </a:lnTo>
                  <a:lnTo>
                    <a:pt x="2354" y="821"/>
                  </a:lnTo>
                  <a:lnTo>
                    <a:pt x="2354" y="819"/>
                  </a:lnTo>
                  <a:lnTo>
                    <a:pt x="2354" y="819"/>
                  </a:lnTo>
                  <a:lnTo>
                    <a:pt x="2354" y="817"/>
                  </a:lnTo>
                  <a:lnTo>
                    <a:pt x="2354" y="817"/>
                  </a:lnTo>
                  <a:lnTo>
                    <a:pt x="2354" y="816"/>
                  </a:lnTo>
                  <a:lnTo>
                    <a:pt x="2354" y="816"/>
                  </a:lnTo>
                  <a:lnTo>
                    <a:pt x="2354" y="816"/>
                  </a:lnTo>
                  <a:lnTo>
                    <a:pt x="2354" y="816"/>
                  </a:lnTo>
                  <a:lnTo>
                    <a:pt x="2354" y="816"/>
                  </a:lnTo>
                  <a:lnTo>
                    <a:pt x="2354" y="814"/>
                  </a:lnTo>
                  <a:lnTo>
                    <a:pt x="2354" y="811"/>
                  </a:lnTo>
                  <a:lnTo>
                    <a:pt x="2354" y="811"/>
                  </a:lnTo>
                  <a:lnTo>
                    <a:pt x="2354" y="810"/>
                  </a:lnTo>
                  <a:lnTo>
                    <a:pt x="2354" y="810"/>
                  </a:lnTo>
                  <a:lnTo>
                    <a:pt x="2354" y="809"/>
                  </a:lnTo>
                  <a:lnTo>
                    <a:pt x="2354" y="809"/>
                  </a:lnTo>
                  <a:lnTo>
                    <a:pt x="2354" y="809"/>
                  </a:lnTo>
                  <a:lnTo>
                    <a:pt x="2354" y="809"/>
                  </a:lnTo>
                  <a:lnTo>
                    <a:pt x="2355" y="809"/>
                  </a:lnTo>
                  <a:lnTo>
                    <a:pt x="2355" y="809"/>
                  </a:lnTo>
                  <a:lnTo>
                    <a:pt x="2355" y="809"/>
                  </a:lnTo>
                  <a:lnTo>
                    <a:pt x="2355" y="808"/>
                  </a:lnTo>
                  <a:lnTo>
                    <a:pt x="2355" y="808"/>
                  </a:lnTo>
                  <a:lnTo>
                    <a:pt x="2355" y="806"/>
                  </a:lnTo>
                  <a:lnTo>
                    <a:pt x="2355" y="806"/>
                  </a:lnTo>
                  <a:lnTo>
                    <a:pt x="2355" y="805"/>
                  </a:lnTo>
                  <a:lnTo>
                    <a:pt x="2355" y="805"/>
                  </a:lnTo>
                  <a:lnTo>
                    <a:pt x="2355" y="804"/>
                  </a:lnTo>
                  <a:lnTo>
                    <a:pt x="2355" y="804"/>
                  </a:lnTo>
                  <a:lnTo>
                    <a:pt x="2356" y="804"/>
                  </a:lnTo>
                  <a:lnTo>
                    <a:pt x="2356" y="804"/>
                  </a:lnTo>
                  <a:lnTo>
                    <a:pt x="2356" y="804"/>
                  </a:lnTo>
                  <a:lnTo>
                    <a:pt x="2357" y="804"/>
                  </a:lnTo>
                  <a:lnTo>
                    <a:pt x="2357" y="805"/>
                  </a:lnTo>
                  <a:lnTo>
                    <a:pt x="2357" y="805"/>
                  </a:lnTo>
                  <a:lnTo>
                    <a:pt x="2359" y="805"/>
                  </a:lnTo>
                  <a:lnTo>
                    <a:pt x="2359" y="806"/>
                  </a:lnTo>
                  <a:lnTo>
                    <a:pt x="2357" y="806"/>
                  </a:lnTo>
                  <a:lnTo>
                    <a:pt x="2356" y="806"/>
                  </a:lnTo>
                  <a:lnTo>
                    <a:pt x="2356" y="808"/>
                  </a:lnTo>
                  <a:lnTo>
                    <a:pt x="2357" y="808"/>
                  </a:lnTo>
                  <a:lnTo>
                    <a:pt x="2357" y="808"/>
                  </a:lnTo>
                  <a:lnTo>
                    <a:pt x="2356" y="808"/>
                  </a:lnTo>
                  <a:lnTo>
                    <a:pt x="2357" y="808"/>
                  </a:lnTo>
                  <a:lnTo>
                    <a:pt x="2357" y="808"/>
                  </a:lnTo>
                  <a:lnTo>
                    <a:pt x="2357" y="808"/>
                  </a:lnTo>
                  <a:lnTo>
                    <a:pt x="2359" y="808"/>
                  </a:lnTo>
                  <a:lnTo>
                    <a:pt x="2359" y="808"/>
                  </a:lnTo>
                  <a:lnTo>
                    <a:pt x="2359" y="806"/>
                  </a:lnTo>
                  <a:lnTo>
                    <a:pt x="2359" y="806"/>
                  </a:lnTo>
                  <a:lnTo>
                    <a:pt x="2359" y="805"/>
                  </a:lnTo>
                  <a:lnTo>
                    <a:pt x="2359" y="805"/>
                  </a:lnTo>
                  <a:lnTo>
                    <a:pt x="2359" y="805"/>
                  </a:lnTo>
                  <a:lnTo>
                    <a:pt x="2360" y="804"/>
                  </a:lnTo>
                  <a:lnTo>
                    <a:pt x="2360" y="802"/>
                  </a:lnTo>
                  <a:lnTo>
                    <a:pt x="2360" y="802"/>
                  </a:lnTo>
                  <a:lnTo>
                    <a:pt x="2360" y="802"/>
                  </a:lnTo>
                  <a:lnTo>
                    <a:pt x="2361" y="802"/>
                  </a:lnTo>
                  <a:lnTo>
                    <a:pt x="2361" y="802"/>
                  </a:lnTo>
                  <a:lnTo>
                    <a:pt x="2361" y="802"/>
                  </a:lnTo>
                  <a:lnTo>
                    <a:pt x="2361" y="802"/>
                  </a:lnTo>
                  <a:lnTo>
                    <a:pt x="2361" y="802"/>
                  </a:lnTo>
                  <a:lnTo>
                    <a:pt x="2362" y="802"/>
                  </a:lnTo>
                  <a:lnTo>
                    <a:pt x="2361" y="802"/>
                  </a:lnTo>
                  <a:lnTo>
                    <a:pt x="2361" y="802"/>
                  </a:lnTo>
                  <a:lnTo>
                    <a:pt x="2361" y="802"/>
                  </a:lnTo>
                  <a:lnTo>
                    <a:pt x="2361" y="802"/>
                  </a:lnTo>
                  <a:lnTo>
                    <a:pt x="2362" y="802"/>
                  </a:lnTo>
                  <a:lnTo>
                    <a:pt x="2362" y="801"/>
                  </a:lnTo>
                  <a:lnTo>
                    <a:pt x="2362" y="801"/>
                  </a:lnTo>
                  <a:lnTo>
                    <a:pt x="2362" y="801"/>
                  </a:lnTo>
                  <a:lnTo>
                    <a:pt x="2362" y="801"/>
                  </a:lnTo>
                  <a:lnTo>
                    <a:pt x="2361" y="801"/>
                  </a:lnTo>
                  <a:lnTo>
                    <a:pt x="2361" y="800"/>
                  </a:lnTo>
                  <a:lnTo>
                    <a:pt x="2361" y="800"/>
                  </a:lnTo>
                  <a:lnTo>
                    <a:pt x="2361" y="800"/>
                  </a:lnTo>
                  <a:lnTo>
                    <a:pt x="2361" y="800"/>
                  </a:lnTo>
                  <a:lnTo>
                    <a:pt x="2360" y="800"/>
                  </a:lnTo>
                  <a:lnTo>
                    <a:pt x="2360" y="800"/>
                  </a:lnTo>
                  <a:lnTo>
                    <a:pt x="2360" y="800"/>
                  </a:lnTo>
                  <a:lnTo>
                    <a:pt x="2360" y="799"/>
                  </a:lnTo>
                  <a:lnTo>
                    <a:pt x="2360" y="799"/>
                  </a:lnTo>
                  <a:lnTo>
                    <a:pt x="2360" y="797"/>
                  </a:lnTo>
                  <a:lnTo>
                    <a:pt x="2361" y="797"/>
                  </a:lnTo>
                  <a:lnTo>
                    <a:pt x="2361" y="797"/>
                  </a:lnTo>
                  <a:lnTo>
                    <a:pt x="2361" y="796"/>
                  </a:lnTo>
                  <a:lnTo>
                    <a:pt x="2361" y="796"/>
                  </a:lnTo>
                  <a:lnTo>
                    <a:pt x="2361" y="796"/>
                  </a:lnTo>
                  <a:lnTo>
                    <a:pt x="2361" y="796"/>
                  </a:lnTo>
                  <a:lnTo>
                    <a:pt x="2361" y="796"/>
                  </a:lnTo>
                  <a:lnTo>
                    <a:pt x="2362" y="796"/>
                  </a:lnTo>
                  <a:lnTo>
                    <a:pt x="2362" y="795"/>
                  </a:lnTo>
                  <a:lnTo>
                    <a:pt x="2362" y="795"/>
                  </a:lnTo>
                  <a:lnTo>
                    <a:pt x="2362" y="794"/>
                  </a:lnTo>
                  <a:lnTo>
                    <a:pt x="2362" y="794"/>
                  </a:lnTo>
                  <a:lnTo>
                    <a:pt x="2362" y="794"/>
                  </a:lnTo>
                  <a:lnTo>
                    <a:pt x="2362" y="793"/>
                  </a:lnTo>
                  <a:lnTo>
                    <a:pt x="2362" y="793"/>
                  </a:lnTo>
                  <a:lnTo>
                    <a:pt x="2362" y="793"/>
                  </a:lnTo>
                  <a:lnTo>
                    <a:pt x="2362" y="793"/>
                  </a:lnTo>
                  <a:lnTo>
                    <a:pt x="2362" y="793"/>
                  </a:lnTo>
                  <a:lnTo>
                    <a:pt x="2362" y="792"/>
                  </a:lnTo>
                  <a:lnTo>
                    <a:pt x="2362" y="792"/>
                  </a:lnTo>
                  <a:lnTo>
                    <a:pt x="2362" y="792"/>
                  </a:lnTo>
                  <a:lnTo>
                    <a:pt x="2362" y="792"/>
                  </a:lnTo>
                  <a:lnTo>
                    <a:pt x="2363" y="792"/>
                  </a:lnTo>
                  <a:lnTo>
                    <a:pt x="2363" y="791"/>
                  </a:lnTo>
                  <a:lnTo>
                    <a:pt x="2362" y="791"/>
                  </a:lnTo>
                  <a:lnTo>
                    <a:pt x="2362" y="791"/>
                  </a:lnTo>
                  <a:lnTo>
                    <a:pt x="2362" y="791"/>
                  </a:lnTo>
                  <a:lnTo>
                    <a:pt x="2362" y="789"/>
                  </a:lnTo>
                  <a:lnTo>
                    <a:pt x="2362" y="789"/>
                  </a:lnTo>
                  <a:lnTo>
                    <a:pt x="2362" y="789"/>
                  </a:lnTo>
                  <a:lnTo>
                    <a:pt x="2363" y="789"/>
                  </a:lnTo>
                  <a:lnTo>
                    <a:pt x="2363" y="788"/>
                  </a:lnTo>
                  <a:lnTo>
                    <a:pt x="2363" y="788"/>
                  </a:lnTo>
                  <a:lnTo>
                    <a:pt x="2363" y="788"/>
                  </a:lnTo>
                  <a:lnTo>
                    <a:pt x="2363" y="788"/>
                  </a:lnTo>
                  <a:lnTo>
                    <a:pt x="2363" y="787"/>
                  </a:lnTo>
                  <a:lnTo>
                    <a:pt x="2364" y="787"/>
                  </a:lnTo>
                  <a:lnTo>
                    <a:pt x="2364" y="787"/>
                  </a:lnTo>
                  <a:lnTo>
                    <a:pt x="2364" y="787"/>
                  </a:lnTo>
                  <a:lnTo>
                    <a:pt x="2364" y="787"/>
                  </a:lnTo>
                  <a:lnTo>
                    <a:pt x="2365" y="787"/>
                  </a:lnTo>
                  <a:lnTo>
                    <a:pt x="2365" y="787"/>
                  </a:lnTo>
                  <a:lnTo>
                    <a:pt x="2365" y="787"/>
                  </a:lnTo>
                  <a:lnTo>
                    <a:pt x="2365" y="787"/>
                  </a:lnTo>
                  <a:lnTo>
                    <a:pt x="2366" y="787"/>
                  </a:lnTo>
                  <a:lnTo>
                    <a:pt x="2366" y="786"/>
                  </a:lnTo>
                  <a:lnTo>
                    <a:pt x="2368" y="786"/>
                  </a:lnTo>
                  <a:lnTo>
                    <a:pt x="2368" y="786"/>
                  </a:lnTo>
                  <a:lnTo>
                    <a:pt x="2368" y="786"/>
                  </a:lnTo>
                  <a:lnTo>
                    <a:pt x="2368" y="786"/>
                  </a:lnTo>
                  <a:lnTo>
                    <a:pt x="2368" y="785"/>
                  </a:lnTo>
                  <a:lnTo>
                    <a:pt x="2368" y="785"/>
                  </a:lnTo>
                  <a:lnTo>
                    <a:pt x="2368" y="785"/>
                  </a:lnTo>
                  <a:lnTo>
                    <a:pt x="2369" y="785"/>
                  </a:lnTo>
                  <a:lnTo>
                    <a:pt x="2369" y="785"/>
                  </a:lnTo>
                  <a:lnTo>
                    <a:pt x="2369" y="785"/>
                  </a:lnTo>
                  <a:lnTo>
                    <a:pt x="2370" y="786"/>
                  </a:lnTo>
                  <a:lnTo>
                    <a:pt x="2370" y="786"/>
                  </a:lnTo>
                  <a:lnTo>
                    <a:pt x="2370" y="786"/>
                  </a:lnTo>
                  <a:lnTo>
                    <a:pt x="2370" y="786"/>
                  </a:lnTo>
                  <a:lnTo>
                    <a:pt x="2370" y="786"/>
                  </a:lnTo>
                  <a:lnTo>
                    <a:pt x="2370" y="785"/>
                  </a:lnTo>
                  <a:lnTo>
                    <a:pt x="2371" y="785"/>
                  </a:lnTo>
                  <a:lnTo>
                    <a:pt x="2371" y="786"/>
                  </a:lnTo>
                  <a:lnTo>
                    <a:pt x="2371" y="786"/>
                  </a:lnTo>
                  <a:lnTo>
                    <a:pt x="2371" y="785"/>
                  </a:lnTo>
                  <a:lnTo>
                    <a:pt x="2372" y="785"/>
                  </a:lnTo>
                  <a:lnTo>
                    <a:pt x="2372" y="786"/>
                  </a:lnTo>
                  <a:lnTo>
                    <a:pt x="2373" y="786"/>
                  </a:lnTo>
                  <a:lnTo>
                    <a:pt x="2373" y="786"/>
                  </a:lnTo>
                  <a:lnTo>
                    <a:pt x="2373" y="786"/>
                  </a:lnTo>
                  <a:lnTo>
                    <a:pt x="2374" y="786"/>
                  </a:lnTo>
                  <a:lnTo>
                    <a:pt x="2374" y="786"/>
                  </a:lnTo>
                  <a:lnTo>
                    <a:pt x="2374" y="786"/>
                  </a:lnTo>
                  <a:lnTo>
                    <a:pt x="2374" y="786"/>
                  </a:lnTo>
                  <a:lnTo>
                    <a:pt x="2374" y="787"/>
                  </a:lnTo>
                  <a:lnTo>
                    <a:pt x="2374" y="787"/>
                  </a:lnTo>
                  <a:lnTo>
                    <a:pt x="2374" y="787"/>
                  </a:lnTo>
                  <a:lnTo>
                    <a:pt x="2376" y="787"/>
                  </a:lnTo>
                  <a:lnTo>
                    <a:pt x="2376" y="787"/>
                  </a:lnTo>
                  <a:lnTo>
                    <a:pt x="2374" y="787"/>
                  </a:lnTo>
                  <a:lnTo>
                    <a:pt x="2374" y="785"/>
                  </a:lnTo>
                  <a:lnTo>
                    <a:pt x="2374" y="785"/>
                  </a:lnTo>
                  <a:lnTo>
                    <a:pt x="2374" y="785"/>
                  </a:lnTo>
                  <a:lnTo>
                    <a:pt x="2374" y="785"/>
                  </a:lnTo>
                  <a:lnTo>
                    <a:pt x="2374" y="784"/>
                  </a:lnTo>
                  <a:lnTo>
                    <a:pt x="2373" y="784"/>
                  </a:lnTo>
                  <a:lnTo>
                    <a:pt x="2373" y="784"/>
                  </a:lnTo>
                  <a:lnTo>
                    <a:pt x="2373" y="784"/>
                  </a:lnTo>
                  <a:lnTo>
                    <a:pt x="2373" y="784"/>
                  </a:lnTo>
                  <a:lnTo>
                    <a:pt x="2373" y="784"/>
                  </a:lnTo>
                  <a:lnTo>
                    <a:pt x="2373" y="783"/>
                  </a:lnTo>
                  <a:lnTo>
                    <a:pt x="2373" y="783"/>
                  </a:lnTo>
                  <a:lnTo>
                    <a:pt x="2372" y="783"/>
                  </a:lnTo>
                  <a:lnTo>
                    <a:pt x="2372" y="783"/>
                  </a:lnTo>
                  <a:lnTo>
                    <a:pt x="2371" y="783"/>
                  </a:lnTo>
                  <a:lnTo>
                    <a:pt x="2371" y="783"/>
                  </a:lnTo>
                  <a:lnTo>
                    <a:pt x="2371" y="783"/>
                  </a:lnTo>
                  <a:lnTo>
                    <a:pt x="2371" y="783"/>
                  </a:lnTo>
                  <a:lnTo>
                    <a:pt x="2371" y="782"/>
                  </a:lnTo>
                  <a:lnTo>
                    <a:pt x="2371" y="782"/>
                  </a:lnTo>
                  <a:lnTo>
                    <a:pt x="2369" y="782"/>
                  </a:lnTo>
                  <a:lnTo>
                    <a:pt x="2368" y="782"/>
                  </a:lnTo>
                  <a:lnTo>
                    <a:pt x="2366" y="782"/>
                  </a:lnTo>
                  <a:lnTo>
                    <a:pt x="2366" y="782"/>
                  </a:lnTo>
                  <a:lnTo>
                    <a:pt x="2365" y="782"/>
                  </a:lnTo>
                  <a:lnTo>
                    <a:pt x="2365" y="782"/>
                  </a:lnTo>
                  <a:lnTo>
                    <a:pt x="2365" y="782"/>
                  </a:lnTo>
                  <a:lnTo>
                    <a:pt x="2365" y="782"/>
                  </a:lnTo>
                  <a:lnTo>
                    <a:pt x="2364" y="782"/>
                  </a:lnTo>
                  <a:lnTo>
                    <a:pt x="2364" y="780"/>
                  </a:lnTo>
                  <a:lnTo>
                    <a:pt x="2364" y="780"/>
                  </a:lnTo>
                  <a:lnTo>
                    <a:pt x="2363" y="780"/>
                  </a:lnTo>
                  <a:lnTo>
                    <a:pt x="2363" y="780"/>
                  </a:lnTo>
                  <a:lnTo>
                    <a:pt x="2363" y="780"/>
                  </a:lnTo>
                  <a:lnTo>
                    <a:pt x="2363" y="779"/>
                  </a:lnTo>
                  <a:lnTo>
                    <a:pt x="2363" y="779"/>
                  </a:lnTo>
                  <a:lnTo>
                    <a:pt x="2363" y="778"/>
                  </a:lnTo>
                  <a:lnTo>
                    <a:pt x="2363" y="778"/>
                  </a:lnTo>
                  <a:lnTo>
                    <a:pt x="2363" y="778"/>
                  </a:lnTo>
                  <a:lnTo>
                    <a:pt x="2363" y="778"/>
                  </a:lnTo>
                  <a:lnTo>
                    <a:pt x="2363" y="778"/>
                  </a:lnTo>
                  <a:lnTo>
                    <a:pt x="2362" y="778"/>
                  </a:lnTo>
                  <a:lnTo>
                    <a:pt x="2362" y="777"/>
                  </a:lnTo>
                  <a:lnTo>
                    <a:pt x="2362" y="777"/>
                  </a:lnTo>
                  <a:lnTo>
                    <a:pt x="2362" y="777"/>
                  </a:lnTo>
                  <a:lnTo>
                    <a:pt x="2361" y="777"/>
                  </a:lnTo>
                  <a:lnTo>
                    <a:pt x="2361" y="777"/>
                  </a:lnTo>
                  <a:lnTo>
                    <a:pt x="2361" y="777"/>
                  </a:lnTo>
                  <a:lnTo>
                    <a:pt x="2361" y="776"/>
                  </a:lnTo>
                  <a:lnTo>
                    <a:pt x="2361" y="776"/>
                  </a:lnTo>
                  <a:lnTo>
                    <a:pt x="2361" y="776"/>
                  </a:lnTo>
                  <a:lnTo>
                    <a:pt x="2361" y="776"/>
                  </a:lnTo>
                  <a:lnTo>
                    <a:pt x="2360" y="776"/>
                  </a:lnTo>
                  <a:lnTo>
                    <a:pt x="2360" y="776"/>
                  </a:lnTo>
                  <a:lnTo>
                    <a:pt x="2360" y="776"/>
                  </a:lnTo>
                  <a:lnTo>
                    <a:pt x="2360" y="775"/>
                  </a:lnTo>
                  <a:lnTo>
                    <a:pt x="2360" y="775"/>
                  </a:lnTo>
                  <a:lnTo>
                    <a:pt x="2360" y="775"/>
                  </a:lnTo>
                  <a:lnTo>
                    <a:pt x="2360" y="775"/>
                  </a:lnTo>
                  <a:lnTo>
                    <a:pt x="2359" y="775"/>
                  </a:lnTo>
                  <a:lnTo>
                    <a:pt x="2359" y="775"/>
                  </a:lnTo>
                  <a:lnTo>
                    <a:pt x="2359" y="774"/>
                  </a:lnTo>
                  <a:lnTo>
                    <a:pt x="2359" y="774"/>
                  </a:lnTo>
                  <a:lnTo>
                    <a:pt x="2359" y="774"/>
                  </a:lnTo>
                  <a:lnTo>
                    <a:pt x="2359" y="772"/>
                  </a:lnTo>
                  <a:lnTo>
                    <a:pt x="2359" y="772"/>
                  </a:lnTo>
                  <a:lnTo>
                    <a:pt x="2357" y="769"/>
                  </a:lnTo>
                  <a:lnTo>
                    <a:pt x="2357" y="769"/>
                  </a:lnTo>
                  <a:lnTo>
                    <a:pt x="2357" y="769"/>
                  </a:lnTo>
                  <a:lnTo>
                    <a:pt x="2357" y="769"/>
                  </a:lnTo>
                  <a:lnTo>
                    <a:pt x="2356" y="768"/>
                  </a:lnTo>
                  <a:lnTo>
                    <a:pt x="2356" y="768"/>
                  </a:lnTo>
                  <a:lnTo>
                    <a:pt x="2356" y="768"/>
                  </a:lnTo>
                  <a:lnTo>
                    <a:pt x="2356" y="768"/>
                  </a:lnTo>
                  <a:lnTo>
                    <a:pt x="2356" y="768"/>
                  </a:lnTo>
                  <a:lnTo>
                    <a:pt x="2356" y="768"/>
                  </a:lnTo>
                  <a:lnTo>
                    <a:pt x="2356" y="768"/>
                  </a:lnTo>
                  <a:lnTo>
                    <a:pt x="2355" y="768"/>
                  </a:lnTo>
                  <a:lnTo>
                    <a:pt x="2355" y="767"/>
                  </a:lnTo>
                  <a:lnTo>
                    <a:pt x="2355" y="767"/>
                  </a:lnTo>
                  <a:lnTo>
                    <a:pt x="2355" y="767"/>
                  </a:lnTo>
                  <a:lnTo>
                    <a:pt x="2355" y="767"/>
                  </a:lnTo>
                  <a:lnTo>
                    <a:pt x="2355" y="767"/>
                  </a:lnTo>
                  <a:lnTo>
                    <a:pt x="2355" y="767"/>
                  </a:lnTo>
                  <a:lnTo>
                    <a:pt x="2354" y="766"/>
                  </a:lnTo>
                  <a:lnTo>
                    <a:pt x="2354" y="766"/>
                  </a:lnTo>
                  <a:lnTo>
                    <a:pt x="2354" y="766"/>
                  </a:lnTo>
                  <a:lnTo>
                    <a:pt x="2354" y="766"/>
                  </a:lnTo>
                  <a:lnTo>
                    <a:pt x="2354" y="766"/>
                  </a:lnTo>
                  <a:lnTo>
                    <a:pt x="2354" y="765"/>
                  </a:lnTo>
                  <a:lnTo>
                    <a:pt x="2354" y="765"/>
                  </a:lnTo>
                  <a:lnTo>
                    <a:pt x="2354" y="765"/>
                  </a:lnTo>
                  <a:lnTo>
                    <a:pt x="2353" y="765"/>
                  </a:lnTo>
                  <a:lnTo>
                    <a:pt x="2353" y="763"/>
                  </a:lnTo>
                  <a:lnTo>
                    <a:pt x="2353" y="763"/>
                  </a:lnTo>
                  <a:lnTo>
                    <a:pt x="2353" y="763"/>
                  </a:lnTo>
                  <a:lnTo>
                    <a:pt x="2353" y="763"/>
                  </a:lnTo>
                  <a:lnTo>
                    <a:pt x="2353" y="763"/>
                  </a:lnTo>
                  <a:lnTo>
                    <a:pt x="2352" y="761"/>
                  </a:lnTo>
                  <a:lnTo>
                    <a:pt x="2352" y="761"/>
                  </a:lnTo>
                  <a:lnTo>
                    <a:pt x="2352" y="761"/>
                  </a:lnTo>
                  <a:lnTo>
                    <a:pt x="2351" y="761"/>
                  </a:lnTo>
                  <a:lnTo>
                    <a:pt x="2351" y="761"/>
                  </a:lnTo>
                  <a:lnTo>
                    <a:pt x="2351" y="761"/>
                  </a:lnTo>
                  <a:lnTo>
                    <a:pt x="2351" y="761"/>
                  </a:lnTo>
                  <a:lnTo>
                    <a:pt x="2351" y="761"/>
                  </a:lnTo>
                  <a:lnTo>
                    <a:pt x="2349" y="761"/>
                  </a:lnTo>
                  <a:lnTo>
                    <a:pt x="2349" y="760"/>
                  </a:lnTo>
                  <a:lnTo>
                    <a:pt x="2349" y="760"/>
                  </a:lnTo>
                  <a:lnTo>
                    <a:pt x="2349" y="760"/>
                  </a:lnTo>
                  <a:lnTo>
                    <a:pt x="2349" y="760"/>
                  </a:lnTo>
                  <a:lnTo>
                    <a:pt x="2349" y="760"/>
                  </a:lnTo>
                  <a:lnTo>
                    <a:pt x="2348" y="760"/>
                  </a:lnTo>
                  <a:lnTo>
                    <a:pt x="2347" y="759"/>
                  </a:lnTo>
                  <a:lnTo>
                    <a:pt x="2347" y="759"/>
                  </a:lnTo>
                  <a:lnTo>
                    <a:pt x="2347" y="759"/>
                  </a:lnTo>
                  <a:lnTo>
                    <a:pt x="2347" y="759"/>
                  </a:lnTo>
                  <a:lnTo>
                    <a:pt x="2347" y="758"/>
                  </a:lnTo>
                  <a:lnTo>
                    <a:pt x="2347" y="758"/>
                  </a:lnTo>
                  <a:lnTo>
                    <a:pt x="2347" y="757"/>
                  </a:lnTo>
                  <a:lnTo>
                    <a:pt x="2346" y="757"/>
                  </a:lnTo>
                  <a:lnTo>
                    <a:pt x="2346" y="757"/>
                  </a:lnTo>
                  <a:lnTo>
                    <a:pt x="2346" y="757"/>
                  </a:lnTo>
                  <a:lnTo>
                    <a:pt x="2346" y="757"/>
                  </a:lnTo>
                  <a:lnTo>
                    <a:pt x="2346" y="757"/>
                  </a:lnTo>
                  <a:lnTo>
                    <a:pt x="2345" y="757"/>
                  </a:lnTo>
                  <a:lnTo>
                    <a:pt x="2345" y="756"/>
                  </a:lnTo>
                  <a:lnTo>
                    <a:pt x="2345" y="756"/>
                  </a:lnTo>
                  <a:lnTo>
                    <a:pt x="2345" y="756"/>
                  </a:lnTo>
                  <a:lnTo>
                    <a:pt x="2345" y="756"/>
                  </a:lnTo>
                  <a:lnTo>
                    <a:pt x="2345" y="754"/>
                  </a:lnTo>
                  <a:lnTo>
                    <a:pt x="2345" y="754"/>
                  </a:lnTo>
                  <a:lnTo>
                    <a:pt x="2345" y="754"/>
                  </a:lnTo>
                  <a:lnTo>
                    <a:pt x="2345" y="754"/>
                  </a:lnTo>
                  <a:lnTo>
                    <a:pt x="2344" y="753"/>
                  </a:lnTo>
                  <a:lnTo>
                    <a:pt x="2344" y="753"/>
                  </a:lnTo>
                  <a:lnTo>
                    <a:pt x="2344" y="753"/>
                  </a:lnTo>
                  <a:lnTo>
                    <a:pt x="2344" y="753"/>
                  </a:lnTo>
                  <a:lnTo>
                    <a:pt x="2344" y="753"/>
                  </a:lnTo>
                  <a:lnTo>
                    <a:pt x="2344" y="752"/>
                  </a:lnTo>
                  <a:lnTo>
                    <a:pt x="2343" y="752"/>
                  </a:lnTo>
                  <a:lnTo>
                    <a:pt x="2343" y="752"/>
                  </a:lnTo>
                  <a:lnTo>
                    <a:pt x="2343" y="752"/>
                  </a:lnTo>
                  <a:lnTo>
                    <a:pt x="2343" y="752"/>
                  </a:lnTo>
                  <a:lnTo>
                    <a:pt x="2343" y="752"/>
                  </a:lnTo>
                  <a:lnTo>
                    <a:pt x="2343" y="752"/>
                  </a:lnTo>
                  <a:lnTo>
                    <a:pt x="2342" y="751"/>
                  </a:lnTo>
                  <a:lnTo>
                    <a:pt x="2342" y="751"/>
                  </a:lnTo>
                  <a:lnTo>
                    <a:pt x="2342" y="751"/>
                  </a:lnTo>
                  <a:lnTo>
                    <a:pt x="2342" y="751"/>
                  </a:lnTo>
                  <a:lnTo>
                    <a:pt x="2342" y="751"/>
                  </a:lnTo>
                  <a:lnTo>
                    <a:pt x="2342" y="751"/>
                  </a:lnTo>
                  <a:lnTo>
                    <a:pt x="2342" y="750"/>
                  </a:lnTo>
                  <a:lnTo>
                    <a:pt x="2340" y="750"/>
                  </a:lnTo>
                  <a:lnTo>
                    <a:pt x="2340" y="750"/>
                  </a:lnTo>
                  <a:lnTo>
                    <a:pt x="2340" y="749"/>
                  </a:lnTo>
                  <a:lnTo>
                    <a:pt x="2340" y="749"/>
                  </a:lnTo>
                  <a:lnTo>
                    <a:pt x="2340" y="749"/>
                  </a:lnTo>
                  <a:lnTo>
                    <a:pt x="2340" y="749"/>
                  </a:lnTo>
                  <a:lnTo>
                    <a:pt x="2340" y="749"/>
                  </a:lnTo>
                  <a:lnTo>
                    <a:pt x="2339" y="749"/>
                  </a:lnTo>
                  <a:lnTo>
                    <a:pt x="2339" y="748"/>
                  </a:lnTo>
                  <a:lnTo>
                    <a:pt x="2339" y="748"/>
                  </a:lnTo>
                  <a:lnTo>
                    <a:pt x="2338" y="748"/>
                  </a:lnTo>
                  <a:lnTo>
                    <a:pt x="2338" y="748"/>
                  </a:lnTo>
                  <a:lnTo>
                    <a:pt x="2338" y="748"/>
                  </a:lnTo>
                  <a:lnTo>
                    <a:pt x="2338" y="746"/>
                  </a:lnTo>
                  <a:lnTo>
                    <a:pt x="2338" y="746"/>
                  </a:lnTo>
                  <a:lnTo>
                    <a:pt x="2338" y="746"/>
                  </a:lnTo>
                  <a:lnTo>
                    <a:pt x="2338" y="745"/>
                  </a:lnTo>
                  <a:lnTo>
                    <a:pt x="2337" y="744"/>
                  </a:lnTo>
                  <a:lnTo>
                    <a:pt x="2337" y="744"/>
                  </a:lnTo>
                  <a:lnTo>
                    <a:pt x="2337" y="744"/>
                  </a:lnTo>
                  <a:lnTo>
                    <a:pt x="2337" y="744"/>
                  </a:lnTo>
                  <a:lnTo>
                    <a:pt x="2337" y="744"/>
                  </a:lnTo>
                  <a:lnTo>
                    <a:pt x="2337" y="743"/>
                  </a:lnTo>
                  <a:lnTo>
                    <a:pt x="2337" y="743"/>
                  </a:lnTo>
                  <a:lnTo>
                    <a:pt x="2336" y="743"/>
                  </a:lnTo>
                  <a:lnTo>
                    <a:pt x="2336" y="742"/>
                  </a:lnTo>
                  <a:lnTo>
                    <a:pt x="2336" y="742"/>
                  </a:lnTo>
                  <a:lnTo>
                    <a:pt x="2336" y="742"/>
                  </a:lnTo>
                  <a:lnTo>
                    <a:pt x="2335" y="742"/>
                  </a:lnTo>
                  <a:lnTo>
                    <a:pt x="2335" y="742"/>
                  </a:lnTo>
                  <a:lnTo>
                    <a:pt x="2335" y="741"/>
                  </a:lnTo>
                  <a:lnTo>
                    <a:pt x="2335" y="740"/>
                  </a:lnTo>
                  <a:lnTo>
                    <a:pt x="2335" y="737"/>
                  </a:lnTo>
                  <a:lnTo>
                    <a:pt x="2335" y="735"/>
                  </a:lnTo>
                  <a:lnTo>
                    <a:pt x="2336" y="732"/>
                  </a:lnTo>
                  <a:lnTo>
                    <a:pt x="2336" y="729"/>
                  </a:lnTo>
                  <a:lnTo>
                    <a:pt x="2337" y="727"/>
                  </a:lnTo>
                  <a:lnTo>
                    <a:pt x="2337" y="727"/>
                  </a:lnTo>
                  <a:lnTo>
                    <a:pt x="2336" y="728"/>
                  </a:lnTo>
                  <a:lnTo>
                    <a:pt x="2336" y="729"/>
                  </a:lnTo>
                  <a:lnTo>
                    <a:pt x="2336" y="729"/>
                  </a:lnTo>
                  <a:lnTo>
                    <a:pt x="2336" y="731"/>
                  </a:lnTo>
                  <a:lnTo>
                    <a:pt x="2336" y="731"/>
                  </a:lnTo>
                  <a:lnTo>
                    <a:pt x="2336" y="731"/>
                  </a:lnTo>
                  <a:lnTo>
                    <a:pt x="2336" y="731"/>
                  </a:lnTo>
                  <a:lnTo>
                    <a:pt x="2336" y="731"/>
                  </a:lnTo>
                  <a:lnTo>
                    <a:pt x="2336" y="731"/>
                  </a:lnTo>
                  <a:lnTo>
                    <a:pt x="2335" y="731"/>
                  </a:lnTo>
                  <a:lnTo>
                    <a:pt x="2335" y="732"/>
                  </a:lnTo>
                  <a:lnTo>
                    <a:pt x="2335" y="733"/>
                  </a:lnTo>
                  <a:lnTo>
                    <a:pt x="2335" y="734"/>
                  </a:lnTo>
                  <a:lnTo>
                    <a:pt x="2335" y="734"/>
                  </a:lnTo>
                  <a:lnTo>
                    <a:pt x="2335" y="734"/>
                  </a:lnTo>
                  <a:lnTo>
                    <a:pt x="2335" y="734"/>
                  </a:lnTo>
                  <a:lnTo>
                    <a:pt x="2335" y="734"/>
                  </a:lnTo>
                  <a:lnTo>
                    <a:pt x="2334" y="734"/>
                  </a:lnTo>
                  <a:lnTo>
                    <a:pt x="2334" y="733"/>
                  </a:lnTo>
                  <a:lnTo>
                    <a:pt x="2334" y="733"/>
                  </a:lnTo>
                  <a:lnTo>
                    <a:pt x="2334" y="733"/>
                  </a:lnTo>
                  <a:lnTo>
                    <a:pt x="2334" y="732"/>
                  </a:lnTo>
                  <a:lnTo>
                    <a:pt x="2334" y="732"/>
                  </a:lnTo>
                  <a:lnTo>
                    <a:pt x="2334" y="732"/>
                  </a:lnTo>
                  <a:lnTo>
                    <a:pt x="2334" y="732"/>
                  </a:lnTo>
                  <a:lnTo>
                    <a:pt x="2334" y="732"/>
                  </a:lnTo>
                  <a:lnTo>
                    <a:pt x="2335" y="732"/>
                  </a:lnTo>
                  <a:lnTo>
                    <a:pt x="2335" y="731"/>
                  </a:lnTo>
                  <a:lnTo>
                    <a:pt x="2335" y="731"/>
                  </a:lnTo>
                  <a:lnTo>
                    <a:pt x="2335" y="731"/>
                  </a:lnTo>
                  <a:lnTo>
                    <a:pt x="2335" y="731"/>
                  </a:lnTo>
                  <a:lnTo>
                    <a:pt x="2335" y="729"/>
                  </a:lnTo>
                  <a:lnTo>
                    <a:pt x="2335" y="729"/>
                  </a:lnTo>
                  <a:lnTo>
                    <a:pt x="2335" y="729"/>
                  </a:lnTo>
                  <a:lnTo>
                    <a:pt x="2335" y="728"/>
                  </a:lnTo>
                  <a:lnTo>
                    <a:pt x="2335" y="728"/>
                  </a:lnTo>
                  <a:lnTo>
                    <a:pt x="2335" y="728"/>
                  </a:lnTo>
                  <a:lnTo>
                    <a:pt x="2335" y="728"/>
                  </a:lnTo>
                  <a:lnTo>
                    <a:pt x="2335" y="728"/>
                  </a:lnTo>
                  <a:lnTo>
                    <a:pt x="2335" y="728"/>
                  </a:lnTo>
                  <a:lnTo>
                    <a:pt x="2335" y="727"/>
                  </a:lnTo>
                  <a:lnTo>
                    <a:pt x="2335" y="727"/>
                  </a:lnTo>
                  <a:lnTo>
                    <a:pt x="2335" y="727"/>
                  </a:lnTo>
                  <a:lnTo>
                    <a:pt x="2335" y="726"/>
                  </a:lnTo>
                  <a:lnTo>
                    <a:pt x="2334" y="726"/>
                  </a:lnTo>
                  <a:lnTo>
                    <a:pt x="2334" y="726"/>
                  </a:lnTo>
                  <a:lnTo>
                    <a:pt x="2334" y="726"/>
                  </a:lnTo>
                  <a:lnTo>
                    <a:pt x="2334" y="726"/>
                  </a:lnTo>
                  <a:lnTo>
                    <a:pt x="2334" y="725"/>
                  </a:lnTo>
                  <a:lnTo>
                    <a:pt x="2334" y="725"/>
                  </a:lnTo>
                  <a:lnTo>
                    <a:pt x="2334" y="725"/>
                  </a:lnTo>
                  <a:lnTo>
                    <a:pt x="2333" y="725"/>
                  </a:lnTo>
                  <a:lnTo>
                    <a:pt x="2333" y="724"/>
                  </a:lnTo>
                  <a:lnTo>
                    <a:pt x="2333" y="724"/>
                  </a:lnTo>
                  <a:lnTo>
                    <a:pt x="2333" y="724"/>
                  </a:lnTo>
                  <a:lnTo>
                    <a:pt x="2333" y="723"/>
                  </a:lnTo>
                  <a:lnTo>
                    <a:pt x="2333" y="723"/>
                  </a:lnTo>
                  <a:lnTo>
                    <a:pt x="2333" y="723"/>
                  </a:lnTo>
                  <a:lnTo>
                    <a:pt x="2331" y="722"/>
                  </a:lnTo>
                  <a:lnTo>
                    <a:pt x="2331" y="722"/>
                  </a:lnTo>
                  <a:lnTo>
                    <a:pt x="2331" y="722"/>
                  </a:lnTo>
                  <a:lnTo>
                    <a:pt x="2331" y="722"/>
                  </a:lnTo>
                  <a:lnTo>
                    <a:pt x="2331" y="722"/>
                  </a:lnTo>
                  <a:lnTo>
                    <a:pt x="2330" y="722"/>
                  </a:lnTo>
                  <a:lnTo>
                    <a:pt x="2330" y="722"/>
                  </a:lnTo>
                  <a:lnTo>
                    <a:pt x="2330" y="722"/>
                  </a:lnTo>
                  <a:lnTo>
                    <a:pt x="2330" y="722"/>
                  </a:lnTo>
                  <a:lnTo>
                    <a:pt x="2330" y="722"/>
                  </a:lnTo>
                  <a:lnTo>
                    <a:pt x="2330" y="722"/>
                  </a:lnTo>
                  <a:lnTo>
                    <a:pt x="2329" y="722"/>
                  </a:lnTo>
                  <a:lnTo>
                    <a:pt x="2329" y="720"/>
                  </a:lnTo>
                  <a:lnTo>
                    <a:pt x="2329" y="720"/>
                  </a:lnTo>
                  <a:lnTo>
                    <a:pt x="2328" y="719"/>
                  </a:lnTo>
                  <a:lnTo>
                    <a:pt x="2328" y="719"/>
                  </a:lnTo>
                  <a:lnTo>
                    <a:pt x="2328" y="719"/>
                  </a:lnTo>
                  <a:lnTo>
                    <a:pt x="2327" y="719"/>
                  </a:lnTo>
                  <a:lnTo>
                    <a:pt x="2327" y="718"/>
                  </a:lnTo>
                  <a:lnTo>
                    <a:pt x="2326" y="718"/>
                  </a:lnTo>
                  <a:lnTo>
                    <a:pt x="2326" y="719"/>
                  </a:lnTo>
                  <a:lnTo>
                    <a:pt x="2326" y="719"/>
                  </a:lnTo>
                  <a:lnTo>
                    <a:pt x="2326" y="718"/>
                  </a:lnTo>
                  <a:lnTo>
                    <a:pt x="2326" y="718"/>
                  </a:lnTo>
                  <a:lnTo>
                    <a:pt x="2325" y="718"/>
                  </a:lnTo>
                  <a:lnTo>
                    <a:pt x="2325" y="718"/>
                  </a:lnTo>
                  <a:lnTo>
                    <a:pt x="2325" y="718"/>
                  </a:lnTo>
                  <a:lnTo>
                    <a:pt x="2325" y="717"/>
                  </a:lnTo>
                  <a:lnTo>
                    <a:pt x="2325" y="717"/>
                  </a:lnTo>
                  <a:lnTo>
                    <a:pt x="2325" y="717"/>
                  </a:lnTo>
                  <a:lnTo>
                    <a:pt x="2323" y="717"/>
                  </a:lnTo>
                  <a:lnTo>
                    <a:pt x="2325" y="716"/>
                  </a:lnTo>
                  <a:lnTo>
                    <a:pt x="2325" y="716"/>
                  </a:lnTo>
                  <a:lnTo>
                    <a:pt x="2325" y="716"/>
                  </a:lnTo>
                  <a:lnTo>
                    <a:pt x="2325" y="716"/>
                  </a:lnTo>
                  <a:lnTo>
                    <a:pt x="2325" y="716"/>
                  </a:lnTo>
                  <a:lnTo>
                    <a:pt x="2325" y="716"/>
                  </a:lnTo>
                  <a:lnTo>
                    <a:pt x="2325" y="716"/>
                  </a:lnTo>
                  <a:lnTo>
                    <a:pt x="2325" y="716"/>
                  </a:lnTo>
                  <a:lnTo>
                    <a:pt x="2325" y="715"/>
                  </a:lnTo>
                  <a:lnTo>
                    <a:pt x="2326" y="715"/>
                  </a:lnTo>
                  <a:lnTo>
                    <a:pt x="2326" y="714"/>
                  </a:lnTo>
                  <a:lnTo>
                    <a:pt x="2326" y="714"/>
                  </a:lnTo>
                  <a:lnTo>
                    <a:pt x="2327" y="714"/>
                  </a:lnTo>
                  <a:lnTo>
                    <a:pt x="2327" y="714"/>
                  </a:lnTo>
                  <a:lnTo>
                    <a:pt x="2327" y="712"/>
                  </a:lnTo>
                  <a:lnTo>
                    <a:pt x="2327" y="712"/>
                  </a:lnTo>
                  <a:lnTo>
                    <a:pt x="2327" y="712"/>
                  </a:lnTo>
                  <a:lnTo>
                    <a:pt x="2328" y="712"/>
                  </a:lnTo>
                  <a:lnTo>
                    <a:pt x="2328" y="712"/>
                  </a:lnTo>
                  <a:lnTo>
                    <a:pt x="2328" y="712"/>
                  </a:lnTo>
                  <a:lnTo>
                    <a:pt x="2328" y="712"/>
                  </a:lnTo>
                  <a:lnTo>
                    <a:pt x="2328" y="712"/>
                  </a:lnTo>
                  <a:lnTo>
                    <a:pt x="2328" y="711"/>
                  </a:lnTo>
                  <a:lnTo>
                    <a:pt x="2329" y="711"/>
                  </a:lnTo>
                  <a:lnTo>
                    <a:pt x="2328" y="711"/>
                  </a:lnTo>
                  <a:lnTo>
                    <a:pt x="2328" y="710"/>
                  </a:lnTo>
                  <a:lnTo>
                    <a:pt x="2329" y="710"/>
                  </a:lnTo>
                  <a:lnTo>
                    <a:pt x="2329" y="711"/>
                  </a:lnTo>
                  <a:lnTo>
                    <a:pt x="2329" y="711"/>
                  </a:lnTo>
                  <a:lnTo>
                    <a:pt x="2329" y="711"/>
                  </a:lnTo>
                  <a:lnTo>
                    <a:pt x="2329" y="711"/>
                  </a:lnTo>
                  <a:lnTo>
                    <a:pt x="2329" y="711"/>
                  </a:lnTo>
                  <a:lnTo>
                    <a:pt x="2329" y="712"/>
                  </a:lnTo>
                  <a:lnTo>
                    <a:pt x="2329" y="712"/>
                  </a:lnTo>
                  <a:lnTo>
                    <a:pt x="2330" y="711"/>
                  </a:lnTo>
                  <a:lnTo>
                    <a:pt x="2330" y="711"/>
                  </a:lnTo>
                  <a:lnTo>
                    <a:pt x="2330" y="711"/>
                  </a:lnTo>
                  <a:lnTo>
                    <a:pt x="2330" y="709"/>
                  </a:lnTo>
                  <a:lnTo>
                    <a:pt x="2330" y="709"/>
                  </a:lnTo>
                  <a:lnTo>
                    <a:pt x="2330" y="709"/>
                  </a:lnTo>
                  <a:lnTo>
                    <a:pt x="2330" y="709"/>
                  </a:lnTo>
                  <a:lnTo>
                    <a:pt x="2330" y="709"/>
                  </a:lnTo>
                  <a:lnTo>
                    <a:pt x="2330" y="709"/>
                  </a:lnTo>
                  <a:lnTo>
                    <a:pt x="2331" y="709"/>
                  </a:lnTo>
                  <a:lnTo>
                    <a:pt x="2331" y="709"/>
                  </a:lnTo>
                  <a:lnTo>
                    <a:pt x="2331" y="709"/>
                  </a:lnTo>
                  <a:lnTo>
                    <a:pt x="2331" y="709"/>
                  </a:lnTo>
                  <a:lnTo>
                    <a:pt x="2331" y="709"/>
                  </a:lnTo>
                  <a:lnTo>
                    <a:pt x="2331" y="708"/>
                  </a:lnTo>
                  <a:lnTo>
                    <a:pt x="2333" y="708"/>
                  </a:lnTo>
                  <a:lnTo>
                    <a:pt x="2333" y="707"/>
                  </a:lnTo>
                  <a:lnTo>
                    <a:pt x="2333" y="707"/>
                  </a:lnTo>
                  <a:lnTo>
                    <a:pt x="2333" y="707"/>
                  </a:lnTo>
                  <a:lnTo>
                    <a:pt x="2333" y="707"/>
                  </a:lnTo>
                  <a:lnTo>
                    <a:pt x="2333" y="706"/>
                  </a:lnTo>
                  <a:lnTo>
                    <a:pt x="2334" y="706"/>
                  </a:lnTo>
                  <a:lnTo>
                    <a:pt x="2334" y="706"/>
                  </a:lnTo>
                  <a:lnTo>
                    <a:pt x="2334" y="706"/>
                  </a:lnTo>
                  <a:lnTo>
                    <a:pt x="2334" y="703"/>
                  </a:lnTo>
                  <a:lnTo>
                    <a:pt x="2334" y="703"/>
                  </a:lnTo>
                  <a:lnTo>
                    <a:pt x="2334" y="703"/>
                  </a:lnTo>
                  <a:lnTo>
                    <a:pt x="2335" y="703"/>
                  </a:lnTo>
                  <a:lnTo>
                    <a:pt x="2335" y="702"/>
                  </a:lnTo>
                  <a:lnTo>
                    <a:pt x="2335" y="702"/>
                  </a:lnTo>
                  <a:lnTo>
                    <a:pt x="2335" y="702"/>
                  </a:lnTo>
                  <a:lnTo>
                    <a:pt x="2335" y="702"/>
                  </a:lnTo>
                  <a:lnTo>
                    <a:pt x="2335" y="701"/>
                  </a:lnTo>
                  <a:lnTo>
                    <a:pt x="2335" y="702"/>
                  </a:lnTo>
                  <a:lnTo>
                    <a:pt x="2334" y="702"/>
                  </a:lnTo>
                  <a:lnTo>
                    <a:pt x="2334" y="701"/>
                  </a:lnTo>
                  <a:lnTo>
                    <a:pt x="2334" y="701"/>
                  </a:lnTo>
                  <a:lnTo>
                    <a:pt x="2334" y="701"/>
                  </a:lnTo>
                  <a:lnTo>
                    <a:pt x="2336" y="701"/>
                  </a:lnTo>
                  <a:lnTo>
                    <a:pt x="2336" y="700"/>
                  </a:lnTo>
                  <a:lnTo>
                    <a:pt x="2336" y="700"/>
                  </a:lnTo>
                  <a:lnTo>
                    <a:pt x="2336" y="700"/>
                  </a:lnTo>
                  <a:lnTo>
                    <a:pt x="2336" y="700"/>
                  </a:lnTo>
                  <a:lnTo>
                    <a:pt x="2336" y="700"/>
                  </a:lnTo>
                  <a:lnTo>
                    <a:pt x="2336" y="700"/>
                  </a:lnTo>
                  <a:lnTo>
                    <a:pt x="2336" y="699"/>
                  </a:lnTo>
                  <a:lnTo>
                    <a:pt x="2336" y="699"/>
                  </a:lnTo>
                  <a:lnTo>
                    <a:pt x="2336" y="699"/>
                  </a:lnTo>
                  <a:lnTo>
                    <a:pt x="2335" y="699"/>
                  </a:lnTo>
                  <a:lnTo>
                    <a:pt x="2336" y="699"/>
                  </a:lnTo>
                  <a:lnTo>
                    <a:pt x="2335" y="698"/>
                  </a:lnTo>
                  <a:lnTo>
                    <a:pt x="2335" y="697"/>
                  </a:lnTo>
                  <a:lnTo>
                    <a:pt x="2335" y="697"/>
                  </a:lnTo>
                  <a:lnTo>
                    <a:pt x="2335" y="697"/>
                  </a:lnTo>
                  <a:lnTo>
                    <a:pt x="2335" y="697"/>
                  </a:lnTo>
                  <a:lnTo>
                    <a:pt x="2334" y="697"/>
                  </a:lnTo>
                  <a:lnTo>
                    <a:pt x="2334" y="697"/>
                  </a:lnTo>
                  <a:lnTo>
                    <a:pt x="2334" y="695"/>
                  </a:lnTo>
                  <a:lnTo>
                    <a:pt x="2334" y="695"/>
                  </a:lnTo>
                  <a:lnTo>
                    <a:pt x="2334" y="695"/>
                  </a:lnTo>
                  <a:lnTo>
                    <a:pt x="2334" y="695"/>
                  </a:lnTo>
                  <a:lnTo>
                    <a:pt x="2335" y="695"/>
                  </a:lnTo>
                  <a:lnTo>
                    <a:pt x="2335" y="695"/>
                  </a:lnTo>
                  <a:lnTo>
                    <a:pt x="2336" y="697"/>
                  </a:lnTo>
                  <a:lnTo>
                    <a:pt x="2336" y="697"/>
                  </a:lnTo>
                  <a:lnTo>
                    <a:pt x="2336" y="697"/>
                  </a:lnTo>
                  <a:lnTo>
                    <a:pt x="2336" y="694"/>
                  </a:lnTo>
                  <a:lnTo>
                    <a:pt x="2337" y="695"/>
                  </a:lnTo>
                  <a:lnTo>
                    <a:pt x="2337" y="695"/>
                  </a:lnTo>
                  <a:lnTo>
                    <a:pt x="2337" y="695"/>
                  </a:lnTo>
                  <a:lnTo>
                    <a:pt x="2337" y="695"/>
                  </a:lnTo>
                  <a:lnTo>
                    <a:pt x="2337" y="695"/>
                  </a:lnTo>
                  <a:lnTo>
                    <a:pt x="2337" y="695"/>
                  </a:lnTo>
                  <a:lnTo>
                    <a:pt x="2337" y="697"/>
                  </a:lnTo>
                  <a:lnTo>
                    <a:pt x="2338" y="697"/>
                  </a:lnTo>
                  <a:lnTo>
                    <a:pt x="2338" y="697"/>
                  </a:lnTo>
                  <a:lnTo>
                    <a:pt x="2339" y="697"/>
                  </a:lnTo>
                  <a:lnTo>
                    <a:pt x="2339" y="698"/>
                  </a:lnTo>
                  <a:lnTo>
                    <a:pt x="2339" y="698"/>
                  </a:lnTo>
                  <a:lnTo>
                    <a:pt x="2339" y="698"/>
                  </a:lnTo>
                  <a:lnTo>
                    <a:pt x="2339" y="698"/>
                  </a:lnTo>
                  <a:lnTo>
                    <a:pt x="2340" y="698"/>
                  </a:lnTo>
                  <a:lnTo>
                    <a:pt x="2340" y="698"/>
                  </a:lnTo>
                  <a:lnTo>
                    <a:pt x="2340" y="698"/>
                  </a:lnTo>
                  <a:lnTo>
                    <a:pt x="2340" y="698"/>
                  </a:lnTo>
                  <a:lnTo>
                    <a:pt x="2340" y="698"/>
                  </a:lnTo>
                  <a:lnTo>
                    <a:pt x="2340" y="697"/>
                  </a:lnTo>
                  <a:lnTo>
                    <a:pt x="2340" y="697"/>
                  </a:lnTo>
                  <a:lnTo>
                    <a:pt x="2340" y="697"/>
                  </a:lnTo>
                  <a:lnTo>
                    <a:pt x="2340" y="697"/>
                  </a:lnTo>
                  <a:lnTo>
                    <a:pt x="2340" y="697"/>
                  </a:lnTo>
                  <a:lnTo>
                    <a:pt x="2340" y="697"/>
                  </a:lnTo>
                  <a:lnTo>
                    <a:pt x="2342" y="697"/>
                  </a:lnTo>
                  <a:lnTo>
                    <a:pt x="2342" y="697"/>
                  </a:lnTo>
                  <a:lnTo>
                    <a:pt x="2342" y="695"/>
                  </a:lnTo>
                  <a:lnTo>
                    <a:pt x="2342" y="695"/>
                  </a:lnTo>
                  <a:lnTo>
                    <a:pt x="2342" y="697"/>
                  </a:lnTo>
                  <a:lnTo>
                    <a:pt x="2343" y="697"/>
                  </a:lnTo>
                  <a:lnTo>
                    <a:pt x="2343" y="697"/>
                  </a:lnTo>
                  <a:lnTo>
                    <a:pt x="2343" y="697"/>
                  </a:lnTo>
                  <a:lnTo>
                    <a:pt x="2343" y="697"/>
                  </a:lnTo>
                  <a:lnTo>
                    <a:pt x="2343" y="695"/>
                  </a:lnTo>
                  <a:lnTo>
                    <a:pt x="2344" y="695"/>
                  </a:lnTo>
                  <a:lnTo>
                    <a:pt x="2344" y="695"/>
                  </a:lnTo>
                  <a:lnTo>
                    <a:pt x="2344" y="695"/>
                  </a:lnTo>
                  <a:lnTo>
                    <a:pt x="2344" y="697"/>
                  </a:lnTo>
                  <a:lnTo>
                    <a:pt x="2344" y="695"/>
                  </a:lnTo>
                  <a:lnTo>
                    <a:pt x="2345" y="695"/>
                  </a:lnTo>
                  <a:lnTo>
                    <a:pt x="2345" y="697"/>
                  </a:lnTo>
                  <a:lnTo>
                    <a:pt x="2345" y="697"/>
                  </a:lnTo>
                  <a:lnTo>
                    <a:pt x="2345" y="695"/>
                  </a:lnTo>
                  <a:lnTo>
                    <a:pt x="2345" y="695"/>
                  </a:lnTo>
                  <a:lnTo>
                    <a:pt x="2345" y="695"/>
                  </a:lnTo>
                  <a:lnTo>
                    <a:pt x="2346" y="695"/>
                  </a:lnTo>
                  <a:lnTo>
                    <a:pt x="2346" y="695"/>
                  </a:lnTo>
                  <a:lnTo>
                    <a:pt x="2346" y="694"/>
                  </a:lnTo>
                  <a:lnTo>
                    <a:pt x="2346" y="694"/>
                  </a:lnTo>
                  <a:lnTo>
                    <a:pt x="2346" y="694"/>
                  </a:lnTo>
                  <a:lnTo>
                    <a:pt x="2346" y="694"/>
                  </a:lnTo>
                  <a:lnTo>
                    <a:pt x="2347" y="694"/>
                  </a:lnTo>
                  <a:lnTo>
                    <a:pt x="2347" y="694"/>
                  </a:lnTo>
                  <a:lnTo>
                    <a:pt x="2348" y="694"/>
                  </a:lnTo>
                  <a:lnTo>
                    <a:pt x="2348" y="694"/>
                  </a:lnTo>
                  <a:lnTo>
                    <a:pt x="2347" y="694"/>
                  </a:lnTo>
                  <a:lnTo>
                    <a:pt x="2347" y="694"/>
                  </a:lnTo>
                  <a:lnTo>
                    <a:pt x="2347" y="694"/>
                  </a:lnTo>
                  <a:lnTo>
                    <a:pt x="2347" y="693"/>
                  </a:lnTo>
                  <a:lnTo>
                    <a:pt x="2348" y="693"/>
                  </a:lnTo>
                  <a:lnTo>
                    <a:pt x="2348" y="693"/>
                  </a:lnTo>
                  <a:lnTo>
                    <a:pt x="2348" y="693"/>
                  </a:lnTo>
                  <a:lnTo>
                    <a:pt x="2348" y="693"/>
                  </a:lnTo>
                  <a:lnTo>
                    <a:pt x="2348" y="693"/>
                  </a:lnTo>
                  <a:lnTo>
                    <a:pt x="2348" y="692"/>
                  </a:lnTo>
                  <a:lnTo>
                    <a:pt x="2349" y="692"/>
                  </a:lnTo>
                  <a:lnTo>
                    <a:pt x="2349" y="692"/>
                  </a:lnTo>
                  <a:lnTo>
                    <a:pt x="2349" y="692"/>
                  </a:lnTo>
                  <a:lnTo>
                    <a:pt x="2349" y="692"/>
                  </a:lnTo>
                  <a:lnTo>
                    <a:pt x="2349" y="692"/>
                  </a:lnTo>
                  <a:lnTo>
                    <a:pt x="2351" y="692"/>
                  </a:lnTo>
                  <a:lnTo>
                    <a:pt x="2351" y="692"/>
                  </a:lnTo>
                  <a:lnTo>
                    <a:pt x="2351" y="692"/>
                  </a:lnTo>
                  <a:lnTo>
                    <a:pt x="2351" y="693"/>
                  </a:lnTo>
                  <a:lnTo>
                    <a:pt x="2351" y="693"/>
                  </a:lnTo>
                  <a:lnTo>
                    <a:pt x="2351" y="693"/>
                  </a:lnTo>
                  <a:lnTo>
                    <a:pt x="2352" y="693"/>
                  </a:lnTo>
                  <a:lnTo>
                    <a:pt x="2352" y="693"/>
                  </a:lnTo>
                  <a:lnTo>
                    <a:pt x="2352" y="693"/>
                  </a:lnTo>
                  <a:lnTo>
                    <a:pt x="2352" y="692"/>
                  </a:lnTo>
                  <a:lnTo>
                    <a:pt x="2352" y="692"/>
                  </a:lnTo>
                  <a:lnTo>
                    <a:pt x="2352" y="692"/>
                  </a:lnTo>
                  <a:lnTo>
                    <a:pt x="2351" y="692"/>
                  </a:lnTo>
                  <a:lnTo>
                    <a:pt x="2351" y="692"/>
                  </a:lnTo>
                  <a:lnTo>
                    <a:pt x="2352" y="692"/>
                  </a:lnTo>
                  <a:lnTo>
                    <a:pt x="2352" y="692"/>
                  </a:lnTo>
                  <a:lnTo>
                    <a:pt x="2352" y="692"/>
                  </a:lnTo>
                  <a:lnTo>
                    <a:pt x="2352" y="691"/>
                  </a:lnTo>
                  <a:lnTo>
                    <a:pt x="2352" y="691"/>
                  </a:lnTo>
                  <a:lnTo>
                    <a:pt x="2352" y="691"/>
                  </a:lnTo>
                  <a:lnTo>
                    <a:pt x="2352" y="691"/>
                  </a:lnTo>
                  <a:lnTo>
                    <a:pt x="2352" y="691"/>
                  </a:lnTo>
                  <a:lnTo>
                    <a:pt x="2351" y="690"/>
                  </a:lnTo>
                  <a:lnTo>
                    <a:pt x="2351" y="690"/>
                  </a:lnTo>
                  <a:lnTo>
                    <a:pt x="2351" y="690"/>
                  </a:lnTo>
                  <a:lnTo>
                    <a:pt x="2351" y="690"/>
                  </a:lnTo>
                  <a:lnTo>
                    <a:pt x="2352" y="690"/>
                  </a:lnTo>
                  <a:lnTo>
                    <a:pt x="2352" y="690"/>
                  </a:lnTo>
                  <a:lnTo>
                    <a:pt x="2352" y="690"/>
                  </a:lnTo>
                  <a:lnTo>
                    <a:pt x="2352" y="690"/>
                  </a:lnTo>
                  <a:lnTo>
                    <a:pt x="2352" y="690"/>
                  </a:lnTo>
                  <a:lnTo>
                    <a:pt x="2352" y="690"/>
                  </a:lnTo>
                  <a:lnTo>
                    <a:pt x="2353" y="690"/>
                  </a:lnTo>
                  <a:lnTo>
                    <a:pt x="2353" y="690"/>
                  </a:lnTo>
                  <a:lnTo>
                    <a:pt x="2353" y="690"/>
                  </a:lnTo>
                  <a:lnTo>
                    <a:pt x="2353" y="690"/>
                  </a:lnTo>
                  <a:lnTo>
                    <a:pt x="2353" y="690"/>
                  </a:lnTo>
                  <a:lnTo>
                    <a:pt x="2353" y="691"/>
                  </a:lnTo>
                  <a:lnTo>
                    <a:pt x="2354" y="691"/>
                  </a:lnTo>
                  <a:lnTo>
                    <a:pt x="2354" y="691"/>
                  </a:lnTo>
                  <a:lnTo>
                    <a:pt x="2354" y="690"/>
                  </a:lnTo>
                  <a:lnTo>
                    <a:pt x="2354" y="690"/>
                  </a:lnTo>
                  <a:lnTo>
                    <a:pt x="2353" y="690"/>
                  </a:lnTo>
                  <a:lnTo>
                    <a:pt x="2353" y="690"/>
                  </a:lnTo>
                  <a:lnTo>
                    <a:pt x="2354" y="690"/>
                  </a:lnTo>
                  <a:lnTo>
                    <a:pt x="2354" y="690"/>
                  </a:lnTo>
                  <a:lnTo>
                    <a:pt x="2354" y="690"/>
                  </a:lnTo>
                  <a:lnTo>
                    <a:pt x="2354" y="690"/>
                  </a:lnTo>
                  <a:lnTo>
                    <a:pt x="2354" y="690"/>
                  </a:lnTo>
                  <a:lnTo>
                    <a:pt x="2354" y="690"/>
                  </a:lnTo>
                  <a:lnTo>
                    <a:pt x="2354" y="690"/>
                  </a:lnTo>
                  <a:lnTo>
                    <a:pt x="2354" y="690"/>
                  </a:lnTo>
                  <a:lnTo>
                    <a:pt x="2354" y="690"/>
                  </a:lnTo>
                  <a:lnTo>
                    <a:pt x="2354" y="689"/>
                  </a:lnTo>
                  <a:lnTo>
                    <a:pt x="2354" y="689"/>
                  </a:lnTo>
                  <a:lnTo>
                    <a:pt x="2354" y="690"/>
                  </a:lnTo>
                  <a:lnTo>
                    <a:pt x="2354" y="690"/>
                  </a:lnTo>
                  <a:lnTo>
                    <a:pt x="2354" y="689"/>
                  </a:lnTo>
                  <a:lnTo>
                    <a:pt x="2354" y="689"/>
                  </a:lnTo>
                  <a:lnTo>
                    <a:pt x="2354" y="689"/>
                  </a:lnTo>
                  <a:lnTo>
                    <a:pt x="2355" y="689"/>
                  </a:lnTo>
                  <a:lnTo>
                    <a:pt x="2355" y="690"/>
                  </a:lnTo>
                  <a:lnTo>
                    <a:pt x="2355" y="690"/>
                  </a:lnTo>
                  <a:lnTo>
                    <a:pt x="2355" y="690"/>
                  </a:lnTo>
                  <a:lnTo>
                    <a:pt x="2355" y="690"/>
                  </a:lnTo>
                  <a:lnTo>
                    <a:pt x="2355" y="690"/>
                  </a:lnTo>
                  <a:lnTo>
                    <a:pt x="2355" y="690"/>
                  </a:lnTo>
                  <a:lnTo>
                    <a:pt x="2355" y="689"/>
                  </a:lnTo>
                  <a:lnTo>
                    <a:pt x="2355" y="689"/>
                  </a:lnTo>
                  <a:lnTo>
                    <a:pt x="2355" y="689"/>
                  </a:lnTo>
                  <a:lnTo>
                    <a:pt x="2355" y="689"/>
                  </a:lnTo>
                  <a:lnTo>
                    <a:pt x="2355" y="689"/>
                  </a:lnTo>
                  <a:lnTo>
                    <a:pt x="2356" y="689"/>
                  </a:lnTo>
                  <a:lnTo>
                    <a:pt x="2356" y="688"/>
                  </a:lnTo>
                  <a:lnTo>
                    <a:pt x="2356" y="688"/>
                  </a:lnTo>
                  <a:lnTo>
                    <a:pt x="2356" y="689"/>
                  </a:lnTo>
                  <a:lnTo>
                    <a:pt x="2357" y="689"/>
                  </a:lnTo>
                  <a:lnTo>
                    <a:pt x="2357" y="689"/>
                  </a:lnTo>
                  <a:lnTo>
                    <a:pt x="2357" y="689"/>
                  </a:lnTo>
                  <a:lnTo>
                    <a:pt x="2357" y="689"/>
                  </a:lnTo>
                  <a:lnTo>
                    <a:pt x="2357" y="689"/>
                  </a:lnTo>
                  <a:lnTo>
                    <a:pt x="2357" y="689"/>
                  </a:lnTo>
                  <a:lnTo>
                    <a:pt x="2357" y="688"/>
                  </a:lnTo>
                  <a:lnTo>
                    <a:pt x="2356" y="688"/>
                  </a:lnTo>
                  <a:lnTo>
                    <a:pt x="2357" y="686"/>
                  </a:lnTo>
                  <a:lnTo>
                    <a:pt x="2357" y="686"/>
                  </a:lnTo>
                  <a:lnTo>
                    <a:pt x="2357" y="686"/>
                  </a:lnTo>
                  <a:lnTo>
                    <a:pt x="2357" y="686"/>
                  </a:lnTo>
                  <a:lnTo>
                    <a:pt x="2357" y="686"/>
                  </a:lnTo>
                  <a:lnTo>
                    <a:pt x="2357" y="686"/>
                  </a:lnTo>
                  <a:lnTo>
                    <a:pt x="2357" y="686"/>
                  </a:lnTo>
                  <a:lnTo>
                    <a:pt x="2357" y="685"/>
                  </a:lnTo>
                  <a:lnTo>
                    <a:pt x="2359" y="685"/>
                  </a:lnTo>
                  <a:lnTo>
                    <a:pt x="2359" y="684"/>
                  </a:lnTo>
                  <a:lnTo>
                    <a:pt x="2359" y="684"/>
                  </a:lnTo>
                  <a:lnTo>
                    <a:pt x="2359" y="683"/>
                  </a:lnTo>
                  <a:lnTo>
                    <a:pt x="2359" y="683"/>
                  </a:lnTo>
                  <a:lnTo>
                    <a:pt x="2359" y="683"/>
                  </a:lnTo>
                  <a:lnTo>
                    <a:pt x="2360" y="683"/>
                  </a:lnTo>
                  <a:lnTo>
                    <a:pt x="2360" y="683"/>
                  </a:lnTo>
                  <a:lnTo>
                    <a:pt x="2360" y="683"/>
                  </a:lnTo>
                  <a:lnTo>
                    <a:pt x="2361" y="683"/>
                  </a:lnTo>
                  <a:lnTo>
                    <a:pt x="2362" y="683"/>
                  </a:lnTo>
                  <a:lnTo>
                    <a:pt x="2361" y="683"/>
                  </a:lnTo>
                  <a:lnTo>
                    <a:pt x="2361" y="683"/>
                  </a:lnTo>
                  <a:lnTo>
                    <a:pt x="2361" y="683"/>
                  </a:lnTo>
                  <a:lnTo>
                    <a:pt x="2361" y="683"/>
                  </a:lnTo>
                  <a:lnTo>
                    <a:pt x="2361" y="682"/>
                  </a:lnTo>
                  <a:lnTo>
                    <a:pt x="2361" y="682"/>
                  </a:lnTo>
                  <a:lnTo>
                    <a:pt x="2360" y="682"/>
                  </a:lnTo>
                  <a:lnTo>
                    <a:pt x="2360" y="682"/>
                  </a:lnTo>
                  <a:lnTo>
                    <a:pt x="2361" y="682"/>
                  </a:lnTo>
                  <a:lnTo>
                    <a:pt x="2361" y="682"/>
                  </a:lnTo>
                  <a:lnTo>
                    <a:pt x="2361" y="682"/>
                  </a:lnTo>
                  <a:lnTo>
                    <a:pt x="2361" y="682"/>
                  </a:lnTo>
                  <a:lnTo>
                    <a:pt x="2362" y="682"/>
                  </a:lnTo>
                  <a:lnTo>
                    <a:pt x="2362" y="683"/>
                  </a:lnTo>
                  <a:lnTo>
                    <a:pt x="2362" y="683"/>
                  </a:lnTo>
                  <a:lnTo>
                    <a:pt x="2362" y="682"/>
                  </a:lnTo>
                  <a:lnTo>
                    <a:pt x="2362" y="682"/>
                  </a:lnTo>
                  <a:lnTo>
                    <a:pt x="2362" y="682"/>
                  </a:lnTo>
                  <a:lnTo>
                    <a:pt x="2362" y="683"/>
                  </a:lnTo>
                  <a:lnTo>
                    <a:pt x="2362" y="683"/>
                  </a:lnTo>
                  <a:lnTo>
                    <a:pt x="2363" y="683"/>
                  </a:lnTo>
                  <a:lnTo>
                    <a:pt x="2363" y="683"/>
                  </a:lnTo>
                  <a:lnTo>
                    <a:pt x="2363" y="682"/>
                  </a:lnTo>
                  <a:lnTo>
                    <a:pt x="2363" y="682"/>
                  </a:lnTo>
                  <a:lnTo>
                    <a:pt x="2363" y="682"/>
                  </a:lnTo>
                  <a:lnTo>
                    <a:pt x="2363" y="682"/>
                  </a:lnTo>
                  <a:lnTo>
                    <a:pt x="2363" y="682"/>
                  </a:lnTo>
                  <a:lnTo>
                    <a:pt x="2363" y="682"/>
                  </a:lnTo>
                  <a:lnTo>
                    <a:pt x="2364" y="682"/>
                  </a:lnTo>
                  <a:lnTo>
                    <a:pt x="2364" y="682"/>
                  </a:lnTo>
                  <a:lnTo>
                    <a:pt x="2364" y="682"/>
                  </a:lnTo>
                  <a:lnTo>
                    <a:pt x="2364" y="682"/>
                  </a:lnTo>
                  <a:lnTo>
                    <a:pt x="2365" y="682"/>
                  </a:lnTo>
                  <a:lnTo>
                    <a:pt x="2365" y="682"/>
                  </a:lnTo>
                  <a:lnTo>
                    <a:pt x="2365" y="682"/>
                  </a:lnTo>
                  <a:lnTo>
                    <a:pt x="2365" y="682"/>
                  </a:lnTo>
                  <a:lnTo>
                    <a:pt x="2365" y="682"/>
                  </a:lnTo>
                  <a:lnTo>
                    <a:pt x="2366" y="682"/>
                  </a:lnTo>
                  <a:lnTo>
                    <a:pt x="2366" y="682"/>
                  </a:lnTo>
                  <a:lnTo>
                    <a:pt x="2366" y="682"/>
                  </a:lnTo>
                  <a:lnTo>
                    <a:pt x="2366" y="682"/>
                  </a:lnTo>
                  <a:lnTo>
                    <a:pt x="2366" y="683"/>
                  </a:lnTo>
                  <a:lnTo>
                    <a:pt x="2366" y="683"/>
                  </a:lnTo>
                  <a:lnTo>
                    <a:pt x="2368" y="682"/>
                  </a:lnTo>
                  <a:lnTo>
                    <a:pt x="2368" y="682"/>
                  </a:lnTo>
                  <a:lnTo>
                    <a:pt x="2368" y="682"/>
                  </a:lnTo>
                  <a:lnTo>
                    <a:pt x="2368" y="682"/>
                  </a:lnTo>
                  <a:lnTo>
                    <a:pt x="2369" y="682"/>
                  </a:lnTo>
                  <a:lnTo>
                    <a:pt x="2369" y="681"/>
                  </a:lnTo>
                  <a:lnTo>
                    <a:pt x="2369" y="681"/>
                  </a:lnTo>
                  <a:lnTo>
                    <a:pt x="2369" y="681"/>
                  </a:lnTo>
                  <a:lnTo>
                    <a:pt x="2370" y="681"/>
                  </a:lnTo>
                  <a:lnTo>
                    <a:pt x="2370" y="681"/>
                  </a:lnTo>
                  <a:lnTo>
                    <a:pt x="2370" y="681"/>
                  </a:lnTo>
                  <a:lnTo>
                    <a:pt x="2371" y="681"/>
                  </a:lnTo>
                  <a:lnTo>
                    <a:pt x="2371" y="680"/>
                  </a:lnTo>
                  <a:lnTo>
                    <a:pt x="2371" y="680"/>
                  </a:lnTo>
                  <a:lnTo>
                    <a:pt x="2371" y="680"/>
                  </a:lnTo>
                  <a:lnTo>
                    <a:pt x="2371" y="680"/>
                  </a:lnTo>
                  <a:lnTo>
                    <a:pt x="2371" y="680"/>
                  </a:lnTo>
                  <a:lnTo>
                    <a:pt x="2371" y="678"/>
                  </a:lnTo>
                  <a:lnTo>
                    <a:pt x="2372" y="678"/>
                  </a:lnTo>
                  <a:lnTo>
                    <a:pt x="2372" y="678"/>
                  </a:lnTo>
                  <a:lnTo>
                    <a:pt x="2372" y="678"/>
                  </a:lnTo>
                  <a:lnTo>
                    <a:pt x="2372" y="678"/>
                  </a:lnTo>
                  <a:lnTo>
                    <a:pt x="2372" y="678"/>
                  </a:lnTo>
                  <a:lnTo>
                    <a:pt x="2372" y="680"/>
                  </a:lnTo>
                  <a:lnTo>
                    <a:pt x="2372" y="680"/>
                  </a:lnTo>
                  <a:lnTo>
                    <a:pt x="2373" y="680"/>
                  </a:lnTo>
                  <a:lnTo>
                    <a:pt x="2373" y="678"/>
                  </a:lnTo>
                  <a:lnTo>
                    <a:pt x="2373" y="678"/>
                  </a:lnTo>
                  <a:lnTo>
                    <a:pt x="2373" y="678"/>
                  </a:lnTo>
                  <a:lnTo>
                    <a:pt x="2373" y="678"/>
                  </a:lnTo>
                  <a:lnTo>
                    <a:pt x="2373" y="678"/>
                  </a:lnTo>
                  <a:lnTo>
                    <a:pt x="2373" y="677"/>
                  </a:lnTo>
                  <a:lnTo>
                    <a:pt x="2374" y="677"/>
                  </a:lnTo>
                  <a:lnTo>
                    <a:pt x="2374" y="677"/>
                  </a:lnTo>
                  <a:lnTo>
                    <a:pt x="2374" y="677"/>
                  </a:lnTo>
                  <a:lnTo>
                    <a:pt x="2374" y="677"/>
                  </a:lnTo>
                  <a:lnTo>
                    <a:pt x="2374" y="677"/>
                  </a:lnTo>
                  <a:lnTo>
                    <a:pt x="2376" y="677"/>
                  </a:lnTo>
                  <a:lnTo>
                    <a:pt x="2376" y="677"/>
                  </a:lnTo>
                  <a:lnTo>
                    <a:pt x="2376" y="677"/>
                  </a:lnTo>
                  <a:lnTo>
                    <a:pt x="2376" y="677"/>
                  </a:lnTo>
                  <a:lnTo>
                    <a:pt x="2376" y="676"/>
                  </a:lnTo>
                  <a:lnTo>
                    <a:pt x="2376" y="676"/>
                  </a:lnTo>
                  <a:lnTo>
                    <a:pt x="2376" y="676"/>
                  </a:lnTo>
                  <a:lnTo>
                    <a:pt x="2376" y="676"/>
                  </a:lnTo>
                  <a:lnTo>
                    <a:pt x="2376" y="676"/>
                  </a:lnTo>
                  <a:lnTo>
                    <a:pt x="2377" y="676"/>
                  </a:lnTo>
                  <a:lnTo>
                    <a:pt x="2377" y="676"/>
                  </a:lnTo>
                  <a:lnTo>
                    <a:pt x="2378" y="676"/>
                  </a:lnTo>
                  <a:lnTo>
                    <a:pt x="2378" y="676"/>
                  </a:lnTo>
                  <a:lnTo>
                    <a:pt x="2378" y="675"/>
                  </a:lnTo>
                  <a:lnTo>
                    <a:pt x="2379" y="675"/>
                  </a:lnTo>
                  <a:lnTo>
                    <a:pt x="2379" y="675"/>
                  </a:lnTo>
                  <a:lnTo>
                    <a:pt x="2380" y="675"/>
                  </a:lnTo>
                  <a:lnTo>
                    <a:pt x="2380" y="675"/>
                  </a:lnTo>
                  <a:lnTo>
                    <a:pt x="2380" y="675"/>
                  </a:lnTo>
                  <a:lnTo>
                    <a:pt x="2380" y="675"/>
                  </a:lnTo>
                  <a:lnTo>
                    <a:pt x="2380" y="675"/>
                  </a:lnTo>
                  <a:lnTo>
                    <a:pt x="2380" y="675"/>
                  </a:lnTo>
                  <a:lnTo>
                    <a:pt x="2381" y="675"/>
                  </a:lnTo>
                  <a:lnTo>
                    <a:pt x="2381" y="674"/>
                  </a:lnTo>
                  <a:lnTo>
                    <a:pt x="2381" y="674"/>
                  </a:lnTo>
                  <a:lnTo>
                    <a:pt x="2381" y="674"/>
                  </a:lnTo>
                  <a:lnTo>
                    <a:pt x="2381" y="674"/>
                  </a:lnTo>
                  <a:lnTo>
                    <a:pt x="2381" y="674"/>
                  </a:lnTo>
                  <a:lnTo>
                    <a:pt x="2381" y="674"/>
                  </a:lnTo>
                  <a:lnTo>
                    <a:pt x="2381" y="674"/>
                  </a:lnTo>
                  <a:lnTo>
                    <a:pt x="2382" y="674"/>
                  </a:lnTo>
                  <a:lnTo>
                    <a:pt x="2382" y="674"/>
                  </a:lnTo>
                  <a:lnTo>
                    <a:pt x="2382" y="674"/>
                  </a:lnTo>
                  <a:lnTo>
                    <a:pt x="2382" y="674"/>
                  </a:lnTo>
                  <a:lnTo>
                    <a:pt x="2382" y="674"/>
                  </a:lnTo>
                  <a:lnTo>
                    <a:pt x="2382" y="674"/>
                  </a:lnTo>
                  <a:lnTo>
                    <a:pt x="2383" y="674"/>
                  </a:lnTo>
                  <a:lnTo>
                    <a:pt x="2383" y="673"/>
                  </a:lnTo>
                  <a:lnTo>
                    <a:pt x="2385" y="673"/>
                  </a:lnTo>
                  <a:lnTo>
                    <a:pt x="2385" y="673"/>
                  </a:lnTo>
                  <a:lnTo>
                    <a:pt x="2386" y="673"/>
                  </a:lnTo>
                  <a:lnTo>
                    <a:pt x="2386" y="673"/>
                  </a:lnTo>
                  <a:lnTo>
                    <a:pt x="2386" y="673"/>
                  </a:lnTo>
                  <a:lnTo>
                    <a:pt x="2387" y="673"/>
                  </a:lnTo>
                  <a:lnTo>
                    <a:pt x="2387" y="673"/>
                  </a:lnTo>
                  <a:lnTo>
                    <a:pt x="2388" y="673"/>
                  </a:lnTo>
                  <a:lnTo>
                    <a:pt x="2388" y="673"/>
                  </a:lnTo>
                  <a:lnTo>
                    <a:pt x="2389" y="673"/>
                  </a:lnTo>
                  <a:lnTo>
                    <a:pt x="2389" y="673"/>
                  </a:lnTo>
                  <a:lnTo>
                    <a:pt x="2389" y="673"/>
                  </a:lnTo>
                  <a:lnTo>
                    <a:pt x="2389" y="674"/>
                  </a:lnTo>
                  <a:lnTo>
                    <a:pt x="2390" y="674"/>
                  </a:lnTo>
                  <a:lnTo>
                    <a:pt x="2390" y="674"/>
                  </a:lnTo>
                  <a:lnTo>
                    <a:pt x="2391" y="674"/>
                  </a:lnTo>
                  <a:lnTo>
                    <a:pt x="2391" y="674"/>
                  </a:lnTo>
                  <a:lnTo>
                    <a:pt x="2391" y="675"/>
                  </a:lnTo>
                  <a:lnTo>
                    <a:pt x="2391" y="675"/>
                  </a:lnTo>
                  <a:lnTo>
                    <a:pt x="2391" y="674"/>
                  </a:lnTo>
                  <a:lnTo>
                    <a:pt x="2393" y="674"/>
                  </a:lnTo>
                  <a:lnTo>
                    <a:pt x="2393" y="674"/>
                  </a:lnTo>
                  <a:lnTo>
                    <a:pt x="2393" y="674"/>
                  </a:lnTo>
                  <a:lnTo>
                    <a:pt x="2393" y="674"/>
                  </a:lnTo>
                  <a:lnTo>
                    <a:pt x="2393" y="674"/>
                  </a:lnTo>
                  <a:lnTo>
                    <a:pt x="2393" y="675"/>
                  </a:lnTo>
                  <a:lnTo>
                    <a:pt x="2393" y="675"/>
                  </a:lnTo>
                  <a:lnTo>
                    <a:pt x="2394" y="675"/>
                  </a:lnTo>
                  <a:lnTo>
                    <a:pt x="2394" y="675"/>
                  </a:lnTo>
                  <a:lnTo>
                    <a:pt x="2394" y="676"/>
                  </a:lnTo>
                  <a:lnTo>
                    <a:pt x="2394" y="676"/>
                  </a:lnTo>
                  <a:lnTo>
                    <a:pt x="2394" y="676"/>
                  </a:lnTo>
                  <a:lnTo>
                    <a:pt x="2394" y="676"/>
                  </a:lnTo>
                  <a:lnTo>
                    <a:pt x="2395" y="676"/>
                  </a:lnTo>
                  <a:lnTo>
                    <a:pt x="2395" y="676"/>
                  </a:lnTo>
                  <a:lnTo>
                    <a:pt x="2395" y="676"/>
                  </a:lnTo>
                  <a:lnTo>
                    <a:pt x="2395" y="675"/>
                  </a:lnTo>
                  <a:lnTo>
                    <a:pt x="2396" y="675"/>
                  </a:lnTo>
                  <a:lnTo>
                    <a:pt x="2396" y="676"/>
                  </a:lnTo>
                  <a:lnTo>
                    <a:pt x="2395" y="676"/>
                  </a:lnTo>
                  <a:lnTo>
                    <a:pt x="2395" y="676"/>
                  </a:lnTo>
                  <a:lnTo>
                    <a:pt x="2396" y="676"/>
                  </a:lnTo>
                  <a:lnTo>
                    <a:pt x="2396" y="676"/>
                  </a:lnTo>
                  <a:lnTo>
                    <a:pt x="2396" y="676"/>
                  </a:lnTo>
                  <a:lnTo>
                    <a:pt x="2396" y="676"/>
                  </a:lnTo>
                  <a:lnTo>
                    <a:pt x="2397" y="676"/>
                  </a:lnTo>
                  <a:lnTo>
                    <a:pt x="2397" y="676"/>
                  </a:lnTo>
                  <a:lnTo>
                    <a:pt x="2397" y="676"/>
                  </a:lnTo>
                  <a:lnTo>
                    <a:pt x="2397" y="675"/>
                  </a:lnTo>
                  <a:lnTo>
                    <a:pt x="2397" y="675"/>
                  </a:lnTo>
                  <a:lnTo>
                    <a:pt x="2397" y="676"/>
                  </a:lnTo>
                  <a:lnTo>
                    <a:pt x="2397" y="676"/>
                  </a:lnTo>
                  <a:lnTo>
                    <a:pt x="2397" y="676"/>
                  </a:lnTo>
                  <a:lnTo>
                    <a:pt x="2397" y="676"/>
                  </a:lnTo>
                  <a:lnTo>
                    <a:pt x="2397" y="677"/>
                  </a:lnTo>
                  <a:lnTo>
                    <a:pt x="2398" y="677"/>
                  </a:lnTo>
                  <a:lnTo>
                    <a:pt x="2398" y="677"/>
                  </a:lnTo>
                  <a:lnTo>
                    <a:pt x="2398" y="677"/>
                  </a:lnTo>
                  <a:lnTo>
                    <a:pt x="2398" y="677"/>
                  </a:lnTo>
                  <a:lnTo>
                    <a:pt x="2399" y="677"/>
                  </a:lnTo>
                  <a:lnTo>
                    <a:pt x="2400" y="677"/>
                  </a:lnTo>
                  <a:lnTo>
                    <a:pt x="2400" y="677"/>
                  </a:lnTo>
                  <a:lnTo>
                    <a:pt x="2400" y="677"/>
                  </a:lnTo>
                  <a:lnTo>
                    <a:pt x="2400" y="677"/>
                  </a:lnTo>
                  <a:lnTo>
                    <a:pt x="2399" y="677"/>
                  </a:lnTo>
                  <a:lnTo>
                    <a:pt x="2399" y="676"/>
                  </a:lnTo>
                  <a:lnTo>
                    <a:pt x="2402" y="676"/>
                  </a:lnTo>
                  <a:lnTo>
                    <a:pt x="2402" y="676"/>
                  </a:lnTo>
                  <a:lnTo>
                    <a:pt x="2402" y="676"/>
                  </a:lnTo>
                  <a:lnTo>
                    <a:pt x="2402" y="676"/>
                  </a:lnTo>
                  <a:lnTo>
                    <a:pt x="2403" y="676"/>
                  </a:lnTo>
                  <a:lnTo>
                    <a:pt x="2403" y="676"/>
                  </a:lnTo>
                  <a:lnTo>
                    <a:pt x="2403" y="675"/>
                  </a:lnTo>
                  <a:lnTo>
                    <a:pt x="2403" y="675"/>
                  </a:lnTo>
                  <a:lnTo>
                    <a:pt x="2403" y="675"/>
                  </a:lnTo>
                  <a:lnTo>
                    <a:pt x="2403" y="675"/>
                  </a:lnTo>
                  <a:lnTo>
                    <a:pt x="2403" y="675"/>
                  </a:lnTo>
                  <a:lnTo>
                    <a:pt x="2403" y="674"/>
                  </a:lnTo>
                  <a:lnTo>
                    <a:pt x="2404" y="674"/>
                  </a:lnTo>
                  <a:lnTo>
                    <a:pt x="2404" y="675"/>
                  </a:lnTo>
                  <a:lnTo>
                    <a:pt x="2405" y="675"/>
                  </a:lnTo>
                  <a:lnTo>
                    <a:pt x="2405" y="675"/>
                  </a:lnTo>
                  <a:lnTo>
                    <a:pt x="2405" y="675"/>
                  </a:lnTo>
                  <a:lnTo>
                    <a:pt x="2407" y="675"/>
                  </a:lnTo>
                  <a:lnTo>
                    <a:pt x="2407" y="675"/>
                  </a:lnTo>
                  <a:lnTo>
                    <a:pt x="2408" y="675"/>
                  </a:lnTo>
                  <a:lnTo>
                    <a:pt x="2408" y="675"/>
                  </a:lnTo>
                  <a:lnTo>
                    <a:pt x="2408" y="675"/>
                  </a:lnTo>
                  <a:lnTo>
                    <a:pt x="2410" y="675"/>
                  </a:lnTo>
                  <a:lnTo>
                    <a:pt x="2410" y="675"/>
                  </a:lnTo>
                  <a:lnTo>
                    <a:pt x="2410" y="676"/>
                  </a:lnTo>
                  <a:lnTo>
                    <a:pt x="2411" y="676"/>
                  </a:lnTo>
                  <a:lnTo>
                    <a:pt x="2411" y="676"/>
                  </a:lnTo>
                  <a:lnTo>
                    <a:pt x="2412" y="677"/>
                  </a:lnTo>
                  <a:lnTo>
                    <a:pt x="2412" y="677"/>
                  </a:lnTo>
                  <a:lnTo>
                    <a:pt x="2412" y="677"/>
                  </a:lnTo>
                  <a:lnTo>
                    <a:pt x="2412" y="678"/>
                  </a:lnTo>
                  <a:lnTo>
                    <a:pt x="2412" y="678"/>
                  </a:lnTo>
                  <a:lnTo>
                    <a:pt x="2412" y="680"/>
                  </a:lnTo>
                  <a:lnTo>
                    <a:pt x="2412" y="680"/>
                  </a:lnTo>
                  <a:lnTo>
                    <a:pt x="2413" y="681"/>
                  </a:lnTo>
                  <a:lnTo>
                    <a:pt x="2413" y="681"/>
                  </a:lnTo>
                  <a:lnTo>
                    <a:pt x="2413" y="682"/>
                  </a:lnTo>
                  <a:lnTo>
                    <a:pt x="2413" y="682"/>
                  </a:lnTo>
                  <a:lnTo>
                    <a:pt x="2414" y="683"/>
                  </a:lnTo>
                  <a:lnTo>
                    <a:pt x="2414" y="683"/>
                  </a:lnTo>
                  <a:lnTo>
                    <a:pt x="2414" y="684"/>
                  </a:lnTo>
                  <a:lnTo>
                    <a:pt x="2414" y="684"/>
                  </a:lnTo>
                  <a:lnTo>
                    <a:pt x="2414" y="684"/>
                  </a:lnTo>
                  <a:lnTo>
                    <a:pt x="2414" y="685"/>
                  </a:lnTo>
                  <a:lnTo>
                    <a:pt x="2415" y="686"/>
                  </a:lnTo>
                  <a:lnTo>
                    <a:pt x="2415" y="686"/>
                  </a:lnTo>
                  <a:lnTo>
                    <a:pt x="2415" y="688"/>
                  </a:lnTo>
                  <a:lnTo>
                    <a:pt x="2415" y="688"/>
                  </a:lnTo>
                  <a:lnTo>
                    <a:pt x="2415" y="689"/>
                  </a:lnTo>
                  <a:lnTo>
                    <a:pt x="2414" y="690"/>
                  </a:lnTo>
                  <a:lnTo>
                    <a:pt x="2414" y="690"/>
                  </a:lnTo>
                  <a:lnTo>
                    <a:pt x="2414" y="691"/>
                  </a:lnTo>
                  <a:lnTo>
                    <a:pt x="2414" y="691"/>
                  </a:lnTo>
                  <a:lnTo>
                    <a:pt x="2414" y="691"/>
                  </a:lnTo>
                  <a:lnTo>
                    <a:pt x="2414" y="692"/>
                  </a:lnTo>
                  <a:lnTo>
                    <a:pt x="2413" y="693"/>
                  </a:lnTo>
                  <a:lnTo>
                    <a:pt x="2413" y="693"/>
                  </a:lnTo>
                  <a:lnTo>
                    <a:pt x="2413" y="694"/>
                  </a:lnTo>
                  <a:lnTo>
                    <a:pt x="2412" y="694"/>
                  </a:lnTo>
                  <a:lnTo>
                    <a:pt x="2412" y="694"/>
                  </a:lnTo>
                  <a:lnTo>
                    <a:pt x="2412" y="695"/>
                  </a:lnTo>
                  <a:lnTo>
                    <a:pt x="2412" y="697"/>
                  </a:lnTo>
                  <a:lnTo>
                    <a:pt x="2412" y="697"/>
                  </a:lnTo>
                  <a:lnTo>
                    <a:pt x="2412" y="698"/>
                  </a:lnTo>
                  <a:lnTo>
                    <a:pt x="2411" y="698"/>
                  </a:lnTo>
                  <a:lnTo>
                    <a:pt x="2411" y="698"/>
                  </a:lnTo>
                  <a:lnTo>
                    <a:pt x="2411" y="698"/>
                  </a:lnTo>
                  <a:lnTo>
                    <a:pt x="2411" y="699"/>
                  </a:lnTo>
                  <a:lnTo>
                    <a:pt x="2411" y="699"/>
                  </a:lnTo>
                  <a:lnTo>
                    <a:pt x="2412" y="699"/>
                  </a:lnTo>
                  <a:lnTo>
                    <a:pt x="2412" y="699"/>
                  </a:lnTo>
                  <a:lnTo>
                    <a:pt x="2412" y="700"/>
                  </a:lnTo>
                  <a:lnTo>
                    <a:pt x="2412" y="700"/>
                  </a:lnTo>
                  <a:lnTo>
                    <a:pt x="2412" y="701"/>
                  </a:lnTo>
                  <a:lnTo>
                    <a:pt x="2413" y="701"/>
                  </a:lnTo>
                  <a:lnTo>
                    <a:pt x="2413" y="702"/>
                  </a:lnTo>
                  <a:lnTo>
                    <a:pt x="2413" y="702"/>
                  </a:lnTo>
                  <a:lnTo>
                    <a:pt x="2414" y="702"/>
                  </a:lnTo>
                  <a:lnTo>
                    <a:pt x="2414" y="702"/>
                  </a:lnTo>
                  <a:lnTo>
                    <a:pt x="2415" y="702"/>
                  </a:lnTo>
                  <a:lnTo>
                    <a:pt x="2415" y="702"/>
                  </a:lnTo>
                  <a:lnTo>
                    <a:pt x="2415" y="702"/>
                  </a:lnTo>
                  <a:lnTo>
                    <a:pt x="2415" y="702"/>
                  </a:lnTo>
                  <a:lnTo>
                    <a:pt x="2416" y="703"/>
                  </a:lnTo>
                  <a:lnTo>
                    <a:pt x="2416" y="703"/>
                  </a:lnTo>
                  <a:lnTo>
                    <a:pt x="2417" y="703"/>
                  </a:lnTo>
                  <a:lnTo>
                    <a:pt x="2419" y="703"/>
                  </a:lnTo>
                  <a:lnTo>
                    <a:pt x="2421" y="703"/>
                  </a:lnTo>
                  <a:lnTo>
                    <a:pt x="2422" y="702"/>
                  </a:lnTo>
                  <a:lnTo>
                    <a:pt x="2422" y="702"/>
                  </a:lnTo>
                  <a:lnTo>
                    <a:pt x="2423" y="702"/>
                  </a:lnTo>
                  <a:lnTo>
                    <a:pt x="2423" y="702"/>
                  </a:lnTo>
                  <a:lnTo>
                    <a:pt x="2423" y="701"/>
                  </a:lnTo>
                  <a:lnTo>
                    <a:pt x="2424" y="701"/>
                  </a:lnTo>
                  <a:lnTo>
                    <a:pt x="2424" y="701"/>
                  </a:lnTo>
                  <a:lnTo>
                    <a:pt x="2424" y="700"/>
                  </a:lnTo>
                  <a:lnTo>
                    <a:pt x="2424" y="700"/>
                  </a:lnTo>
                  <a:lnTo>
                    <a:pt x="2424" y="700"/>
                  </a:lnTo>
                  <a:lnTo>
                    <a:pt x="2425" y="700"/>
                  </a:lnTo>
                  <a:lnTo>
                    <a:pt x="2425" y="700"/>
                  </a:lnTo>
                  <a:lnTo>
                    <a:pt x="2427" y="700"/>
                  </a:lnTo>
                  <a:lnTo>
                    <a:pt x="2428" y="701"/>
                  </a:lnTo>
                  <a:lnTo>
                    <a:pt x="2428" y="701"/>
                  </a:lnTo>
                  <a:lnTo>
                    <a:pt x="2428" y="701"/>
                  </a:lnTo>
                  <a:lnTo>
                    <a:pt x="2428" y="701"/>
                  </a:lnTo>
                  <a:lnTo>
                    <a:pt x="2428" y="702"/>
                  </a:lnTo>
                  <a:lnTo>
                    <a:pt x="2427" y="702"/>
                  </a:lnTo>
                  <a:lnTo>
                    <a:pt x="2427" y="702"/>
                  </a:lnTo>
                  <a:lnTo>
                    <a:pt x="2427" y="702"/>
                  </a:lnTo>
                  <a:lnTo>
                    <a:pt x="2427" y="703"/>
                  </a:lnTo>
                  <a:lnTo>
                    <a:pt x="2427" y="703"/>
                  </a:lnTo>
                  <a:lnTo>
                    <a:pt x="2427" y="705"/>
                  </a:lnTo>
                  <a:lnTo>
                    <a:pt x="2428" y="705"/>
                  </a:lnTo>
                  <a:lnTo>
                    <a:pt x="2428" y="705"/>
                  </a:lnTo>
                  <a:lnTo>
                    <a:pt x="2428" y="706"/>
                  </a:lnTo>
                  <a:lnTo>
                    <a:pt x="2429" y="706"/>
                  </a:lnTo>
                  <a:lnTo>
                    <a:pt x="2429" y="706"/>
                  </a:lnTo>
                  <a:lnTo>
                    <a:pt x="2429" y="707"/>
                  </a:lnTo>
                  <a:lnTo>
                    <a:pt x="2429" y="707"/>
                  </a:lnTo>
                  <a:lnTo>
                    <a:pt x="2429" y="707"/>
                  </a:lnTo>
                  <a:lnTo>
                    <a:pt x="2430" y="708"/>
                  </a:lnTo>
                  <a:lnTo>
                    <a:pt x="2429" y="708"/>
                  </a:lnTo>
                  <a:lnTo>
                    <a:pt x="2429" y="709"/>
                  </a:lnTo>
                  <a:lnTo>
                    <a:pt x="2429" y="709"/>
                  </a:lnTo>
                  <a:lnTo>
                    <a:pt x="2429" y="709"/>
                  </a:lnTo>
                  <a:lnTo>
                    <a:pt x="2429" y="709"/>
                  </a:lnTo>
                  <a:lnTo>
                    <a:pt x="2429" y="709"/>
                  </a:lnTo>
                  <a:lnTo>
                    <a:pt x="2428" y="709"/>
                  </a:lnTo>
                  <a:lnTo>
                    <a:pt x="2428" y="709"/>
                  </a:lnTo>
                  <a:lnTo>
                    <a:pt x="2427" y="709"/>
                  </a:lnTo>
                  <a:lnTo>
                    <a:pt x="2425" y="709"/>
                  </a:lnTo>
                  <a:lnTo>
                    <a:pt x="2424" y="709"/>
                  </a:lnTo>
                  <a:lnTo>
                    <a:pt x="2424" y="709"/>
                  </a:lnTo>
                  <a:lnTo>
                    <a:pt x="2424" y="709"/>
                  </a:lnTo>
                  <a:lnTo>
                    <a:pt x="2421" y="709"/>
                  </a:lnTo>
                  <a:lnTo>
                    <a:pt x="2420" y="709"/>
                  </a:lnTo>
                  <a:lnTo>
                    <a:pt x="2420" y="710"/>
                  </a:lnTo>
                  <a:lnTo>
                    <a:pt x="2420" y="710"/>
                  </a:lnTo>
                  <a:lnTo>
                    <a:pt x="2420" y="710"/>
                  </a:lnTo>
                  <a:lnTo>
                    <a:pt x="2419" y="711"/>
                  </a:lnTo>
                  <a:lnTo>
                    <a:pt x="2419" y="711"/>
                  </a:lnTo>
                  <a:lnTo>
                    <a:pt x="2417" y="711"/>
                  </a:lnTo>
                  <a:lnTo>
                    <a:pt x="2417" y="712"/>
                  </a:lnTo>
                  <a:lnTo>
                    <a:pt x="2417" y="714"/>
                  </a:lnTo>
                  <a:lnTo>
                    <a:pt x="2417" y="714"/>
                  </a:lnTo>
                  <a:lnTo>
                    <a:pt x="2417" y="714"/>
                  </a:lnTo>
                  <a:lnTo>
                    <a:pt x="2417" y="715"/>
                  </a:lnTo>
                  <a:lnTo>
                    <a:pt x="2416" y="715"/>
                  </a:lnTo>
                  <a:lnTo>
                    <a:pt x="2416" y="716"/>
                  </a:lnTo>
                  <a:lnTo>
                    <a:pt x="2416" y="716"/>
                  </a:lnTo>
                  <a:lnTo>
                    <a:pt x="2416" y="717"/>
                  </a:lnTo>
                  <a:lnTo>
                    <a:pt x="2415" y="717"/>
                  </a:lnTo>
                  <a:lnTo>
                    <a:pt x="2415" y="717"/>
                  </a:lnTo>
                  <a:lnTo>
                    <a:pt x="2415" y="718"/>
                  </a:lnTo>
                  <a:lnTo>
                    <a:pt x="2415" y="718"/>
                  </a:lnTo>
                  <a:lnTo>
                    <a:pt x="2415" y="718"/>
                  </a:lnTo>
                  <a:lnTo>
                    <a:pt x="2414" y="718"/>
                  </a:lnTo>
                  <a:lnTo>
                    <a:pt x="2414" y="718"/>
                  </a:lnTo>
                  <a:lnTo>
                    <a:pt x="2414" y="718"/>
                  </a:lnTo>
                  <a:lnTo>
                    <a:pt x="2414" y="718"/>
                  </a:lnTo>
                  <a:lnTo>
                    <a:pt x="2413" y="718"/>
                  </a:lnTo>
                  <a:lnTo>
                    <a:pt x="2413" y="717"/>
                  </a:lnTo>
                  <a:lnTo>
                    <a:pt x="2413" y="717"/>
                  </a:lnTo>
                  <a:lnTo>
                    <a:pt x="2413" y="717"/>
                  </a:lnTo>
                  <a:lnTo>
                    <a:pt x="2414" y="717"/>
                  </a:lnTo>
                  <a:lnTo>
                    <a:pt x="2414" y="716"/>
                  </a:lnTo>
                  <a:lnTo>
                    <a:pt x="2414" y="716"/>
                  </a:lnTo>
                  <a:lnTo>
                    <a:pt x="2414" y="715"/>
                  </a:lnTo>
                  <a:lnTo>
                    <a:pt x="2415" y="715"/>
                  </a:lnTo>
                  <a:lnTo>
                    <a:pt x="2415" y="714"/>
                  </a:lnTo>
                  <a:lnTo>
                    <a:pt x="2415" y="714"/>
                  </a:lnTo>
                  <a:lnTo>
                    <a:pt x="2415" y="712"/>
                  </a:lnTo>
                  <a:lnTo>
                    <a:pt x="2416" y="712"/>
                  </a:lnTo>
                  <a:lnTo>
                    <a:pt x="2416" y="712"/>
                  </a:lnTo>
                  <a:lnTo>
                    <a:pt x="2416" y="711"/>
                  </a:lnTo>
                  <a:lnTo>
                    <a:pt x="2416" y="711"/>
                  </a:lnTo>
                  <a:lnTo>
                    <a:pt x="2417" y="710"/>
                  </a:lnTo>
                  <a:lnTo>
                    <a:pt x="2417" y="710"/>
                  </a:lnTo>
                  <a:lnTo>
                    <a:pt x="2417" y="710"/>
                  </a:lnTo>
                  <a:lnTo>
                    <a:pt x="2419" y="709"/>
                  </a:lnTo>
                  <a:lnTo>
                    <a:pt x="2419" y="709"/>
                  </a:lnTo>
                  <a:lnTo>
                    <a:pt x="2419" y="709"/>
                  </a:lnTo>
                  <a:lnTo>
                    <a:pt x="2420" y="709"/>
                  </a:lnTo>
                  <a:lnTo>
                    <a:pt x="2420" y="709"/>
                  </a:lnTo>
                  <a:lnTo>
                    <a:pt x="2420" y="708"/>
                  </a:lnTo>
                  <a:lnTo>
                    <a:pt x="2422" y="708"/>
                  </a:lnTo>
                  <a:lnTo>
                    <a:pt x="2423" y="708"/>
                  </a:lnTo>
                  <a:lnTo>
                    <a:pt x="2423" y="708"/>
                  </a:lnTo>
                  <a:lnTo>
                    <a:pt x="2424" y="708"/>
                  </a:lnTo>
                  <a:lnTo>
                    <a:pt x="2424" y="708"/>
                  </a:lnTo>
                  <a:lnTo>
                    <a:pt x="2425" y="707"/>
                  </a:lnTo>
                  <a:lnTo>
                    <a:pt x="2425" y="707"/>
                  </a:lnTo>
                  <a:lnTo>
                    <a:pt x="2425" y="706"/>
                  </a:lnTo>
                  <a:lnTo>
                    <a:pt x="2425" y="706"/>
                  </a:lnTo>
                  <a:lnTo>
                    <a:pt x="2425" y="705"/>
                  </a:lnTo>
                  <a:lnTo>
                    <a:pt x="2424" y="705"/>
                  </a:lnTo>
                  <a:lnTo>
                    <a:pt x="2424" y="705"/>
                  </a:lnTo>
                  <a:lnTo>
                    <a:pt x="2423" y="705"/>
                  </a:lnTo>
                  <a:lnTo>
                    <a:pt x="2423" y="705"/>
                  </a:lnTo>
                  <a:lnTo>
                    <a:pt x="2423" y="705"/>
                  </a:lnTo>
                  <a:lnTo>
                    <a:pt x="2422" y="705"/>
                  </a:lnTo>
                  <a:lnTo>
                    <a:pt x="2422" y="705"/>
                  </a:lnTo>
                  <a:lnTo>
                    <a:pt x="2421" y="705"/>
                  </a:lnTo>
                  <a:lnTo>
                    <a:pt x="2421" y="705"/>
                  </a:lnTo>
                  <a:lnTo>
                    <a:pt x="2420" y="706"/>
                  </a:lnTo>
                  <a:lnTo>
                    <a:pt x="2420" y="706"/>
                  </a:lnTo>
                  <a:lnTo>
                    <a:pt x="2420" y="706"/>
                  </a:lnTo>
                  <a:lnTo>
                    <a:pt x="2419" y="706"/>
                  </a:lnTo>
                  <a:lnTo>
                    <a:pt x="2419" y="705"/>
                  </a:lnTo>
                  <a:lnTo>
                    <a:pt x="2417" y="705"/>
                  </a:lnTo>
                  <a:lnTo>
                    <a:pt x="2416" y="705"/>
                  </a:lnTo>
                  <a:lnTo>
                    <a:pt x="2413" y="705"/>
                  </a:lnTo>
                  <a:lnTo>
                    <a:pt x="2412" y="705"/>
                  </a:lnTo>
                  <a:lnTo>
                    <a:pt x="2408" y="705"/>
                  </a:lnTo>
                  <a:lnTo>
                    <a:pt x="2407" y="705"/>
                  </a:lnTo>
                  <a:lnTo>
                    <a:pt x="2407" y="703"/>
                  </a:lnTo>
                  <a:lnTo>
                    <a:pt x="2406" y="703"/>
                  </a:lnTo>
                  <a:lnTo>
                    <a:pt x="2405" y="703"/>
                  </a:lnTo>
                  <a:lnTo>
                    <a:pt x="2405" y="703"/>
                  </a:lnTo>
                  <a:lnTo>
                    <a:pt x="2403" y="703"/>
                  </a:lnTo>
                  <a:lnTo>
                    <a:pt x="2403" y="703"/>
                  </a:lnTo>
                  <a:lnTo>
                    <a:pt x="2399" y="703"/>
                  </a:lnTo>
                  <a:lnTo>
                    <a:pt x="2398" y="702"/>
                  </a:lnTo>
                  <a:lnTo>
                    <a:pt x="2398" y="702"/>
                  </a:lnTo>
                  <a:lnTo>
                    <a:pt x="2398" y="702"/>
                  </a:lnTo>
                  <a:lnTo>
                    <a:pt x="2398" y="702"/>
                  </a:lnTo>
                  <a:lnTo>
                    <a:pt x="2397" y="702"/>
                  </a:lnTo>
                  <a:lnTo>
                    <a:pt x="2397" y="702"/>
                  </a:lnTo>
                  <a:lnTo>
                    <a:pt x="2396" y="702"/>
                  </a:lnTo>
                  <a:lnTo>
                    <a:pt x="2396" y="702"/>
                  </a:lnTo>
                  <a:lnTo>
                    <a:pt x="2396" y="702"/>
                  </a:lnTo>
                  <a:lnTo>
                    <a:pt x="2396" y="702"/>
                  </a:lnTo>
                  <a:lnTo>
                    <a:pt x="2394" y="702"/>
                  </a:lnTo>
                  <a:lnTo>
                    <a:pt x="2394" y="701"/>
                  </a:lnTo>
                  <a:lnTo>
                    <a:pt x="2394" y="701"/>
                  </a:lnTo>
                  <a:lnTo>
                    <a:pt x="2394" y="701"/>
                  </a:lnTo>
                  <a:lnTo>
                    <a:pt x="2394" y="701"/>
                  </a:lnTo>
                  <a:lnTo>
                    <a:pt x="2394" y="701"/>
                  </a:lnTo>
                  <a:lnTo>
                    <a:pt x="2394" y="701"/>
                  </a:lnTo>
                  <a:lnTo>
                    <a:pt x="2394" y="702"/>
                  </a:lnTo>
                  <a:lnTo>
                    <a:pt x="2393" y="702"/>
                  </a:lnTo>
                  <a:lnTo>
                    <a:pt x="2393" y="702"/>
                  </a:lnTo>
                  <a:lnTo>
                    <a:pt x="2393" y="702"/>
                  </a:lnTo>
                  <a:lnTo>
                    <a:pt x="2393" y="702"/>
                  </a:lnTo>
                  <a:lnTo>
                    <a:pt x="2391" y="702"/>
                  </a:lnTo>
                  <a:lnTo>
                    <a:pt x="2391" y="703"/>
                  </a:lnTo>
                  <a:lnTo>
                    <a:pt x="2390" y="703"/>
                  </a:lnTo>
                  <a:lnTo>
                    <a:pt x="2389" y="702"/>
                  </a:lnTo>
                  <a:lnTo>
                    <a:pt x="2389" y="702"/>
                  </a:lnTo>
                  <a:lnTo>
                    <a:pt x="2389" y="702"/>
                  </a:lnTo>
                  <a:lnTo>
                    <a:pt x="2389" y="703"/>
                  </a:lnTo>
                  <a:lnTo>
                    <a:pt x="2389" y="703"/>
                  </a:lnTo>
                  <a:lnTo>
                    <a:pt x="2388" y="703"/>
                  </a:lnTo>
                  <a:lnTo>
                    <a:pt x="2388" y="703"/>
                  </a:lnTo>
                  <a:lnTo>
                    <a:pt x="2388" y="703"/>
                  </a:lnTo>
                  <a:lnTo>
                    <a:pt x="2388" y="705"/>
                  </a:lnTo>
                  <a:lnTo>
                    <a:pt x="2388" y="705"/>
                  </a:lnTo>
                  <a:lnTo>
                    <a:pt x="2388" y="705"/>
                  </a:lnTo>
                  <a:lnTo>
                    <a:pt x="2388" y="705"/>
                  </a:lnTo>
                  <a:lnTo>
                    <a:pt x="2388" y="705"/>
                  </a:lnTo>
                  <a:lnTo>
                    <a:pt x="2387" y="705"/>
                  </a:lnTo>
                  <a:lnTo>
                    <a:pt x="2387" y="705"/>
                  </a:lnTo>
                  <a:lnTo>
                    <a:pt x="2387" y="706"/>
                  </a:lnTo>
                  <a:lnTo>
                    <a:pt x="2387" y="706"/>
                  </a:lnTo>
                  <a:lnTo>
                    <a:pt x="2387" y="706"/>
                  </a:lnTo>
                  <a:lnTo>
                    <a:pt x="2387" y="706"/>
                  </a:lnTo>
                  <a:lnTo>
                    <a:pt x="2387" y="706"/>
                  </a:lnTo>
                  <a:lnTo>
                    <a:pt x="2387" y="707"/>
                  </a:lnTo>
                  <a:lnTo>
                    <a:pt x="2387" y="707"/>
                  </a:lnTo>
                  <a:lnTo>
                    <a:pt x="2387" y="707"/>
                  </a:lnTo>
                  <a:lnTo>
                    <a:pt x="2387" y="708"/>
                  </a:lnTo>
                  <a:lnTo>
                    <a:pt x="2387" y="708"/>
                  </a:lnTo>
                  <a:lnTo>
                    <a:pt x="2387" y="708"/>
                  </a:lnTo>
                  <a:lnTo>
                    <a:pt x="2387" y="708"/>
                  </a:lnTo>
                  <a:lnTo>
                    <a:pt x="2386" y="708"/>
                  </a:lnTo>
                  <a:lnTo>
                    <a:pt x="2386" y="708"/>
                  </a:lnTo>
                  <a:lnTo>
                    <a:pt x="2386" y="708"/>
                  </a:lnTo>
                  <a:lnTo>
                    <a:pt x="2386" y="708"/>
                  </a:lnTo>
                  <a:lnTo>
                    <a:pt x="2385" y="708"/>
                  </a:lnTo>
                  <a:lnTo>
                    <a:pt x="2385" y="708"/>
                  </a:lnTo>
                  <a:lnTo>
                    <a:pt x="2385" y="709"/>
                  </a:lnTo>
                  <a:lnTo>
                    <a:pt x="2385" y="709"/>
                  </a:lnTo>
                  <a:lnTo>
                    <a:pt x="2385" y="709"/>
                  </a:lnTo>
                  <a:lnTo>
                    <a:pt x="2383" y="709"/>
                  </a:lnTo>
                  <a:lnTo>
                    <a:pt x="2383" y="709"/>
                  </a:lnTo>
                  <a:lnTo>
                    <a:pt x="2383" y="709"/>
                  </a:lnTo>
                  <a:lnTo>
                    <a:pt x="2383" y="709"/>
                  </a:lnTo>
                  <a:lnTo>
                    <a:pt x="2383" y="709"/>
                  </a:lnTo>
                  <a:lnTo>
                    <a:pt x="2383" y="709"/>
                  </a:lnTo>
                  <a:lnTo>
                    <a:pt x="2383" y="709"/>
                  </a:lnTo>
                  <a:lnTo>
                    <a:pt x="2383" y="709"/>
                  </a:lnTo>
                  <a:lnTo>
                    <a:pt x="2383" y="710"/>
                  </a:lnTo>
                  <a:lnTo>
                    <a:pt x="2383" y="710"/>
                  </a:lnTo>
                  <a:lnTo>
                    <a:pt x="2383" y="710"/>
                  </a:lnTo>
                  <a:lnTo>
                    <a:pt x="2386" y="711"/>
                  </a:lnTo>
                  <a:lnTo>
                    <a:pt x="2386" y="712"/>
                  </a:lnTo>
                  <a:lnTo>
                    <a:pt x="2387" y="712"/>
                  </a:lnTo>
                  <a:lnTo>
                    <a:pt x="2387" y="714"/>
                  </a:lnTo>
                  <a:lnTo>
                    <a:pt x="2387" y="714"/>
                  </a:lnTo>
                  <a:lnTo>
                    <a:pt x="2387" y="714"/>
                  </a:lnTo>
                  <a:lnTo>
                    <a:pt x="2387" y="714"/>
                  </a:lnTo>
                  <a:lnTo>
                    <a:pt x="2387" y="714"/>
                  </a:lnTo>
                  <a:lnTo>
                    <a:pt x="2387" y="714"/>
                  </a:lnTo>
                  <a:lnTo>
                    <a:pt x="2387" y="715"/>
                  </a:lnTo>
                  <a:lnTo>
                    <a:pt x="2387" y="715"/>
                  </a:lnTo>
                  <a:lnTo>
                    <a:pt x="2387" y="715"/>
                  </a:lnTo>
                  <a:lnTo>
                    <a:pt x="2389" y="715"/>
                  </a:lnTo>
                  <a:lnTo>
                    <a:pt x="2389" y="715"/>
                  </a:lnTo>
                  <a:lnTo>
                    <a:pt x="2390" y="716"/>
                  </a:lnTo>
                  <a:lnTo>
                    <a:pt x="2390" y="716"/>
                  </a:lnTo>
                  <a:lnTo>
                    <a:pt x="2390" y="716"/>
                  </a:lnTo>
                  <a:lnTo>
                    <a:pt x="2390" y="716"/>
                  </a:lnTo>
                  <a:lnTo>
                    <a:pt x="2391" y="716"/>
                  </a:lnTo>
                  <a:lnTo>
                    <a:pt x="2391" y="717"/>
                  </a:lnTo>
                  <a:lnTo>
                    <a:pt x="2391" y="717"/>
                  </a:lnTo>
                  <a:lnTo>
                    <a:pt x="2390" y="717"/>
                  </a:lnTo>
                  <a:lnTo>
                    <a:pt x="2390" y="717"/>
                  </a:lnTo>
                  <a:lnTo>
                    <a:pt x="2389" y="717"/>
                  </a:lnTo>
                  <a:lnTo>
                    <a:pt x="2389" y="717"/>
                  </a:lnTo>
                  <a:lnTo>
                    <a:pt x="2389" y="717"/>
                  </a:lnTo>
                  <a:lnTo>
                    <a:pt x="2389" y="717"/>
                  </a:lnTo>
                  <a:lnTo>
                    <a:pt x="2389" y="717"/>
                  </a:lnTo>
                  <a:lnTo>
                    <a:pt x="2388" y="717"/>
                  </a:lnTo>
                  <a:lnTo>
                    <a:pt x="2389" y="716"/>
                  </a:lnTo>
                  <a:lnTo>
                    <a:pt x="2389" y="716"/>
                  </a:lnTo>
                  <a:lnTo>
                    <a:pt x="2388" y="716"/>
                  </a:lnTo>
                  <a:lnTo>
                    <a:pt x="2388" y="716"/>
                  </a:lnTo>
                  <a:lnTo>
                    <a:pt x="2387" y="716"/>
                  </a:lnTo>
                  <a:lnTo>
                    <a:pt x="2387" y="717"/>
                  </a:lnTo>
                  <a:lnTo>
                    <a:pt x="2387" y="717"/>
                  </a:lnTo>
                  <a:lnTo>
                    <a:pt x="2387" y="717"/>
                  </a:lnTo>
                  <a:lnTo>
                    <a:pt x="2387" y="717"/>
                  </a:lnTo>
                  <a:lnTo>
                    <a:pt x="2387" y="717"/>
                  </a:lnTo>
                  <a:lnTo>
                    <a:pt x="2387" y="717"/>
                  </a:lnTo>
                  <a:lnTo>
                    <a:pt x="2386" y="717"/>
                  </a:lnTo>
                  <a:lnTo>
                    <a:pt x="2385" y="717"/>
                  </a:lnTo>
                  <a:lnTo>
                    <a:pt x="2385" y="717"/>
                  </a:lnTo>
                  <a:lnTo>
                    <a:pt x="2385" y="717"/>
                  </a:lnTo>
                  <a:lnTo>
                    <a:pt x="2385" y="717"/>
                  </a:lnTo>
                  <a:lnTo>
                    <a:pt x="2383" y="717"/>
                  </a:lnTo>
                  <a:lnTo>
                    <a:pt x="2383" y="717"/>
                  </a:lnTo>
                  <a:lnTo>
                    <a:pt x="2383" y="717"/>
                  </a:lnTo>
                  <a:lnTo>
                    <a:pt x="2383" y="716"/>
                  </a:lnTo>
                  <a:lnTo>
                    <a:pt x="2383" y="716"/>
                  </a:lnTo>
                  <a:lnTo>
                    <a:pt x="2383" y="716"/>
                  </a:lnTo>
                  <a:lnTo>
                    <a:pt x="2382" y="716"/>
                  </a:lnTo>
                  <a:lnTo>
                    <a:pt x="2382" y="716"/>
                  </a:lnTo>
                  <a:lnTo>
                    <a:pt x="2382" y="716"/>
                  </a:lnTo>
                  <a:lnTo>
                    <a:pt x="2382" y="716"/>
                  </a:lnTo>
                  <a:lnTo>
                    <a:pt x="2382" y="716"/>
                  </a:lnTo>
                  <a:lnTo>
                    <a:pt x="2382" y="715"/>
                  </a:lnTo>
                  <a:lnTo>
                    <a:pt x="2382" y="715"/>
                  </a:lnTo>
                  <a:lnTo>
                    <a:pt x="2382" y="715"/>
                  </a:lnTo>
                  <a:lnTo>
                    <a:pt x="2381" y="715"/>
                  </a:lnTo>
                  <a:lnTo>
                    <a:pt x="2381" y="715"/>
                  </a:lnTo>
                  <a:lnTo>
                    <a:pt x="2380" y="715"/>
                  </a:lnTo>
                  <a:lnTo>
                    <a:pt x="2380" y="715"/>
                  </a:lnTo>
                  <a:lnTo>
                    <a:pt x="2380" y="715"/>
                  </a:lnTo>
                  <a:lnTo>
                    <a:pt x="2380" y="715"/>
                  </a:lnTo>
                  <a:lnTo>
                    <a:pt x="2380" y="715"/>
                  </a:lnTo>
                  <a:lnTo>
                    <a:pt x="2379" y="715"/>
                  </a:lnTo>
                  <a:lnTo>
                    <a:pt x="2379" y="715"/>
                  </a:lnTo>
                  <a:lnTo>
                    <a:pt x="2379" y="715"/>
                  </a:lnTo>
                  <a:lnTo>
                    <a:pt x="2379" y="715"/>
                  </a:lnTo>
                  <a:lnTo>
                    <a:pt x="2379" y="715"/>
                  </a:lnTo>
                  <a:lnTo>
                    <a:pt x="2378" y="715"/>
                  </a:lnTo>
                  <a:lnTo>
                    <a:pt x="2378" y="715"/>
                  </a:lnTo>
                  <a:lnTo>
                    <a:pt x="2378" y="715"/>
                  </a:lnTo>
                  <a:lnTo>
                    <a:pt x="2378" y="715"/>
                  </a:lnTo>
                  <a:lnTo>
                    <a:pt x="2377" y="715"/>
                  </a:lnTo>
                  <a:lnTo>
                    <a:pt x="2377" y="715"/>
                  </a:lnTo>
                  <a:lnTo>
                    <a:pt x="2376" y="715"/>
                  </a:lnTo>
                  <a:lnTo>
                    <a:pt x="2376" y="715"/>
                  </a:lnTo>
                  <a:lnTo>
                    <a:pt x="2376" y="715"/>
                  </a:lnTo>
                  <a:lnTo>
                    <a:pt x="2376" y="715"/>
                  </a:lnTo>
                  <a:lnTo>
                    <a:pt x="2374" y="715"/>
                  </a:lnTo>
                  <a:lnTo>
                    <a:pt x="2374" y="715"/>
                  </a:lnTo>
                  <a:lnTo>
                    <a:pt x="2373" y="715"/>
                  </a:lnTo>
                  <a:lnTo>
                    <a:pt x="2373" y="715"/>
                  </a:lnTo>
                  <a:lnTo>
                    <a:pt x="2373" y="715"/>
                  </a:lnTo>
                  <a:lnTo>
                    <a:pt x="2373" y="716"/>
                  </a:lnTo>
                  <a:lnTo>
                    <a:pt x="2373" y="716"/>
                  </a:lnTo>
                  <a:lnTo>
                    <a:pt x="2373" y="716"/>
                  </a:lnTo>
                  <a:lnTo>
                    <a:pt x="2373" y="716"/>
                  </a:lnTo>
                  <a:lnTo>
                    <a:pt x="2373" y="716"/>
                  </a:lnTo>
                  <a:lnTo>
                    <a:pt x="2373" y="716"/>
                  </a:lnTo>
                  <a:lnTo>
                    <a:pt x="2373" y="719"/>
                  </a:lnTo>
                  <a:lnTo>
                    <a:pt x="2373" y="719"/>
                  </a:lnTo>
                  <a:lnTo>
                    <a:pt x="2373" y="719"/>
                  </a:lnTo>
                  <a:lnTo>
                    <a:pt x="2373" y="720"/>
                  </a:lnTo>
                  <a:lnTo>
                    <a:pt x="2374" y="720"/>
                  </a:lnTo>
                  <a:lnTo>
                    <a:pt x="2374" y="720"/>
                  </a:lnTo>
                  <a:lnTo>
                    <a:pt x="2376" y="720"/>
                  </a:lnTo>
                  <a:lnTo>
                    <a:pt x="2376" y="720"/>
                  </a:lnTo>
                  <a:lnTo>
                    <a:pt x="2377" y="720"/>
                  </a:lnTo>
                  <a:lnTo>
                    <a:pt x="2378" y="720"/>
                  </a:lnTo>
                  <a:lnTo>
                    <a:pt x="2379" y="720"/>
                  </a:lnTo>
                  <a:lnTo>
                    <a:pt x="2379" y="722"/>
                  </a:lnTo>
                  <a:lnTo>
                    <a:pt x="2380" y="722"/>
                  </a:lnTo>
                  <a:lnTo>
                    <a:pt x="2380" y="722"/>
                  </a:lnTo>
                  <a:lnTo>
                    <a:pt x="2380" y="722"/>
                  </a:lnTo>
                  <a:lnTo>
                    <a:pt x="2381" y="722"/>
                  </a:lnTo>
                  <a:lnTo>
                    <a:pt x="2381" y="722"/>
                  </a:lnTo>
                  <a:lnTo>
                    <a:pt x="2381" y="722"/>
                  </a:lnTo>
                  <a:lnTo>
                    <a:pt x="2381" y="723"/>
                  </a:lnTo>
                  <a:lnTo>
                    <a:pt x="2381" y="725"/>
                  </a:lnTo>
                  <a:lnTo>
                    <a:pt x="2381" y="725"/>
                  </a:lnTo>
                  <a:lnTo>
                    <a:pt x="2381" y="725"/>
                  </a:lnTo>
                  <a:lnTo>
                    <a:pt x="2382" y="725"/>
                  </a:lnTo>
                  <a:lnTo>
                    <a:pt x="2382" y="726"/>
                  </a:lnTo>
                  <a:lnTo>
                    <a:pt x="2382" y="726"/>
                  </a:lnTo>
                  <a:lnTo>
                    <a:pt x="2382" y="726"/>
                  </a:lnTo>
                  <a:lnTo>
                    <a:pt x="2383" y="726"/>
                  </a:lnTo>
                  <a:lnTo>
                    <a:pt x="2383" y="727"/>
                  </a:lnTo>
                  <a:lnTo>
                    <a:pt x="2383" y="727"/>
                  </a:lnTo>
                  <a:lnTo>
                    <a:pt x="2383" y="727"/>
                  </a:lnTo>
                  <a:lnTo>
                    <a:pt x="2383" y="728"/>
                  </a:lnTo>
                  <a:lnTo>
                    <a:pt x="2383" y="728"/>
                  </a:lnTo>
                  <a:lnTo>
                    <a:pt x="2383" y="729"/>
                  </a:lnTo>
                  <a:lnTo>
                    <a:pt x="2385" y="729"/>
                  </a:lnTo>
                  <a:lnTo>
                    <a:pt x="2385" y="729"/>
                  </a:lnTo>
                  <a:lnTo>
                    <a:pt x="2385" y="729"/>
                  </a:lnTo>
                  <a:lnTo>
                    <a:pt x="2385" y="729"/>
                  </a:lnTo>
                  <a:lnTo>
                    <a:pt x="2385" y="731"/>
                  </a:lnTo>
                  <a:lnTo>
                    <a:pt x="2385" y="731"/>
                  </a:lnTo>
                  <a:lnTo>
                    <a:pt x="2385" y="731"/>
                  </a:lnTo>
                  <a:lnTo>
                    <a:pt x="2385" y="731"/>
                  </a:lnTo>
                  <a:lnTo>
                    <a:pt x="2385" y="732"/>
                  </a:lnTo>
                  <a:lnTo>
                    <a:pt x="2386" y="732"/>
                  </a:lnTo>
                  <a:lnTo>
                    <a:pt x="2386" y="732"/>
                  </a:lnTo>
                  <a:lnTo>
                    <a:pt x="2386" y="732"/>
                  </a:lnTo>
                  <a:lnTo>
                    <a:pt x="2386" y="732"/>
                  </a:lnTo>
                  <a:lnTo>
                    <a:pt x="2387" y="732"/>
                  </a:lnTo>
                  <a:lnTo>
                    <a:pt x="2387" y="733"/>
                  </a:lnTo>
                  <a:lnTo>
                    <a:pt x="2387" y="733"/>
                  </a:lnTo>
                  <a:lnTo>
                    <a:pt x="2387" y="733"/>
                  </a:lnTo>
                  <a:lnTo>
                    <a:pt x="2387" y="733"/>
                  </a:lnTo>
                  <a:lnTo>
                    <a:pt x="2387" y="734"/>
                  </a:lnTo>
                  <a:lnTo>
                    <a:pt x="2388" y="734"/>
                  </a:lnTo>
                  <a:lnTo>
                    <a:pt x="2388" y="734"/>
                  </a:lnTo>
                  <a:lnTo>
                    <a:pt x="2388" y="735"/>
                  </a:lnTo>
                  <a:lnTo>
                    <a:pt x="2388" y="737"/>
                  </a:lnTo>
                  <a:lnTo>
                    <a:pt x="2388" y="737"/>
                  </a:lnTo>
                  <a:lnTo>
                    <a:pt x="2388" y="739"/>
                  </a:lnTo>
                  <a:lnTo>
                    <a:pt x="2387" y="739"/>
                  </a:lnTo>
                  <a:lnTo>
                    <a:pt x="2387" y="739"/>
                  </a:lnTo>
                  <a:lnTo>
                    <a:pt x="2387" y="739"/>
                  </a:lnTo>
                  <a:lnTo>
                    <a:pt x="2387" y="740"/>
                  </a:lnTo>
                  <a:lnTo>
                    <a:pt x="2388" y="740"/>
                  </a:lnTo>
                  <a:lnTo>
                    <a:pt x="2388" y="740"/>
                  </a:lnTo>
                  <a:lnTo>
                    <a:pt x="2390" y="740"/>
                  </a:lnTo>
                  <a:lnTo>
                    <a:pt x="2390" y="740"/>
                  </a:lnTo>
                  <a:lnTo>
                    <a:pt x="2390" y="740"/>
                  </a:lnTo>
                  <a:lnTo>
                    <a:pt x="2390" y="739"/>
                  </a:lnTo>
                  <a:lnTo>
                    <a:pt x="2393" y="739"/>
                  </a:lnTo>
                  <a:lnTo>
                    <a:pt x="2393" y="739"/>
                  </a:lnTo>
                  <a:lnTo>
                    <a:pt x="2393" y="739"/>
                  </a:lnTo>
                  <a:lnTo>
                    <a:pt x="2393" y="739"/>
                  </a:lnTo>
                  <a:lnTo>
                    <a:pt x="2393" y="739"/>
                  </a:lnTo>
                  <a:lnTo>
                    <a:pt x="2393" y="740"/>
                  </a:lnTo>
                  <a:lnTo>
                    <a:pt x="2393" y="740"/>
                  </a:lnTo>
                  <a:lnTo>
                    <a:pt x="2393" y="740"/>
                  </a:lnTo>
                  <a:lnTo>
                    <a:pt x="2393" y="740"/>
                  </a:lnTo>
                  <a:lnTo>
                    <a:pt x="2393" y="741"/>
                  </a:lnTo>
                  <a:lnTo>
                    <a:pt x="2394" y="741"/>
                  </a:lnTo>
                  <a:lnTo>
                    <a:pt x="2394" y="741"/>
                  </a:lnTo>
                  <a:lnTo>
                    <a:pt x="2394" y="742"/>
                  </a:lnTo>
                  <a:lnTo>
                    <a:pt x="2394" y="742"/>
                  </a:lnTo>
                  <a:lnTo>
                    <a:pt x="2394" y="743"/>
                  </a:lnTo>
                  <a:lnTo>
                    <a:pt x="2395" y="743"/>
                  </a:lnTo>
                  <a:lnTo>
                    <a:pt x="2395" y="743"/>
                  </a:lnTo>
                  <a:lnTo>
                    <a:pt x="2395" y="744"/>
                  </a:lnTo>
                  <a:lnTo>
                    <a:pt x="2395" y="744"/>
                  </a:lnTo>
                  <a:lnTo>
                    <a:pt x="2395" y="744"/>
                  </a:lnTo>
                  <a:lnTo>
                    <a:pt x="2395" y="744"/>
                  </a:lnTo>
                  <a:lnTo>
                    <a:pt x="2396" y="744"/>
                  </a:lnTo>
                  <a:lnTo>
                    <a:pt x="2396" y="744"/>
                  </a:lnTo>
                  <a:lnTo>
                    <a:pt x="2397" y="744"/>
                  </a:lnTo>
                  <a:lnTo>
                    <a:pt x="2397" y="744"/>
                  </a:lnTo>
                  <a:lnTo>
                    <a:pt x="2397" y="744"/>
                  </a:lnTo>
                  <a:lnTo>
                    <a:pt x="2398" y="744"/>
                  </a:lnTo>
                  <a:lnTo>
                    <a:pt x="2398" y="744"/>
                  </a:lnTo>
                  <a:lnTo>
                    <a:pt x="2398" y="744"/>
                  </a:lnTo>
                  <a:lnTo>
                    <a:pt x="2399" y="744"/>
                  </a:lnTo>
                  <a:lnTo>
                    <a:pt x="2399" y="744"/>
                  </a:lnTo>
                  <a:lnTo>
                    <a:pt x="2400" y="744"/>
                  </a:lnTo>
                  <a:lnTo>
                    <a:pt x="2400" y="744"/>
                  </a:lnTo>
                  <a:lnTo>
                    <a:pt x="2400" y="745"/>
                  </a:lnTo>
                  <a:lnTo>
                    <a:pt x="2400" y="745"/>
                  </a:lnTo>
                  <a:lnTo>
                    <a:pt x="2400" y="745"/>
                  </a:lnTo>
                  <a:lnTo>
                    <a:pt x="2400" y="745"/>
                  </a:lnTo>
                  <a:lnTo>
                    <a:pt x="2402" y="745"/>
                  </a:lnTo>
                  <a:lnTo>
                    <a:pt x="2402" y="745"/>
                  </a:lnTo>
                  <a:lnTo>
                    <a:pt x="2402" y="745"/>
                  </a:lnTo>
                  <a:lnTo>
                    <a:pt x="2402" y="745"/>
                  </a:lnTo>
                  <a:lnTo>
                    <a:pt x="2403" y="744"/>
                  </a:lnTo>
                  <a:lnTo>
                    <a:pt x="2403" y="744"/>
                  </a:lnTo>
                  <a:lnTo>
                    <a:pt x="2403" y="745"/>
                  </a:lnTo>
                  <a:lnTo>
                    <a:pt x="2404" y="745"/>
                  </a:lnTo>
                  <a:lnTo>
                    <a:pt x="2404" y="745"/>
                  </a:lnTo>
                  <a:lnTo>
                    <a:pt x="2405" y="745"/>
                  </a:lnTo>
                  <a:lnTo>
                    <a:pt x="2405" y="745"/>
                  </a:lnTo>
                  <a:lnTo>
                    <a:pt x="2405" y="745"/>
                  </a:lnTo>
                  <a:lnTo>
                    <a:pt x="2406" y="745"/>
                  </a:lnTo>
                  <a:lnTo>
                    <a:pt x="2406" y="745"/>
                  </a:lnTo>
                  <a:lnTo>
                    <a:pt x="2406" y="746"/>
                  </a:lnTo>
                  <a:lnTo>
                    <a:pt x="2406" y="746"/>
                  </a:lnTo>
                  <a:lnTo>
                    <a:pt x="2406" y="746"/>
                  </a:lnTo>
                  <a:lnTo>
                    <a:pt x="2407" y="746"/>
                  </a:lnTo>
                  <a:lnTo>
                    <a:pt x="2407" y="746"/>
                  </a:lnTo>
                  <a:lnTo>
                    <a:pt x="2407" y="748"/>
                  </a:lnTo>
                  <a:lnTo>
                    <a:pt x="2407" y="749"/>
                  </a:lnTo>
                  <a:lnTo>
                    <a:pt x="2407" y="749"/>
                  </a:lnTo>
                  <a:lnTo>
                    <a:pt x="2406" y="749"/>
                  </a:lnTo>
                  <a:lnTo>
                    <a:pt x="2406" y="749"/>
                  </a:lnTo>
                  <a:lnTo>
                    <a:pt x="2406" y="749"/>
                  </a:lnTo>
                  <a:lnTo>
                    <a:pt x="2406" y="748"/>
                  </a:lnTo>
                  <a:lnTo>
                    <a:pt x="2406" y="748"/>
                  </a:lnTo>
                  <a:lnTo>
                    <a:pt x="2406" y="748"/>
                  </a:lnTo>
                  <a:lnTo>
                    <a:pt x="2406" y="748"/>
                  </a:lnTo>
                  <a:lnTo>
                    <a:pt x="2406" y="748"/>
                  </a:lnTo>
                  <a:lnTo>
                    <a:pt x="2406" y="748"/>
                  </a:lnTo>
                  <a:lnTo>
                    <a:pt x="2406" y="748"/>
                  </a:lnTo>
                  <a:lnTo>
                    <a:pt x="2406" y="749"/>
                  </a:lnTo>
                  <a:lnTo>
                    <a:pt x="2406" y="749"/>
                  </a:lnTo>
                  <a:lnTo>
                    <a:pt x="2406" y="751"/>
                  </a:lnTo>
                  <a:lnTo>
                    <a:pt x="2406" y="751"/>
                  </a:lnTo>
                  <a:lnTo>
                    <a:pt x="2406" y="751"/>
                  </a:lnTo>
                  <a:lnTo>
                    <a:pt x="2406" y="751"/>
                  </a:lnTo>
                  <a:lnTo>
                    <a:pt x="2406" y="752"/>
                  </a:lnTo>
                  <a:lnTo>
                    <a:pt x="2406" y="752"/>
                  </a:lnTo>
                  <a:lnTo>
                    <a:pt x="2405" y="752"/>
                  </a:lnTo>
                  <a:lnTo>
                    <a:pt x="2405" y="753"/>
                  </a:lnTo>
                  <a:lnTo>
                    <a:pt x="2405" y="753"/>
                  </a:lnTo>
                  <a:lnTo>
                    <a:pt x="2405" y="753"/>
                  </a:lnTo>
                  <a:lnTo>
                    <a:pt x="2405" y="753"/>
                  </a:lnTo>
                  <a:lnTo>
                    <a:pt x="2405" y="753"/>
                  </a:lnTo>
                  <a:lnTo>
                    <a:pt x="2405" y="754"/>
                  </a:lnTo>
                  <a:lnTo>
                    <a:pt x="2405" y="754"/>
                  </a:lnTo>
                  <a:lnTo>
                    <a:pt x="2404" y="754"/>
                  </a:lnTo>
                  <a:lnTo>
                    <a:pt x="2404" y="754"/>
                  </a:lnTo>
                  <a:lnTo>
                    <a:pt x="2404" y="754"/>
                  </a:lnTo>
                  <a:lnTo>
                    <a:pt x="2404" y="754"/>
                  </a:lnTo>
                  <a:lnTo>
                    <a:pt x="2404" y="756"/>
                  </a:lnTo>
                  <a:lnTo>
                    <a:pt x="2404" y="756"/>
                  </a:lnTo>
                  <a:lnTo>
                    <a:pt x="2404" y="756"/>
                  </a:lnTo>
                  <a:lnTo>
                    <a:pt x="2404" y="756"/>
                  </a:lnTo>
                  <a:lnTo>
                    <a:pt x="2403" y="756"/>
                  </a:lnTo>
                  <a:lnTo>
                    <a:pt x="2403" y="757"/>
                  </a:lnTo>
                  <a:lnTo>
                    <a:pt x="2403" y="757"/>
                  </a:lnTo>
                  <a:lnTo>
                    <a:pt x="2403" y="757"/>
                  </a:lnTo>
                  <a:lnTo>
                    <a:pt x="2403" y="757"/>
                  </a:lnTo>
                  <a:lnTo>
                    <a:pt x="2403" y="758"/>
                  </a:lnTo>
                  <a:lnTo>
                    <a:pt x="2403" y="758"/>
                  </a:lnTo>
                  <a:lnTo>
                    <a:pt x="2404" y="759"/>
                  </a:lnTo>
                  <a:lnTo>
                    <a:pt x="2404" y="759"/>
                  </a:lnTo>
                  <a:lnTo>
                    <a:pt x="2404" y="759"/>
                  </a:lnTo>
                  <a:lnTo>
                    <a:pt x="2404" y="759"/>
                  </a:lnTo>
                  <a:lnTo>
                    <a:pt x="2404" y="760"/>
                  </a:lnTo>
                  <a:lnTo>
                    <a:pt x="2404" y="760"/>
                  </a:lnTo>
                  <a:lnTo>
                    <a:pt x="2404" y="760"/>
                  </a:lnTo>
                  <a:lnTo>
                    <a:pt x="2404" y="761"/>
                  </a:lnTo>
                  <a:lnTo>
                    <a:pt x="2404" y="761"/>
                  </a:lnTo>
                  <a:lnTo>
                    <a:pt x="2404" y="761"/>
                  </a:lnTo>
                  <a:lnTo>
                    <a:pt x="2403" y="761"/>
                  </a:lnTo>
                  <a:lnTo>
                    <a:pt x="2403" y="762"/>
                  </a:lnTo>
                  <a:lnTo>
                    <a:pt x="2404" y="762"/>
                  </a:lnTo>
                  <a:lnTo>
                    <a:pt x="2404" y="763"/>
                  </a:lnTo>
                  <a:lnTo>
                    <a:pt x="2404" y="763"/>
                  </a:lnTo>
                  <a:lnTo>
                    <a:pt x="2404" y="763"/>
                  </a:lnTo>
                  <a:lnTo>
                    <a:pt x="2405" y="763"/>
                  </a:lnTo>
                  <a:lnTo>
                    <a:pt x="2405" y="763"/>
                  </a:lnTo>
                  <a:lnTo>
                    <a:pt x="2405" y="763"/>
                  </a:lnTo>
                  <a:lnTo>
                    <a:pt x="2405" y="765"/>
                  </a:lnTo>
                  <a:lnTo>
                    <a:pt x="2405" y="765"/>
                  </a:lnTo>
                  <a:lnTo>
                    <a:pt x="2405" y="765"/>
                  </a:lnTo>
                  <a:lnTo>
                    <a:pt x="2405" y="765"/>
                  </a:lnTo>
                  <a:lnTo>
                    <a:pt x="2405" y="766"/>
                  </a:lnTo>
                  <a:lnTo>
                    <a:pt x="2406" y="768"/>
                  </a:lnTo>
                  <a:lnTo>
                    <a:pt x="2407" y="768"/>
                  </a:lnTo>
                  <a:lnTo>
                    <a:pt x="2407" y="768"/>
                  </a:lnTo>
                  <a:lnTo>
                    <a:pt x="2407" y="768"/>
                  </a:lnTo>
                  <a:lnTo>
                    <a:pt x="2407" y="769"/>
                  </a:lnTo>
                  <a:lnTo>
                    <a:pt x="2407" y="769"/>
                  </a:lnTo>
                  <a:lnTo>
                    <a:pt x="2407" y="769"/>
                  </a:lnTo>
                  <a:lnTo>
                    <a:pt x="2407" y="769"/>
                  </a:lnTo>
                  <a:lnTo>
                    <a:pt x="2407" y="769"/>
                  </a:lnTo>
                  <a:lnTo>
                    <a:pt x="2408" y="770"/>
                  </a:lnTo>
                  <a:lnTo>
                    <a:pt x="2408" y="770"/>
                  </a:lnTo>
                  <a:lnTo>
                    <a:pt x="2408" y="770"/>
                  </a:lnTo>
                  <a:lnTo>
                    <a:pt x="2408" y="771"/>
                  </a:lnTo>
                  <a:lnTo>
                    <a:pt x="2408" y="771"/>
                  </a:lnTo>
                  <a:lnTo>
                    <a:pt x="2408" y="772"/>
                  </a:lnTo>
                  <a:lnTo>
                    <a:pt x="2408" y="772"/>
                  </a:lnTo>
                  <a:lnTo>
                    <a:pt x="2410" y="774"/>
                  </a:lnTo>
                  <a:lnTo>
                    <a:pt x="2410" y="774"/>
                  </a:lnTo>
                  <a:lnTo>
                    <a:pt x="2410" y="774"/>
                  </a:lnTo>
                  <a:lnTo>
                    <a:pt x="2410" y="774"/>
                  </a:lnTo>
                  <a:lnTo>
                    <a:pt x="2410" y="774"/>
                  </a:lnTo>
                  <a:lnTo>
                    <a:pt x="2410" y="772"/>
                  </a:lnTo>
                  <a:lnTo>
                    <a:pt x="2410" y="772"/>
                  </a:lnTo>
                  <a:lnTo>
                    <a:pt x="2410" y="772"/>
                  </a:lnTo>
                  <a:lnTo>
                    <a:pt x="2410" y="772"/>
                  </a:lnTo>
                  <a:lnTo>
                    <a:pt x="2410" y="771"/>
                  </a:lnTo>
                  <a:lnTo>
                    <a:pt x="2408" y="771"/>
                  </a:lnTo>
                  <a:lnTo>
                    <a:pt x="2408" y="771"/>
                  </a:lnTo>
                  <a:lnTo>
                    <a:pt x="2408" y="771"/>
                  </a:lnTo>
                  <a:lnTo>
                    <a:pt x="2408" y="769"/>
                  </a:lnTo>
                  <a:lnTo>
                    <a:pt x="2408" y="769"/>
                  </a:lnTo>
                  <a:lnTo>
                    <a:pt x="2408" y="768"/>
                  </a:lnTo>
                  <a:lnTo>
                    <a:pt x="2408" y="768"/>
                  </a:lnTo>
                  <a:lnTo>
                    <a:pt x="2408" y="768"/>
                  </a:lnTo>
                  <a:lnTo>
                    <a:pt x="2408" y="768"/>
                  </a:lnTo>
                  <a:lnTo>
                    <a:pt x="2408" y="767"/>
                  </a:lnTo>
                  <a:lnTo>
                    <a:pt x="2410" y="767"/>
                  </a:lnTo>
                  <a:lnTo>
                    <a:pt x="2410" y="766"/>
                  </a:lnTo>
                  <a:lnTo>
                    <a:pt x="2410" y="766"/>
                  </a:lnTo>
                  <a:lnTo>
                    <a:pt x="2410" y="766"/>
                  </a:lnTo>
                  <a:lnTo>
                    <a:pt x="2410" y="766"/>
                  </a:lnTo>
                  <a:lnTo>
                    <a:pt x="2410" y="766"/>
                  </a:lnTo>
                  <a:lnTo>
                    <a:pt x="2410" y="765"/>
                  </a:lnTo>
                  <a:lnTo>
                    <a:pt x="2410" y="765"/>
                  </a:lnTo>
                  <a:lnTo>
                    <a:pt x="2410" y="763"/>
                  </a:lnTo>
                  <a:lnTo>
                    <a:pt x="2410" y="763"/>
                  </a:lnTo>
                  <a:lnTo>
                    <a:pt x="2410" y="763"/>
                  </a:lnTo>
                  <a:lnTo>
                    <a:pt x="2408" y="763"/>
                  </a:lnTo>
                  <a:lnTo>
                    <a:pt x="2408" y="763"/>
                  </a:lnTo>
                  <a:lnTo>
                    <a:pt x="2408" y="765"/>
                  </a:lnTo>
                  <a:lnTo>
                    <a:pt x="2407" y="765"/>
                  </a:lnTo>
                  <a:lnTo>
                    <a:pt x="2407" y="763"/>
                  </a:lnTo>
                  <a:lnTo>
                    <a:pt x="2408" y="762"/>
                  </a:lnTo>
                  <a:lnTo>
                    <a:pt x="2408" y="762"/>
                  </a:lnTo>
                  <a:lnTo>
                    <a:pt x="2408" y="762"/>
                  </a:lnTo>
                  <a:lnTo>
                    <a:pt x="2408" y="762"/>
                  </a:lnTo>
                  <a:lnTo>
                    <a:pt x="2408" y="761"/>
                  </a:lnTo>
                  <a:lnTo>
                    <a:pt x="2408" y="761"/>
                  </a:lnTo>
                  <a:lnTo>
                    <a:pt x="2410" y="761"/>
                  </a:lnTo>
                  <a:lnTo>
                    <a:pt x="2410" y="761"/>
                  </a:lnTo>
                  <a:lnTo>
                    <a:pt x="2410" y="761"/>
                  </a:lnTo>
                  <a:lnTo>
                    <a:pt x="2410" y="760"/>
                  </a:lnTo>
                  <a:lnTo>
                    <a:pt x="2410" y="760"/>
                  </a:lnTo>
                  <a:lnTo>
                    <a:pt x="2410" y="760"/>
                  </a:lnTo>
                  <a:lnTo>
                    <a:pt x="2410" y="760"/>
                  </a:lnTo>
                  <a:lnTo>
                    <a:pt x="2410" y="760"/>
                  </a:lnTo>
                  <a:lnTo>
                    <a:pt x="2411" y="759"/>
                  </a:lnTo>
                  <a:lnTo>
                    <a:pt x="2411" y="759"/>
                  </a:lnTo>
                  <a:lnTo>
                    <a:pt x="2411" y="759"/>
                  </a:lnTo>
                  <a:lnTo>
                    <a:pt x="2411" y="759"/>
                  </a:lnTo>
                  <a:lnTo>
                    <a:pt x="2411" y="759"/>
                  </a:lnTo>
                  <a:lnTo>
                    <a:pt x="2411" y="758"/>
                  </a:lnTo>
                  <a:lnTo>
                    <a:pt x="2412" y="758"/>
                  </a:lnTo>
                  <a:lnTo>
                    <a:pt x="2412" y="758"/>
                  </a:lnTo>
                  <a:lnTo>
                    <a:pt x="2412" y="758"/>
                  </a:lnTo>
                  <a:lnTo>
                    <a:pt x="2412" y="758"/>
                  </a:lnTo>
                  <a:lnTo>
                    <a:pt x="2412" y="758"/>
                  </a:lnTo>
                  <a:lnTo>
                    <a:pt x="2412" y="757"/>
                  </a:lnTo>
                  <a:lnTo>
                    <a:pt x="2413" y="757"/>
                  </a:lnTo>
                  <a:lnTo>
                    <a:pt x="2413" y="757"/>
                  </a:lnTo>
                  <a:lnTo>
                    <a:pt x="2413" y="757"/>
                  </a:lnTo>
                  <a:lnTo>
                    <a:pt x="2414" y="757"/>
                  </a:lnTo>
                  <a:lnTo>
                    <a:pt x="2414" y="757"/>
                  </a:lnTo>
                  <a:lnTo>
                    <a:pt x="2414" y="758"/>
                  </a:lnTo>
                  <a:lnTo>
                    <a:pt x="2415" y="758"/>
                  </a:lnTo>
                  <a:lnTo>
                    <a:pt x="2415" y="757"/>
                  </a:lnTo>
                  <a:lnTo>
                    <a:pt x="2416" y="757"/>
                  </a:lnTo>
                  <a:lnTo>
                    <a:pt x="2416" y="757"/>
                  </a:lnTo>
                  <a:lnTo>
                    <a:pt x="2419" y="757"/>
                  </a:lnTo>
                  <a:lnTo>
                    <a:pt x="2419" y="757"/>
                  </a:lnTo>
                  <a:lnTo>
                    <a:pt x="2419" y="757"/>
                  </a:lnTo>
                  <a:lnTo>
                    <a:pt x="2420" y="757"/>
                  </a:lnTo>
                  <a:lnTo>
                    <a:pt x="2420" y="757"/>
                  </a:lnTo>
                  <a:lnTo>
                    <a:pt x="2420" y="757"/>
                  </a:lnTo>
                  <a:lnTo>
                    <a:pt x="2422" y="757"/>
                  </a:lnTo>
                  <a:lnTo>
                    <a:pt x="2422" y="757"/>
                  </a:lnTo>
                  <a:lnTo>
                    <a:pt x="2422" y="757"/>
                  </a:lnTo>
                  <a:lnTo>
                    <a:pt x="2422" y="757"/>
                  </a:lnTo>
                  <a:lnTo>
                    <a:pt x="2423" y="757"/>
                  </a:lnTo>
                  <a:lnTo>
                    <a:pt x="2423" y="757"/>
                  </a:lnTo>
                  <a:lnTo>
                    <a:pt x="2423" y="757"/>
                  </a:lnTo>
                  <a:lnTo>
                    <a:pt x="2423" y="758"/>
                  </a:lnTo>
                  <a:lnTo>
                    <a:pt x="2423" y="758"/>
                  </a:lnTo>
                  <a:lnTo>
                    <a:pt x="2423" y="758"/>
                  </a:lnTo>
                  <a:lnTo>
                    <a:pt x="2423" y="759"/>
                  </a:lnTo>
                  <a:lnTo>
                    <a:pt x="2423" y="759"/>
                  </a:lnTo>
                  <a:lnTo>
                    <a:pt x="2423" y="760"/>
                  </a:lnTo>
                  <a:lnTo>
                    <a:pt x="2423" y="760"/>
                  </a:lnTo>
                  <a:lnTo>
                    <a:pt x="2424" y="761"/>
                  </a:lnTo>
                  <a:lnTo>
                    <a:pt x="2424" y="761"/>
                  </a:lnTo>
                  <a:lnTo>
                    <a:pt x="2424" y="761"/>
                  </a:lnTo>
                  <a:lnTo>
                    <a:pt x="2424" y="761"/>
                  </a:lnTo>
                  <a:lnTo>
                    <a:pt x="2424" y="762"/>
                  </a:lnTo>
                  <a:lnTo>
                    <a:pt x="2424" y="762"/>
                  </a:lnTo>
                  <a:lnTo>
                    <a:pt x="2424" y="762"/>
                  </a:lnTo>
                  <a:lnTo>
                    <a:pt x="2424" y="766"/>
                  </a:lnTo>
                  <a:lnTo>
                    <a:pt x="2425" y="766"/>
                  </a:lnTo>
                  <a:lnTo>
                    <a:pt x="2425" y="767"/>
                  </a:lnTo>
                  <a:lnTo>
                    <a:pt x="2425" y="767"/>
                  </a:lnTo>
                  <a:lnTo>
                    <a:pt x="2425" y="767"/>
                  </a:lnTo>
                  <a:lnTo>
                    <a:pt x="2425" y="767"/>
                  </a:lnTo>
                  <a:lnTo>
                    <a:pt x="2425" y="767"/>
                  </a:lnTo>
                  <a:lnTo>
                    <a:pt x="2425" y="767"/>
                  </a:lnTo>
                  <a:lnTo>
                    <a:pt x="2427" y="768"/>
                  </a:lnTo>
                  <a:lnTo>
                    <a:pt x="2427" y="768"/>
                  </a:lnTo>
                  <a:lnTo>
                    <a:pt x="2427" y="768"/>
                  </a:lnTo>
                  <a:lnTo>
                    <a:pt x="2427" y="768"/>
                  </a:lnTo>
                  <a:lnTo>
                    <a:pt x="2428" y="768"/>
                  </a:lnTo>
                  <a:lnTo>
                    <a:pt x="2428" y="768"/>
                  </a:lnTo>
                  <a:lnTo>
                    <a:pt x="2428" y="769"/>
                  </a:lnTo>
                  <a:lnTo>
                    <a:pt x="2428" y="769"/>
                  </a:lnTo>
                  <a:lnTo>
                    <a:pt x="2428" y="769"/>
                  </a:lnTo>
                  <a:lnTo>
                    <a:pt x="2428" y="769"/>
                  </a:lnTo>
                  <a:lnTo>
                    <a:pt x="2429" y="769"/>
                  </a:lnTo>
                  <a:lnTo>
                    <a:pt x="2429" y="769"/>
                  </a:lnTo>
                  <a:lnTo>
                    <a:pt x="2429" y="769"/>
                  </a:lnTo>
                  <a:lnTo>
                    <a:pt x="2429" y="770"/>
                  </a:lnTo>
                  <a:lnTo>
                    <a:pt x="2430" y="770"/>
                  </a:lnTo>
                  <a:lnTo>
                    <a:pt x="2430" y="770"/>
                  </a:lnTo>
                  <a:lnTo>
                    <a:pt x="2430" y="770"/>
                  </a:lnTo>
                  <a:lnTo>
                    <a:pt x="2431" y="770"/>
                  </a:lnTo>
                  <a:lnTo>
                    <a:pt x="2431" y="770"/>
                  </a:lnTo>
                  <a:lnTo>
                    <a:pt x="2431" y="770"/>
                  </a:lnTo>
                  <a:lnTo>
                    <a:pt x="2432" y="771"/>
                  </a:lnTo>
                  <a:lnTo>
                    <a:pt x="2432" y="771"/>
                  </a:lnTo>
                  <a:lnTo>
                    <a:pt x="2432" y="771"/>
                  </a:lnTo>
                  <a:lnTo>
                    <a:pt x="2432" y="771"/>
                  </a:lnTo>
                  <a:lnTo>
                    <a:pt x="2432" y="771"/>
                  </a:lnTo>
                  <a:lnTo>
                    <a:pt x="2432" y="772"/>
                  </a:lnTo>
                  <a:lnTo>
                    <a:pt x="2433" y="772"/>
                  </a:lnTo>
                  <a:lnTo>
                    <a:pt x="2433" y="772"/>
                  </a:lnTo>
                  <a:lnTo>
                    <a:pt x="2433" y="772"/>
                  </a:lnTo>
                  <a:lnTo>
                    <a:pt x="2433" y="772"/>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5"/>
                  </a:lnTo>
                  <a:lnTo>
                    <a:pt x="2434" y="775"/>
                  </a:lnTo>
                  <a:lnTo>
                    <a:pt x="2434" y="775"/>
                  </a:lnTo>
                  <a:lnTo>
                    <a:pt x="2434" y="775"/>
                  </a:lnTo>
                  <a:lnTo>
                    <a:pt x="2434" y="776"/>
                  </a:lnTo>
                  <a:close/>
                  <a:moveTo>
                    <a:pt x="2516" y="714"/>
                  </a:moveTo>
                  <a:lnTo>
                    <a:pt x="2516" y="714"/>
                  </a:lnTo>
                  <a:lnTo>
                    <a:pt x="2516" y="714"/>
                  </a:lnTo>
                  <a:lnTo>
                    <a:pt x="2516" y="714"/>
                  </a:lnTo>
                  <a:lnTo>
                    <a:pt x="2515" y="715"/>
                  </a:lnTo>
                  <a:lnTo>
                    <a:pt x="2515" y="715"/>
                  </a:lnTo>
                  <a:lnTo>
                    <a:pt x="2514" y="715"/>
                  </a:lnTo>
                  <a:lnTo>
                    <a:pt x="2514" y="715"/>
                  </a:lnTo>
                  <a:lnTo>
                    <a:pt x="2514" y="716"/>
                  </a:lnTo>
                  <a:lnTo>
                    <a:pt x="2514" y="716"/>
                  </a:lnTo>
                  <a:lnTo>
                    <a:pt x="2514" y="717"/>
                  </a:lnTo>
                  <a:lnTo>
                    <a:pt x="2514" y="718"/>
                  </a:lnTo>
                  <a:lnTo>
                    <a:pt x="2514" y="718"/>
                  </a:lnTo>
                  <a:lnTo>
                    <a:pt x="2513" y="718"/>
                  </a:lnTo>
                  <a:lnTo>
                    <a:pt x="2513" y="719"/>
                  </a:lnTo>
                  <a:lnTo>
                    <a:pt x="2511" y="719"/>
                  </a:lnTo>
                  <a:lnTo>
                    <a:pt x="2510" y="719"/>
                  </a:lnTo>
                  <a:lnTo>
                    <a:pt x="2510" y="719"/>
                  </a:lnTo>
                  <a:lnTo>
                    <a:pt x="2510" y="720"/>
                  </a:lnTo>
                  <a:lnTo>
                    <a:pt x="2510" y="720"/>
                  </a:lnTo>
                  <a:lnTo>
                    <a:pt x="2510" y="722"/>
                  </a:lnTo>
                  <a:lnTo>
                    <a:pt x="2509" y="723"/>
                  </a:lnTo>
                  <a:lnTo>
                    <a:pt x="2509" y="723"/>
                  </a:lnTo>
                  <a:lnTo>
                    <a:pt x="2508" y="723"/>
                  </a:lnTo>
                  <a:lnTo>
                    <a:pt x="2508" y="724"/>
                  </a:lnTo>
                  <a:lnTo>
                    <a:pt x="2507" y="724"/>
                  </a:lnTo>
                  <a:lnTo>
                    <a:pt x="2506" y="724"/>
                  </a:lnTo>
                  <a:lnTo>
                    <a:pt x="2505" y="724"/>
                  </a:lnTo>
                  <a:lnTo>
                    <a:pt x="2504" y="724"/>
                  </a:lnTo>
                  <a:lnTo>
                    <a:pt x="2504" y="724"/>
                  </a:lnTo>
                  <a:lnTo>
                    <a:pt x="2502" y="724"/>
                  </a:lnTo>
                  <a:lnTo>
                    <a:pt x="2502" y="724"/>
                  </a:lnTo>
                  <a:lnTo>
                    <a:pt x="2500" y="724"/>
                  </a:lnTo>
                  <a:lnTo>
                    <a:pt x="2500" y="724"/>
                  </a:lnTo>
                  <a:lnTo>
                    <a:pt x="2500" y="724"/>
                  </a:lnTo>
                  <a:lnTo>
                    <a:pt x="2499" y="724"/>
                  </a:lnTo>
                  <a:lnTo>
                    <a:pt x="2499" y="724"/>
                  </a:lnTo>
                  <a:lnTo>
                    <a:pt x="2497" y="724"/>
                  </a:lnTo>
                  <a:lnTo>
                    <a:pt x="2496" y="724"/>
                  </a:lnTo>
                  <a:lnTo>
                    <a:pt x="2496" y="724"/>
                  </a:lnTo>
                  <a:lnTo>
                    <a:pt x="2496" y="725"/>
                  </a:lnTo>
                  <a:lnTo>
                    <a:pt x="2496" y="725"/>
                  </a:lnTo>
                  <a:lnTo>
                    <a:pt x="2496" y="726"/>
                  </a:lnTo>
                  <a:lnTo>
                    <a:pt x="2494" y="725"/>
                  </a:lnTo>
                  <a:lnTo>
                    <a:pt x="2494" y="724"/>
                  </a:lnTo>
                  <a:lnTo>
                    <a:pt x="2496" y="724"/>
                  </a:lnTo>
                  <a:lnTo>
                    <a:pt x="2494" y="724"/>
                  </a:lnTo>
                  <a:lnTo>
                    <a:pt x="2494" y="724"/>
                  </a:lnTo>
                  <a:lnTo>
                    <a:pt x="2494" y="723"/>
                  </a:lnTo>
                  <a:lnTo>
                    <a:pt x="2493" y="723"/>
                  </a:lnTo>
                  <a:lnTo>
                    <a:pt x="2493" y="723"/>
                  </a:lnTo>
                  <a:lnTo>
                    <a:pt x="2493" y="722"/>
                  </a:lnTo>
                  <a:lnTo>
                    <a:pt x="2493" y="720"/>
                  </a:lnTo>
                  <a:lnTo>
                    <a:pt x="2493" y="720"/>
                  </a:lnTo>
                  <a:lnTo>
                    <a:pt x="2493" y="719"/>
                  </a:lnTo>
                  <a:lnTo>
                    <a:pt x="2492" y="719"/>
                  </a:lnTo>
                  <a:lnTo>
                    <a:pt x="2492" y="719"/>
                  </a:lnTo>
                  <a:lnTo>
                    <a:pt x="2491" y="719"/>
                  </a:lnTo>
                  <a:lnTo>
                    <a:pt x="2491" y="719"/>
                  </a:lnTo>
                  <a:lnTo>
                    <a:pt x="2490" y="720"/>
                  </a:lnTo>
                  <a:lnTo>
                    <a:pt x="2488" y="720"/>
                  </a:lnTo>
                  <a:lnTo>
                    <a:pt x="2487" y="719"/>
                  </a:lnTo>
                  <a:lnTo>
                    <a:pt x="2485" y="719"/>
                  </a:lnTo>
                  <a:lnTo>
                    <a:pt x="2484" y="719"/>
                  </a:lnTo>
                  <a:lnTo>
                    <a:pt x="2483" y="719"/>
                  </a:lnTo>
                  <a:lnTo>
                    <a:pt x="2483" y="719"/>
                  </a:lnTo>
                  <a:lnTo>
                    <a:pt x="2483" y="718"/>
                  </a:lnTo>
                  <a:lnTo>
                    <a:pt x="2482" y="718"/>
                  </a:lnTo>
                  <a:lnTo>
                    <a:pt x="2482" y="716"/>
                  </a:lnTo>
                  <a:lnTo>
                    <a:pt x="2483" y="715"/>
                  </a:lnTo>
                  <a:lnTo>
                    <a:pt x="2483" y="715"/>
                  </a:lnTo>
                  <a:lnTo>
                    <a:pt x="2483" y="715"/>
                  </a:lnTo>
                  <a:lnTo>
                    <a:pt x="2483" y="715"/>
                  </a:lnTo>
                  <a:lnTo>
                    <a:pt x="2483" y="714"/>
                  </a:lnTo>
                  <a:lnTo>
                    <a:pt x="2483" y="714"/>
                  </a:lnTo>
                  <a:lnTo>
                    <a:pt x="2483" y="712"/>
                  </a:lnTo>
                  <a:lnTo>
                    <a:pt x="2482" y="712"/>
                  </a:lnTo>
                  <a:lnTo>
                    <a:pt x="2482" y="711"/>
                  </a:lnTo>
                  <a:lnTo>
                    <a:pt x="2482" y="710"/>
                  </a:lnTo>
                  <a:lnTo>
                    <a:pt x="2482" y="710"/>
                  </a:lnTo>
                  <a:lnTo>
                    <a:pt x="2482" y="709"/>
                  </a:lnTo>
                  <a:lnTo>
                    <a:pt x="2483" y="709"/>
                  </a:lnTo>
                  <a:lnTo>
                    <a:pt x="2483" y="708"/>
                  </a:lnTo>
                  <a:lnTo>
                    <a:pt x="2483" y="708"/>
                  </a:lnTo>
                  <a:lnTo>
                    <a:pt x="2483" y="707"/>
                  </a:lnTo>
                  <a:lnTo>
                    <a:pt x="2483" y="707"/>
                  </a:lnTo>
                  <a:lnTo>
                    <a:pt x="2483" y="706"/>
                  </a:lnTo>
                  <a:lnTo>
                    <a:pt x="2484" y="706"/>
                  </a:lnTo>
                  <a:lnTo>
                    <a:pt x="2484" y="705"/>
                  </a:lnTo>
                  <a:lnTo>
                    <a:pt x="2484" y="705"/>
                  </a:lnTo>
                  <a:lnTo>
                    <a:pt x="2484" y="703"/>
                  </a:lnTo>
                  <a:lnTo>
                    <a:pt x="2484" y="703"/>
                  </a:lnTo>
                  <a:lnTo>
                    <a:pt x="2484" y="703"/>
                  </a:lnTo>
                  <a:lnTo>
                    <a:pt x="2485" y="702"/>
                  </a:lnTo>
                  <a:lnTo>
                    <a:pt x="2485" y="702"/>
                  </a:lnTo>
                  <a:lnTo>
                    <a:pt x="2485" y="701"/>
                  </a:lnTo>
                  <a:lnTo>
                    <a:pt x="2487" y="701"/>
                  </a:lnTo>
                  <a:lnTo>
                    <a:pt x="2487" y="701"/>
                  </a:lnTo>
                  <a:lnTo>
                    <a:pt x="2487" y="700"/>
                  </a:lnTo>
                  <a:lnTo>
                    <a:pt x="2487" y="700"/>
                  </a:lnTo>
                  <a:lnTo>
                    <a:pt x="2487" y="700"/>
                  </a:lnTo>
                  <a:lnTo>
                    <a:pt x="2487" y="699"/>
                  </a:lnTo>
                  <a:lnTo>
                    <a:pt x="2487" y="699"/>
                  </a:lnTo>
                  <a:lnTo>
                    <a:pt x="2487" y="699"/>
                  </a:lnTo>
                  <a:lnTo>
                    <a:pt x="2488" y="698"/>
                  </a:lnTo>
                  <a:lnTo>
                    <a:pt x="2488" y="698"/>
                  </a:lnTo>
                  <a:lnTo>
                    <a:pt x="2488" y="697"/>
                  </a:lnTo>
                  <a:lnTo>
                    <a:pt x="2488" y="695"/>
                  </a:lnTo>
                  <a:lnTo>
                    <a:pt x="2488" y="694"/>
                  </a:lnTo>
                  <a:lnTo>
                    <a:pt x="2488" y="694"/>
                  </a:lnTo>
                  <a:lnTo>
                    <a:pt x="2489" y="693"/>
                  </a:lnTo>
                  <a:lnTo>
                    <a:pt x="2489" y="693"/>
                  </a:lnTo>
                  <a:lnTo>
                    <a:pt x="2490" y="693"/>
                  </a:lnTo>
                  <a:lnTo>
                    <a:pt x="2490" y="692"/>
                  </a:lnTo>
                  <a:lnTo>
                    <a:pt x="2491" y="692"/>
                  </a:lnTo>
                  <a:lnTo>
                    <a:pt x="2491" y="693"/>
                  </a:lnTo>
                  <a:lnTo>
                    <a:pt x="2492" y="693"/>
                  </a:lnTo>
                  <a:lnTo>
                    <a:pt x="2492" y="692"/>
                  </a:lnTo>
                  <a:lnTo>
                    <a:pt x="2492" y="692"/>
                  </a:lnTo>
                  <a:lnTo>
                    <a:pt x="2492" y="692"/>
                  </a:lnTo>
                  <a:lnTo>
                    <a:pt x="2492" y="692"/>
                  </a:lnTo>
                  <a:lnTo>
                    <a:pt x="2496" y="692"/>
                  </a:lnTo>
                  <a:lnTo>
                    <a:pt x="2496" y="692"/>
                  </a:lnTo>
                  <a:lnTo>
                    <a:pt x="2496" y="691"/>
                  </a:lnTo>
                  <a:lnTo>
                    <a:pt x="2497" y="691"/>
                  </a:lnTo>
                  <a:lnTo>
                    <a:pt x="2497" y="692"/>
                  </a:lnTo>
                  <a:lnTo>
                    <a:pt x="2497" y="692"/>
                  </a:lnTo>
                  <a:lnTo>
                    <a:pt x="2497" y="693"/>
                  </a:lnTo>
                  <a:lnTo>
                    <a:pt x="2497" y="693"/>
                  </a:lnTo>
                  <a:lnTo>
                    <a:pt x="2496" y="693"/>
                  </a:lnTo>
                  <a:lnTo>
                    <a:pt x="2496" y="693"/>
                  </a:lnTo>
                  <a:lnTo>
                    <a:pt x="2496" y="694"/>
                  </a:lnTo>
                  <a:lnTo>
                    <a:pt x="2496" y="695"/>
                  </a:lnTo>
                  <a:lnTo>
                    <a:pt x="2496" y="695"/>
                  </a:lnTo>
                  <a:lnTo>
                    <a:pt x="2497" y="695"/>
                  </a:lnTo>
                  <a:lnTo>
                    <a:pt x="2497" y="695"/>
                  </a:lnTo>
                  <a:lnTo>
                    <a:pt x="2499" y="695"/>
                  </a:lnTo>
                  <a:lnTo>
                    <a:pt x="2499" y="695"/>
                  </a:lnTo>
                  <a:lnTo>
                    <a:pt x="2499" y="695"/>
                  </a:lnTo>
                  <a:lnTo>
                    <a:pt x="2499" y="695"/>
                  </a:lnTo>
                  <a:lnTo>
                    <a:pt x="2499" y="695"/>
                  </a:lnTo>
                  <a:lnTo>
                    <a:pt x="2500" y="695"/>
                  </a:lnTo>
                  <a:lnTo>
                    <a:pt x="2500" y="694"/>
                  </a:lnTo>
                  <a:lnTo>
                    <a:pt x="2500" y="694"/>
                  </a:lnTo>
                  <a:lnTo>
                    <a:pt x="2500" y="695"/>
                  </a:lnTo>
                  <a:lnTo>
                    <a:pt x="2500" y="695"/>
                  </a:lnTo>
                  <a:lnTo>
                    <a:pt x="2500" y="695"/>
                  </a:lnTo>
                  <a:lnTo>
                    <a:pt x="2500" y="694"/>
                  </a:lnTo>
                  <a:lnTo>
                    <a:pt x="2500" y="694"/>
                  </a:lnTo>
                  <a:lnTo>
                    <a:pt x="2501" y="694"/>
                  </a:lnTo>
                  <a:lnTo>
                    <a:pt x="2501" y="693"/>
                  </a:lnTo>
                  <a:lnTo>
                    <a:pt x="2501" y="693"/>
                  </a:lnTo>
                  <a:lnTo>
                    <a:pt x="2501" y="692"/>
                  </a:lnTo>
                  <a:lnTo>
                    <a:pt x="2501" y="692"/>
                  </a:lnTo>
                  <a:lnTo>
                    <a:pt x="2502" y="691"/>
                  </a:lnTo>
                  <a:lnTo>
                    <a:pt x="2501" y="691"/>
                  </a:lnTo>
                  <a:lnTo>
                    <a:pt x="2501" y="691"/>
                  </a:lnTo>
                  <a:lnTo>
                    <a:pt x="2502" y="690"/>
                  </a:lnTo>
                  <a:lnTo>
                    <a:pt x="2501" y="690"/>
                  </a:lnTo>
                  <a:lnTo>
                    <a:pt x="2501" y="689"/>
                  </a:lnTo>
                  <a:lnTo>
                    <a:pt x="2500" y="688"/>
                  </a:lnTo>
                  <a:lnTo>
                    <a:pt x="2500" y="686"/>
                  </a:lnTo>
                  <a:lnTo>
                    <a:pt x="2499" y="686"/>
                  </a:lnTo>
                  <a:lnTo>
                    <a:pt x="2499" y="686"/>
                  </a:lnTo>
                  <a:lnTo>
                    <a:pt x="2500" y="685"/>
                  </a:lnTo>
                  <a:lnTo>
                    <a:pt x="2500" y="686"/>
                  </a:lnTo>
                  <a:lnTo>
                    <a:pt x="2501" y="686"/>
                  </a:lnTo>
                  <a:lnTo>
                    <a:pt x="2502" y="686"/>
                  </a:lnTo>
                  <a:lnTo>
                    <a:pt x="2502" y="686"/>
                  </a:lnTo>
                  <a:lnTo>
                    <a:pt x="2504" y="686"/>
                  </a:lnTo>
                  <a:lnTo>
                    <a:pt x="2504" y="688"/>
                  </a:lnTo>
                  <a:lnTo>
                    <a:pt x="2504" y="688"/>
                  </a:lnTo>
                  <a:lnTo>
                    <a:pt x="2504" y="689"/>
                  </a:lnTo>
                  <a:lnTo>
                    <a:pt x="2504" y="689"/>
                  </a:lnTo>
                  <a:lnTo>
                    <a:pt x="2504" y="690"/>
                  </a:lnTo>
                  <a:lnTo>
                    <a:pt x="2504" y="690"/>
                  </a:lnTo>
                  <a:lnTo>
                    <a:pt x="2504" y="690"/>
                  </a:lnTo>
                  <a:lnTo>
                    <a:pt x="2504" y="691"/>
                  </a:lnTo>
                  <a:lnTo>
                    <a:pt x="2504" y="691"/>
                  </a:lnTo>
                  <a:lnTo>
                    <a:pt x="2505" y="690"/>
                  </a:lnTo>
                  <a:lnTo>
                    <a:pt x="2505" y="690"/>
                  </a:lnTo>
                  <a:lnTo>
                    <a:pt x="2506" y="690"/>
                  </a:lnTo>
                  <a:lnTo>
                    <a:pt x="2506" y="690"/>
                  </a:lnTo>
                  <a:lnTo>
                    <a:pt x="2507" y="690"/>
                  </a:lnTo>
                  <a:lnTo>
                    <a:pt x="2507" y="689"/>
                  </a:lnTo>
                  <a:lnTo>
                    <a:pt x="2508" y="689"/>
                  </a:lnTo>
                  <a:lnTo>
                    <a:pt x="2509" y="690"/>
                  </a:lnTo>
                  <a:lnTo>
                    <a:pt x="2509" y="690"/>
                  </a:lnTo>
                  <a:lnTo>
                    <a:pt x="2510" y="690"/>
                  </a:lnTo>
                  <a:lnTo>
                    <a:pt x="2510" y="690"/>
                  </a:lnTo>
                  <a:lnTo>
                    <a:pt x="2510" y="690"/>
                  </a:lnTo>
                  <a:lnTo>
                    <a:pt x="2510" y="691"/>
                  </a:lnTo>
                  <a:lnTo>
                    <a:pt x="2510" y="691"/>
                  </a:lnTo>
                  <a:lnTo>
                    <a:pt x="2510" y="691"/>
                  </a:lnTo>
                  <a:lnTo>
                    <a:pt x="2510" y="691"/>
                  </a:lnTo>
                  <a:lnTo>
                    <a:pt x="2509" y="691"/>
                  </a:lnTo>
                  <a:lnTo>
                    <a:pt x="2509" y="691"/>
                  </a:lnTo>
                  <a:lnTo>
                    <a:pt x="2509" y="692"/>
                  </a:lnTo>
                  <a:lnTo>
                    <a:pt x="2507" y="692"/>
                  </a:lnTo>
                  <a:lnTo>
                    <a:pt x="2507" y="692"/>
                  </a:lnTo>
                  <a:lnTo>
                    <a:pt x="2507" y="692"/>
                  </a:lnTo>
                  <a:lnTo>
                    <a:pt x="2508" y="692"/>
                  </a:lnTo>
                  <a:lnTo>
                    <a:pt x="2508" y="692"/>
                  </a:lnTo>
                  <a:lnTo>
                    <a:pt x="2510" y="692"/>
                  </a:lnTo>
                  <a:lnTo>
                    <a:pt x="2510" y="693"/>
                  </a:lnTo>
                  <a:lnTo>
                    <a:pt x="2510" y="693"/>
                  </a:lnTo>
                  <a:lnTo>
                    <a:pt x="2511" y="693"/>
                  </a:lnTo>
                  <a:lnTo>
                    <a:pt x="2510" y="693"/>
                  </a:lnTo>
                  <a:lnTo>
                    <a:pt x="2509" y="693"/>
                  </a:lnTo>
                  <a:lnTo>
                    <a:pt x="2509" y="693"/>
                  </a:lnTo>
                  <a:lnTo>
                    <a:pt x="2509" y="693"/>
                  </a:lnTo>
                  <a:lnTo>
                    <a:pt x="2508" y="693"/>
                  </a:lnTo>
                  <a:lnTo>
                    <a:pt x="2508" y="693"/>
                  </a:lnTo>
                  <a:lnTo>
                    <a:pt x="2508" y="694"/>
                  </a:lnTo>
                  <a:lnTo>
                    <a:pt x="2509" y="694"/>
                  </a:lnTo>
                  <a:lnTo>
                    <a:pt x="2509" y="694"/>
                  </a:lnTo>
                  <a:lnTo>
                    <a:pt x="2509" y="694"/>
                  </a:lnTo>
                  <a:lnTo>
                    <a:pt x="2510" y="694"/>
                  </a:lnTo>
                  <a:lnTo>
                    <a:pt x="2510" y="695"/>
                  </a:lnTo>
                  <a:lnTo>
                    <a:pt x="2510" y="695"/>
                  </a:lnTo>
                  <a:lnTo>
                    <a:pt x="2510" y="695"/>
                  </a:lnTo>
                  <a:lnTo>
                    <a:pt x="2511" y="695"/>
                  </a:lnTo>
                  <a:lnTo>
                    <a:pt x="2511" y="697"/>
                  </a:lnTo>
                  <a:lnTo>
                    <a:pt x="2510" y="697"/>
                  </a:lnTo>
                  <a:lnTo>
                    <a:pt x="2510" y="697"/>
                  </a:lnTo>
                  <a:lnTo>
                    <a:pt x="2509" y="697"/>
                  </a:lnTo>
                  <a:lnTo>
                    <a:pt x="2509" y="697"/>
                  </a:lnTo>
                  <a:lnTo>
                    <a:pt x="2508" y="697"/>
                  </a:lnTo>
                  <a:lnTo>
                    <a:pt x="2508" y="695"/>
                  </a:lnTo>
                  <a:lnTo>
                    <a:pt x="2506" y="695"/>
                  </a:lnTo>
                  <a:lnTo>
                    <a:pt x="2505" y="697"/>
                  </a:lnTo>
                  <a:lnTo>
                    <a:pt x="2505" y="697"/>
                  </a:lnTo>
                  <a:lnTo>
                    <a:pt x="2502" y="697"/>
                  </a:lnTo>
                  <a:lnTo>
                    <a:pt x="2502" y="698"/>
                  </a:lnTo>
                  <a:lnTo>
                    <a:pt x="2504" y="698"/>
                  </a:lnTo>
                  <a:lnTo>
                    <a:pt x="2504" y="699"/>
                  </a:lnTo>
                  <a:lnTo>
                    <a:pt x="2505" y="699"/>
                  </a:lnTo>
                  <a:lnTo>
                    <a:pt x="2506" y="698"/>
                  </a:lnTo>
                  <a:lnTo>
                    <a:pt x="2507" y="698"/>
                  </a:lnTo>
                  <a:lnTo>
                    <a:pt x="2507" y="698"/>
                  </a:lnTo>
                  <a:lnTo>
                    <a:pt x="2508" y="698"/>
                  </a:lnTo>
                  <a:lnTo>
                    <a:pt x="2509" y="698"/>
                  </a:lnTo>
                  <a:lnTo>
                    <a:pt x="2509" y="698"/>
                  </a:lnTo>
                  <a:lnTo>
                    <a:pt x="2510" y="698"/>
                  </a:lnTo>
                  <a:lnTo>
                    <a:pt x="2511" y="698"/>
                  </a:lnTo>
                  <a:lnTo>
                    <a:pt x="2511" y="698"/>
                  </a:lnTo>
                  <a:lnTo>
                    <a:pt x="2511" y="699"/>
                  </a:lnTo>
                  <a:lnTo>
                    <a:pt x="2513" y="699"/>
                  </a:lnTo>
                  <a:lnTo>
                    <a:pt x="2513" y="699"/>
                  </a:lnTo>
                  <a:lnTo>
                    <a:pt x="2513" y="699"/>
                  </a:lnTo>
                  <a:lnTo>
                    <a:pt x="2511" y="700"/>
                  </a:lnTo>
                  <a:lnTo>
                    <a:pt x="2511" y="699"/>
                  </a:lnTo>
                  <a:lnTo>
                    <a:pt x="2511" y="700"/>
                  </a:lnTo>
                  <a:lnTo>
                    <a:pt x="2511" y="701"/>
                  </a:lnTo>
                  <a:lnTo>
                    <a:pt x="2513" y="701"/>
                  </a:lnTo>
                  <a:lnTo>
                    <a:pt x="2513" y="702"/>
                  </a:lnTo>
                  <a:lnTo>
                    <a:pt x="2513" y="702"/>
                  </a:lnTo>
                  <a:lnTo>
                    <a:pt x="2513" y="705"/>
                  </a:lnTo>
                  <a:lnTo>
                    <a:pt x="2513" y="705"/>
                  </a:lnTo>
                  <a:lnTo>
                    <a:pt x="2511" y="706"/>
                  </a:lnTo>
                  <a:lnTo>
                    <a:pt x="2511" y="707"/>
                  </a:lnTo>
                  <a:lnTo>
                    <a:pt x="2513" y="708"/>
                  </a:lnTo>
                  <a:lnTo>
                    <a:pt x="2514" y="709"/>
                  </a:lnTo>
                  <a:lnTo>
                    <a:pt x="2514" y="709"/>
                  </a:lnTo>
                  <a:lnTo>
                    <a:pt x="2514" y="709"/>
                  </a:lnTo>
                  <a:lnTo>
                    <a:pt x="2514" y="710"/>
                  </a:lnTo>
                  <a:lnTo>
                    <a:pt x="2515" y="711"/>
                  </a:lnTo>
                  <a:lnTo>
                    <a:pt x="2516" y="711"/>
                  </a:lnTo>
                  <a:lnTo>
                    <a:pt x="2516" y="712"/>
                  </a:lnTo>
                  <a:lnTo>
                    <a:pt x="2516" y="714"/>
                  </a:lnTo>
                  <a:close/>
                  <a:moveTo>
                    <a:pt x="2524" y="685"/>
                  </a:moveTo>
                  <a:lnTo>
                    <a:pt x="2524" y="686"/>
                  </a:lnTo>
                  <a:lnTo>
                    <a:pt x="2523" y="686"/>
                  </a:lnTo>
                  <a:lnTo>
                    <a:pt x="2523" y="688"/>
                  </a:lnTo>
                  <a:lnTo>
                    <a:pt x="2522" y="688"/>
                  </a:lnTo>
                  <a:lnTo>
                    <a:pt x="2522" y="688"/>
                  </a:lnTo>
                  <a:lnTo>
                    <a:pt x="2522" y="688"/>
                  </a:lnTo>
                  <a:lnTo>
                    <a:pt x="2521" y="688"/>
                  </a:lnTo>
                  <a:lnTo>
                    <a:pt x="2519" y="689"/>
                  </a:lnTo>
                  <a:lnTo>
                    <a:pt x="2519" y="689"/>
                  </a:lnTo>
                  <a:lnTo>
                    <a:pt x="2518" y="689"/>
                  </a:lnTo>
                  <a:lnTo>
                    <a:pt x="2518" y="689"/>
                  </a:lnTo>
                  <a:lnTo>
                    <a:pt x="2517" y="689"/>
                  </a:lnTo>
                  <a:lnTo>
                    <a:pt x="2517" y="689"/>
                  </a:lnTo>
                  <a:lnTo>
                    <a:pt x="2517" y="689"/>
                  </a:lnTo>
                  <a:lnTo>
                    <a:pt x="2517" y="689"/>
                  </a:lnTo>
                  <a:lnTo>
                    <a:pt x="2517" y="688"/>
                  </a:lnTo>
                  <a:lnTo>
                    <a:pt x="2517" y="686"/>
                  </a:lnTo>
                  <a:lnTo>
                    <a:pt x="2517" y="686"/>
                  </a:lnTo>
                  <a:lnTo>
                    <a:pt x="2517" y="685"/>
                  </a:lnTo>
                  <a:lnTo>
                    <a:pt x="2517" y="685"/>
                  </a:lnTo>
                  <a:lnTo>
                    <a:pt x="2516" y="684"/>
                  </a:lnTo>
                  <a:lnTo>
                    <a:pt x="2516" y="684"/>
                  </a:lnTo>
                  <a:lnTo>
                    <a:pt x="2516" y="685"/>
                  </a:lnTo>
                  <a:lnTo>
                    <a:pt x="2516" y="685"/>
                  </a:lnTo>
                  <a:lnTo>
                    <a:pt x="2515" y="685"/>
                  </a:lnTo>
                  <a:lnTo>
                    <a:pt x="2515" y="685"/>
                  </a:lnTo>
                  <a:lnTo>
                    <a:pt x="2514" y="685"/>
                  </a:lnTo>
                  <a:lnTo>
                    <a:pt x="2514" y="685"/>
                  </a:lnTo>
                  <a:lnTo>
                    <a:pt x="2513" y="685"/>
                  </a:lnTo>
                  <a:lnTo>
                    <a:pt x="2513" y="685"/>
                  </a:lnTo>
                  <a:lnTo>
                    <a:pt x="2511" y="684"/>
                  </a:lnTo>
                  <a:lnTo>
                    <a:pt x="2511" y="684"/>
                  </a:lnTo>
                  <a:lnTo>
                    <a:pt x="2510" y="684"/>
                  </a:lnTo>
                  <a:lnTo>
                    <a:pt x="2510" y="684"/>
                  </a:lnTo>
                  <a:lnTo>
                    <a:pt x="2510" y="684"/>
                  </a:lnTo>
                  <a:lnTo>
                    <a:pt x="2509" y="684"/>
                  </a:lnTo>
                  <a:lnTo>
                    <a:pt x="2508" y="684"/>
                  </a:lnTo>
                  <a:lnTo>
                    <a:pt x="2507" y="684"/>
                  </a:lnTo>
                  <a:lnTo>
                    <a:pt x="2507" y="684"/>
                  </a:lnTo>
                  <a:lnTo>
                    <a:pt x="2506" y="683"/>
                  </a:lnTo>
                  <a:lnTo>
                    <a:pt x="2506" y="683"/>
                  </a:lnTo>
                  <a:lnTo>
                    <a:pt x="2506" y="682"/>
                  </a:lnTo>
                  <a:lnTo>
                    <a:pt x="2506" y="681"/>
                  </a:lnTo>
                  <a:lnTo>
                    <a:pt x="2507" y="681"/>
                  </a:lnTo>
                  <a:lnTo>
                    <a:pt x="2507" y="681"/>
                  </a:lnTo>
                  <a:lnTo>
                    <a:pt x="2508" y="680"/>
                  </a:lnTo>
                  <a:lnTo>
                    <a:pt x="2509" y="680"/>
                  </a:lnTo>
                  <a:lnTo>
                    <a:pt x="2509" y="680"/>
                  </a:lnTo>
                  <a:lnTo>
                    <a:pt x="2510" y="680"/>
                  </a:lnTo>
                  <a:lnTo>
                    <a:pt x="2511" y="680"/>
                  </a:lnTo>
                  <a:lnTo>
                    <a:pt x="2511" y="680"/>
                  </a:lnTo>
                  <a:lnTo>
                    <a:pt x="2511" y="681"/>
                  </a:lnTo>
                  <a:lnTo>
                    <a:pt x="2511" y="682"/>
                  </a:lnTo>
                  <a:lnTo>
                    <a:pt x="2511" y="682"/>
                  </a:lnTo>
                  <a:lnTo>
                    <a:pt x="2511" y="683"/>
                  </a:lnTo>
                  <a:lnTo>
                    <a:pt x="2513" y="683"/>
                  </a:lnTo>
                  <a:lnTo>
                    <a:pt x="2513" y="682"/>
                  </a:lnTo>
                  <a:lnTo>
                    <a:pt x="2513" y="682"/>
                  </a:lnTo>
                  <a:lnTo>
                    <a:pt x="2513" y="681"/>
                  </a:lnTo>
                  <a:lnTo>
                    <a:pt x="2513" y="681"/>
                  </a:lnTo>
                  <a:lnTo>
                    <a:pt x="2514" y="681"/>
                  </a:lnTo>
                  <a:lnTo>
                    <a:pt x="2514" y="682"/>
                  </a:lnTo>
                  <a:lnTo>
                    <a:pt x="2515" y="681"/>
                  </a:lnTo>
                  <a:lnTo>
                    <a:pt x="2515" y="681"/>
                  </a:lnTo>
                  <a:lnTo>
                    <a:pt x="2516" y="681"/>
                  </a:lnTo>
                  <a:lnTo>
                    <a:pt x="2517" y="680"/>
                  </a:lnTo>
                  <a:lnTo>
                    <a:pt x="2517" y="680"/>
                  </a:lnTo>
                  <a:lnTo>
                    <a:pt x="2516" y="680"/>
                  </a:lnTo>
                  <a:lnTo>
                    <a:pt x="2515" y="678"/>
                  </a:lnTo>
                  <a:lnTo>
                    <a:pt x="2514" y="678"/>
                  </a:lnTo>
                  <a:lnTo>
                    <a:pt x="2514" y="677"/>
                  </a:lnTo>
                  <a:lnTo>
                    <a:pt x="2515" y="677"/>
                  </a:lnTo>
                  <a:lnTo>
                    <a:pt x="2516" y="678"/>
                  </a:lnTo>
                  <a:lnTo>
                    <a:pt x="2516" y="678"/>
                  </a:lnTo>
                  <a:lnTo>
                    <a:pt x="2517" y="678"/>
                  </a:lnTo>
                  <a:lnTo>
                    <a:pt x="2517" y="678"/>
                  </a:lnTo>
                  <a:lnTo>
                    <a:pt x="2517" y="680"/>
                  </a:lnTo>
                  <a:lnTo>
                    <a:pt x="2517" y="680"/>
                  </a:lnTo>
                  <a:lnTo>
                    <a:pt x="2517" y="682"/>
                  </a:lnTo>
                  <a:lnTo>
                    <a:pt x="2517" y="682"/>
                  </a:lnTo>
                  <a:lnTo>
                    <a:pt x="2518" y="683"/>
                  </a:lnTo>
                  <a:lnTo>
                    <a:pt x="2518" y="683"/>
                  </a:lnTo>
                  <a:lnTo>
                    <a:pt x="2518" y="683"/>
                  </a:lnTo>
                  <a:lnTo>
                    <a:pt x="2519" y="683"/>
                  </a:lnTo>
                  <a:lnTo>
                    <a:pt x="2521" y="683"/>
                  </a:lnTo>
                  <a:lnTo>
                    <a:pt x="2522" y="683"/>
                  </a:lnTo>
                  <a:lnTo>
                    <a:pt x="2522" y="683"/>
                  </a:lnTo>
                  <a:lnTo>
                    <a:pt x="2523" y="683"/>
                  </a:lnTo>
                  <a:lnTo>
                    <a:pt x="2523" y="683"/>
                  </a:lnTo>
                  <a:lnTo>
                    <a:pt x="2524" y="683"/>
                  </a:lnTo>
                  <a:lnTo>
                    <a:pt x="2524" y="683"/>
                  </a:lnTo>
                  <a:lnTo>
                    <a:pt x="2524" y="683"/>
                  </a:lnTo>
                  <a:lnTo>
                    <a:pt x="2524" y="685"/>
                  </a:lnTo>
                  <a:close/>
                  <a:moveTo>
                    <a:pt x="2767" y="680"/>
                  </a:moveTo>
                  <a:lnTo>
                    <a:pt x="2767" y="682"/>
                  </a:lnTo>
                  <a:lnTo>
                    <a:pt x="2765" y="684"/>
                  </a:lnTo>
                  <a:lnTo>
                    <a:pt x="2760" y="683"/>
                  </a:lnTo>
                  <a:lnTo>
                    <a:pt x="2754" y="685"/>
                  </a:lnTo>
                  <a:lnTo>
                    <a:pt x="2752" y="683"/>
                  </a:lnTo>
                  <a:lnTo>
                    <a:pt x="2749" y="683"/>
                  </a:lnTo>
                  <a:lnTo>
                    <a:pt x="2744" y="682"/>
                  </a:lnTo>
                  <a:lnTo>
                    <a:pt x="2739" y="683"/>
                  </a:lnTo>
                  <a:lnTo>
                    <a:pt x="2737" y="682"/>
                  </a:lnTo>
                  <a:lnTo>
                    <a:pt x="2731" y="681"/>
                  </a:lnTo>
                  <a:lnTo>
                    <a:pt x="2722" y="682"/>
                  </a:lnTo>
                  <a:lnTo>
                    <a:pt x="2719" y="683"/>
                  </a:lnTo>
                  <a:lnTo>
                    <a:pt x="2718" y="680"/>
                  </a:lnTo>
                  <a:lnTo>
                    <a:pt x="2717" y="683"/>
                  </a:lnTo>
                  <a:lnTo>
                    <a:pt x="2712" y="684"/>
                  </a:lnTo>
                  <a:lnTo>
                    <a:pt x="2710" y="684"/>
                  </a:lnTo>
                  <a:lnTo>
                    <a:pt x="2710" y="686"/>
                  </a:lnTo>
                  <a:lnTo>
                    <a:pt x="2706" y="690"/>
                  </a:lnTo>
                  <a:lnTo>
                    <a:pt x="2704" y="690"/>
                  </a:lnTo>
                  <a:lnTo>
                    <a:pt x="2702" y="692"/>
                  </a:lnTo>
                  <a:lnTo>
                    <a:pt x="2702" y="697"/>
                  </a:lnTo>
                  <a:lnTo>
                    <a:pt x="2698" y="699"/>
                  </a:lnTo>
                  <a:lnTo>
                    <a:pt x="2698" y="701"/>
                  </a:lnTo>
                  <a:lnTo>
                    <a:pt x="2701" y="702"/>
                  </a:lnTo>
                  <a:lnTo>
                    <a:pt x="2700" y="708"/>
                  </a:lnTo>
                  <a:lnTo>
                    <a:pt x="2698" y="708"/>
                  </a:lnTo>
                  <a:lnTo>
                    <a:pt x="2698" y="707"/>
                  </a:lnTo>
                  <a:lnTo>
                    <a:pt x="2697" y="703"/>
                  </a:lnTo>
                  <a:lnTo>
                    <a:pt x="2693" y="699"/>
                  </a:lnTo>
                  <a:lnTo>
                    <a:pt x="2692" y="695"/>
                  </a:lnTo>
                  <a:lnTo>
                    <a:pt x="2693" y="693"/>
                  </a:lnTo>
                  <a:lnTo>
                    <a:pt x="2694" y="691"/>
                  </a:lnTo>
                  <a:lnTo>
                    <a:pt x="2693" y="688"/>
                  </a:lnTo>
                  <a:lnTo>
                    <a:pt x="2695" y="686"/>
                  </a:lnTo>
                  <a:lnTo>
                    <a:pt x="2697" y="685"/>
                  </a:lnTo>
                  <a:lnTo>
                    <a:pt x="2700" y="683"/>
                  </a:lnTo>
                  <a:lnTo>
                    <a:pt x="2702" y="682"/>
                  </a:lnTo>
                  <a:lnTo>
                    <a:pt x="2705" y="681"/>
                  </a:lnTo>
                  <a:lnTo>
                    <a:pt x="2706" y="677"/>
                  </a:lnTo>
                  <a:lnTo>
                    <a:pt x="2711" y="676"/>
                  </a:lnTo>
                  <a:lnTo>
                    <a:pt x="2712" y="677"/>
                  </a:lnTo>
                  <a:lnTo>
                    <a:pt x="2717" y="678"/>
                  </a:lnTo>
                  <a:lnTo>
                    <a:pt x="2722" y="677"/>
                  </a:lnTo>
                  <a:lnTo>
                    <a:pt x="2726" y="677"/>
                  </a:lnTo>
                  <a:lnTo>
                    <a:pt x="2728" y="676"/>
                  </a:lnTo>
                  <a:lnTo>
                    <a:pt x="2730" y="680"/>
                  </a:lnTo>
                  <a:lnTo>
                    <a:pt x="2738" y="680"/>
                  </a:lnTo>
                  <a:lnTo>
                    <a:pt x="2741" y="681"/>
                  </a:lnTo>
                  <a:lnTo>
                    <a:pt x="2744" y="680"/>
                  </a:lnTo>
                  <a:lnTo>
                    <a:pt x="2750" y="678"/>
                  </a:lnTo>
                  <a:lnTo>
                    <a:pt x="2756" y="682"/>
                  </a:lnTo>
                  <a:lnTo>
                    <a:pt x="2762" y="677"/>
                  </a:lnTo>
                  <a:lnTo>
                    <a:pt x="2764" y="680"/>
                  </a:lnTo>
                  <a:lnTo>
                    <a:pt x="2765" y="677"/>
                  </a:lnTo>
                  <a:lnTo>
                    <a:pt x="2769" y="676"/>
                  </a:lnTo>
                  <a:lnTo>
                    <a:pt x="2770" y="680"/>
                  </a:lnTo>
                  <a:lnTo>
                    <a:pt x="2767" y="680"/>
                  </a:lnTo>
                  <a:close/>
                  <a:moveTo>
                    <a:pt x="3189" y="518"/>
                  </a:moveTo>
                  <a:lnTo>
                    <a:pt x="3189" y="520"/>
                  </a:lnTo>
                  <a:lnTo>
                    <a:pt x="3188" y="526"/>
                  </a:lnTo>
                  <a:lnTo>
                    <a:pt x="3188" y="528"/>
                  </a:lnTo>
                  <a:lnTo>
                    <a:pt x="3185" y="534"/>
                  </a:lnTo>
                  <a:lnTo>
                    <a:pt x="3184" y="537"/>
                  </a:lnTo>
                  <a:lnTo>
                    <a:pt x="3184" y="541"/>
                  </a:lnTo>
                  <a:lnTo>
                    <a:pt x="3185" y="545"/>
                  </a:lnTo>
                  <a:lnTo>
                    <a:pt x="3183" y="547"/>
                  </a:lnTo>
                  <a:lnTo>
                    <a:pt x="3181" y="549"/>
                  </a:lnTo>
                  <a:lnTo>
                    <a:pt x="3180" y="553"/>
                  </a:lnTo>
                  <a:lnTo>
                    <a:pt x="3178" y="554"/>
                  </a:lnTo>
                  <a:lnTo>
                    <a:pt x="3178" y="552"/>
                  </a:lnTo>
                  <a:lnTo>
                    <a:pt x="3175" y="551"/>
                  </a:lnTo>
                  <a:lnTo>
                    <a:pt x="3171" y="556"/>
                  </a:lnTo>
                  <a:lnTo>
                    <a:pt x="3174" y="555"/>
                  </a:lnTo>
                  <a:lnTo>
                    <a:pt x="3176" y="556"/>
                  </a:lnTo>
                  <a:lnTo>
                    <a:pt x="3178" y="558"/>
                  </a:lnTo>
                  <a:lnTo>
                    <a:pt x="3174" y="561"/>
                  </a:lnTo>
                  <a:lnTo>
                    <a:pt x="3172" y="561"/>
                  </a:lnTo>
                  <a:lnTo>
                    <a:pt x="3168" y="563"/>
                  </a:lnTo>
                  <a:lnTo>
                    <a:pt x="3167" y="566"/>
                  </a:lnTo>
                  <a:lnTo>
                    <a:pt x="3163" y="570"/>
                  </a:lnTo>
                  <a:lnTo>
                    <a:pt x="3159" y="571"/>
                  </a:lnTo>
                  <a:lnTo>
                    <a:pt x="3157" y="572"/>
                  </a:lnTo>
                  <a:lnTo>
                    <a:pt x="3151" y="574"/>
                  </a:lnTo>
                  <a:lnTo>
                    <a:pt x="3149" y="575"/>
                  </a:lnTo>
                  <a:lnTo>
                    <a:pt x="3147" y="579"/>
                  </a:lnTo>
                  <a:lnTo>
                    <a:pt x="3145" y="578"/>
                  </a:lnTo>
                  <a:lnTo>
                    <a:pt x="3141" y="578"/>
                  </a:lnTo>
                  <a:lnTo>
                    <a:pt x="3140" y="579"/>
                  </a:lnTo>
                  <a:lnTo>
                    <a:pt x="3140" y="580"/>
                  </a:lnTo>
                  <a:lnTo>
                    <a:pt x="3140" y="581"/>
                  </a:lnTo>
                  <a:lnTo>
                    <a:pt x="3137" y="587"/>
                  </a:lnTo>
                  <a:lnTo>
                    <a:pt x="3134" y="589"/>
                  </a:lnTo>
                  <a:lnTo>
                    <a:pt x="3122" y="592"/>
                  </a:lnTo>
                  <a:lnTo>
                    <a:pt x="3120" y="594"/>
                  </a:lnTo>
                  <a:lnTo>
                    <a:pt x="3115" y="594"/>
                  </a:lnTo>
                  <a:lnTo>
                    <a:pt x="3107" y="591"/>
                  </a:lnTo>
                  <a:lnTo>
                    <a:pt x="3110" y="589"/>
                  </a:lnTo>
                  <a:lnTo>
                    <a:pt x="3115" y="588"/>
                  </a:lnTo>
                  <a:lnTo>
                    <a:pt x="3117" y="588"/>
                  </a:lnTo>
                  <a:lnTo>
                    <a:pt x="3120" y="587"/>
                  </a:lnTo>
                  <a:lnTo>
                    <a:pt x="3122" y="587"/>
                  </a:lnTo>
                  <a:lnTo>
                    <a:pt x="3125" y="586"/>
                  </a:lnTo>
                  <a:lnTo>
                    <a:pt x="3131" y="582"/>
                  </a:lnTo>
                  <a:lnTo>
                    <a:pt x="3134" y="577"/>
                  </a:lnTo>
                  <a:lnTo>
                    <a:pt x="3137" y="574"/>
                  </a:lnTo>
                  <a:lnTo>
                    <a:pt x="3142" y="572"/>
                  </a:lnTo>
                  <a:lnTo>
                    <a:pt x="3145" y="570"/>
                  </a:lnTo>
                  <a:lnTo>
                    <a:pt x="3148" y="566"/>
                  </a:lnTo>
                  <a:lnTo>
                    <a:pt x="3148" y="564"/>
                  </a:lnTo>
                  <a:lnTo>
                    <a:pt x="3150" y="562"/>
                  </a:lnTo>
                  <a:lnTo>
                    <a:pt x="3156" y="558"/>
                  </a:lnTo>
                  <a:lnTo>
                    <a:pt x="3161" y="553"/>
                  </a:lnTo>
                  <a:lnTo>
                    <a:pt x="3165" y="549"/>
                  </a:lnTo>
                  <a:lnTo>
                    <a:pt x="3168" y="544"/>
                  </a:lnTo>
                  <a:lnTo>
                    <a:pt x="3171" y="541"/>
                  </a:lnTo>
                  <a:lnTo>
                    <a:pt x="3171" y="539"/>
                  </a:lnTo>
                  <a:lnTo>
                    <a:pt x="3173" y="537"/>
                  </a:lnTo>
                  <a:lnTo>
                    <a:pt x="3174" y="535"/>
                  </a:lnTo>
                  <a:lnTo>
                    <a:pt x="3176" y="529"/>
                  </a:lnTo>
                  <a:lnTo>
                    <a:pt x="3180" y="526"/>
                  </a:lnTo>
                  <a:lnTo>
                    <a:pt x="3180" y="523"/>
                  </a:lnTo>
                  <a:lnTo>
                    <a:pt x="3180" y="520"/>
                  </a:lnTo>
                  <a:lnTo>
                    <a:pt x="3181" y="518"/>
                  </a:lnTo>
                  <a:lnTo>
                    <a:pt x="3185" y="513"/>
                  </a:lnTo>
                  <a:lnTo>
                    <a:pt x="3189" y="514"/>
                  </a:lnTo>
                  <a:lnTo>
                    <a:pt x="3185" y="513"/>
                  </a:lnTo>
                  <a:lnTo>
                    <a:pt x="3189" y="513"/>
                  </a:lnTo>
                  <a:lnTo>
                    <a:pt x="3190" y="514"/>
                  </a:lnTo>
                  <a:lnTo>
                    <a:pt x="3189"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grpSp>
      <p:sp>
        <p:nvSpPr>
          <p:cNvPr id="241" name="Title 240">
            <a:extLst>
              <a:ext uri="{FF2B5EF4-FFF2-40B4-BE49-F238E27FC236}">
                <a16:creationId xmlns:a16="http://schemas.microsoft.com/office/drawing/2014/main" id="{82D168D6-EADB-4AA6-9E21-9C447B64292D}"/>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242" name="Subtitle">
            <a:extLst>
              <a:ext uri="{FF2B5EF4-FFF2-40B4-BE49-F238E27FC236}">
                <a16:creationId xmlns:a16="http://schemas.microsoft.com/office/drawing/2014/main" id="{DEC3C07B-0704-4696-ABC2-7896E1EDC7F4}"/>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bg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975154365"/>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World Map">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F33CEA-3497-4750-99C5-F50E646AFA66}"/>
              </a:ext>
            </a:extLst>
          </p:cNvPr>
          <p:cNvSpPr>
            <a:spLocks noGrp="1"/>
          </p:cNvSpPr>
          <p:nvPr>
            <p:ph type="ftr" sz="quarter" idx="10"/>
          </p:nvPr>
        </p:nvSpPr>
        <p:spPr/>
        <p:txBody>
          <a:bodyPr/>
          <a:lstStyle/>
          <a:p>
            <a:r>
              <a:rPr lang="en-AU"/>
              <a:t>Copyright © 2022 Accenture. All rights reserved.</a:t>
            </a:r>
            <a:endParaRPr lang="en-GB"/>
          </a:p>
        </p:txBody>
      </p:sp>
      <p:sp>
        <p:nvSpPr>
          <p:cNvPr id="4" name="Slide Number Placeholder 3">
            <a:extLst>
              <a:ext uri="{FF2B5EF4-FFF2-40B4-BE49-F238E27FC236}">
                <a16:creationId xmlns:a16="http://schemas.microsoft.com/office/drawing/2014/main" id="{5DBF6CEE-C791-4DB6-8409-D21313778C07}"/>
              </a:ext>
            </a:extLst>
          </p:cNvPr>
          <p:cNvSpPr>
            <a:spLocks noGrp="1"/>
          </p:cNvSpPr>
          <p:nvPr>
            <p:ph type="sldNum" sz="quarter" idx="11"/>
          </p:nvPr>
        </p:nvSpPr>
        <p:spPr/>
        <p:txBody>
          <a:bodyPr/>
          <a:lstStyle/>
          <a:p>
            <a:fld id="{EF2F7A32-C1EA-4F7E-B0A2-7FCB5BFE90DE}" type="slidenum">
              <a:rPr lang="en-AU" smtClean="0"/>
              <a:pPr/>
              <a:t>‹#›</a:t>
            </a:fld>
            <a:endParaRPr lang="en-AU"/>
          </a:p>
        </p:txBody>
      </p:sp>
      <p:grpSp>
        <p:nvGrpSpPr>
          <p:cNvPr id="5" name="Group 4">
            <a:extLst>
              <a:ext uri="{FF2B5EF4-FFF2-40B4-BE49-F238E27FC236}">
                <a16:creationId xmlns:a16="http://schemas.microsoft.com/office/drawing/2014/main" id="{40B94006-176E-4431-92B8-C480F62A93B6}"/>
              </a:ext>
            </a:extLst>
          </p:cNvPr>
          <p:cNvGrpSpPr/>
          <p:nvPr userDrawn="1"/>
        </p:nvGrpSpPr>
        <p:grpSpPr>
          <a:xfrm>
            <a:off x="2200386" y="1926779"/>
            <a:ext cx="7788059" cy="3824990"/>
            <a:chOff x="2197101" y="1982788"/>
            <a:chExt cx="7789861" cy="3825875"/>
          </a:xfrm>
          <a:solidFill>
            <a:schemeClr val="accent4"/>
          </a:solidFill>
        </p:grpSpPr>
        <p:grpSp>
          <p:nvGrpSpPr>
            <p:cNvPr id="6" name="Group 206">
              <a:extLst>
                <a:ext uri="{FF2B5EF4-FFF2-40B4-BE49-F238E27FC236}">
                  <a16:creationId xmlns:a16="http://schemas.microsoft.com/office/drawing/2014/main" id="{3CD1D97C-D503-48EE-8631-170BE90A0456}"/>
                </a:ext>
              </a:extLst>
            </p:cNvPr>
            <p:cNvGrpSpPr>
              <a:grpSpLocks/>
            </p:cNvGrpSpPr>
            <p:nvPr/>
          </p:nvGrpSpPr>
          <p:grpSpPr bwMode="auto">
            <a:xfrm>
              <a:off x="2882900" y="1997075"/>
              <a:ext cx="6932612" cy="3551238"/>
              <a:chOff x="1816" y="1258"/>
              <a:chExt cx="4367" cy="2237"/>
            </a:xfrm>
            <a:grpFill/>
          </p:grpSpPr>
          <p:sp>
            <p:nvSpPr>
              <p:cNvPr id="40" name="Freeform 6">
                <a:extLst>
                  <a:ext uri="{FF2B5EF4-FFF2-40B4-BE49-F238E27FC236}">
                    <a16:creationId xmlns:a16="http://schemas.microsoft.com/office/drawing/2014/main" id="{47D238CD-E39E-45CE-9C6A-2431846B9E4A}"/>
                  </a:ext>
                </a:extLst>
              </p:cNvPr>
              <p:cNvSpPr>
                <a:spLocks/>
              </p:cNvSpPr>
              <p:nvPr/>
            </p:nvSpPr>
            <p:spPr bwMode="auto">
              <a:xfrm>
                <a:off x="1816" y="1905"/>
                <a:ext cx="1" cy="3"/>
              </a:xfrm>
              <a:custGeom>
                <a:avLst/>
                <a:gdLst>
                  <a:gd name="T0" fmla="*/ 0 w 1"/>
                  <a:gd name="T1" fmla="*/ 0 h 3"/>
                  <a:gd name="T2" fmla="*/ 0 w 1"/>
                  <a:gd name="T3" fmla="*/ 0 h 3"/>
                  <a:gd name="T4" fmla="*/ 1 w 1"/>
                  <a:gd name="T5" fmla="*/ 3 h 3"/>
                  <a:gd name="T6" fmla="*/ 0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lnTo>
                      <a:pt x="0" y="0"/>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1" name="Freeform 7">
                <a:extLst>
                  <a:ext uri="{FF2B5EF4-FFF2-40B4-BE49-F238E27FC236}">
                    <a16:creationId xmlns:a16="http://schemas.microsoft.com/office/drawing/2014/main" id="{4AFD66C5-C7E6-40CD-95E8-6D987AFC873E}"/>
                  </a:ext>
                </a:extLst>
              </p:cNvPr>
              <p:cNvSpPr>
                <a:spLocks/>
              </p:cNvSpPr>
              <p:nvPr/>
            </p:nvSpPr>
            <p:spPr bwMode="auto">
              <a:xfrm>
                <a:off x="1817" y="1903"/>
                <a:ext cx="21" cy="17"/>
              </a:xfrm>
              <a:custGeom>
                <a:avLst/>
                <a:gdLst>
                  <a:gd name="T0" fmla="*/ 9 w 21"/>
                  <a:gd name="T1" fmla="*/ 15 h 17"/>
                  <a:gd name="T2" fmla="*/ 5 w 21"/>
                  <a:gd name="T3" fmla="*/ 13 h 17"/>
                  <a:gd name="T4" fmla="*/ 8 w 21"/>
                  <a:gd name="T5" fmla="*/ 17 h 17"/>
                  <a:gd name="T6" fmla="*/ 10 w 21"/>
                  <a:gd name="T7" fmla="*/ 15 h 17"/>
                  <a:gd name="T8" fmla="*/ 11 w 21"/>
                  <a:gd name="T9" fmla="*/ 13 h 17"/>
                  <a:gd name="T10" fmla="*/ 9 w 21"/>
                  <a:gd name="T11" fmla="*/ 11 h 17"/>
                  <a:gd name="T12" fmla="*/ 11 w 21"/>
                  <a:gd name="T13" fmla="*/ 11 h 17"/>
                  <a:gd name="T14" fmla="*/ 17 w 21"/>
                  <a:gd name="T15" fmla="*/ 13 h 17"/>
                  <a:gd name="T16" fmla="*/ 19 w 21"/>
                  <a:gd name="T17" fmla="*/ 14 h 17"/>
                  <a:gd name="T18" fmla="*/ 21 w 21"/>
                  <a:gd name="T19" fmla="*/ 12 h 17"/>
                  <a:gd name="T20" fmla="*/ 20 w 21"/>
                  <a:gd name="T21" fmla="*/ 10 h 17"/>
                  <a:gd name="T22" fmla="*/ 14 w 21"/>
                  <a:gd name="T23" fmla="*/ 10 h 17"/>
                  <a:gd name="T24" fmla="*/ 12 w 21"/>
                  <a:gd name="T25" fmla="*/ 8 h 17"/>
                  <a:gd name="T26" fmla="*/ 7 w 21"/>
                  <a:gd name="T27" fmla="*/ 4 h 17"/>
                  <a:gd name="T28" fmla="*/ 14 w 21"/>
                  <a:gd name="T29" fmla="*/ 8 h 17"/>
                  <a:gd name="T30" fmla="*/ 18 w 21"/>
                  <a:gd name="T31" fmla="*/ 9 h 17"/>
                  <a:gd name="T32" fmla="*/ 17 w 21"/>
                  <a:gd name="T33" fmla="*/ 5 h 17"/>
                  <a:gd name="T34" fmla="*/ 19 w 21"/>
                  <a:gd name="T35" fmla="*/ 6 h 17"/>
                  <a:gd name="T36" fmla="*/ 20 w 21"/>
                  <a:gd name="T37" fmla="*/ 4 h 17"/>
                  <a:gd name="T38" fmla="*/ 17 w 21"/>
                  <a:gd name="T39" fmla="*/ 2 h 17"/>
                  <a:gd name="T40" fmla="*/ 14 w 21"/>
                  <a:gd name="T41" fmla="*/ 2 h 17"/>
                  <a:gd name="T42" fmla="*/ 9 w 21"/>
                  <a:gd name="T43" fmla="*/ 4 h 17"/>
                  <a:gd name="T44" fmla="*/ 12 w 21"/>
                  <a:gd name="T45" fmla="*/ 2 h 17"/>
                  <a:gd name="T46" fmla="*/ 9 w 21"/>
                  <a:gd name="T47" fmla="*/ 0 h 17"/>
                  <a:gd name="T48" fmla="*/ 4 w 21"/>
                  <a:gd name="T49" fmla="*/ 0 h 17"/>
                  <a:gd name="T50" fmla="*/ 3 w 21"/>
                  <a:gd name="T51" fmla="*/ 2 h 17"/>
                  <a:gd name="T52" fmla="*/ 1 w 21"/>
                  <a:gd name="T53" fmla="*/ 0 h 17"/>
                  <a:gd name="T54" fmla="*/ 0 w 21"/>
                  <a:gd name="T55" fmla="*/ 2 h 17"/>
                  <a:gd name="T56" fmla="*/ 2 w 21"/>
                  <a:gd name="T57" fmla="*/ 5 h 17"/>
                  <a:gd name="T58" fmla="*/ 0 w 21"/>
                  <a:gd name="T59" fmla="*/ 8 h 17"/>
                  <a:gd name="T60" fmla="*/ 2 w 21"/>
                  <a:gd name="T61" fmla="*/ 9 h 17"/>
                  <a:gd name="T62" fmla="*/ 4 w 21"/>
                  <a:gd name="T63" fmla="*/ 12 h 17"/>
                  <a:gd name="T64" fmla="*/ 9 w 21"/>
                  <a:gd name="T65" fmla="*/ 15 h 17"/>
                  <a:gd name="T66" fmla="*/ 9 w 21"/>
                  <a:gd name="T6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7">
                    <a:moveTo>
                      <a:pt x="9" y="15"/>
                    </a:moveTo>
                    <a:lnTo>
                      <a:pt x="5" y="13"/>
                    </a:lnTo>
                    <a:lnTo>
                      <a:pt x="8" y="17"/>
                    </a:lnTo>
                    <a:lnTo>
                      <a:pt x="10" y="15"/>
                    </a:lnTo>
                    <a:lnTo>
                      <a:pt x="11" y="13"/>
                    </a:lnTo>
                    <a:lnTo>
                      <a:pt x="9" y="11"/>
                    </a:lnTo>
                    <a:lnTo>
                      <a:pt x="11" y="11"/>
                    </a:lnTo>
                    <a:lnTo>
                      <a:pt x="17" y="13"/>
                    </a:lnTo>
                    <a:lnTo>
                      <a:pt x="19" y="14"/>
                    </a:lnTo>
                    <a:lnTo>
                      <a:pt x="21" y="12"/>
                    </a:lnTo>
                    <a:lnTo>
                      <a:pt x="20" y="10"/>
                    </a:lnTo>
                    <a:lnTo>
                      <a:pt x="14" y="10"/>
                    </a:lnTo>
                    <a:lnTo>
                      <a:pt x="12" y="8"/>
                    </a:lnTo>
                    <a:lnTo>
                      <a:pt x="7" y="4"/>
                    </a:lnTo>
                    <a:lnTo>
                      <a:pt x="14" y="8"/>
                    </a:lnTo>
                    <a:lnTo>
                      <a:pt x="18" y="9"/>
                    </a:lnTo>
                    <a:lnTo>
                      <a:pt x="17" y="5"/>
                    </a:lnTo>
                    <a:lnTo>
                      <a:pt x="19" y="6"/>
                    </a:lnTo>
                    <a:lnTo>
                      <a:pt x="20" y="4"/>
                    </a:lnTo>
                    <a:lnTo>
                      <a:pt x="17" y="2"/>
                    </a:lnTo>
                    <a:lnTo>
                      <a:pt x="14" y="2"/>
                    </a:lnTo>
                    <a:lnTo>
                      <a:pt x="9" y="4"/>
                    </a:lnTo>
                    <a:lnTo>
                      <a:pt x="12" y="2"/>
                    </a:lnTo>
                    <a:lnTo>
                      <a:pt x="9" y="0"/>
                    </a:lnTo>
                    <a:lnTo>
                      <a:pt x="4" y="0"/>
                    </a:lnTo>
                    <a:lnTo>
                      <a:pt x="3" y="2"/>
                    </a:lnTo>
                    <a:lnTo>
                      <a:pt x="1" y="0"/>
                    </a:lnTo>
                    <a:lnTo>
                      <a:pt x="0" y="2"/>
                    </a:lnTo>
                    <a:lnTo>
                      <a:pt x="2" y="5"/>
                    </a:lnTo>
                    <a:lnTo>
                      <a:pt x="0" y="8"/>
                    </a:lnTo>
                    <a:lnTo>
                      <a:pt x="2" y="9"/>
                    </a:lnTo>
                    <a:lnTo>
                      <a:pt x="4" y="12"/>
                    </a:lnTo>
                    <a:lnTo>
                      <a:pt x="9" y="15"/>
                    </a:lnTo>
                    <a:lnTo>
                      <a:pt x="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2" name="Freeform 8">
                <a:extLst>
                  <a:ext uri="{FF2B5EF4-FFF2-40B4-BE49-F238E27FC236}">
                    <a16:creationId xmlns:a16="http://schemas.microsoft.com/office/drawing/2014/main" id="{22537EA4-925F-42CE-8562-95E79AC4CF72}"/>
                  </a:ext>
                </a:extLst>
              </p:cNvPr>
              <p:cNvSpPr>
                <a:spLocks/>
              </p:cNvSpPr>
              <p:nvPr/>
            </p:nvSpPr>
            <p:spPr bwMode="auto">
              <a:xfrm>
                <a:off x="1828" y="1917"/>
                <a:ext cx="14" cy="24"/>
              </a:xfrm>
              <a:custGeom>
                <a:avLst/>
                <a:gdLst>
                  <a:gd name="T0" fmla="*/ 7 w 14"/>
                  <a:gd name="T1" fmla="*/ 17 h 24"/>
                  <a:gd name="T2" fmla="*/ 9 w 14"/>
                  <a:gd name="T3" fmla="*/ 16 h 24"/>
                  <a:gd name="T4" fmla="*/ 8 w 14"/>
                  <a:gd name="T5" fmla="*/ 18 h 24"/>
                  <a:gd name="T6" fmla="*/ 10 w 14"/>
                  <a:gd name="T7" fmla="*/ 24 h 24"/>
                  <a:gd name="T8" fmla="*/ 14 w 14"/>
                  <a:gd name="T9" fmla="*/ 22 h 24"/>
                  <a:gd name="T10" fmla="*/ 12 w 14"/>
                  <a:gd name="T11" fmla="*/ 18 h 24"/>
                  <a:gd name="T12" fmla="*/ 14 w 14"/>
                  <a:gd name="T13" fmla="*/ 16 h 24"/>
                  <a:gd name="T14" fmla="*/ 10 w 14"/>
                  <a:gd name="T15" fmla="*/ 5 h 24"/>
                  <a:gd name="T16" fmla="*/ 9 w 14"/>
                  <a:gd name="T17" fmla="*/ 3 h 24"/>
                  <a:gd name="T18" fmla="*/ 6 w 14"/>
                  <a:gd name="T19" fmla="*/ 1 h 24"/>
                  <a:gd name="T20" fmla="*/ 3 w 14"/>
                  <a:gd name="T21" fmla="*/ 0 h 24"/>
                  <a:gd name="T22" fmla="*/ 0 w 14"/>
                  <a:gd name="T23" fmla="*/ 1 h 24"/>
                  <a:gd name="T24" fmla="*/ 0 w 14"/>
                  <a:gd name="T25" fmla="*/ 4 h 24"/>
                  <a:gd name="T26" fmla="*/ 2 w 14"/>
                  <a:gd name="T27" fmla="*/ 5 h 24"/>
                  <a:gd name="T28" fmla="*/ 2 w 14"/>
                  <a:gd name="T29" fmla="*/ 7 h 24"/>
                  <a:gd name="T30" fmla="*/ 6 w 14"/>
                  <a:gd name="T31" fmla="*/ 9 h 24"/>
                  <a:gd name="T32" fmla="*/ 2 w 14"/>
                  <a:gd name="T33" fmla="*/ 11 h 24"/>
                  <a:gd name="T34" fmla="*/ 3 w 14"/>
                  <a:gd name="T35" fmla="*/ 14 h 24"/>
                  <a:gd name="T36" fmla="*/ 6 w 14"/>
                  <a:gd name="T37" fmla="*/ 13 h 24"/>
                  <a:gd name="T38" fmla="*/ 6 w 14"/>
                  <a:gd name="T39" fmla="*/ 16 h 24"/>
                  <a:gd name="T40" fmla="*/ 8 w 14"/>
                  <a:gd name="T41" fmla="*/ 14 h 24"/>
                  <a:gd name="T42" fmla="*/ 6 w 14"/>
                  <a:gd name="T43" fmla="*/ 17 h 24"/>
                  <a:gd name="T44" fmla="*/ 7 w 14"/>
                  <a:gd name="T45" fmla="*/ 17 h 24"/>
                  <a:gd name="T46" fmla="*/ 7 w 14"/>
                  <a:gd name="T47"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4">
                    <a:moveTo>
                      <a:pt x="7" y="17"/>
                    </a:moveTo>
                    <a:lnTo>
                      <a:pt x="9" y="16"/>
                    </a:lnTo>
                    <a:lnTo>
                      <a:pt x="8" y="18"/>
                    </a:lnTo>
                    <a:lnTo>
                      <a:pt x="10" y="24"/>
                    </a:lnTo>
                    <a:lnTo>
                      <a:pt x="14" y="22"/>
                    </a:lnTo>
                    <a:lnTo>
                      <a:pt x="12" y="18"/>
                    </a:lnTo>
                    <a:lnTo>
                      <a:pt x="14" y="16"/>
                    </a:lnTo>
                    <a:lnTo>
                      <a:pt x="10" y="5"/>
                    </a:lnTo>
                    <a:lnTo>
                      <a:pt x="9" y="3"/>
                    </a:lnTo>
                    <a:lnTo>
                      <a:pt x="6" y="1"/>
                    </a:lnTo>
                    <a:lnTo>
                      <a:pt x="3" y="0"/>
                    </a:lnTo>
                    <a:lnTo>
                      <a:pt x="0" y="1"/>
                    </a:lnTo>
                    <a:lnTo>
                      <a:pt x="0" y="4"/>
                    </a:lnTo>
                    <a:lnTo>
                      <a:pt x="2" y="5"/>
                    </a:lnTo>
                    <a:lnTo>
                      <a:pt x="2" y="7"/>
                    </a:lnTo>
                    <a:lnTo>
                      <a:pt x="6" y="9"/>
                    </a:lnTo>
                    <a:lnTo>
                      <a:pt x="2" y="11"/>
                    </a:lnTo>
                    <a:lnTo>
                      <a:pt x="3" y="14"/>
                    </a:lnTo>
                    <a:lnTo>
                      <a:pt x="6" y="13"/>
                    </a:lnTo>
                    <a:lnTo>
                      <a:pt x="6" y="16"/>
                    </a:lnTo>
                    <a:lnTo>
                      <a:pt x="8" y="14"/>
                    </a:lnTo>
                    <a:lnTo>
                      <a:pt x="6" y="17"/>
                    </a:lnTo>
                    <a:lnTo>
                      <a:pt x="7" y="17"/>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3" name="Freeform 9">
                <a:extLst>
                  <a:ext uri="{FF2B5EF4-FFF2-40B4-BE49-F238E27FC236}">
                    <a16:creationId xmlns:a16="http://schemas.microsoft.com/office/drawing/2014/main" id="{E76420E8-2814-41DA-AF0B-93B402EC73D3}"/>
                  </a:ext>
                </a:extLst>
              </p:cNvPr>
              <p:cNvSpPr>
                <a:spLocks/>
              </p:cNvSpPr>
              <p:nvPr/>
            </p:nvSpPr>
            <p:spPr bwMode="auto">
              <a:xfrm>
                <a:off x="1837" y="1899"/>
                <a:ext cx="15" cy="26"/>
              </a:xfrm>
              <a:custGeom>
                <a:avLst/>
                <a:gdLst>
                  <a:gd name="T0" fmla="*/ 5 w 15"/>
                  <a:gd name="T1" fmla="*/ 18 h 26"/>
                  <a:gd name="T2" fmla="*/ 7 w 15"/>
                  <a:gd name="T3" fmla="*/ 17 h 26"/>
                  <a:gd name="T4" fmla="*/ 5 w 15"/>
                  <a:gd name="T5" fmla="*/ 18 h 26"/>
                  <a:gd name="T6" fmla="*/ 7 w 15"/>
                  <a:gd name="T7" fmla="*/ 21 h 26"/>
                  <a:gd name="T8" fmla="*/ 5 w 15"/>
                  <a:gd name="T9" fmla="*/ 22 h 26"/>
                  <a:gd name="T10" fmla="*/ 5 w 15"/>
                  <a:gd name="T11" fmla="*/ 25 h 26"/>
                  <a:gd name="T12" fmla="*/ 7 w 15"/>
                  <a:gd name="T13" fmla="*/ 26 h 26"/>
                  <a:gd name="T14" fmla="*/ 10 w 15"/>
                  <a:gd name="T15" fmla="*/ 24 h 26"/>
                  <a:gd name="T16" fmla="*/ 10 w 15"/>
                  <a:gd name="T17" fmla="*/ 22 h 26"/>
                  <a:gd name="T18" fmla="*/ 14 w 15"/>
                  <a:gd name="T19" fmla="*/ 22 h 26"/>
                  <a:gd name="T20" fmla="*/ 13 w 15"/>
                  <a:gd name="T21" fmla="*/ 19 h 26"/>
                  <a:gd name="T22" fmla="*/ 14 w 15"/>
                  <a:gd name="T23" fmla="*/ 16 h 26"/>
                  <a:gd name="T24" fmla="*/ 9 w 15"/>
                  <a:gd name="T25" fmla="*/ 10 h 26"/>
                  <a:gd name="T26" fmla="*/ 9 w 15"/>
                  <a:gd name="T27" fmla="*/ 8 h 26"/>
                  <a:gd name="T28" fmla="*/ 13 w 15"/>
                  <a:gd name="T29" fmla="*/ 14 h 26"/>
                  <a:gd name="T30" fmla="*/ 15 w 15"/>
                  <a:gd name="T31" fmla="*/ 16 h 26"/>
                  <a:gd name="T32" fmla="*/ 14 w 15"/>
                  <a:gd name="T33" fmla="*/ 12 h 26"/>
                  <a:gd name="T34" fmla="*/ 11 w 15"/>
                  <a:gd name="T35" fmla="*/ 8 h 26"/>
                  <a:gd name="T36" fmla="*/ 10 w 15"/>
                  <a:gd name="T37" fmla="*/ 6 h 26"/>
                  <a:gd name="T38" fmla="*/ 5 w 15"/>
                  <a:gd name="T39" fmla="*/ 5 h 26"/>
                  <a:gd name="T40" fmla="*/ 2 w 15"/>
                  <a:gd name="T41" fmla="*/ 2 h 26"/>
                  <a:gd name="T42" fmla="*/ 0 w 15"/>
                  <a:gd name="T43" fmla="*/ 0 h 26"/>
                  <a:gd name="T44" fmla="*/ 0 w 15"/>
                  <a:gd name="T45" fmla="*/ 2 h 26"/>
                  <a:gd name="T46" fmla="*/ 1 w 15"/>
                  <a:gd name="T47" fmla="*/ 6 h 26"/>
                  <a:gd name="T48" fmla="*/ 2 w 15"/>
                  <a:gd name="T49" fmla="*/ 8 h 26"/>
                  <a:gd name="T50" fmla="*/ 2 w 15"/>
                  <a:gd name="T51" fmla="*/ 14 h 26"/>
                  <a:gd name="T52" fmla="*/ 5 w 15"/>
                  <a:gd name="T53" fmla="*/ 18 h 26"/>
                  <a:gd name="T54" fmla="*/ 5 w 15"/>
                  <a:gd name="T55"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26">
                    <a:moveTo>
                      <a:pt x="5" y="18"/>
                    </a:moveTo>
                    <a:lnTo>
                      <a:pt x="7" y="17"/>
                    </a:lnTo>
                    <a:lnTo>
                      <a:pt x="5" y="18"/>
                    </a:lnTo>
                    <a:lnTo>
                      <a:pt x="7" y="21"/>
                    </a:lnTo>
                    <a:lnTo>
                      <a:pt x="5" y="22"/>
                    </a:lnTo>
                    <a:lnTo>
                      <a:pt x="5" y="25"/>
                    </a:lnTo>
                    <a:lnTo>
                      <a:pt x="7" y="26"/>
                    </a:lnTo>
                    <a:lnTo>
                      <a:pt x="10" y="24"/>
                    </a:lnTo>
                    <a:lnTo>
                      <a:pt x="10" y="22"/>
                    </a:lnTo>
                    <a:lnTo>
                      <a:pt x="14" y="22"/>
                    </a:lnTo>
                    <a:lnTo>
                      <a:pt x="13" y="19"/>
                    </a:lnTo>
                    <a:lnTo>
                      <a:pt x="14" y="16"/>
                    </a:lnTo>
                    <a:lnTo>
                      <a:pt x="9" y="10"/>
                    </a:lnTo>
                    <a:lnTo>
                      <a:pt x="9" y="8"/>
                    </a:lnTo>
                    <a:lnTo>
                      <a:pt x="13" y="14"/>
                    </a:lnTo>
                    <a:lnTo>
                      <a:pt x="15" y="16"/>
                    </a:lnTo>
                    <a:lnTo>
                      <a:pt x="14" y="12"/>
                    </a:lnTo>
                    <a:lnTo>
                      <a:pt x="11" y="8"/>
                    </a:lnTo>
                    <a:lnTo>
                      <a:pt x="10" y="6"/>
                    </a:lnTo>
                    <a:lnTo>
                      <a:pt x="5" y="5"/>
                    </a:lnTo>
                    <a:lnTo>
                      <a:pt x="2" y="2"/>
                    </a:lnTo>
                    <a:lnTo>
                      <a:pt x="0" y="0"/>
                    </a:lnTo>
                    <a:lnTo>
                      <a:pt x="0" y="2"/>
                    </a:lnTo>
                    <a:lnTo>
                      <a:pt x="1" y="6"/>
                    </a:lnTo>
                    <a:lnTo>
                      <a:pt x="2" y="8"/>
                    </a:lnTo>
                    <a:lnTo>
                      <a:pt x="2" y="14"/>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4" name="Freeform 10">
                <a:extLst>
                  <a:ext uri="{FF2B5EF4-FFF2-40B4-BE49-F238E27FC236}">
                    <a16:creationId xmlns:a16="http://schemas.microsoft.com/office/drawing/2014/main" id="{C75CCCA9-26A2-4C10-BF3F-DDD7219193BB}"/>
                  </a:ext>
                </a:extLst>
              </p:cNvPr>
              <p:cNvSpPr>
                <a:spLocks/>
              </p:cNvSpPr>
              <p:nvPr/>
            </p:nvSpPr>
            <p:spPr bwMode="auto">
              <a:xfrm>
                <a:off x="1843" y="1900"/>
                <a:ext cx="2" cy="3"/>
              </a:xfrm>
              <a:custGeom>
                <a:avLst/>
                <a:gdLst>
                  <a:gd name="T0" fmla="*/ 0 w 2"/>
                  <a:gd name="T1" fmla="*/ 0 h 3"/>
                  <a:gd name="T2" fmla="*/ 0 w 2"/>
                  <a:gd name="T3" fmla="*/ 3 h 3"/>
                  <a:gd name="T4" fmla="*/ 2 w 2"/>
                  <a:gd name="T5" fmla="*/ 3 h 3"/>
                  <a:gd name="T6" fmla="*/ 0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lnTo>
                      <a:pt x="0" y="3"/>
                    </a:lnTo>
                    <a:lnTo>
                      <a:pt x="2"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5" name="Freeform 11">
                <a:extLst>
                  <a:ext uri="{FF2B5EF4-FFF2-40B4-BE49-F238E27FC236}">
                    <a16:creationId xmlns:a16="http://schemas.microsoft.com/office/drawing/2014/main" id="{0E27090A-89E8-4A5F-8B7F-195B15A42933}"/>
                  </a:ext>
                </a:extLst>
              </p:cNvPr>
              <p:cNvSpPr>
                <a:spLocks/>
              </p:cNvSpPr>
              <p:nvPr/>
            </p:nvSpPr>
            <p:spPr bwMode="auto">
              <a:xfrm>
                <a:off x="1844" y="1929"/>
                <a:ext cx="9" cy="18"/>
              </a:xfrm>
              <a:custGeom>
                <a:avLst/>
                <a:gdLst>
                  <a:gd name="T0" fmla="*/ 3 w 9"/>
                  <a:gd name="T1" fmla="*/ 18 h 18"/>
                  <a:gd name="T2" fmla="*/ 4 w 9"/>
                  <a:gd name="T3" fmla="*/ 12 h 18"/>
                  <a:gd name="T4" fmla="*/ 6 w 9"/>
                  <a:gd name="T5" fmla="*/ 14 h 18"/>
                  <a:gd name="T6" fmla="*/ 7 w 9"/>
                  <a:gd name="T7" fmla="*/ 12 h 18"/>
                  <a:gd name="T8" fmla="*/ 8 w 9"/>
                  <a:gd name="T9" fmla="*/ 6 h 18"/>
                  <a:gd name="T10" fmla="*/ 9 w 9"/>
                  <a:gd name="T11" fmla="*/ 4 h 18"/>
                  <a:gd name="T12" fmla="*/ 6 w 9"/>
                  <a:gd name="T13" fmla="*/ 5 h 18"/>
                  <a:gd name="T14" fmla="*/ 7 w 9"/>
                  <a:gd name="T15" fmla="*/ 2 h 18"/>
                  <a:gd name="T16" fmla="*/ 4 w 9"/>
                  <a:gd name="T17" fmla="*/ 0 h 18"/>
                  <a:gd name="T18" fmla="*/ 1 w 9"/>
                  <a:gd name="T19" fmla="*/ 0 h 18"/>
                  <a:gd name="T20" fmla="*/ 0 w 9"/>
                  <a:gd name="T21" fmla="*/ 3 h 18"/>
                  <a:gd name="T22" fmla="*/ 2 w 9"/>
                  <a:gd name="T23" fmla="*/ 5 h 18"/>
                  <a:gd name="T24" fmla="*/ 4 w 9"/>
                  <a:gd name="T25" fmla="*/ 6 h 18"/>
                  <a:gd name="T26" fmla="*/ 6 w 9"/>
                  <a:gd name="T27" fmla="*/ 9 h 18"/>
                  <a:gd name="T28" fmla="*/ 2 w 9"/>
                  <a:gd name="T29" fmla="*/ 9 h 18"/>
                  <a:gd name="T30" fmla="*/ 3 w 9"/>
                  <a:gd name="T31" fmla="*/ 14 h 18"/>
                  <a:gd name="T32" fmla="*/ 3 w 9"/>
                  <a:gd name="T33" fmla="*/ 18 h 18"/>
                  <a:gd name="T34" fmla="*/ 3 w 9"/>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8">
                    <a:moveTo>
                      <a:pt x="3" y="18"/>
                    </a:moveTo>
                    <a:lnTo>
                      <a:pt x="4" y="12"/>
                    </a:lnTo>
                    <a:lnTo>
                      <a:pt x="6" y="14"/>
                    </a:lnTo>
                    <a:lnTo>
                      <a:pt x="7" y="12"/>
                    </a:lnTo>
                    <a:lnTo>
                      <a:pt x="8" y="6"/>
                    </a:lnTo>
                    <a:lnTo>
                      <a:pt x="9" y="4"/>
                    </a:lnTo>
                    <a:lnTo>
                      <a:pt x="6" y="5"/>
                    </a:lnTo>
                    <a:lnTo>
                      <a:pt x="7" y="2"/>
                    </a:lnTo>
                    <a:lnTo>
                      <a:pt x="4" y="0"/>
                    </a:lnTo>
                    <a:lnTo>
                      <a:pt x="1" y="0"/>
                    </a:lnTo>
                    <a:lnTo>
                      <a:pt x="0" y="3"/>
                    </a:lnTo>
                    <a:lnTo>
                      <a:pt x="2" y="5"/>
                    </a:lnTo>
                    <a:lnTo>
                      <a:pt x="4" y="6"/>
                    </a:lnTo>
                    <a:lnTo>
                      <a:pt x="6" y="9"/>
                    </a:lnTo>
                    <a:lnTo>
                      <a:pt x="2" y="9"/>
                    </a:lnTo>
                    <a:lnTo>
                      <a:pt x="3" y="14"/>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6" name="Freeform 12">
                <a:extLst>
                  <a:ext uri="{FF2B5EF4-FFF2-40B4-BE49-F238E27FC236}">
                    <a16:creationId xmlns:a16="http://schemas.microsoft.com/office/drawing/2014/main" id="{85EB06DB-A51E-46B5-8E28-78521A562212}"/>
                  </a:ext>
                </a:extLst>
              </p:cNvPr>
              <p:cNvSpPr>
                <a:spLocks/>
              </p:cNvSpPr>
              <p:nvPr/>
            </p:nvSpPr>
            <p:spPr bwMode="auto">
              <a:xfrm>
                <a:off x="1863" y="1938"/>
                <a:ext cx="6" cy="4"/>
              </a:xfrm>
              <a:custGeom>
                <a:avLst/>
                <a:gdLst>
                  <a:gd name="T0" fmla="*/ 5 w 6"/>
                  <a:gd name="T1" fmla="*/ 0 h 4"/>
                  <a:gd name="T2" fmla="*/ 2 w 6"/>
                  <a:gd name="T3" fmla="*/ 0 h 4"/>
                  <a:gd name="T4" fmla="*/ 0 w 6"/>
                  <a:gd name="T5" fmla="*/ 2 h 4"/>
                  <a:gd name="T6" fmla="*/ 2 w 6"/>
                  <a:gd name="T7" fmla="*/ 4 h 4"/>
                  <a:gd name="T8" fmla="*/ 6 w 6"/>
                  <a:gd name="T9" fmla="*/ 2 h 4"/>
                  <a:gd name="T10" fmla="*/ 5 w 6"/>
                  <a:gd name="T11" fmla="*/ 0 h 4"/>
                  <a:gd name="T12" fmla="*/ 5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0"/>
                    </a:moveTo>
                    <a:lnTo>
                      <a:pt x="2" y="0"/>
                    </a:lnTo>
                    <a:lnTo>
                      <a:pt x="0" y="2"/>
                    </a:lnTo>
                    <a:lnTo>
                      <a:pt x="2" y="4"/>
                    </a:lnTo>
                    <a:lnTo>
                      <a:pt x="6"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7" name="Freeform 13">
                <a:extLst>
                  <a:ext uri="{FF2B5EF4-FFF2-40B4-BE49-F238E27FC236}">
                    <a16:creationId xmlns:a16="http://schemas.microsoft.com/office/drawing/2014/main" id="{6D6CB40F-B1DF-4102-A43E-6F434398FBE1}"/>
                  </a:ext>
                </a:extLst>
              </p:cNvPr>
              <p:cNvSpPr>
                <a:spLocks/>
              </p:cNvSpPr>
              <p:nvPr/>
            </p:nvSpPr>
            <p:spPr bwMode="auto">
              <a:xfrm>
                <a:off x="1865" y="1961"/>
                <a:ext cx="3" cy="4"/>
              </a:xfrm>
              <a:custGeom>
                <a:avLst/>
                <a:gdLst>
                  <a:gd name="T0" fmla="*/ 0 w 3"/>
                  <a:gd name="T1" fmla="*/ 0 h 4"/>
                  <a:gd name="T2" fmla="*/ 0 w 3"/>
                  <a:gd name="T3" fmla="*/ 4 h 4"/>
                  <a:gd name="T4" fmla="*/ 3 w 3"/>
                  <a:gd name="T5" fmla="*/ 4 h 4"/>
                  <a:gd name="T6" fmla="*/ 0 w 3"/>
                  <a:gd name="T7" fmla="*/ 0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lnTo>
                      <a:pt x="0" y="4"/>
                    </a:lnTo>
                    <a:lnTo>
                      <a:pt x="3"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8" name="Freeform 14">
                <a:extLst>
                  <a:ext uri="{FF2B5EF4-FFF2-40B4-BE49-F238E27FC236}">
                    <a16:creationId xmlns:a16="http://schemas.microsoft.com/office/drawing/2014/main" id="{DE1EFA14-6F9E-4472-8318-1C2ACECD0C81}"/>
                  </a:ext>
                </a:extLst>
              </p:cNvPr>
              <p:cNvSpPr>
                <a:spLocks/>
              </p:cNvSpPr>
              <p:nvPr/>
            </p:nvSpPr>
            <p:spPr bwMode="auto">
              <a:xfrm>
                <a:off x="1868" y="1940"/>
                <a:ext cx="6" cy="7"/>
              </a:xfrm>
              <a:custGeom>
                <a:avLst/>
                <a:gdLst>
                  <a:gd name="T0" fmla="*/ 4 w 6"/>
                  <a:gd name="T1" fmla="*/ 0 h 7"/>
                  <a:gd name="T2" fmla="*/ 2 w 6"/>
                  <a:gd name="T3" fmla="*/ 0 h 7"/>
                  <a:gd name="T4" fmla="*/ 0 w 6"/>
                  <a:gd name="T5" fmla="*/ 2 h 7"/>
                  <a:gd name="T6" fmla="*/ 1 w 6"/>
                  <a:gd name="T7" fmla="*/ 5 h 7"/>
                  <a:gd name="T8" fmla="*/ 4 w 6"/>
                  <a:gd name="T9" fmla="*/ 7 h 7"/>
                  <a:gd name="T10" fmla="*/ 6 w 6"/>
                  <a:gd name="T11" fmla="*/ 6 h 7"/>
                  <a:gd name="T12" fmla="*/ 5 w 6"/>
                  <a:gd name="T13" fmla="*/ 2 h 7"/>
                  <a:gd name="T14" fmla="*/ 2 w 6"/>
                  <a:gd name="T15" fmla="*/ 2 h 7"/>
                  <a:gd name="T16" fmla="*/ 4 w 6"/>
                  <a:gd name="T17" fmla="*/ 0 h 7"/>
                  <a:gd name="T18" fmla="*/ 4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4" y="0"/>
                    </a:moveTo>
                    <a:lnTo>
                      <a:pt x="2" y="0"/>
                    </a:lnTo>
                    <a:lnTo>
                      <a:pt x="0" y="2"/>
                    </a:lnTo>
                    <a:lnTo>
                      <a:pt x="1" y="5"/>
                    </a:lnTo>
                    <a:lnTo>
                      <a:pt x="4" y="7"/>
                    </a:lnTo>
                    <a:lnTo>
                      <a:pt x="6" y="6"/>
                    </a:lnTo>
                    <a:lnTo>
                      <a:pt x="5" y="2"/>
                    </a:lnTo>
                    <a:lnTo>
                      <a:pt x="2"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49" name="Freeform 15">
                <a:extLst>
                  <a:ext uri="{FF2B5EF4-FFF2-40B4-BE49-F238E27FC236}">
                    <a16:creationId xmlns:a16="http://schemas.microsoft.com/office/drawing/2014/main" id="{E290F6B0-B678-476E-BCD5-5939F882A148}"/>
                  </a:ext>
                </a:extLst>
              </p:cNvPr>
              <p:cNvSpPr>
                <a:spLocks/>
              </p:cNvSpPr>
              <p:nvPr/>
            </p:nvSpPr>
            <p:spPr bwMode="auto">
              <a:xfrm>
                <a:off x="1872" y="1937"/>
                <a:ext cx="6" cy="6"/>
              </a:xfrm>
              <a:custGeom>
                <a:avLst/>
                <a:gdLst>
                  <a:gd name="T0" fmla="*/ 0 w 6"/>
                  <a:gd name="T1" fmla="*/ 0 h 6"/>
                  <a:gd name="T2" fmla="*/ 0 w 6"/>
                  <a:gd name="T3" fmla="*/ 4 h 6"/>
                  <a:gd name="T4" fmla="*/ 2 w 6"/>
                  <a:gd name="T5" fmla="*/ 6 h 6"/>
                  <a:gd name="T6" fmla="*/ 6 w 6"/>
                  <a:gd name="T7" fmla="*/ 5 h 6"/>
                  <a:gd name="T8" fmla="*/ 0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4"/>
                    </a:lnTo>
                    <a:lnTo>
                      <a:pt x="2" y="6"/>
                    </a:lnTo>
                    <a:lnTo>
                      <a:pt x="6" y="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0" name="Freeform 16">
                <a:extLst>
                  <a:ext uri="{FF2B5EF4-FFF2-40B4-BE49-F238E27FC236}">
                    <a16:creationId xmlns:a16="http://schemas.microsoft.com/office/drawing/2014/main" id="{9B50BCF7-6FFD-4B0B-881C-9A73A275DD90}"/>
                  </a:ext>
                </a:extLst>
              </p:cNvPr>
              <p:cNvSpPr>
                <a:spLocks/>
              </p:cNvSpPr>
              <p:nvPr/>
            </p:nvSpPr>
            <p:spPr bwMode="auto">
              <a:xfrm>
                <a:off x="1879" y="1958"/>
                <a:ext cx="3" cy="5"/>
              </a:xfrm>
              <a:custGeom>
                <a:avLst/>
                <a:gdLst>
                  <a:gd name="T0" fmla="*/ 0 w 3"/>
                  <a:gd name="T1" fmla="*/ 0 h 5"/>
                  <a:gd name="T2" fmla="*/ 0 w 3"/>
                  <a:gd name="T3" fmla="*/ 1 h 5"/>
                  <a:gd name="T4" fmla="*/ 1 w 3"/>
                  <a:gd name="T5" fmla="*/ 5 h 5"/>
                  <a:gd name="T6" fmla="*/ 3 w 3"/>
                  <a:gd name="T7" fmla="*/ 1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0" y="1"/>
                    </a:lnTo>
                    <a:lnTo>
                      <a:pt x="1" y="5"/>
                    </a:lnTo>
                    <a:lnTo>
                      <a:pt x="3"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1" name="Freeform 17">
                <a:extLst>
                  <a:ext uri="{FF2B5EF4-FFF2-40B4-BE49-F238E27FC236}">
                    <a16:creationId xmlns:a16="http://schemas.microsoft.com/office/drawing/2014/main" id="{E96F29C5-1ABE-4D6B-A381-E8373C231CB0}"/>
                  </a:ext>
                </a:extLst>
              </p:cNvPr>
              <p:cNvSpPr>
                <a:spLocks/>
              </p:cNvSpPr>
              <p:nvPr/>
            </p:nvSpPr>
            <p:spPr bwMode="auto">
              <a:xfrm>
                <a:off x="1880" y="1947"/>
                <a:ext cx="11" cy="13"/>
              </a:xfrm>
              <a:custGeom>
                <a:avLst/>
                <a:gdLst>
                  <a:gd name="T0" fmla="*/ 2 w 11"/>
                  <a:gd name="T1" fmla="*/ 12 h 13"/>
                  <a:gd name="T2" fmla="*/ 4 w 11"/>
                  <a:gd name="T3" fmla="*/ 10 h 13"/>
                  <a:gd name="T4" fmla="*/ 7 w 11"/>
                  <a:gd name="T5" fmla="*/ 10 h 13"/>
                  <a:gd name="T6" fmla="*/ 6 w 11"/>
                  <a:gd name="T7" fmla="*/ 8 h 13"/>
                  <a:gd name="T8" fmla="*/ 7 w 11"/>
                  <a:gd name="T9" fmla="*/ 10 h 13"/>
                  <a:gd name="T10" fmla="*/ 5 w 11"/>
                  <a:gd name="T11" fmla="*/ 12 h 13"/>
                  <a:gd name="T12" fmla="*/ 7 w 11"/>
                  <a:gd name="T13" fmla="*/ 12 h 13"/>
                  <a:gd name="T14" fmla="*/ 10 w 11"/>
                  <a:gd name="T15" fmla="*/ 13 h 13"/>
                  <a:gd name="T16" fmla="*/ 11 w 11"/>
                  <a:gd name="T17" fmla="*/ 5 h 13"/>
                  <a:gd name="T18" fmla="*/ 10 w 11"/>
                  <a:gd name="T19" fmla="*/ 3 h 13"/>
                  <a:gd name="T20" fmla="*/ 7 w 11"/>
                  <a:gd name="T21" fmla="*/ 0 h 13"/>
                  <a:gd name="T22" fmla="*/ 5 w 11"/>
                  <a:gd name="T23" fmla="*/ 1 h 13"/>
                  <a:gd name="T24" fmla="*/ 2 w 11"/>
                  <a:gd name="T25" fmla="*/ 2 h 13"/>
                  <a:gd name="T26" fmla="*/ 2 w 11"/>
                  <a:gd name="T27" fmla="*/ 8 h 13"/>
                  <a:gd name="T28" fmla="*/ 0 w 11"/>
                  <a:gd name="T29" fmla="*/ 11 h 13"/>
                  <a:gd name="T30" fmla="*/ 2 w 11"/>
                  <a:gd name="T31" fmla="*/ 12 h 13"/>
                  <a:gd name="T32" fmla="*/ 2 w 11"/>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2" y="12"/>
                    </a:moveTo>
                    <a:lnTo>
                      <a:pt x="4" y="10"/>
                    </a:lnTo>
                    <a:lnTo>
                      <a:pt x="7" y="10"/>
                    </a:lnTo>
                    <a:lnTo>
                      <a:pt x="6" y="8"/>
                    </a:lnTo>
                    <a:lnTo>
                      <a:pt x="7" y="10"/>
                    </a:lnTo>
                    <a:lnTo>
                      <a:pt x="5" y="12"/>
                    </a:lnTo>
                    <a:lnTo>
                      <a:pt x="7" y="12"/>
                    </a:lnTo>
                    <a:lnTo>
                      <a:pt x="10" y="13"/>
                    </a:lnTo>
                    <a:lnTo>
                      <a:pt x="11" y="5"/>
                    </a:lnTo>
                    <a:lnTo>
                      <a:pt x="10" y="3"/>
                    </a:lnTo>
                    <a:lnTo>
                      <a:pt x="7" y="0"/>
                    </a:lnTo>
                    <a:lnTo>
                      <a:pt x="5" y="1"/>
                    </a:lnTo>
                    <a:lnTo>
                      <a:pt x="2" y="2"/>
                    </a:lnTo>
                    <a:lnTo>
                      <a:pt x="2" y="8"/>
                    </a:lnTo>
                    <a:lnTo>
                      <a:pt x="0" y="11"/>
                    </a:lnTo>
                    <a:lnTo>
                      <a:pt x="2" y="12"/>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2" name="Freeform 18">
                <a:extLst>
                  <a:ext uri="{FF2B5EF4-FFF2-40B4-BE49-F238E27FC236}">
                    <a16:creationId xmlns:a16="http://schemas.microsoft.com/office/drawing/2014/main" id="{43E0AFE0-DF59-426F-98B1-0D89E8780286}"/>
                  </a:ext>
                </a:extLst>
              </p:cNvPr>
              <p:cNvSpPr>
                <a:spLocks/>
              </p:cNvSpPr>
              <p:nvPr/>
            </p:nvSpPr>
            <p:spPr bwMode="auto">
              <a:xfrm>
                <a:off x="1862" y="1981"/>
                <a:ext cx="19" cy="19"/>
              </a:xfrm>
              <a:custGeom>
                <a:avLst/>
                <a:gdLst>
                  <a:gd name="T0" fmla="*/ 2 w 19"/>
                  <a:gd name="T1" fmla="*/ 11 h 19"/>
                  <a:gd name="T2" fmla="*/ 5 w 19"/>
                  <a:gd name="T3" fmla="*/ 13 h 19"/>
                  <a:gd name="T4" fmla="*/ 7 w 19"/>
                  <a:gd name="T5" fmla="*/ 14 h 19"/>
                  <a:gd name="T6" fmla="*/ 5 w 19"/>
                  <a:gd name="T7" fmla="*/ 16 h 19"/>
                  <a:gd name="T8" fmla="*/ 8 w 19"/>
                  <a:gd name="T9" fmla="*/ 16 h 19"/>
                  <a:gd name="T10" fmla="*/ 8 w 19"/>
                  <a:gd name="T11" fmla="*/ 18 h 19"/>
                  <a:gd name="T12" fmla="*/ 10 w 19"/>
                  <a:gd name="T13" fmla="*/ 19 h 19"/>
                  <a:gd name="T14" fmla="*/ 14 w 19"/>
                  <a:gd name="T15" fmla="*/ 18 h 19"/>
                  <a:gd name="T16" fmla="*/ 16 w 19"/>
                  <a:gd name="T17" fmla="*/ 16 h 19"/>
                  <a:gd name="T18" fmla="*/ 16 w 19"/>
                  <a:gd name="T19" fmla="*/ 10 h 19"/>
                  <a:gd name="T20" fmla="*/ 17 w 19"/>
                  <a:gd name="T21" fmla="*/ 8 h 19"/>
                  <a:gd name="T22" fmla="*/ 18 w 19"/>
                  <a:gd name="T23" fmla="*/ 5 h 19"/>
                  <a:gd name="T24" fmla="*/ 19 w 19"/>
                  <a:gd name="T25" fmla="*/ 2 h 19"/>
                  <a:gd name="T26" fmla="*/ 17 w 19"/>
                  <a:gd name="T27" fmla="*/ 2 h 19"/>
                  <a:gd name="T28" fmla="*/ 15 w 19"/>
                  <a:gd name="T29" fmla="*/ 3 h 19"/>
                  <a:gd name="T30" fmla="*/ 14 w 19"/>
                  <a:gd name="T31" fmla="*/ 5 h 19"/>
                  <a:gd name="T32" fmla="*/ 12 w 19"/>
                  <a:gd name="T33" fmla="*/ 9 h 19"/>
                  <a:gd name="T34" fmla="*/ 10 w 19"/>
                  <a:gd name="T35" fmla="*/ 11 h 19"/>
                  <a:gd name="T36" fmla="*/ 7 w 19"/>
                  <a:gd name="T37" fmla="*/ 10 h 19"/>
                  <a:gd name="T38" fmla="*/ 10 w 19"/>
                  <a:gd name="T39" fmla="*/ 8 h 19"/>
                  <a:gd name="T40" fmla="*/ 12 w 19"/>
                  <a:gd name="T41" fmla="*/ 7 h 19"/>
                  <a:gd name="T42" fmla="*/ 14 w 19"/>
                  <a:gd name="T43" fmla="*/ 4 h 19"/>
                  <a:gd name="T44" fmla="*/ 10 w 19"/>
                  <a:gd name="T45" fmla="*/ 1 h 19"/>
                  <a:gd name="T46" fmla="*/ 8 w 19"/>
                  <a:gd name="T47" fmla="*/ 2 h 19"/>
                  <a:gd name="T48" fmla="*/ 5 w 19"/>
                  <a:gd name="T49" fmla="*/ 1 h 19"/>
                  <a:gd name="T50" fmla="*/ 2 w 19"/>
                  <a:gd name="T51" fmla="*/ 0 h 19"/>
                  <a:gd name="T52" fmla="*/ 0 w 19"/>
                  <a:gd name="T53" fmla="*/ 3 h 19"/>
                  <a:gd name="T54" fmla="*/ 0 w 19"/>
                  <a:gd name="T55" fmla="*/ 5 h 19"/>
                  <a:gd name="T56" fmla="*/ 2 w 19"/>
                  <a:gd name="T57" fmla="*/ 11 h 19"/>
                  <a:gd name="T58" fmla="*/ 2 w 19"/>
                  <a:gd name="T59"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19">
                    <a:moveTo>
                      <a:pt x="2" y="11"/>
                    </a:moveTo>
                    <a:lnTo>
                      <a:pt x="5" y="13"/>
                    </a:lnTo>
                    <a:lnTo>
                      <a:pt x="7" y="14"/>
                    </a:lnTo>
                    <a:lnTo>
                      <a:pt x="5" y="16"/>
                    </a:lnTo>
                    <a:lnTo>
                      <a:pt x="8" y="16"/>
                    </a:lnTo>
                    <a:lnTo>
                      <a:pt x="8" y="18"/>
                    </a:lnTo>
                    <a:lnTo>
                      <a:pt x="10" y="19"/>
                    </a:lnTo>
                    <a:lnTo>
                      <a:pt x="14" y="18"/>
                    </a:lnTo>
                    <a:lnTo>
                      <a:pt x="16" y="16"/>
                    </a:lnTo>
                    <a:lnTo>
                      <a:pt x="16" y="10"/>
                    </a:lnTo>
                    <a:lnTo>
                      <a:pt x="17" y="8"/>
                    </a:lnTo>
                    <a:lnTo>
                      <a:pt x="18" y="5"/>
                    </a:lnTo>
                    <a:lnTo>
                      <a:pt x="19" y="2"/>
                    </a:lnTo>
                    <a:lnTo>
                      <a:pt x="17" y="2"/>
                    </a:lnTo>
                    <a:lnTo>
                      <a:pt x="15" y="3"/>
                    </a:lnTo>
                    <a:lnTo>
                      <a:pt x="14" y="5"/>
                    </a:lnTo>
                    <a:lnTo>
                      <a:pt x="12" y="9"/>
                    </a:lnTo>
                    <a:lnTo>
                      <a:pt x="10" y="11"/>
                    </a:lnTo>
                    <a:lnTo>
                      <a:pt x="7" y="10"/>
                    </a:lnTo>
                    <a:lnTo>
                      <a:pt x="10" y="8"/>
                    </a:lnTo>
                    <a:lnTo>
                      <a:pt x="12" y="7"/>
                    </a:lnTo>
                    <a:lnTo>
                      <a:pt x="14" y="4"/>
                    </a:lnTo>
                    <a:lnTo>
                      <a:pt x="10" y="1"/>
                    </a:lnTo>
                    <a:lnTo>
                      <a:pt x="8" y="2"/>
                    </a:lnTo>
                    <a:lnTo>
                      <a:pt x="5" y="1"/>
                    </a:lnTo>
                    <a:lnTo>
                      <a:pt x="2" y="0"/>
                    </a:lnTo>
                    <a:lnTo>
                      <a:pt x="0" y="3"/>
                    </a:lnTo>
                    <a:lnTo>
                      <a:pt x="0" y="5"/>
                    </a:lnTo>
                    <a:lnTo>
                      <a:pt x="2" y="11"/>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3" name="Freeform 19">
                <a:extLst>
                  <a:ext uri="{FF2B5EF4-FFF2-40B4-BE49-F238E27FC236}">
                    <a16:creationId xmlns:a16="http://schemas.microsoft.com/office/drawing/2014/main" id="{76220191-31EC-4C2B-B8E7-3B5A4C905D77}"/>
                  </a:ext>
                </a:extLst>
              </p:cNvPr>
              <p:cNvSpPr>
                <a:spLocks/>
              </p:cNvSpPr>
              <p:nvPr/>
            </p:nvSpPr>
            <p:spPr bwMode="auto">
              <a:xfrm>
                <a:off x="1870" y="1999"/>
                <a:ext cx="20" cy="20"/>
              </a:xfrm>
              <a:custGeom>
                <a:avLst/>
                <a:gdLst>
                  <a:gd name="T0" fmla="*/ 8 w 20"/>
                  <a:gd name="T1" fmla="*/ 4 h 20"/>
                  <a:gd name="T2" fmla="*/ 11 w 20"/>
                  <a:gd name="T3" fmla="*/ 7 h 20"/>
                  <a:gd name="T4" fmla="*/ 11 w 20"/>
                  <a:gd name="T5" fmla="*/ 4 h 20"/>
                  <a:gd name="T6" fmla="*/ 9 w 20"/>
                  <a:gd name="T7" fmla="*/ 3 h 20"/>
                  <a:gd name="T8" fmla="*/ 11 w 20"/>
                  <a:gd name="T9" fmla="*/ 3 h 20"/>
                  <a:gd name="T10" fmla="*/ 10 w 20"/>
                  <a:gd name="T11" fmla="*/ 0 h 20"/>
                  <a:gd name="T12" fmla="*/ 8 w 20"/>
                  <a:gd name="T13" fmla="*/ 0 h 20"/>
                  <a:gd name="T14" fmla="*/ 4 w 20"/>
                  <a:gd name="T15" fmla="*/ 1 h 20"/>
                  <a:gd name="T16" fmla="*/ 0 w 20"/>
                  <a:gd name="T17" fmla="*/ 1 h 20"/>
                  <a:gd name="T18" fmla="*/ 2 w 20"/>
                  <a:gd name="T19" fmla="*/ 3 h 20"/>
                  <a:gd name="T20" fmla="*/ 4 w 20"/>
                  <a:gd name="T21" fmla="*/ 4 h 20"/>
                  <a:gd name="T22" fmla="*/ 2 w 20"/>
                  <a:gd name="T23" fmla="*/ 6 h 20"/>
                  <a:gd name="T24" fmla="*/ 4 w 20"/>
                  <a:gd name="T25" fmla="*/ 8 h 20"/>
                  <a:gd name="T26" fmla="*/ 7 w 20"/>
                  <a:gd name="T27" fmla="*/ 8 h 20"/>
                  <a:gd name="T28" fmla="*/ 8 w 20"/>
                  <a:gd name="T29" fmla="*/ 10 h 20"/>
                  <a:gd name="T30" fmla="*/ 10 w 20"/>
                  <a:gd name="T31" fmla="*/ 13 h 20"/>
                  <a:gd name="T32" fmla="*/ 12 w 20"/>
                  <a:gd name="T33" fmla="*/ 15 h 20"/>
                  <a:gd name="T34" fmla="*/ 15 w 20"/>
                  <a:gd name="T35" fmla="*/ 17 h 20"/>
                  <a:gd name="T36" fmla="*/ 17 w 20"/>
                  <a:gd name="T37" fmla="*/ 20 h 20"/>
                  <a:gd name="T38" fmla="*/ 19 w 20"/>
                  <a:gd name="T39" fmla="*/ 19 h 20"/>
                  <a:gd name="T40" fmla="*/ 20 w 20"/>
                  <a:gd name="T41" fmla="*/ 18 h 20"/>
                  <a:gd name="T42" fmla="*/ 17 w 20"/>
                  <a:gd name="T43" fmla="*/ 17 h 20"/>
                  <a:gd name="T44" fmla="*/ 15 w 20"/>
                  <a:gd name="T45" fmla="*/ 15 h 20"/>
                  <a:gd name="T46" fmla="*/ 12 w 20"/>
                  <a:gd name="T47" fmla="*/ 12 h 20"/>
                  <a:gd name="T48" fmla="*/ 9 w 20"/>
                  <a:gd name="T49" fmla="*/ 7 h 20"/>
                  <a:gd name="T50" fmla="*/ 8 w 20"/>
                  <a:gd name="T51" fmla="*/ 4 h 20"/>
                  <a:gd name="T52" fmla="*/ 9 w 20"/>
                  <a:gd name="T53" fmla="*/ 4 h 20"/>
                  <a:gd name="T54" fmla="*/ 8 w 20"/>
                  <a:gd name="T55" fmla="*/ 4 h 20"/>
                  <a:gd name="T56" fmla="*/ 8 w 20"/>
                  <a:gd name="T5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1" y="7"/>
                    </a:lnTo>
                    <a:lnTo>
                      <a:pt x="11" y="4"/>
                    </a:lnTo>
                    <a:lnTo>
                      <a:pt x="9" y="3"/>
                    </a:lnTo>
                    <a:lnTo>
                      <a:pt x="11" y="3"/>
                    </a:lnTo>
                    <a:lnTo>
                      <a:pt x="10" y="0"/>
                    </a:lnTo>
                    <a:lnTo>
                      <a:pt x="8" y="0"/>
                    </a:lnTo>
                    <a:lnTo>
                      <a:pt x="4" y="1"/>
                    </a:lnTo>
                    <a:lnTo>
                      <a:pt x="0" y="1"/>
                    </a:lnTo>
                    <a:lnTo>
                      <a:pt x="2" y="3"/>
                    </a:lnTo>
                    <a:lnTo>
                      <a:pt x="4" y="4"/>
                    </a:lnTo>
                    <a:lnTo>
                      <a:pt x="2" y="6"/>
                    </a:lnTo>
                    <a:lnTo>
                      <a:pt x="4" y="8"/>
                    </a:lnTo>
                    <a:lnTo>
                      <a:pt x="7" y="8"/>
                    </a:lnTo>
                    <a:lnTo>
                      <a:pt x="8" y="10"/>
                    </a:lnTo>
                    <a:lnTo>
                      <a:pt x="10" y="13"/>
                    </a:lnTo>
                    <a:lnTo>
                      <a:pt x="12" y="15"/>
                    </a:lnTo>
                    <a:lnTo>
                      <a:pt x="15" y="17"/>
                    </a:lnTo>
                    <a:lnTo>
                      <a:pt x="17" y="20"/>
                    </a:lnTo>
                    <a:lnTo>
                      <a:pt x="19" y="19"/>
                    </a:lnTo>
                    <a:lnTo>
                      <a:pt x="20" y="18"/>
                    </a:lnTo>
                    <a:lnTo>
                      <a:pt x="17" y="17"/>
                    </a:lnTo>
                    <a:lnTo>
                      <a:pt x="15" y="15"/>
                    </a:lnTo>
                    <a:lnTo>
                      <a:pt x="12" y="12"/>
                    </a:lnTo>
                    <a:lnTo>
                      <a:pt x="9" y="7"/>
                    </a:lnTo>
                    <a:lnTo>
                      <a:pt x="8" y="4"/>
                    </a:lnTo>
                    <a:lnTo>
                      <a:pt x="9" y="4"/>
                    </a:lnTo>
                    <a:lnTo>
                      <a:pt x="8" y="4"/>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4" name="Freeform 20">
                <a:extLst>
                  <a:ext uri="{FF2B5EF4-FFF2-40B4-BE49-F238E27FC236}">
                    <a16:creationId xmlns:a16="http://schemas.microsoft.com/office/drawing/2014/main" id="{5DC77C62-E5D0-43B5-982C-410F70412BA6}"/>
                  </a:ext>
                </a:extLst>
              </p:cNvPr>
              <p:cNvSpPr>
                <a:spLocks/>
              </p:cNvSpPr>
              <p:nvPr/>
            </p:nvSpPr>
            <p:spPr bwMode="auto">
              <a:xfrm>
                <a:off x="1881" y="2008"/>
                <a:ext cx="4" cy="2"/>
              </a:xfrm>
              <a:custGeom>
                <a:avLst/>
                <a:gdLst>
                  <a:gd name="T0" fmla="*/ 4 w 4"/>
                  <a:gd name="T1" fmla="*/ 0 h 2"/>
                  <a:gd name="T2" fmla="*/ 0 w 4"/>
                  <a:gd name="T3" fmla="*/ 0 h 2"/>
                  <a:gd name="T4" fmla="*/ 1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1"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5" name="Freeform 21">
                <a:extLst>
                  <a:ext uri="{FF2B5EF4-FFF2-40B4-BE49-F238E27FC236}">
                    <a16:creationId xmlns:a16="http://schemas.microsoft.com/office/drawing/2014/main" id="{E34750DD-A7FF-4B07-80D2-E9B2D4CEEA8E}"/>
                  </a:ext>
                </a:extLst>
              </p:cNvPr>
              <p:cNvSpPr>
                <a:spLocks/>
              </p:cNvSpPr>
              <p:nvPr/>
            </p:nvSpPr>
            <p:spPr bwMode="auto">
              <a:xfrm>
                <a:off x="1898" y="1965"/>
                <a:ext cx="4" cy="4"/>
              </a:xfrm>
              <a:custGeom>
                <a:avLst/>
                <a:gdLst>
                  <a:gd name="T0" fmla="*/ 4 w 4"/>
                  <a:gd name="T1" fmla="*/ 0 h 4"/>
                  <a:gd name="T2" fmla="*/ 0 w 4"/>
                  <a:gd name="T3" fmla="*/ 4 h 4"/>
                  <a:gd name="T4" fmla="*/ 4 w 4"/>
                  <a:gd name="T5" fmla="*/ 3 h 4"/>
                  <a:gd name="T6" fmla="*/ 4 w 4"/>
                  <a:gd name="T7" fmla="*/ 0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4"/>
                    </a:lnTo>
                    <a:lnTo>
                      <a:pt x="4"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6" name="Freeform 22">
                <a:extLst>
                  <a:ext uri="{FF2B5EF4-FFF2-40B4-BE49-F238E27FC236}">
                    <a16:creationId xmlns:a16="http://schemas.microsoft.com/office/drawing/2014/main" id="{CE67823D-6072-41FB-84FB-55DBE105A038}"/>
                  </a:ext>
                </a:extLst>
              </p:cNvPr>
              <p:cNvSpPr>
                <a:spLocks/>
              </p:cNvSpPr>
              <p:nvPr/>
            </p:nvSpPr>
            <p:spPr bwMode="auto">
              <a:xfrm>
                <a:off x="1851" y="1925"/>
                <a:ext cx="13" cy="13"/>
              </a:xfrm>
              <a:custGeom>
                <a:avLst/>
                <a:gdLst>
                  <a:gd name="T0" fmla="*/ 4 w 13"/>
                  <a:gd name="T1" fmla="*/ 13 h 13"/>
                  <a:gd name="T2" fmla="*/ 3 w 13"/>
                  <a:gd name="T3" fmla="*/ 12 h 13"/>
                  <a:gd name="T4" fmla="*/ 3 w 13"/>
                  <a:gd name="T5" fmla="*/ 6 h 13"/>
                  <a:gd name="T6" fmla="*/ 1 w 13"/>
                  <a:gd name="T7" fmla="*/ 4 h 13"/>
                  <a:gd name="T8" fmla="*/ 0 w 13"/>
                  <a:gd name="T9" fmla="*/ 0 h 13"/>
                  <a:gd name="T10" fmla="*/ 2 w 13"/>
                  <a:gd name="T11" fmla="*/ 0 h 13"/>
                  <a:gd name="T12" fmla="*/ 8 w 13"/>
                  <a:gd name="T13" fmla="*/ 1 h 13"/>
                  <a:gd name="T14" fmla="*/ 10 w 13"/>
                  <a:gd name="T15" fmla="*/ 1 h 13"/>
                  <a:gd name="T16" fmla="*/ 13 w 13"/>
                  <a:gd name="T17" fmla="*/ 4 h 13"/>
                  <a:gd name="T18" fmla="*/ 13 w 13"/>
                  <a:gd name="T19" fmla="*/ 7 h 13"/>
                  <a:gd name="T20" fmla="*/ 12 w 13"/>
                  <a:gd name="T21" fmla="*/ 9 h 13"/>
                  <a:gd name="T22" fmla="*/ 9 w 13"/>
                  <a:gd name="T23" fmla="*/ 7 h 13"/>
                  <a:gd name="T24" fmla="*/ 11 w 13"/>
                  <a:gd name="T25" fmla="*/ 10 h 13"/>
                  <a:gd name="T26" fmla="*/ 10 w 13"/>
                  <a:gd name="T27" fmla="*/ 13 h 13"/>
                  <a:gd name="T28" fmla="*/ 6 w 13"/>
                  <a:gd name="T29" fmla="*/ 12 h 13"/>
                  <a:gd name="T30" fmla="*/ 4 w 13"/>
                  <a:gd name="T31" fmla="*/ 13 h 13"/>
                  <a:gd name="T32" fmla="*/ 4 w 13"/>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4" y="13"/>
                    </a:moveTo>
                    <a:lnTo>
                      <a:pt x="3" y="12"/>
                    </a:lnTo>
                    <a:lnTo>
                      <a:pt x="3" y="6"/>
                    </a:lnTo>
                    <a:lnTo>
                      <a:pt x="1" y="4"/>
                    </a:lnTo>
                    <a:lnTo>
                      <a:pt x="0" y="0"/>
                    </a:lnTo>
                    <a:lnTo>
                      <a:pt x="2" y="0"/>
                    </a:lnTo>
                    <a:lnTo>
                      <a:pt x="8" y="1"/>
                    </a:lnTo>
                    <a:lnTo>
                      <a:pt x="10" y="1"/>
                    </a:lnTo>
                    <a:lnTo>
                      <a:pt x="13" y="4"/>
                    </a:lnTo>
                    <a:lnTo>
                      <a:pt x="13" y="7"/>
                    </a:lnTo>
                    <a:lnTo>
                      <a:pt x="12" y="9"/>
                    </a:lnTo>
                    <a:lnTo>
                      <a:pt x="9" y="7"/>
                    </a:lnTo>
                    <a:lnTo>
                      <a:pt x="11" y="10"/>
                    </a:lnTo>
                    <a:lnTo>
                      <a:pt x="10" y="13"/>
                    </a:lnTo>
                    <a:lnTo>
                      <a:pt x="6" y="12"/>
                    </a:lnTo>
                    <a:lnTo>
                      <a:pt x="4" y="13"/>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7" name="Freeform 23">
                <a:extLst>
                  <a:ext uri="{FF2B5EF4-FFF2-40B4-BE49-F238E27FC236}">
                    <a16:creationId xmlns:a16="http://schemas.microsoft.com/office/drawing/2014/main" id="{71C2CE1C-316E-422A-9F22-87B79D7857B4}"/>
                  </a:ext>
                </a:extLst>
              </p:cNvPr>
              <p:cNvSpPr>
                <a:spLocks/>
              </p:cNvSpPr>
              <p:nvPr/>
            </p:nvSpPr>
            <p:spPr bwMode="auto">
              <a:xfrm>
                <a:off x="1855" y="1939"/>
                <a:ext cx="23" cy="32"/>
              </a:xfrm>
              <a:custGeom>
                <a:avLst/>
                <a:gdLst>
                  <a:gd name="T0" fmla="*/ 4 w 23"/>
                  <a:gd name="T1" fmla="*/ 4 h 32"/>
                  <a:gd name="T2" fmla="*/ 2 w 23"/>
                  <a:gd name="T3" fmla="*/ 4 h 32"/>
                  <a:gd name="T4" fmla="*/ 0 w 23"/>
                  <a:gd name="T5" fmla="*/ 3 h 32"/>
                  <a:gd name="T6" fmla="*/ 0 w 23"/>
                  <a:gd name="T7" fmla="*/ 0 h 32"/>
                  <a:gd name="T8" fmla="*/ 6 w 23"/>
                  <a:gd name="T9" fmla="*/ 1 h 32"/>
                  <a:gd name="T10" fmla="*/ 8 w 23"/>
                  <a:gd name="T11" fmla="*/ 3 h 32"/>
                  <a:gd name="T12" fmla="*/ 9 w 23"/>
                  <a:gd name="T13" fmla="*/ 7 h 32"/>
                  <a:gd name="T14" fmla="*/ 12 w 23"/>
                  <a:gd name="T15" fmla="*/ 7 h 32"/>
                  <a:gd name="T16" fmla="*/ 15 w 23"/>
                  <a:gd name="T17" fmla="*/ 9 h 32"/>
                  <a:gd name="T18" fmla="*/ 17 w 23"/>
                  <a:gd name="T19" fmla="*/ 15 h 32"/>
                  <a:gd name="T20" fmla="*/ 21 w 23"/>
                  <a:gd name="T21" fmla="*/ 18 h 32"/>
                  <a:gd name="T22" fmla="*/ 15 w 23"/>
                  <a:gd name="T23" fmla="*/ 15 h 32"/>
                  <a:gd name="T24" fmla="*/ 15 w 23"/>
                  <a:gd name="T25" fmla="*/ 17 h 32"/>
                  <a:gd name="T26" fmla="*/ 17 w 23"/>
                  <a:gd name="T27" fmla="*/ 19 h 32"/>
                  <a:gd name="T28" fmla="*/ 21 w 23"/>
                  <a:gd name="T29" fmla="*/ 19 h 32"/>
                  <a:gd name="T30" fmla="*/ 19 w 23"/>
                  <a:gd name="T31" fmla="*/ 22 h 32"/>
                  <a:gd name="T32" fmla="*/ 22 w 23"/>
                  <a:gd name="T33" fmla="*/ 21 h 32"/>
                  <a:gd name="T34" fmla="*/ 22 w 23"/>
                  <a:gd name="T35" fmla="*/ 24 h 32"/>
                  <a:gd name="T36" fmla="*/ 19 w 23"/>
                  <a:gd name="T37" fmla="*/ 26 h 32"/>
                  <a:gd name="T38" fmla="*/ 23 w 23"/>
                  <a:gd name="T39" fmla="*/ 26 h 32"/>
                  <a:gd name="T40" fmla="*/ 23 w 23"/>
                  <a:gd name="T41" fmla="*/ 29 h 32"/>
                  <a:gd name="T42" fmla="*/ 21 w 23"/>
                  <a:gd name="T43" fmla="*/ 32 h 32"/>
                  <a:gd name="T44" fmla="*/ 18 w 23"/>
                  <a:gd name="T45" fmla="*/ 30 h 32"/>
                  <a:gd name="T46" fmla="*/ 17 w 23"/>
                  <a:gd name="T47" fmla="*/ 28 h 32"/>
                  <a:gd name="T48" fmla="*/ 15 w 23"/>
                  <a:gd name="T49" fmla="*/ 26 h 32"/>
                  <a:gd name="T50" fmla="*/ 15 w 23"/>
                  <a:gd name="T51" fmla="*/ 24 h 32"/>
                  <a:gd name="T52" fmla="*/ 13 w 23"/>
                  <a:gd name="T53" fmla="*/ 22 h 32"/>
                  <a:gd name="T54" fmla="*/ 7 w 23"/>
                  <a:gd name="T55" fmla="*/ 19 h 32"/>
                  <a:gd name="T56" fmla="*/ 9 w 23"/>
                  <a:gd name="T57" fmla="*/ 19 h 32"/>
                  <a:gd name="T58" fmla="*/ 7 w 23"/>
                  <a:gd name="T59" fmla="*/ 17 h 32"/>
                  <a:gd name="T60" fmla="*/ 9 w 23"/>
                  <a:gd name="T61" fmla="*/ 13 h 32"/>
                  <a:gd name="T62" fmla="*/ 7 w 23"/>
                  <a:gd name="T63" fmla="*/ 15 h 32"/>
                  <a:gd name="T64" fmla="*/ 4 w 23"/>
                  <a:gd name="T65" fmla="*/ 15 h 32"/>
                  <a:gd name="T66" fmla="*/ 5 w 23"/>
                  <a:gd name="T67" fmla="*/ 12 h 32"/>
                  <a:gd name="T68" fmla="*/ 5 w 23"/>
                  <a:gd name="T69" fmla="*/ 7 h 32"/>
                  <a:gd name="T70" fmla="*/ 4 w 23"/>
                  <a:gd name="T71" fmla="*/ 6 h 32"/>
                  <a:gd name="T72" fmla="*/ 5 w 23"/>
                  <a:gd name="T73" fmla="*/ 4 h 32"/>
                  <a:gd name="T74" fmla="*/ 5 w 23"/>
                  <a:gd name="T75" fmla="*/ 4 h 32"/>
                  <a:gd name="T76" fmla="*/ 4 w 23"/>
                  <a:gd name="T77" fmla="*/ 4 h 32"/>
                  <a:gd name="T78" fmla="*/ 4 w 23"/>
                  <a:gd name="T7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32">
                    <a:moveTo>
                      <a:pt x="4" y="4"/>
                    </a:moveTo>
                    <a:lnTo>
                      <a:pt x="2" y="4"/>
                    </a:lnTo>
                    <a:lnTo>
                      <a:pt x="0" y="3"/>
                    </a:lnTo>
                    <a:lnTo>
                      <a:pt x="0" y="0"/>
                    </a:lnTo>
                    <a:lnTo>
                      <a:pt x="6" y="1"/>
                    </a:lnTo>
                    <a:lnTo>
                      <a:pt x="8" y="3"/>
                    </a:lnTo>
                    <a:lnTo>
                      <a:pt x="9" y="7"/>
                    </a:lnTo>
                    <a:lnTo>
                      <a:pt x="12" y="7"/>
                    </a:lnTo>
                    <a:lnTo>
                      <a:pt x="15" y="9"/>
                    </a:lnTo>
                    <a:lnTo>
                      <a:pt x="17" y="15"/>
                    </a:lnTo>
                    <a:lnTo>
                      <a:pt x="21" y="18"/>
                    </a:lnTo>
                    <a:lnTo>
                      <a:pt x="15" y="15"/>
                    </a:lnTo>
                    <a:lnTo>
                      <a:pt x="15" y="17"/>
                    </a:lnTo>
                    <a:lnTo>
                      <a:pt x="17" y="19"/>
                    </a:lnTo>
                    <a:lnTo>
                      <a:pt x="21" y="19"/>
                    </a:lnTo>
                    <a:lnTo>
                      <a:pt x="19" y="22"/>
                    </a:lnTo>
                    <a:lnTo>
                      <a:pt x="22" y="21"/>
                    </a:lnTo>
                    <a:lnTo>
                      <a:pt x="22" y="24"/>
                    </a:lnTo>
                    <a:lnTo>
                      <a:pt x="19" y="26"/>
                    </a:lnTo>
                    <a:lnTo>
                      <a:pt x="23" y="26"/>
                    </a:lnTo>
                    <a:lnTo>
                      <a:pt x="23" y="29"/>
                    </a:lnTo>
                    <a:lnTo>
                      <a:pt x="21" y="32"/>
                    </a:lnTo>
                    <a:lnTo>
                      <a:pt x="18" y="30"/>
                    </a:lnTo>
                    <a:lnTo>
                      <a:pt x="17" y="28"/>
                    </a:lnTo>
                    <a:lnTo>
                      <a:pt x="15" y="26"/>
                    </a:lnTo>
                    <a:lnTo>
                      <a:pt x="15" y="24"/>
                    </a:lnTo>
                    <a:lnTo>
                      <a:pt x="13" y="22"/>
                    </a:lnTo>
                    <a:lnTo>
                      <a:pt x="7" y="19"/>
                    </a:lnTo>
                    <a:lnTo>
                      <a:pt x="9" y="19"/>
                    </a:lnTo>
                    <a:lnTo>
                      <a:pt x="7" y="17"/>
                    </a:lnTo>
                    <a:lnTo>
                      <a:pt x="9" y="13"/>
                    </a:lnTo>
                    <a:lnTo>
                      <a:pt x="7" y="15"/>
                    </a:lnTo>
                    <a:lnTo>
                      <a:pt x="4" y="15"/>
                    </a:lnTo>
                    <a:lnTo>
                      <a:pt x="5" y="12"/>
                    </a:lnTo>
                    <a:lnTo>
                      <a:pt x="5" y="7"/>
                    </a:lnTo>
                    <a:lnTo>
                      <a:pt x="4" y="6"/>
                    </a:lnTo>
                    <a:lnTo>
                      <a:pt x="5" y="4"/>
                    </a:lnTo>
                    <a:lnTo>
                      <a:pt x="5" y="4"/>
                    </a:lnTo>
                    <a:lnTo>
                      <a:pt x="4" y="4"/>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8" name="Freeform 24">
                <a:extLst>
                  <a:ext uri="{FF2B5EF4-FFF2-40B4-BE49-F238E27FC236}">
                    <a16:creationId xmlns:a16="http://schemas.microsoft.com/office/drawing/2014/main" id="{C2DDE26A-A33C-4C80-BD47-4003F72694E8}"/>
                  </a:ext>
                </a:extLst>
              </p:cNvPr>
              <p:cNvSpPr>
                <a:spLocks/>
              </p:cNvSpPr>
              <p:nvPr/>
            </p:nvSpPr>
            <p:spPr bwMode="auto">
              <a:xfrm>
                <a:off x="1854" y="1943"/>
                <a:ext cx="5" cy="5"/>
              </a:xfrm>
              <a:custGeom>
                <a:avLst/>
                <a:gdLst>
                  <a:gd name="T0" fmla="*/ 5 w 5"/>
                  <a:gd name="T1" fmla="*/ 0 h 5"/>
                  <a:gd name="T2" fmla="*/ 5 w 5"/>
                  <a:gd name="T3" fmla="*/ 2 h 5"/>
                  <a:gd name="T4" fmla="*/ 0 w 5"/>
                  <a:gd name="T5" fmla="*/ 5 h 5"/>
                  <a:gd name="T6" fmla="*/ 0 w 5"/>
                  <a:gd name="T7" fmla="*/ 3 h 5"/>
                  <a:gd name="T8" fmla="*/ 2 w 5"/>
                  <a:gd name="T9" fmla="*/ 2 h 5"/>
                  <a:gd name="T10" fmla="*/ 5 w 5"/>
                  <a:gd name="T11" fmla="*/ 0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2"/>
                    </a:lnTo>
                    <a:lnTo>
                      <a:pt x="0" y="5"/>
                    </a:lnTo>
                    <a:lnTo>
                      <a:pt x="0" y="3"/>
                    </a:lnTo>
                    <a:lnTo>
                      <a:pt x="2"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59" name="Freeform 25">
                <a:extLst>
                  <a:ext uri="{FF2B5EF4-FFF2-40B4-BE49-F238E27FC236}">
                    <a16:creationId xmlns:a16="http://schemas.microsoft.com/office/drawing/2014/main" id="{51484EDF-1464-4163-BC43-EEDBD8C9E128}"/>
                  </a:ext>
                </a:extLst>
              </p:cNvPr>
              <p:cNvSpPr>
                <a:spLocks/>
              </p:cNvSpPr>
              <p:nvPr/>
            </p:nvSpPr>
            <p:spPr bwMode="auto">
              <a:xfrm>
                <a:off x="1864" y="1931"/>
                <a:ext cx="5" cy="6"/>
              </a:xfrm>
              <a:custGeom>
                <a:avLst/>
                <a:gdLst>
                  <a:gd name="T0" fmla="*/ 0 w 5"/>
                  <a:gd name="T1" fmla="*/ 0 h 6"/>
                  <a:gd name="T2" fmla="*/ 3 w 5"/>
                  <a:gd name="T3" fmla="*/ 0 h 6"/>
                  <a:gd name="T4" fmla="*/ 5 w 5"/>
                  <a:gd name="T5" fmla="*/ 2 h 6"/>
                  <a:gd name="T6" fmla="*/ 4 w 5"/>
                  <a:gd name="T7" fmla="*/ 6 h 6"/>
                  <a:gd name="T8" fmla="*/ 0 w 5"/>
                  <a:gd name="T9" fmla="*/ 6 h 6"/>
                  <a:gd name="T10" fmla="*/ 0 w 5"/>
                  <a:gd name="T11" fmla="*/ 2 h 6"/>
                  <a:gd name="T12" fmla="*/ 0 w 5"/>
                  <a:gd name="T13" fmla="*/ 0 h 6"/>
                  <a:gd name="T14" fmla="*/ 0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0"/>
                    </a:moveTo>
                    <a:lnTo>
                      <a:pt x="3" y="0"/>
                    </a:lnTo>
                    <a:lnTo>
                      <a:pt x="5" y="2"/>
                    </a:lnTo>
                    <a:lnTo>
                      <a:pt x="4" y="6"/>
                    </a:lnTo>
                    <a:lnTo>
                      <a:pt x="0" y="6"/>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0" name="Freeform 26">
                <a:extLst>
                  <a:ext uri="{FF2B5EF4-FFF2-40B4-BE49-F238E27FC236}">
                    <a16:creationId xmlns:a16="http://schemas.microsoft.com/office/drawing/2014/main" id="{E5D23695-6669-4D31-A401-1F553A22722B}"/>
                  </a:ext>
                </a:extLst>
              </p:cNvPr>
              <p:cNvSpPr>
                <a:spLocks/>
              </p:cNvSpPr>
              <p:nvPr/>
            </p:nvSpPr>
            <p:spPr bwMode="auto">
              <a:xfrm>
                <a:off x="1878" y="2002"/>
                <a:ext cx="3" cy="4"/>
              </a:xfrm>
              <a:custGeom>
                <a:avLst/>
                <a:gdLst>
                  <a:gd name="T0" fmla="*/ 0 w 3"/>
                  <a:gd name="T1" fmla="*/ 1 h 4"/>
                  <a:gd name="T2" fmla="*/ 1 w 3"/>
                  <a:gd name="T3" fmla="*/ 1 h 4"/>
                  <a:gd name="T4" fmla="*/ 1 w 3"/>
                  <a:gd name="T5" fmla="*/ 0 h 4"/>
                  <a:gd name="T6" fmla="*/ 3 w 3"/>
                  <a:gd name="T7" fmla="*/ 1 h 4"/>
                  <a:gd name="T8" fmla="*/ 3 w 3"/>
                  <a:gd name="T9" fmla="*/ 4 h 4"/>
                  <a:gd name="T10" fmla="*/ 0 w 3"/>
                  <a:gd name="T11" fmla="*/ 1 h 4"/>
                  <a:gd name="T12" fmla="*/ 0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1"/>
                    </a:moveTo>
                    <a:lnTo>
                      <a:pt x="1" y="1"/>
                    </a:lnTo>
                    <a:lnTo>
                      <a:pt x="1" y="0"/>
                    </a:lnTo>
                    <a:lnTo>
                      <a:pt x="3" y="1"/>
                    </a:lnTo>
                    <a:lnTo>
                      <a:pt x="3"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1" name="Rectangle 27">
                <a:extLst>
                  <a:ext uri="{FF2B5EF4-FFF2-40B4-BE49-F238E27FC236}">
                    <a16:creationId xmlns:a16="http://schemas.microsoft.com/office/drawing/2014/main" id="{53227F2E-95AC-488C-8C66-4C8061C08AE7}"/>
                  </a:ext>
                </a:extLst>
              </p:cNvPr>
              <p:cNvSpPr>
                <a:spLocks noChangeArrowheads="1"/>
              </p:cNvSpPr>
              <p:nvPr/>
            </p:nvSpPr>
            <p:spPr bwMode="auto">
              <a:xfrm>
                <a:off x="1879" y="200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2" name="Freeform 28">
                <a:extLst>
                  <a:ext uri="{FF2B5EF4-FFF2-40B4-BE49-F238E27FC236}">
                    <a16:creationId xmlns:a16="http://schemas.microsoft.com/office/drawing/2014/main" id="{5ED9C565-7D1A-4298-842A-509424595A77}"/>
                  </a:ext>
                </a:extLst>
              </p:cNvPr>
              <p:cNvSpPr>
                <a:spLocks/>
              </p:cNvSpPr>
              <p:nvPr/>
            </p:nvSpPr>
            <p:spPr bwMode="auto">
              <a:xfrm>
                <a:off x="1903" y="1948"/>
                <a:ext cx="1" cy="11"/>
              </a:xfrm>
              <a:custGeom>
                <a:avLst/>
                <a:gdLst>
                  <a:gd name="T0" fmla="*/ 1 w 1"/>
                  <a:gd name="T1" fmla="*/ 0 h 11"/>
                  <a:gd name="T2" fmla="*/ 1 w 1"/>
                  <a:gd name="T3" fmla="*/ 0 h 11"/>
                  <a:gd name="T4" fmla="*/ 0 w 1"/>
                  <a:gd name="T5" fmla="*/ 2 h 11"/>
                  <a:gd name="T6" fmla="*/ 1 w 1"/>
                  <a:gd name="T7" fmla="*/ 11 h 11"/>
                  <a:gd name="T8" fmla="*/ 1 w 1"/>
                  <a:gd name="T9" fmla="*/ 11 h 11"/>
                  <a:gd name="T10" fmla="*/ 1 w 1"/>
                  <a:gd name="T11" fmla="*/ 9 h 11"/>
                  <a:gd name="T12" fmla="*/ 0 w 1"/>
                  <a:gd name="T13" fmla="*/ 6 h 11"/>
                  <a:gd name="T14" fmla="*/ 0 w 1"/>
                  <a:gd name="T15" fmla="*/ 3 h 11"/>
                  <a:gd name="T16" fmla="*/ 1 w 1"/>
                  <a:gd name="T17" fmla="*/ 0 h 11"/>
                  <a:gd name="T18" fmla="*/ 1 w 1"/>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1">
                    <a:moveTo>
                      <a:pt x="1" y="0"/>
                    </a:moveTo>
                    <a:lnTo>
                      <a:pt x="1" y="0"/>
                    </a:lnTo>
                    <a:lnTo>
                      <a:pt x="0" y="2"/>
                    </a:lnTo>
                    <a:lnTo>
                      <a:pt x="1" y="11"/>
                    </a:lnTo>
                    <a:lnTo>
                      <a:pt x="1" y="11"/>
                    </a:lnTo>
                    <a:lnTo>
                      <a:pt x="1" y="9"/>
                    </a:lnTo>
                    <a:lnTo>
                      <a:pt x="0" y="6"/>
                    </a:lnTo>
                    <a:lnTo>
                      <a:pt x="0" y="3"/>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3" name="Freeform 29">
                <a:extLst>
                  <a:ext uri="{FF2B5EF4-FFF2-40B4-BE49-F238E27FC236}">
                    <a16:creationId xmlns:a16="http://schemas.microsoft.com/office/drawing/2014/main" id="{4E04CC67-B077-4111-8837-71461199B19D}"/>
                  </a:ext>
                </a:extLst>
              </p:cNvPr>
              <p:cNvSpPr>
                <a:spLocks/>
              </p:cNvSpPr>
              <p:nvPr/>
            </p:nvSpPr>
            <p:spPr bwMode="auto">
              <a:xfrm>
                <a:off x="2005" y="1489"/>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4" name="Freeform 30">
                <a:extLst>
                  <a:ext uri="{FF2B5EF4-FFF2-40B4-BE49-F238E27FC236}">
                    <a16:creationId xmlns:a16="http://schemas.microsoft.com/office/drawing/2014/main" id="{1E2FD237-DEA5-45E9-9DF9-DB05D04EDAAB}"/>
                  </a:ext>
                </a:extLst>
              </p:cNvPr>
              <p:cNvSpPr>
                <a:spLocks/>
              </p:cNvSpPr>
              <p:nvPr/>
            </p:nvSpPr>
            <p:spPr bwMode="auto">
              <a:xfrm>
                <a:off x="2109" y="1427"/>
                <a:ext cx="20" cy="10"/>
              </a:xfrm>
              <a:custGeom>
                <a:avLst/>
                <a:gdLst>
                  <a:gd name="T0" fmla="*/ 10 w 20"/>
                  <a:gd name="T1" fmla="*/ 0 h 10"/>
                  <a:gd name="T2" fmla="*/ 6 w 20"/>
                  <a:gd name="T3" fmla="*/ 1 h 10"/>
                  <a:gd name="T4" fmla="*/ 0 w 20"/>
                  <a:gd name="T5" fmla="*/ 3 h 10"/>
                  <a:gd name="T6" fmla="*/ 2 w 20"/>
                  <a:gd name="T7" fmla="*/ 6 h 10"/>
                  <a:gd name="T8" fmla="*/ 9 w 20"/>
                  <a:gd name="T9" fmla="*/ 10 h 10"/>
                  <a:gd name="T10" fmla="*/ 11 w 20"/>
                  <a:gd name="T11" fmla="*/ 10 h 10"/>
                  <a:gd name="T12" fmla="*/ 17 w 20"/>
                  <a:gd name="T13" fmla="*/ 9 h 10"/>
                  <a:gd name="T14" fmla="*/ 20 w 20"/>
                  <a:gd name="T15" fmla="*/ 7 h 10"/>
                  <a:gd name="T16" fmla="*/ 17 w 20"/>
                  <a:gd name="T17" fmla="*/ 5 h 10"/>
                  <a:gd name="T18" fmla="*/ 15 w 20"/>
                  <a:gd name="T19" fmla="*/ 3 h 10"/>
                  <a:gd name="T20" fmla="*/ 11 w 20"/>
                  <a:gd name="T21" fmla="*/ 2 h 10"/>
                  <a:gd name="T22" fmla="*/ 10 w 20"/>
                  <a:gd name="T23" fmla="*/ 0 h 10"/>
                  <a:gd name="T24" fmla="*/ 10 w 2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0">
                    <a:moveTo>
                      <a:pt x="10" y="0"/>
                    </a:moveTo>
                    <a:lnTo>
                      <a:pt x="6" y="1"/>
                    </a:lnTo>
                    <a:lnTo>
                      <a:pt x="0" y="3"/>
                    </a:lnTo>
                    <a:lnTo>
                      <a:pt x="2" y="6"/>
                    </a:lnTo>
                    <a:lnTo>
                      <a:pt x="9" y="10"/>
                    </a:lnTo>
                    <a:lnTo>
                      <a:pt x="11" y="10"/>
                    </a:lnTo>
                    <a:lnTo>
                      <a:pt x="17" y="9"/>
                    </a:lnTo>
                    <a:lnTo>
                      <a:pt x="20" y="7"/>
                    </a:lnTo>
                    <a:lnTo>
                      <a:pt x="17" y="5"/>
                    </a:lnTo>
                    <a:lnTo>
                      <a:pt x="15" y="3"/>
                    </a:lnTo>
                    <a:lnTo>
                      <a:pt x="11" y="2"/>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5" name="Freeform 31">
                <a:extLst>
                  <a:ext uri="{FF2B5EF4-FFF2-40B4-BE49-F238E27FC236}">
                    <a16:creationId xmlns:a16="http://schemas.microsoft.com/office/drawing/2014/main" id="{60942DF1-681C-44B7-8C8F-90B668B62BFD}"/>
                  </a:ext>
                </a:extLst>
              </p:cNvPr>
              <p:cNvSpPr>
                <a:spLocks/>
              </p:cNvSpPr>
              <p:nvPr/>
            </p:nvSpPr>
            <p:spPr bwMode="auto">
              <a:xfrm>
                <a:off x="2113" y="1461"/>
                <a:ext cx="17" cy="6"/>
              </a:xfrm>
              <a:custGeom>
                <a:avLst/>
                <a:gdLst>
                  <a:gd name="T0" fmla="*/ 10 w 17"/>
                  <a:gd name="T1" fmla="*/ 6 h 6"/>
                  <a:gd name="T2" fmla="*/ 16 w 17"/>
                  <a:gd name="T3" fmla="*/ 4 h 6"/>
                  <a:gd name="T4" fmla="*/ 17 w 17"/>
                  <a:gd name="T5" fmla="*/ 2 h 6"/>
                  <a:gd name="T6" fmla="*/ 15 w 17"/>
                  <a:gd name="T7" fmla="*/ 1 h 6"/>
                  <a:gd name="T8" fmla="*/ 12 w 17"/>
                  <a:gd name="T9" fmla="*/ 0 h 6"/>
                  <a:gd name="T10" fmla="*/ 10 w 17"/>
                  <a:gd name="T11" fmla="*/ 0 h 6"/>
                  <a:gd name="T12" fmla="*/ 4 w 17"/>
                  <a:gd name="T13" fmla="*/ 1 h 6"/>
                  <a:gd name="T14" fmla="*/ 0 w 17"/>
                  <a:gd name="T15" fmla="*/ 2 h 6"/>
                  <a:gd name="T16" fmla="*/ 2 w 17"/>
                  <a:gd name="T17" fmla="*/ 4 h 6"/>
                  <a:gd name="T18" fmla="*/ 10 w 17"/>
                  <a:gd name="T19" fmla="*/ 6 h 6"/>
                  <a:gd name="T20" fmla="*/ 10 w 1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6">
                    <a:moveTo>
                      <a:pt x="10" y="6"/>
                    </a:moveTo>
                    <a:lnTo>
                      <a:pt x="16" y="4"/>
                    </a:lnTo>
                    <a:lnTo>
                      <a:pt x="17" y="2"/>
                    </a:lnTo>
                    <a:lnTo>
                      <a:pt x="15" y="1"/>
                    </a:lnTo>
                    <a:lnTo>
                      <a:pt x="12" y="0"/>
                    </a:lnTo>
                    <a:lnTo>
                      <a:pt x="10" y="0"/>
                    </a:lnTo>
                    <a:lnTo>
                      <a:pt x="4" y="1"/>
                    </a:lnTo>
                    <a:lnTo>
                      <a:pt x="0" y="2"/>
                    </a:lnTo>
                    <a:lnTo>
                      <a:pt x="2" y="4"/>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6" name="Freeform 32">
                <a:extLst>
                  <a:ext uri="{FF2B5EF4-FFF2-40B4-BE49-F238E27FC236}">
                    <a16:creationId xmlns:a16="http://schemas.microsoft.com/office/drawing/2014/main" id="{8C8D218C-67D1-4309-8E49-606ECE51E291}"/>
                  </a:ext>
                </a:extLst>
              </p:cNvPr>
              <p:cNvSpPr>
                <a:spLocks/>
              </p:cNvSpPr>
              <p:nvPr/>
            </p:nvSpPr>
            <p:spPr bwMode="auto">
              <a:xfrm>
                <a:off x="2252" y="1468"/>
                <a:ext cx="20" cy="10"/>
              </a:xfrm>
              <a:custGeom>
                <a:avLst/>
                <a:gdLst>
                  <a:gd name="T0" fmla="*/ 6 w 20"/>
                  <a:gd name="T1" fmla="*/ 0 h 10"/>
                  <a:gd name="T2" fmla="*/ 3 w 20"/>
                  <a:gd name="T3" fmla="*/ 0 h 10"/>
                  <a:gd name="T4" fmla="*/ 0 w 20"/>
                  <a:gd name="T5" fmla="*/ 2 h 10"/>
                  <a:gd name="T6" fmla="*/ 1 w 20"/>
                  <a:gd name="T7" fmla="*/ 4 h 10"/>
                  <a:gd name="T8" fmla="*/ 3 w 20"/>
                  <a:gd name="T9" fmla="*/ 7 h 10"/>
                  <a:gd name="T10" fmla="*/ 3 w 20"/>
                  <a:gd name="T11" fmla="*/ 10 h 10"/>
                  <a:gd name="T12" fmla="*/ 9 w 20"/>
                  <a:gd name="T13" fmla="*/ 10 h 10"/>
                  <a:gd name="T14" fmla="*/ 12 w 20"/>
                  <a:gd name="T15" fmla="*/ 10 h 10"/>
                  <a:gd name="T16" fmla="*/ 18 w 20"/>
                  <a:gd name="T17" fmla="*/ 9 h 10"/>
                  <a:gd name="T18" fmla="*/ 20 w 20"/>
                  <a:gd name="T19" fmla="*/ 8 h 10"/>
                  <a:gd name="T20" fmla="*/ 20 w 20"/>
                  <a:gd name="T21" fmla="*/ 5 h 10"/>
                  <a:gd name="T22" fmla="*/ 14 w 20"/>
                  <a:gd name="T23" fmla="*/ 4 h 10"/>
                  <a:gd name="T24" fmla="*/ 12 w 20"/>
                  <a:gd name="T25" fmla="*/ 2 h 10"/>
                  <a:gd name="T26" fmla="*/ 9 w 20"/>
                  <a:gd name="T27" fmla="*/ 0 h 10"/>
                  <a:gd name="T28" fmla="*/ 6 w 20"/>
                  <a:gd name="T29" fmla="*/ 0 h 10"/>
                  <a:gd name="T30" fmla="*/ 6 w 20"/>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0">
                    <a:moveTo>
                      <a:pt x="6" y="0"/>
                    </a:moveTo>
                    <a:lnTo>
                      <a:pt x="3" y="0"/>
                    </a:lnTo>
                    <a:lnTo>
                      <a:pt x="0" y="2"/>
                    </a:lnTo>
                    <a:lnTo>
                      <a:pt x="1" y="4"/>
                    </a:lnTo>
                    <a:lnTo>
                      <a:pt x="3" y="7"/>
                    </a:lnTo>
                    <a:lnTo>
                      <a:pt x="3" y="10"/>
                    </a:lnTo>
                    <a:lnTo>
                      <a:pt x="9" y="10"/>
                    </a:lnTo>
                    <a:lnTo>
                      <a:pt x="12" y="10"/>
                    </a:lnTo>
                    <a:lnTo>
                      <a:pt x="18" y="9"/>
                    </a:lnTo>
                    <a:lnTo>
                      <a:pt x="20" y="8"/>
                    </a:lnTo>
                    <a:lnTo>
                      <a:pt x="20" y="5"/>
                    </a:lnTo>
                    <a:lnTo>
                      <a:pt x="14" y="4"/>
                    </a:lnTo>
                    <a:lnTo>
                      <a:pt x="12" y="2"/>
                    </a:lnTo>
                    <a:lnTo>
                      <a:pt x="9"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7" name="Freeform 33">
                <a:extLst>
                  <a:ext uri="{FF2B5EF4-FFF2-40B4-BE49-F238E27FC236}">
                    <a16:creationId xmlns:a16="http://schemas.microsoft.com/office/drawing/2014/main" id="{384BF7A7-81F0-41C4-A6E9-776C8711F7AC}"/>
                  </a:ext>
                </a:extLst>
              </p:cNvPr>
              <p:cNvSpPr>
                <a:spLocks/>
              </p:cNvSpPr>
              <p:nvPr/>
            </p:nvSpPr>
            <p:spPr bwMode="auto">
              <a:xfrm>
                <a:off x="2255" y="1478"/>
                <a:ext cx="25" cy="8"/>
              </a:xfrm>
              <a:custGeom>
                <a:avLst/>
                <a:gdLst>
                  <a:gd name="T0" fmla="*/ 24 w 25"/>
                  <a:gd name="T1" fmla="*/ 0 h 8"/>
                  <a:gd name="T2" fmla="*/ 22 w 25"/>
                  <a:gd name="T3" fmla="*/ 0 h 8"/>
                  <a:gd name="T4" fmla="*/ 18 w 25"/>
                  <a:gd name="T5" fmla="*/ 0 h 8"/>
                  <a:gd name="T6" fmla="*/ 2 w 25"/>
                  <a:gd name="T7" fmla="*/ 2 h 8"/>
                  <a:gd name="T8" fmla="*/ 0 w 25"/>
                  <a:gd name="T9" fmla="*/ 3 h 8"/>
                  <a:gd name="T10" fmla="*/ 0 w 25"/>
                  <a:gd name="T11" fmla="*/ 7 h 8"/>
                  <a:gd name="T12" fmla="*/ 8 w 25"/>
                  <a:gd name="T13" fmla="*/ 8 h 8"/>
                  <a:gd name="T14" fmla="*/ 15 w 25"/>
                  <a:gd name="T15" fmla="*/ 8 h 8"/>
                  <a:gd name="T16" fmla="*/ 19 w 25"/>
                  <a:gd name="T17" fmla="*/ 7 h 8"/>
                  <a:gd name="T18" fmla="*/ 23 w 25"/>
                  <a:gd name="T19" fmla="*/ 6 h 8"/>
                  <a:gd name="T20" fmla="*/ 25 w 25"/>
                  <a:gd name="T21" fmla="*/ 3 h 8"/>
                  <a:gd name="T22" fmla="*/ 24 w 25"/>
                  <a:gd name="T23" fmla="*/ 0 h 8"/>
                  <a:gd name="T24" fmla="*/ 24 w 25"/>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8">
                    <a:moveTo>
                      <a:pt x="24" y="0"/>
                    </a:moveTo>
                    <a:lnTo>
                      <a:pt x="22" y="0"/>
                    </a:lnTo>
                    <a:lnTo>
                      <a:pt x="18" y="0"/>
                    </a:lnTo>
                    <a:lnTo>
                      <a:pt x="2" y="2"/>
                    </a:lnTo>
                    <a:lnTo>
                      <a:pt x="0" y="3"/>
                    </a:lnTo>
                    <a:lnTo>
                      <a:pt x="0" y="7"/>
                    </a:lnTo>
                    <a:lnTo>
                      <a:pt x="8" y="8"/>
                    </a:lnTo>
                    <a:lnTo>
                      <a:pt x="15" y="8"/>
                    </a:lnTo>
                    <a:lnTo>
                      <a:pt x="19" y="7"/>
                    </a:lnTo>
                    <a:lnTo>
                      <a:pt x="23" y="6"/>
                    </a:lnTo>
                    <a:lnTo>
                      <a:pt x="25" y="3"/>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8" name="Freeform 34">
                <a:extLst>
                  <a:ext uri="{FF2B5EF4-FFF2-40B4-BE49-F238E27FC236}">
                    <a16:creationId xmlns:a16="http://schemas.microsoft.com/office/drawing/2014/main" id="{AC7FFD82-E701-46DC-B52C-C43AFC7F11FB}"/>
                  </a:ext>
                </a:extLst>
              </p:cNvPr>
              <p:cNvSpPr>
                <a:spLocks/>
              </p:cNvSpPr>
              <p:nvPr/>
            </p:nvSpPr>
            <p:spPr bwMode="auto">
              <a:xfrm>
                <a:off x="2263" y="1485"/>
                <a:ext cx="20" cy="4"/>
              </a:xfrm>
              <a:custGeom>
                <a:avLst/>
                <a:gdLst>
                  <a:gd name="T0" fmla="*/ 20 w 20"/>
                  <a:gd name="T1" fmla="*/ 0 h 4"/>
                  <a:gd name="T2" fmla="*/ 15 w 20"/>
                  <a:gd name="T3" fmla="*/ 0 h 4"/>
                  <a:gd name="T4" fmla="*/ 7 w 20"/>
                  <a:gd name="T5" fmla="*/ 1 h 4"/>
                  <a:gd name="T6" fmla="*/ 3 w 20"/>
                  <a:gd name="T7" fmla="*/ 2 h 4"/>
                  <a:gd name="T8" fmla="*/ 0 w 20"/>
                  <a:gd name="T9" fmla="*/ 4 h 4"/>
                  <a:gd name="T10" fmla="*/ 6 w 20"/>
                  <a:gd name="T11" fmla="*/ 4 h 4"/>
                  <a:gd name="T12" fmla="*/ 15 w 20"/>
                  <a:gd name="T13" fmla="*/ 3 h 4"/>
                  <a:gd name="T14" fmla="*/ 17 w 20"/>
                  <a:gd name="T15" fmla="*/ 2 h 4"/>
                  <a:gd name="T16" fmla="*/ 20 w 20"/>
                  <a:gd name="T17" fmla="*/ 0 h 4"/>
                  <a:gd name="T18" fmla="*/ 20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20" y="0"/>
                    </a:moveTo>
                    <a:lnTo>
                      <a:pt x="15" y="0"/>
                    </a:lnTo>
                    <a:lnTo>
                      <a:pt x="7" y="1"/>
                    </a:lnTo>
                    <a:lnTo>
                      <a:pt x="3" y="2"/>
                    </a:lnTo>
                    <a:lnTo>
                      <a:pt x="0" y="4"/>
                    </a:lnTo>
                    <a:lnTo>
                      <a:pt x="6" y="4"/>
                    </a:lnTo>
                    <a:lnTo>
                      <a:pt x="15" y="3"/>
                    </a:lnTo>
                    <a:lnTo>
                      <a:pt x="17" y="2"/>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69" name="Freeform 35">
                <a:extLst>
                  <a:ext uri="{FF2B5EF4-FFF2-40B4-BE49-F238E27FC236}">
                    <a16:creationId xmlns:a16="http://schemas.microsoft.com/office/drawing/2014/main" id="{14F03BA5-0CBD-4DB9-AB17-C1E387797735}"/>
                  </a:ext>
                </a:extLst>
              </p:cNvPr>
              <p:cNvSpPr>
                <a:spLocks/>
              </p:cNvSpPr>
              <p:nvPr/>
            </p:nvSpPr>
            <p:spPr bwMode="auto">
              <a:xfrm>
                <a:off x="2303" y="1497"/>
                <a:ext cx="9" cy="2"/>
              </a:xfrm>
              <a:custGeom>
                <a:avLst/>
                <a:gdLst>
                  <a:gd name="T0" fmla="*/ 5 w 9"/>
                  <a:gd name="T1" fmla="*/ 2 h 2"/>
                  <a:gd name="T2" fmla="*/ 9 w 9"/>
                  <a:gd name="T3" fmla="*/ 0 h 2"/>
                  <a:gd name="T4" fmla="*/ 3 w 9"/>
                  <a:gd name="T5" fmla="*/ 1 h 2"/>
                  <a:gd name="T6" fmla="*/ 0 w 9"/>
                  <a:gd name="T7" fmla="*/ 2 h 2"/>
                  <a:gd name="T8" fmla="*/ 3 w 9"/>
                  <a:gd name="T9" fmla="*/ 1 h 2"/>
                  <a:gd name="T10" fmla="*/ 5 w 9"/>
                  <a:gd name="T11" fmla="*/ 2 h 2"/>
                  <a:gd name="T12" fmla="*/ 5 w 9"/>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5" y="2"/>
                    </a:moveTo>
                    <a:lnTo>
                      <a:pt x="9" y="0"/>
                    </a:lnTo>
                    <a:lnTo>
                      <a:pt x="3" y="1"/>
                    </a:lnTo>
                    <a:lnTo>
                      <a:pt x="0" y="2"/>
                    </a:lnTo>
                    <a:lnTo>
                      <a:pt x="3" y="1"/>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0" name="Freeform 36">
                <a:extLst>
                  <a:ext uri="{FF2B5EF4-FFF2-40B4-BE49-F238E27FC236}">
                    <a16:creationId xmlns:a16="http://schemas.microsoft.com/office/drawing/2014/main" id="{CB33B236-C9FD-4678-AB0F-B58C0E5790E4}"/>
                  </a:ext>
                </a:extLst>
              </p:cNvPr>
              <p:cNvSpPr>
                <a:spLocks/>
              </p:cNvSpPr>
              <p:nvPr/>
            </p:nvSpPr>
            <p:spPr bwMode="auto">
              <a:xfrm>
                <a:off x="2374" y="1537"/>
                <a:ext cx="74" cy="56"/>
              </a:xfrm>
              <a:custGeom>
                <a:avLst/>
                <a:gdLst>
                  <a:gd name="T0" fmla="*/ 41 w 74"/>
                  <a:gd name="T1" fmla="*/ 2 h 56"/>
                  <a:gd name="T2" fmla="*/ 39 w 74"/>
                  <a:gd name="T3" fmla="*/ 1 h 56"/>
                  <a:gd name="T4" fmla="*/ 33 w 74"/>
                  <a:gd name="T5" fmla="*/ 0 h 56"/>
                  <a:gd name="T6" fmla="*/ 29 w 74"/>
                  <a:gd name="T7" fmla="*/ 0 h 56"/>
                  <a:gd name="T8" fmla="*/ 26 w 74"/>
                  <a:gd name="T9" fmla="*/ 1 h 56"/>
                  <a:gd name="T10" fmla="*/ 22 w 74"/>
                  <a:gd name="T11" fmla="*/ 1 h 56"/>
                  <a:gd name="T12" fmla="*/ 12 w 74"/>
                  <a:gd name="T13" fmla="*/ 2 h 56"/>
                  <a:gd name="T14" fmla="*/ 10 w 74"/>
                  <a:gd name="T15" fmla="*/ 3 h 56"/>
                  <a:gd name="T16" fmla="*/ 7 w 74"/>
                  <a:gd name="T17" fmla="*/ 4 h 56"/>
                  <a:gd name="T18" fmla="*/ 6 w 74"/>
                  <a:gd name="T19" fmla="*/ 7 h 56"/>
                  <a:gd name="T20" fmla="*/ 10 w 74"/>
                  <a:gd name="T21" fmla="*/ 12 h 56"/>
                  <a:gd name="T22" fmla="*/ 14 w 74"/>
                  <a:gd name="T23" fmla="*/ 13 h 56"/>
                  <a:gd name="T24" fmla="*/ 10 w 74"/>
                  <a:gd name="T25" fmla="*/ 13 h 56"/>
                  <a:gd name="T26" fmla="*/ 5 w 74"/>
                  <a:gd name="T27" fmla="*/ 11 h 56"/>
                  <a:gd name="T28" fmla="*/ 2 w 74"/>
                  <a:gd name="T29" fmla="*/ 11 h 56"/>
                  <a:gd name="T30" fmla="*/ 0 w 74"/>
                  <a:gd name="T31" fmla="*/ 13 h 56"/>
                  <a:gd name="T32" fmla="*/ 1 w 74"/>
                  <a:gd name="T33" fmla="*/ 17 h 56"/>
                  <a:gd name="T34" fmla="*/ 0 w 74"/>
                  <a:gd name="T35" fmla="*/ 19 h 56"/>
                  <a:gd name="T36" fmla="*/ 1 w 74"/>
                  <a:gd name="T37" fmla="*/ 25 h 56"/>
                  <a:gd name="T38" fmla="*/ 0 w 74"/>
                  <a:gd name="T39" fmla="*/ 30 h 56"/>
                  <a:gd name="T40" fmla="*/ 0 w 74"/>
                  <a:gd name="T41" fmla="*/ 36 h 56"/>
                  <a:gd name="T42" fmla="*/ 1 w 74"/>
                  <a:gd name="T43" fmla="*/ 38 h 56"/>
                  <a:gd name="T44" fmla="*/ 5 w 74"/>
                  <a:gd name="T45" fmla="*/ 39 h 56"/>
                  <a:gd name="T46" fmla="*/ 6 w 74"/>
                  <a:gd name="T47" fmla="*/ 43 h 56"/>
                  <a:gd name="T48" fmla="*/ 8 w 74"/>
                  <a:gd name="T49" fmla="*/ 45 h 56"/>
                  <a:gd name="T50" fmla="*/ 7 w 74"/>
                  <a:gd name="T51" fmla="*/ 51 h 56"/>
                  <a:gd name="T52" fmla="*/ 10 w 74"/>
                  <a:gd name="T53" fmla="*/ 53 h 56"/>
                  <a:gd name="T54" fmla="*/ 12 w 74"/>
                  <a:gd name="T55" fmla="*/ 53 h 56"/>
                  <a:gd name="T56" fmla="*/ 7 w 74"/>
                  <a:gd name="T57" fmla="*/ 54 h 56"/>
                  <a:gd name="T58" fmla="*/ 7 w 74"/>
                  <a:gd name="T59" fmla="*/ 56 h 56"/>
                  <a:gd name="T60" fmla="*/ 10 w 74"/>
                  <a:gd name="T61" fmla="*/ 56 h 56"/>
                  <a:gd name="T62" fmla="*/ 18 w 74"/>
                  <a:gd name="T63" fmla="*/ 56 h 56"/>
                  <a:gd name="T64" fmla="*/ 20 w 74"/>
                  <a:gd name="T65" fmla="*/ 56 h 56"/>
                  <a:gd name="T66" fmla="*/ 26 w 74"/>
                  <a:gd name="T67" fmla="*/ 49 h 56"/>
                  <a:gd name="T68" fmla="*/ 29 w 74"/>
                  <a:gd name="T69" fmla="*/ 46 h 56"/>
                  <a:gd name="T70" fmla="*/ 31 w 74"/>
                  <a:gd name="T71" fmla="*/ 44 h 56"/>
                  <a:gd name="T72" fmla="*/ 26 w 74"/>
                  <a:gd name="T73" fmla="*/ 38 h 56"/>
                  <a:gd name="T74" fmla="*/ 20 w 74"/>
                  <a:gd name="T75" fmla="*/ 38 h 56"/>
                  <a:gd name="T76" fmla="*/ 24 w 74"/>
                  <a:gd name="T77" fmla="*/ 37 h 56"/>
                  <a:gd name="T78" fmla="*/ 32 w 74"/>
                  <a:gd name="T79" fmla="*/ 36 h 56"/>
                  <a:gd name="T80" fmla="*/ 45 w 74"/>
                  <a:gd name="T81" fmla="*/ 38 h 56"/>
                  <a:gd name="T82" fmla="*/ 49 w 74"/>
                  <a:gd name="T83" fmla="*/ 38 h 56"/>
                  <a:gd name="T84" fmla="*/ 51 w 74"/>
                  <a:gd name="T85" fmla="*/ 36 h 56"/>
                  <a:gd name="T86" fmla="*/ 54 w 74"/>
                  <a:gd name="T87" fmla="*/ 33 h 56"/>
                  <a:gd name="T88" fmla="*/ 58 w 74"/>
                  <a:gd name="T89" fmla="*/ 27 h 56"/>
                  <a:gd name="T90" fmla="*/ 57 w 74"/>
                  <a:gd name="T91" fmla="*/ 25 h 56"/>
                  <a:gd name="T92" fmla="*/ 60 w 74"/>
                  <a:gd name="T93" fmla="*/ 25 h 56"/>
                  <a:gd name="T94" fmla="*/ 62 w 74"/>
                  <a:gd name="T95" fmla="*/ 21 h 56"/>
                  <a:gd name="T96" fmla="*/ 70 w 74"/>
                  <a:gd name="T97" fmla="*/ 13 h 56"/>
                  <a:gd name="T98" fmla="*/ 73 w 74"/>
                  <a:gd name="T99" fmla="*/ 11 h 56"/>
                  <a:gd name="T100" fmla="*/ 74 w 74"/>
                  <a:gd name="T101" fmla="*/ 8 h 56"/>
                  <a:gd name="T102" fmla="*/ 70 w 74"/>
                  <a:gd name="T103" fmla="*/ 5 h 56"/>
                  <a:gd name="T104" fmla="*/ 68 w 74"/>
                  <a:gd name="T105" fmla="*/ 5 h 56"/>
                  <a:gd name="T106" fmla="*/ 57 w 74"/>
                  <a:gd name="T107" fmla="*/ 3 h 56"/>
                  <a:gd name="T108" fmla="*/ 51 w 74"/>
                  <a:gd name="T109" fmla="*/ 4 h 56"/>
                  <a:gd name="T110" fmla="*/ 49 w 74"/>
                  <a:gd name="T111" fmla="*/ 5 h 56"/>
                  <a:gd name="T112" fmla="*/ 45 w 74"/>
                  <a:gd name="T113" fmla="*/ 3 h 56"/>
                  <a:gd name="T114" fmla="*/ 43 w 74"/>
                  <a:gd name="T115" fmla="*/ 2 h 56"/>
                  <a:gd name="T116" fmla="*/ 41 w 74"/>
                  <a:gd name="T117" fmla="*/ 2 h 56"/>
                  <a:gd name="T118" fmla="*/ 41 w 74"/>
                  <a:gd name="T119"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56">
                    <a:moveTo>
                      <a:pt x="41" y="2"/>
                    </a:moveTo>
                    <a:lnTo>
                      <a:pt x="39" y="1"/>
                    </a:lnTo>
                    <a:lnTo>
                      <a:pt x="33" y="0"/>
                    </a:lnTo>
                    <a:lnTo>
                      <a:pt x="29" y="0"/>
                    </a:lnTo>
                    <a:lnTo>
                      <a:pt x="26" y="1"/>
                    </a:lnTo>
                    <a:lnTo>
                      <a:pt x="22" y="1"/>
                    </a:lnTo>
                    <a:lnTo>
                      <a:pt x="12" y="2"/>
                    </a:lnTo>
                    <a:lnTo>
                      <a:pt x="10" y="3"/>
                    </a:lnTo>
                    <a:lnTo>
                      <a:pt x="7" y="4"/>
                    </a:lnTo>
                    <a:lnTo>
                      <a:pt x="6" y="7"/>
                    </a:lnTo>
                    <a:lnTo>
                      <a:pt x="10" y="12"/>
                    </a:lnTo>
                    <a:lnTo>
                      <a:pt x="14" y="13"/>
                    </a:lnTo>
                    <a:lnTo>
                      <a:pt x="10" y="13"/>
                    </a:lnTo>
                    <a:lnTo>
                      <a:pt x="5" y="11"/>
                    </a:lnTo>
                    <a:lnTo>
                      <a:pt x="2" y="11"/>
                    </a:lnTo>
                    <a:lnTo>
                      <a:pt x="0" y="13"/>
                    </a:lnTo>
                    <a:lnTo>
                      <a:pt x="1" y="17"/>
                    </a:lnTo>
                    <a:lnTo>
                      <a:pt x="0" y="19"/>
                    </a:lnTo>
                    <a:lnTo>
                      <a:pt x="1" y="25"/>
                    </a:lnTo>
                    <a:lnTo>
                      <a:pt x="0" y="30"/>
                    </a:lnTo>
                    <a:lnTo>
                      <a:pt x="0" y="36"/>
                    </a:lnTo>
                    <a:lnTo>
                      <a:pt x="1" y="38"/>
                    </a:lnTo>
                    <a:lnTo>
                      <a:pt x="5" y="39"/>
                    </a:lnTo>
                    <a:lnTo>
                      <a:pt x="6" y="43"/>
                    </a:lnTo>
                    <a:lnTo>
                      <a:pt x="8" y="45"/>
                    </a:lnTo>
                    <a:lnTo>
                      <a:pt x="7" y="51"/>
                    </a:lnTo>
                    <a:lnTo>
                      <a:pt x="10" y="53"/>
                    </a:lnTo>
                    <a:lnTo>
                      <a:pt x="12" y="53"/>
                    </a:lnTo>
                    <a:lnTo>
                      <a:pt x="7" y="54"/>
                    </a:lnTo>
                    <a:lnTo>
                      <a:pt x="7" y="56"/>
                    </a:lnTo>
                    <a:lnTo>
                      <a:pt x="10" y="56"/>
                    </a:lnTo>
                    <a:lnTo>
                      <a:pt x="18" y="56"/>
                    </a:lnTo>
                    <a:lnTo>
                      <a:pt x="20" y="56"/>
                    </a:lnTo>
                    <a:lnTo>
                      <a:pt x="26" y="49"/>
                    </a:lnTo>
                    <a:lnTo>
                      <a:pt x="29" y="46"/>
                    </a:lnTo>
                    <a:lnTo>
                      <a:pt x="31" y="44"/>
                    </a:lnTo>
                    <a:lnTo>
                      <a:pt x="26" y="38"/>
                    </a:lnTo>
                    <a:lnTo>
                      <a:pt x="20" y="38"/>
                    </a:lnTo>
                    <a:lnTo>
                      <a:pt x="24" y="37"/>
                    </a:lnTo>
                    <a:lnTo>
                      <a:pt x="32" y="36"/>
                    </a:lnTo>
                    <a:lnTo>
                      <a:pt x="45" y="38"/>
                    </a:lnTo>
                    <a:lnTo>
                      <a:pt x="49" y="38"/>
                    </a:lnTo>
                    <a:lnTo>
                      <a:pt x="51" y="36"/>
                    </a:lnTo>
                    <a:lnTo>
                      <a:pt x="54" y="33"/>
                    </a:lnTo>
                    <a:lnTo>
                      <a:pt x="58" y="27"/>
                    </a:lnTo>
                    <a:lnTo>
                      <a:pt x="57" y="25"/>
                    </a:lnTo>
                    <a:lnTo>
                      <a:pt x="60" y="25"/>
                    </a:lnTo>
                    <a:lnTo>
                      <a:pt x="62" y="21"/>
                    </a:lnTo>
                    <a:lnTo>
                      <a:pt x="70" y="13"/>
                    </a:lnTo>
                    <a:lnTo>
                      <a:pt x="73" y="11"/>
                    </a:lnTo>
                    <a:lnTo>
                      <a:pt x="74" y="8"/>
                    </a:lnTo>
                    <a:lnTo>
                      <a:pt x="70" y="5"/>
                    </a:lnTo>
                    <a:lnTo>
                      <a:pt x="68" y="5"/>
                    </a:lnTo>
                    <a:lnTo>
                      <a:pt x="57" y="3"/>
                    </a:lnTo>
                    <a:lnTo>
                      <a:pt x="51" y="4"/>
                    </a:lnTo>
                    <a:lnTo>
                      <a:pt x="49" y="5"/>
                    </a:lnTo>
                    <a:lnTo>
                      <a:pt x="45" y="3"/>
                    </a:lnTo>
                    <a:lnTo>
                      <a:pt x="43" y="2"/>
                    </a:lnTo>
                    <a:lnTo>
                      <a:pt x="41" y="2"/>
                    </a:lnTo>
                    <a:lnTo>
                      <a:pt x="4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1" name="Freeform 37">
                <a:extLst>
                  <a:ext uri="{FF2B5EF4-FFF2-40B4-BE49-F238E27FC236}">
                    <a16:creationId xmlns:a16="http://schemas.microsoft.com/office/drawing/2014/main" id="{F8698516-F50F-4015-AFBA-7C8E60571791}"/>
                  </a:ext>
                </a:extLst>
              </p:cNvPr>
              <p:cNvSpPr>
                <a:spLocks/>
              </p:cNvSpPr>
              <p:nvPr/>
            </p:nvSpPr>
            <p:spPr bwMode="auto">
              <a:xfrm>
                <a:off x="2436" y="1439"/>
                <a:ext cx="21" cy="13"/>
              </a:xfrm>
              <a:custGeom>
                <a:avLst/>
                <a:gdLst>
                  <a:gd name="T0" fmla="*/ 16 w 21"/>
                  <a:gd name="T1" fmla="*/ 3 h 13"/>
                  <a:gd name="T2" fmla="*/ 11 w 21"/>
                  <a:gd name="T3" fmla="*/ 0 h 13"/>
                  <a:gd name="T4" fmla="*/ 7 w 21"/>
                  <a:gd name="T5" fmla="*/ 0 h 13"/>
                  <a:gd name="T6" fmla="*/ 5 w 21"/>
                  <a:gd name="T7" fmla="*/ 0 h 13"/>
                  <a:gd name="T8" fmla="*/ 3 w 21"/>
                  <a:gd name="T9" fmla="*/ 0 h 13"/>
                  <a:gd name="T10" fmla="*/ 0 w 21"/>
                  <a:gd name="T11" fmla="*/ 4 h 13"/>
                  <a:gd name="T12" fmla="*/ 0 w 21"/>
                  <a:gd name="T13" fmla="*/ 6 h 13"/>
                  <a:gd name="T14" fmla="*/ 1 w 21"/>
                  <a:gd name="T15" fmla="*/ 10 h 13"/>
                  <a:gd name="T16" fmla="*/ 5 w 21"/>
                  <a:gd name="T17" fmla="*/ 11 h 13"/>
                  <a:gd name="T18" fmla="*/ 13 w 21"/>
                  <a:gd name="T19" fmla="*/ 13 h 13"/>
                  <a:gd name="T20" fmla="*/ 16 w 21"/>
                  <a:gd name="T21" fmla="*/ 13 h 13"/>
                  <a:gd name="T22" fmla="*/ 18 w 21"/>
                  <a:gd name="T23" fmla="*/ 12 h 13"/>
                  <a:gd name="T24" fmla="*/ 21 w 21"/>
                  <a:gd name="T25" fmla="*/ 8 h 13"/>
                  <a:gd name="T26" fmla="*/ 21 w 21"/>
                  <a:gd name="T27" fmla="*/ 6 h 13"/>
                  <a:gd name="T28" fmla="*/ 16 w 21"/>
                  <a:gd name="T29" fmla="*/ 3 h 13"/>
                  <a:gd name="T30" fmla="*/ 16 w 21"/>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3">
                    <a:moveTo>
                      <a:pt x="16" y="3"/>
                    </a:moveTo>
                    <a:lnTo>
                      <a:pt x="11" y="0"/>
                    </a:lnTo>
                    <a:lnTo>
                      <a:pt x="7" y="0"/>
                    </a:lnTo>
                    <a:lnTo>
                      <a:pt x="5" y="0"/>
                    </a:lnTo>
                    <a:lnTo>
                      <a:pt x="3" y="0"/>
                    </a:lnTo>
                    <a:lnTo>
                      <a:pt x="0" y="4"/>
                    </a:lnTo>
                    <a:lnTo>
                      <a:pt x="0" y="6"/>
                    </a:lnTo>
                    <a:lnTo>
                      <a:pt x="1" y="10"/>
                    </a:lnTo>
                    <a:lnTo>
                      <a:pt x="5" y="11"/>
                    </a:lnTo>
                    <a:lnTo>
                      <a:pt x="13" y="13"/>
                    </a:lnTo>
                    <a:lnTo>
                      <a:pt x="16" y="13"/>
                    </a:lnTo>
                    <a:lnTo>
                      <a:pt x="18" y="12"/>
                    </a:lnTo>
                    <a:lnTo>
                      <a:pt x="21" y="8"/>
                    </a:lnTo>
                    <a:lnTo>
                      <a:pt x="21" y="6"/>
                    </a:lnTo>
                    <a:lnTo>
                      <a:pt x="16" y="3"/>
                    </a:lnTo>
                    <a:lnTo>
                      <a:pt x="1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2" name="Freeform 38">
                <a:extLst>
                  <a:ext uri="{FF2B5EF4-FFF2-40B4-BE49-F238E27FC236}">
                    <a16:creationId xmlns:a16="http://schemas.microsoft.com/office/drawing/2014/main" id="{13894A76-2F95-4467-9E87-85E452A22D28}"/>
                  </a:ext>
                </a:extLst>
              </p:cNvPr>
              <p:cNvSpPr>
                <a:spLocks/>
              </p:cNvSpPr>
              <p:nvPr/>
            </p:nvSpPr>
            <p:spPr bwMode="auto">
              <a:xfrm>
                <a:off x="2444" y="1463"/>
                <a:ext cx="13" cy="10"/>
              </a:xfrm>
              <a:custGeom>
                <a:avLst/>
                <a:gdLst>
                  <a:gd name="T0" fmla="*/ 8 w 13"/>
                  <a:gd name="T1" fmla="*/ 10 h 10"/>
                  <a:gd name="T2" fmla="*/ 9 w 13"/>
                  <a:gd name="T3" fmla="*/ 9 h 10"/>
                  <a:gd name="T4" fmla="*/ 13 w 13"/>
                  <a:gd name="T5" fmla="*/ 9 h 10"/>
                  <a:gd name="T6" fmla="*/ 10 w 13"/>
                  <a:gd name="T7" fmla="*/ 7 h 10"/>
                  <a:gd name="T8" fmla="*/ 13 w 13"/>
                  <a:gd name="T9" fmla="*/ 4 h 10"/>
                  <a:gd name="T10" fmla="*/ 12 w 13"/>
                  <a:gd name="T11" fmla="*/ 1 h 10"/>
                  <a:gd name="T12" fmla="*/ 8 w 13"/>
                  <a:gd name="T13" fmla="*/ 0 h 10"/>
                  <a:gd name="T14" fmla="*/ 3 w 13"/>
                  <a:gd name="T15" fmla="*/ 0 h 10"/>
                  <a:gd name="T16" fmla="*/ 0 w 13"/>
                  <a:gd name="T17" fmla="*/ 4 h 10"/>
                  <a:gd name="T18" fmla="*/ 6 w 13"/>
                  <a:gd name="T19" fmla="*/ 9 h 10"/>
                  <a:gd name="T20" fmla="*/ 8 w 13"/>
                  <a:gd name="T21" fmla="*/ 10 h 10"/>
                  <a:gd name="T22" fmla="*/ 8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8" y="10"/>
                    </a:moveTo>
                    <a:lnTo>
                      <a:pt x="9" y="9"/>
                    </a:lnTo>
                    <a:lnTo>
                      <a:pt x="13" y="9"/>
                    </a:lnTo>
                    <a:lnTo>
                      <a:pt x="10" y="7"/>
                    </a:lnTo>
                    <a:lnTo>
                      <a:pt x="13" y="4"/>
                    </a:lnTo>
                    <a:lnTo>
                      <a:pt x="12" y="1"/>
                    </a:lnTo>
                    <a:lnTo>
                      <a:pt x="8" y="0"/>
                    </a:lnTo>
                    <a:lnTo>
                      <a:pt x="3" y="0"/>
                    </a:lnTo>
                    <a:lnTo>
                      <a:pt x="0" y="4"/>
                    </a:lnTo>
                    <a:lnTo>
                      <a:pt x="6" y="9"/>
                    </a:lnTo>
                    <a:lnTo>
                      <a:pt x="8" y="10"/>
                    </a:lnTo>
                    <a:lnTo>
                      <a:pt x="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3" name="Freeform 39">
                <a:extLst>
                  <a:ext uri="{FF2B5EF4-FFF2-40B4-BE49-F238E27FC236}">
                    <a16:creationId xmlns:a16="http://schemas.microsoft.com/office/drawing/2014/main" id="{2A1F235F-30D2-4263-9123-30DC6C356881}"/>
                  </a:ext>
                </a:extLst>
              </p:cNvPr>
              <p:cNvSpPr>
                <a:spLocks/>
              </p:cNvSpPr>
              <p:nvPr/>
            </p:nvSpPr>
            <p:spPr bwMode="auto">
              <a:xfrm>
                <a:off x="2503" y="1398"/>
                <a:ext cx="14" cy="4"/>
              </a:xfrm>
              <a:custGeom>
                <a:avLst/>
                <a:gdLst>
                  <a:gd name="T0" fmla="*/ 5 w 14"/>
                  <a:gd name="T1" fmla="*/ 0 h 4"/>
                  <a:gd name="T2" fmla="*/ 0 w 14"/>
                  <a:gd name="T3" fmla="*/ 2 h 4"/>
                  <a:gd name="T4" fmla="*/ 0 w 14"/>
                  <a:gd name="T5" fmla="*/ 4 h 4"/>
                  <a:gd name="T6" fmla="*/ 11 w 14"/>
                  <a:gd name="T7" fmla="*/ 2 h 4"/>
                  <a:gd name="T8" fmla="*/ 14 w 14"/>
                  <a:gd name="T9" fmla="*/ 0 h 4"/>
                  <a:gd name="T10" fmla="*/ 8 w 14"/>
                  <a:gd name="T11" fmla="*/ 0 h 4"/>
                  <a:gd name="T12" fmla="*/ 5 w 14"/>
                  <a:gd name="T13" fmla="*/ 0 h 4"/>
                  <a:gd name="T14" fmla="*/ 5 w 1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
                    <a:moveTo>
                      <a:pt x="5" y="0"/>
                    </a:moveTo>
                    <a:lnTo>
                      <a:pt x="0" y="2"/>
                    </a:lnTo>
                    <a:lnTo>
                      <a:pt x="0" y="4"/>
                    </a:lnTo>
                    <a:lnTo>
                      <a:pt x="11" y="2"/>
                    </a:lnTo>
                    <a:lnTo>
                      <a:pt x="14" y="0"/>
                    </a:lnTo>
                    <a:lnTo>
                      <a:pt x="8"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4" name="Freeform 40">
                <a:extLst>
                  <a:ext uri="{FF2B5EF4-FFF2-40B4-BE49-F238E27FC236}">
                    <a16:creationId xmlns:a16="http://schemas.microsoft.com/office/drawing/2014/main" id="{3A73ED96-723F-43F7-A967-B6335B2F1230}"/>
                  </a:ext>
                </a:extLst>
              </p:cNvPr>
              <p:cNvSpPr>
                <a:spLocks/>
              </p:cNvSpPr>
              <p:nvPr/>
            </p:nvSpPr>
            <p:spPr bwMode="auto">
              <a:xfrm>
                <a:off x="2278" y="1542"/>
                <a:ext cx="87" cy="70"/>
              </a:xfrm>
              <a:custGeom>
                <a:avLst/>
                <a:gdLst>
                  <a:gd name="T0" fmla="*/ 87 w 87"/>
                  <a:gd name="T1" fmla="*/ 41 h 70"/>
                  <a:gd name="T2" fmla="*/ 85 w 87"/>
                  <a:gd name="T3" fmla="*/ 33 h 70"/>
                  <a:gd name="T4" fmla="*/ 78 w 87"/>
                  <a:gd name="T5" fmla="*/ 33 h 70"/>
                  <a:gd name="T6" fmla="*/ 74 w 87"/>
                  <a:gd name="T7" fmla="*/ 27 h 70"/>
                  <a:gd name="T8" fmla="*/ 63 w 87"/>
                  <a:gd name="T9" fmla="*/ 25 h 70"/>
                  <a:gd name="T10" fmla="*/ 59 w 87"/>
                  <a:gd name="T11" fmla="*/ 27 h 70"/>
                  <a:gd name="T12" fmla="*/ 74 w 87"/>
                  <a:gd name="T13" fmla="*/ 16 h 70"/>
                  <a:gd name="T14" fmla="*/ 72 w 87"/>
                  <a:gd name="T15" fmla="*/ 11 h 70"/>
                  <a:gd name="T16" fmla="*/ 79 w 87"/>
                  <a:gd name="T17" fmla="*/ 7 h 70"/>
                  <a:gd name="T18" fmla="*/ 65 w 87"/>
                  <a:gd name="T19" fmla="*/ 4 h 70"/>
                  <a:gd name="T20" fmla="*/ 54 w 87"/>
                  <a:gd name="T21" fmla="*/ 6 h 70"/>
                  <a:gd name="T22" fmla="*/ 46 w 87"/>
                  <a:gd name="T23" fmla="*/ 5 h 70"/>
                  <a:gd name="T24" fmla="*/ 37 w 87"/>
                  <a:gd name="T25" fmla="*/ 0 h 70"/>
                  <a:gd name="T26" fmla="*/ 37 w 87"/>
                  <a:gd name="T27" fmla="*/ 5 h 70"/>
                  <a:gd name="T28" fmla="*/ 29 w 87"/>
                  <a:gd name="T29" fmla="*/ 4 h 70"/>
                  <a:gd name="T30" fmla="*/ 22 w 87"/>
                  <a:gd name="T31" fmla="*/ 7 h 70"/>
                  <a:gd name="T32" fmla="*/ 29 w 87"/>
                  <a:gd name="T33" fmla="*/ 13 h 70"/>
                  <a:gd name="T34" fmla="*/ 26 w 87"/>
                  <a:gd name="T35" fmla="*/ 12 h 70"/>
                  <a:gd name="T36" fmla="*/ 18 w 87"/>
                  <a:gd name="T37" fmla="*/ 12 h 70"/>
                  <a:gd name="T38" fmla="*/ 24 w 87"/>
                  <a:gd name="T39" fmla="*/ 19 h 70"/>
                  <a:gd name="T40" fmla="*/ 35 w 87"/>
                  <a:gd name="T41" fmla="*/ 17 h 70"/>
                  <a:gd name="T42" fmla="*/ 37 w 87"/>
                  <a:gd name="T43" fmla="*/ 21 h 70"/>
                  <a:gd name="T44" fmla="*/ 33 w 87"/>
                  <a:gd name="T45" fmla="*/ 22 h 70"/>
                  <a:gd name="T46" fmla="*/ 34 w 87"/>
                  <a:gd name="T47" fmla="*/ 29 h 70"/>
                  <a:gd name="T48" fmla="*/ 33 w 87"/>
                  <a:gd name="T49" fmla="*/ 32 h 70"/>
                  <a:gd name="T50" fmla="*/ 24 w 87"/>
                  <a:gd name="T51" fmla="*/ 33 h 70"/>
                  <a:gd name="T52" fmla="*/ 16 w 87"/>
                  <a:gd name="T53" fmla="*/ 29 h 70"/>
                  <a:gd name="T54" fmla="*/ 10 w 87"/>
                  <a:gd name="T55" fmla="*/ 24 h 70"/>
                  <a:gd name="T56" fmla="*/ 3 w 87"/>
                  <a:gd name="T57" fmla="*/ 25 h 70"/>
                  <a:gd name="T58" fmla="*/ 0 w 87"/>
                  <a:gd name="T59" fmla="*/ 33 h 70"/>
                  <a:gd name="T60" fmla="*/ 11 w 87"/>
                  <a:gd name="T61" fmla="*/ 39 h 70"/>
                  <a:gd name="T62" fmla="*/ 14 w 87"/>
                  <a:gd name="T63" fmla="*/ 45 h 70"/>
                  <a:gd name="T64" fmla="*/ 22 w 87"/>
                  <a:gd name="T65" fmla="*/ 45 h 70"/>
                  <a:gd name="T66" fmla="*/ 29 w 87"/>
                  <a:gd name="T67" fmla="*/ 48 h 70"/>
                  <a:gd name="T68" fmla="*/ 45 w 87"/>
                  <a:gd name="T69" fmla="*/ 62 h 70"/>
                  <a:gd name="T70" fmla="*/ 53 w 87"/>
                  <a:gd name="T71" fmla="*/ 70 h 70"/>
                  <a:gd name="T72" fmla="*/ 61 w 87"/>
                  <a:gd name="T73" fmla="*/ 67 h 70"/>
                  <a:gd name="T74" fmla="*/ 59 w 87"/>
                  <a:gd name="T75" fmla="*/ 59 h 70"/>
                  <a:gd name="T76" fmla="*/ 60 w 87"/>
                  <a:gd name="T77" fmla="*/ 57 h 70"/>
                  <a:gd name="T78" fmla="*/ 70 w 87"/>
                  <a:gd name="T79" fmla="*/ 62 h 70"/>
                  <a:gd name="T80" fmla="*/ 80 w 87"/>
                  <a:gd name="T81" fmla="*/ 56 h 70"/>
                  <a:gd name="T82" fmla="*/ 82 w 87"/>
                  <a:gd name="T83" fmla="*/ 54 h 70"/>
                  <a:gd name="T84" fmla="*/ 86 w 87"/>
                  <a:gd name="T85"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 h="70">
                    <a:moveTo>
                      <a:pt x="85" y="47"/>
                    </a:moveTo>
                    <a:lnTo>
                      <a:pt x="82" y="44"/>
                    </a:lnTo>
                    <a:lnTo>
                      <a:pt x="87" y="41"/>
                    </a:lnTo>
                    <a:lnTo>
                      <a:pt x="87" y="39"/>
                    </a:lnTo>
                    <a:lnTo>
                      <a:pt x="86" y="36"/>
                    </a:lnTo>
                    <a:lnTo>
                      <a:pt x="85" y="33"/>
                    </a:lnTo>
                    <a:lnTo>
                      <a:pt x="79" y="34"/>
                    </a:lnTo>
                    <a:lnTo>
                      <a:pt x="77" y="36"/>
                    </a:lnTo>
                    <a:lnTo>
                      <a:pt x="78" y="33"/>
                    </a:lnTo>
                    <a:lnTo>
                      <a:pt x="76" y="31"/>
                    </a:lnTo>
                    <a:lnTo>
                      <a:pt x="73" y="30"/>
                    </a:lnTo>
                    <a:lnTo>
                      <a:pt x="74" y="27"/>
                    </a:lnTo>
                    <a:lnTo>
                      <a:pt x="69" y="25"/>
                    </a:lnTo>
                    <a:lnTo>
                      <a:pt x="65" y="24"/>
                    </a:lnTo>
                    <a:lnTo>
                      <a:pt x="63" y="25"/>
                    </a:lnTo>
                    <a:lnTo>
                      <a:pt x="61" y="27"/>
                    </a:lnTo>
                    <a:lnTo>
                      <a:pt x="59" y="30"/>
                    </a:lnTo>
                    <a:lnTo>
                      <a:pt x="59" y="27"/>
                    </a:lnTo>
                    <a:lnTo>
                      <a:pt x="63" y="22"/>
                    </a:lnTo>
                    <a:lnTo>
                      <a:pt x="69" y="17"/>
                    </a:lnTo>
                    <a:lnTo>
                      <a:pt x="74" y="16"/>
                    </a:lnTo>
                    <a:lnTo>
                      <a:pt x="76" y="13"/>
                    </a:lnTo>
                    <a:lnTo>
                      <a:pt x="70" y="14"/>
                    </a:lnTo>
                    <a:lnTo>
                      <a:pt x="72" y="11"/>
                    </a:lnTo>
                    <a:lnTo>
                      <a:pt x="74" y="12"/>
                    </a:lnTo>
                    <a:lnTo>
                      <a:pt x="78" y="10"/>
                    </a:lnTo>
                    <a:lnTo>
                      <a:pt x="79" y="7"/>
                    </a:lnTo>
                    <a:lnTo>
                      <a:pt x="77" y="4"/>
                    </a:lnTo>
                    <a:lnTo>
                      <a:pt x="71" y="3"/>
                    </a:lnTo>
                    <a:lnTo>
                      <a:pt x="65" y="4"/>
                    </a:lnTo>
                    <a:lnTo>
                      <a:pt x="62" y="4"/>
                    </a:lnTo>
                    <a:lnTo>
                      <a:pt x="56" y="5"/>
                    </a:lnTo>
                    <a:lnTo>
                      <a:pt x="54" y="6"/>
                    </a:lnTo>
                    <a:lnTo>
                      <a:pt x="51" y="6"/>
                    </a:lnTo>
                    <a:lnTo>
                      <a:pt x="48" y="7"/>
                    </a:lnTo>
                    <a:lnTo>
                      <a:pt x="46" y="5"/>
                    </a:lnTo>
                    <a:lnTo>
                      <a:pt x="41" y="3"/>
                    </a:lnTo>
                    <a:lnTo>
                      <a:pt x="37" y="0"/>
                    </a:lnTo>
                    <a:lnTo>
                      <a:pt x="37" y="0"/>
                    </a:lnTo>
                    <a:lnTo>
                      <a:pt x="35" y="2"/>
                    </a:lnTo>
                    <a:lnTo>
                      <a:pt x="37" y="4"/>
                    </a:lnTo>
                    <a:lnTo>
                      <a:pt x="37" y="5"/>
                    </a:lnTo>
                    <a:lnTo>
                      <a:pt x="35" y="5"/>
                    </a:lnTo>
                    <a:lnTo>
                      <a:pt x="31" y="4"/>
                    </a:lnTo>
                    <a:lnTo>
                      <a:pt x="29" y="4"/>
                    </a:lnTo>
                    <a:lnTo>
                      <a:pt x="26" y="4"/>
                    </a:lnTo>
                    <a:lnTo>
                      <a:pt x="24" y="5"/>
                    </a:lnTo>
                    <a:lnTo>
                      <a:pt x="22" y="7"/>
                    </a:lnTo>
                    <a:lnTo>
                      <a:pt x="26" y="8"/>
                    </a:lnTo>
                    <a:lnTo>
                      <a:pt x="28" y="10"/>
                    </a:lnTo>
                    <a:lnTo>
                      <a:pt x="29" y="13"/>
                    </a:lnTo>
                    <a:lnTo>
                      <a:pt x="31" y="15"/>
                    </a:lnTo>
                    <a:lnTo>
                      <a:pt x="29" y="14"/>
                    </a:lnTo>
                    <a:lnTo>
                      <a:pt x="26" y="12"/>
                    </a:lnTo>
                    <a:lnTo>
                      <a:pt x="24" y="11"/>
                    </a:lnTo>
                    <a:lnTo>
                      <a:pt x="20" y="10"/>
                    </a:lnTo>
                    <a:lnTo>
                      <a:pt x="18" y="12"/>
                    </a:lnTo>
                    <a:lnTo>
                      <a:pt x="16" y="14"/>
                    </a:lnTo>
                    <a:lnTo>
                      <a:pt x="18" y="15"/>
                    </a:lnTo>
                    <a:lnTo>
                      <a:pt x="24" y="19"/>
                    </a:lnTo>
                    <a:lnTo>
                      <a:pt x="27" y="19"/>
                    </a:lnTo>
                    <a:lnTo>
                      <a:pt x="31" y="17"/>
                    </a:lnTo>
                    <a:lnTo>
                      <a:pt x="35" y="17"/>
                    </a:lnTo>
                    <a:lnTo>
                      <a:pt x="37" y="20"/>
                    </a:lnTo>
                    <a:lnTo>
                      <a:pt x="41" y="20"/>
                    </a:lnTo>
                    <a:lnTo>
                      <a:pt x="37" y="21"/>
                    </a:lnTo>
                    <a:lnTo>
                      <a:pt x="31" y="19"/>
                    </a:lnTo>
                    <a:lnTo>
                      <a:pt x="30" y="21"/>
                    </a:lnTo>
                    <a:lnTo>
                      <a:pt x="33" y="22"/>
                    </a:lnTo>
                    <a:lnTo>
                      <a:pt x="35" y="25"/>
                    </a:lnTo>
                    <a:lnTo>
                      <a:pt x="36" y="28"/>
                    </a:lnTo>
                    <a:lnTo>
                      <a:pt x="34" y="29"/>
                    </a:lnTo>
                    <a:lnTo>
                      <a:pt x="31" y="27"/>
                    </a:lnTo>
                    <a:lnTo>
                      <a:pt x="31" y="29"/>
                    </a:lnTo>
                    <a:lnTo>
                      <a:pt x="33" y="32"/>
                    </a:lnTo>
                    <a:lnTo>
                      <a:pt x="29" y="32"/>
                    </a:lnTo>
                    <a:lnTo>
                      <a:pt x="26" y="32"/>
                    </a:lnTo>
                    <a:lnTo>
                      <a:pt x="24" y="33"/>
                    </a:lnTo>
                    <a:lnTo>
                      <a:pt x="20" y="33"/>
                    </a:lnTo>
                    <a:lnTo>
                      <a:pt x="18" y="31"/>
                    </a:lnTo>
                    <a:lnTo>
                      <a:pt x="16" y="29"/>
                    </a:lnTo>
                    <a:lnTo>
                      <a:pt x="13" y="28"/>
                    </a:lnTo>
                    <a:lnTo>
                      <a:pt x="11" y="24"/>
                    </a:lnTo>
                    <a:lnTo>
                      <a:pt x="10" y="24"/>
                    </a:lnTo>
                    <a:lnTo>
                      <a:pt x="9" y="23"/>
                    </a:lnTo>
                    <a:lnTo>
                      <a:pt x="5" y="24"/>
                    </a:lnTo>
                    <a:lnTo>
                      <a:pt x="3" y="25"/>
                    </a:lnTo>
                    <a:lnTo>
                      <a:pt x="2" y="28"/>
                    </a:lnTo>
                    <a:lnTo>
                      <a:pt x="0" y="30"/>
                    </a:lnTo>
                    <a:lnTo>
                      <a:pt x="0" y="33"/>
                    </a:lnTo>
                    <a:lnTo>
                      <a:pt x="5" y="37"/>
                    </a:lnTo>
                    <a:lnTo>
                      <a:pt x="10" y="39"/>
                    </a:lnTo>
                    <a:lnTo>
                      <a:pt x="11" y="39"/>
                    </a:lnTo>
                    <a:lnTo>
                      <a:pt x="12" y="42"/>
                    </a:lnTo>
                    <a:lnTo>
                      <a:pt x="11" y="42"/>
                    </a:lnTo>
                    <a:lnTo>
                      <a:pt x="14" y="45"/>
                    </a:lnTo>
                    <a:lnTo>
                      <a:pt x="17" y="45"/>
                    </a:lnTo>
                    <a:lnTo>
                      <a:pt x="19" y="44"/>
                    </a:lnTo>
                    <a:lnTo>
                      <a:pt x="22" y="45"/>
                    </a:lnTo>
                    <a:lnTo>
                      <a:pt x="24" y="47"/>
                    </a:lnTo>
                    <a:lnTo>
                      <a:pt x="27" y="47"/>
                    </a:lnTo>
                    <a:lnTo>
                      <a:pt x="29" y="48"/>
                    </a:lnTo>
                    <a:lnTo>
                      <a:pt x="35" y="53"/>
                    </a:lnTo>
                    <a:lnTo>
                      <a:pt x="39" y="57"/>
                    </a:lnTo>
                    <a:lnTo>
                      <a:pt x="45" y="62"/>
                    </a:lnTo>
                    <a:lnTo>
                      <a:pt x="47" y="67"/>
                    </a:lnTo>
                    <a:lnTo>
                      <a:pt x="51" y="67"/>
                    </a:lnTo>
                    <a:lnTo>
                      <a:pt x="53" y="70"/>
                    </a:lnTo>
                    <a:lnTo>
                      <a:pt x="55" y="70"/>
                    </a:lnTo>
                    <a:lnTo>
                      <a:pt x="59" y="70"/>
                    </a:lnTo>
                    <a:lnTo>
                      <a:pt x="61" y="67"/>
                    </a:lnTo>
                    <a:lnTo>
                      <a:pt x="63" y="64"/>
                    </a:lnTo>
                    <a:lnTo>
                      <a:pt x="61" y="62"/>
                    </a:lnTo>
                    <a:lnTo>
                      <a:pt x="59" y="59"/>
                    </a:lnTo>
                    <a:lnTo>
                      <a:pt x="59" y="56"/>
                    </a:lnTo>
                    <a:lnTo>
                      <a:pt x="62" y="55"/>
                    </a:lnTo>
                    <a:lnTo>
                      <a:pt x="60" y="57"/>
                    </a:lnTo>
                    <a:lnTo>
                      <a:pt x="61" y="61"/>
                    </a:lnTo>
                    <a:lnTo>
                      <a:pt x="64" y="61"/>
                    </a:lnTo>
                    <a:lnTo>
                      <a:pt x="70" y="62"/>
                    </a:lnTo>
                    <a:lnTo>
                      <a:pt x="72" y="62"/>
                    </a:lnTo>
                    <a:lnTo>
                      <a:pt x="74" y="61"/>
                    </a:lnTo>
                    <a:lnTo>
                      <a:pt x="80" y="56"/>
                    </a:lnTo>
                    <a:lnTo>
                      <a:pt x="84" y="56"/>
                    </a:lnTo>
                    <a:lnTo>
                      <a:pt x="86" y="54"/>
                    </a:lnTo>
                    <a:lnTo>
                      <a:pt x="82" y="54"/>
                    </a:lnTo>
                    <a:lnTo>
                      <a:pt x="86" y="51"/>
                    </a:lnTo>
                    <a:lnTo>
                      <a:pt x="82" y="51"/>
                    </a:lnTo>
                    <a:lnTo>
                      <a:pt x="86" y="49"/>
                    </a:lnTo>
                    <a:lnTo>
                      <a:pt x="8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5" name="Freeform 41">
                <a:extLst>
                  <a:ext uri="{FF2B5EF4-FFF2-40B4-BE49-F238E27FC236}">
                    <a16:creationId xmlns:a16="http://schemas.microsoft.com/office/drawing/2014/main" id="{B0B7E97C-0206-42E2-8E9D-1ABCDA87C935}"/>
                  </a:ext>
                </a:extLst>
              </p:cNvPr>
              <p:cNvSpPr>
                <a:spLocks/>
              </p:cNvSpPr>
              <p:nvPr/>
            </p:nvSpPr>
            <p:spPr bwMode="auto">
              <a:xfrm>
                <a:off x="2270" y="1487"/>
                <a:ext cx="18" cy="7"/>
              </a:xfrm>
              <a:custGeom>
                <a:avLst/>
                <a:gdLst>
                  <a:gd name="T0" fmla="*/ 18 w 18"/>
                  <a:gd name="T1" fmla="*/ 1 h 7"/>
                  <a:gd name="T2" fmla="*/ 12 w 18"/>
                  <a:gd name="T3" fmla="*/ 2 h 7"/>
                  <a:gd name="T4" fmla="*/ 11 w 18"/>
                  <a:gd name="T5" fmla="*/ 6 h 7"/>
                  <a:gd name="T6" fmla="*/ 5 w 18"/>
                  <a:gd name="T7" fmla="*/ 7 h 7"/>
                  <a:gd name="T8" fmla="*/ 0 w 18"/>
                  <a:gd name="T9" fmla="*/ 7 h 7"/>
                  <a:gd name="T10" fmla="*/ 5 w 18"/>
                  <a:gd name="T11" fmla="*/ 2 h 7"/>
                  <a:gd name="T12" fmla="*/ 8 w 18"/>
                  <a:gd name="T13" fmla="*/ 1 h 7"/>
                  <a:gd name="T14" fmla="*/ 13 w 18"/>
                  <a:gd name="T15" fmla="*/ 0 h 7"/>
                  <a:gd name="T16" fmla="*/ 17 w 18"/>
                  <a:gd name="T17" fmla="*/ 0 h 7"/>
                  <a:gd name="T18" fmla="*/ 18 w 18"/>
                  <a:gd name="T19" fmla="*/ 1 h 7"/>
                  <a:gd name="T20" fmla="*/ 18 w 18"/>
                  <a:gd name="T21" fmla="*/ 1 h 7"/>
                  <a:gd name="T22" fmla="*/ 18 w 18"/>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
                    <a:moveTo>
                      <a:pt x="18" y="1"/>
                    </a:moveTo>
                    <a:lnTo>
                      <a:pt x="12" y="2"/>
                    </a:lnTo>
                    <a:lnTo>
                      <a:pt x="11" y="6"/>
                    </a:lnTo>
                    <a:lnTo>
                      <a:pt x="5" y="7"/>
                    </a:lnTo>
                    <a:lnTo>
                      <a:pt x="0" y="7"/>
                    </a:lnTo>
                    <a:lnTo>
                      <a:pt x="5" y="2"/>
                    </a:lnTo>
                    <a:lnTo>
                      <a:pt x="8" y="1"/>
                    </a:lnTo>
                    <a:lnTo>
                      <a:pt x="13" y="0"/>
                    </a:lnTo>
                    <a:lnTo>
                      <a:pt x="17" y="0"/>
                    </a:lnTo>
                    <a:lnTo>
                      <a:pt x="18" y="1"/>
                    </a:lnTo>
                    <a:lnTo>
                      <a:pt x="18" y="1"/>
                    </a:lnTo>
                    <a:lnTo>
                      <a:pt x="1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6" name="Freeform 42">
                <a:extLst>
                  <a:ext uri="{FF2B5EF4-FFF2-40B4-BE49-F238E27FC236}">
                    <a16:creationId xmlns:a16="http://schemas.microsoft.com/office/drawing/2014/main" id="{0EAF2E22-830E-42B9-A0AA-94DB685FDC85}"/>
                  </a:ext>
                </a:extLst>
              </p:cNvPr>
              <p:cNvSpPr>
                <a:spLocks/>
              </p:cNvSpPr>
              <p:nvPr/>
            </p:nvSpPr>
            <p:spPr bwMode="auto">
              <a:xfrm>
                <a:off x="2286" y="1476"/>
                <a:ext cx="2" cy="4"/>
              </a:xfrm>
              <a:custGeom>
                <a:avLst/>
                <a:gdLst>
                  <a:gd name="T0" fmla="*/ 2 w 2"/>
                  <a:gd name="T1" fmla="*/ 4 h 4"/>
                  <a:gd name="T2" fmla="*/ 0 w 2"/>
                  <a:gd name="T3" fmla="*/ 4 h 4"/>
                  <a:gd name="T4" fmla="*/ 1 w 2"/>
                  <a:gd name="T5" fmla="*/ 1 h 4"/>
                  <a:gd name="T6" fmla="*/ 2 w 2"/>
                  <a:gd name="T7" fmla="*/ 0 h 4"/>
                  <a:gd name="T8" fmla="*/ 2 w 2"/>
                  <a:gd name="T9" fmla="*/ 4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lnTo>
                      <a:pt x="0" y="4"/>
                    </a:lnTo>
                    <a:lnTo>
                      <a:pt x="1" y="1"/>
                    </a:lnTo>
                    <a:lnTo>
                      <a:pt x="2" y="0"/>
                    </a:lnTo>
                    <a:lnTo>
                      <a:pt x="2" y="4"/>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7" name="Freeform 43">
                <a:extLst>
                  <a:ext uri="{FF2B5EF4-FFF2-40B4-BE49-F238E27FC236}">
                    <a16:creationId xmlns:a16="http://schemas.microsoft.com/office/drawing/2014/main" id="{E83523CC-0ACA-49B4-9CE3-4B0ED40115D1}"/>
                  </a:ext>
                </a:extLst>
              </p:cNvPr>
              <p:cNvSpPr>
                <a:spLocks/>
              </p:cNvSpPr>
              <p:nvPr/>
            </p:nvSpPr>
            <p:spPr bwMode="auto">
              <a:xfrm>
                <a:off x="2518" y="1737"/>
                <a:ext cx="8" cy="10"/>
              </a:xfrm>
              <a:custGeom>
                <a:avLst/>
                <a:gdLst>
                  <a:gd name="T0" fmla="*/ 3 w 8"/>
                  <a:gd name="T1" fmla="*/ 0 h 10"/>
                  <a:gd name="T2" fmla="*/ 3 w 8"/>
                  <a:gd name="T3" fmla="*/ 0 h 10"/>
                  <a:gd name="T4" fmla="*/ 0 w 8"/>
                  <a:gd name="T5" fmla="*/ 1 h 10"/>
                  <a:gd name="T6" fmla="*/ 1 w 8"/>
                  <a:gd name="T7" fmla="*/ 4 h 10"/>
                  <a:gd name="T8" fmla="*/ 1 w 8"/>
                  <a:gd name="T9" fmla="*/ 7 h 10"/>
                  <a:gd name="T10" fmla="*/ 4 w 8"/>
                  <a:gd name="T11" fmla="*/ 8 h 10"/>
                  <a:gd name="T12" fmla="*/ 6 w 8"/>
                  <a:gd name="T13" fmla="*/ 10 h 10"/>
                  <a:gd name="T14" fmla="*/ 8 w 8"/>
                  <a:gd name="T15" fmla="*/ 9 h 10"/>
                  <a:gd name="T16" fmla="*/ 6 w 8"/>
                  <a:gd name="T17" fmla="*/ 4 h 10"/>
                  <a:gd name="T18" fmla="*/ 3 w 8"/>
                  <a:gd name="T19" fmla="*/ 0 h 10"/>
                  <a:gd name="T20" fmla="*/ 3 w 8"/>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3" y="0"/>
                    </a:moveTo>
                    <a:lnTo>
                      <a:pt x="3" y="0"/>
                    </a:lnTo>
                    <a:lnTo>
                      <a:pt x="0" y="1"/>
                    </a:lnTo>
                    <a:lnTo>
                      <a:pt x="1" y="4"/>
                    </a:lnTo>
                    <a:lnTo>
                      <a:pt x="1" y="7"/>
                    </a:lnTo>
                    <a:lnTo>
                      <a:pt x="4" y="8"/>
                    </a:lnTo>
                    <a:lnTo>
                      <a:pt x="6" y="10"/>
                    </a:lnTo>
                    <a:lnTo>
                      <a:pt x="8" y="9"/>
                    </a:lnTo>
                    <a:lnTo>
                      <a:pt x="6" y="4"/>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8" name="Freeform 44">
                <a:extLst>
                  <a:ext uri="{FF2B5EF4-FFF2-40B4-BE49-F238E27FC236}">
                    <a16:creationId xmlns:a16="http://schemas.microsoft.com/office/drawing/2014/main" id="{7D07BD7B-9470-4467-9562-B3A3CEEC7D05}"/>
                  </a:ext>
                </a:extLst>
              </p:cNvPr>
              <p:cNvSpPr>
                <a:spLocks/>
              </p:cNvSpPr>
              <p:nvPr/>
            </p:nvSpPr>
            <p:spPr bwMode="auto">
              <a:xfrm>
                <a:off x="2535" y="1804"/>
                <a:ext cx="27" cy="17"/>
              </a:xfrm>
              <a:custGeom>
                <a:avLst/>
                <a:gdLst>
                  <a:gd name="T0" fmla="*/ 0 w 27"/>
                  <a:gd name="T1" fmla="*/ 11 h 17"/>
                  <a:gd name="T2" fmla="*/ 3 w 27"/>
                  <a:gd name="T3" fmla="*/ 17 h 17"/>
                  <a:gd name="T4" fmla="*/ 6 w 27"/>
                  <a:gd name="T5" fmla="*/ 17 h 17"/>
                  <a:gd name="T6" fmla="*/ 9 w 27"/>
                  <a:gd name="T7" fmla="*/ 16 h 17"/>
                  <a:gd name="T8" fmla="*/ 11 w 27"/>
                  <a:gd name="T9" fmla="*/ 17 h 17"/>
                  <a:gd name="T10" fmla="*/ 17 w 27"/>
                  <a:gd name="T11" fmla="*/ 15 h 17"/>
                  <a:gd name="T12" fmla="*/ 21 w 27"/>
                  <a:gd name="T13" fmla="*/ 9 h 17"/>
                  <a:gd name="T14" fmla="*/ 25 w 27"/>
                  <a:gd name="T15" fmla="*/ 8 h 17"/>
                  <a:gd name="T16" fmla="*/ 27 w 27"/>
                  <a:gd name="T17" fmla="*/ 7 h 17"/>
                  <a:gd name="T18" fmla="*/ 27 w 27"/>
                  <a:gd name="T19" fmla="*/ 1 h 17"/>
                  <a:gd name="T20" fmla="*/ 25 w 27"/>
                  <a:gd name="T21" fmla="*/ 0 h 17"/>
                  <a:gd name="T22" fmla="*/ 17 w 27"/>
                  <a:gd name="T23" fmla="*/ 1 h 17"/>
                  <a:gd name="T24" fmla="*/ 13 w 27"/>
                  <a:gd name="T25" fmla="*/ 3 h 17"/>
                  <a:gd name="T26" fmla="*/ 11 w 27"/>
                  <a:gd name="T27" fmla="*/ 3 h 17"/>
                  <a:gd name="T28" fmla="*/ 9 w 27"/>
                  <a:gd name="T29" fmla="*/ 2 h 17"/>
                  <a:gd name="T30" fmla="*/ 6 w 27"/>
                  <a:gd name="T31" fmla="*/ 5 h 17"/>
                  <a:gd name="T32" fmla="*/ 4 w 27"/>
                  <a:gd name="T33" fmla="*/ 7 h 17"/>
                  <a:gd name="T34" fmla="*/ 0 w 27"/>
                  <a:gd name="T35" fmla="*/ 11 h 17"/>
                  <a:gd name="T36" fmla="*/ 0 w 27"/>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0" y="11"/>
                    </a:moveTo>
                    <a:lnTo>
                      <a:pt x="3" y="17"/>
                    </a:lnTo>
                    <a:lnTo>
                      <a:pt x="6" y="17"/>
                    </a:lnTo>
                    <a:lnTo>
                      <a:pt x="9" y="16"/>
                    </a:lnTo>
                    <a:lnTo>
                      <a:pt x="11" y="17"/>
                    </a:lnTo>
                    <a:lnTo>
                      <a:pt x="17" y="15"/>
                    </a:lnTo>
                    <a:lnTo>
                      <a:pt x="21" y="9"/>
                    </a:lnTo>
                    <a:lnTo>
                      <a:pt x="25" y="8"/>
                    </a:lnTo>
                    <a:lnTo>
                      <a:pt x="27" y="7"/>
                    </a:lnTo>
                    <a:lnTo>
                      <a:pt x="27" y="1"/>
                    </a:lnTo>
                    <a:lnTo>
                      <a:pt x="25" y="0"/>
                    </a:lnTo>
                    <a:lnTo>
                      <a:pt x="17" y="1"/>
                    </a:lnTo>
                    <a:lnTo>
                      <a:pt x="13" y="3"/>
                    </a:lnTo>
                    <a:lnTo>
                      <a:pt x="11" y="3"/>
                    </a:lnTo>
                    <a:lnTo>
                      <a:pt x="9" y="2"/>
                    </a:lnTo>
                    <a:lnTo>
                      <a:pt x="6" y="5"/>
                    </a:lnTo>
                    <a:lnTo>
                      <a:pt x="4" y="7"/>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79" name="Freeform 45">
                <a:extLst>
                  <a:ext uri="{FF2B5EF4-FFF2-40B4-BE49-F238E27FC236}">
                    <a16:creationId xmlns:a16="http://schemas.microsoft.com/office/drawing/2014/main" id="{B8EAFAB0-1EF5-4593-ACC9-D3AAB5DD3C6C}"/>
                  </a:ext>
                </a:extLst>
              </p:cNvPr>
              <p:cNvSpPr>
                <a:spLocks/>
              </p:cNvSpPr>
              <p:nvPr/>
            </p:nvSpPr>
            <p:spPr bwMode="auto">
              <a:xfrm>
                <a:off x="2561" y="1999"/>
                <a:ext cx="19" cy="9"/>
              </a:xfrm>
              <a:custGeom>
                <a:avLst/>
                <a:gdLst>
                  <a:gd name="T0" fmla="*/ 14 w 19"/>
                  <a:gd name="T1" fmla="*/ 1 h 9"/>
                  <a:gd name="T2" fmla="*/ 10 w 19"/>
                  <a:gd name="T3" fmla="*/ 0 h 9"/>
                  <a:gd name="T4" fmla="*/ 2 w 19"/>
                  <a:gd name="T5" fmla="*/ 1 h 9"/>
                  <a:gd name="T6" fmla="*/ 0 w 19"/>
                  <a:gd name="T7" fmla="*/ 3 h 9"/>
                  <a:gd name="T8" fmla="*/ 2 w 19"/>
                  <a:gd name="T9" fmla="*/ 4 h 9"/>
                  <a:gd name="T10" fmla="*/ 11 w 19"/>
                  <a:gd name="T11" fmla="*/ 7 h 9"/>
                  <a:gd name="T12" fmla="*/ 14 w 19"/>
                  <a:gd name="T13" fmla="*/ 8 h 9"/>
                  <a:gd name="T14" fmla="*/ 19 w 19"/>
                  <a:gd name="T15" fmla="*/ 9 h 9"/>
                  <a:gd name="T16" fmla="*/ 18 w 19"/>
                  <a:gd name="T17" fmla="*/ 6 h 9"/>
                  <a:gd name="T18" fmla="*/ 14 w 19"/>
                  <a:gd name="T19" fmla="*/ 1 h 9"/>
                  <a:gd name="T20" fmla="*/ 14 w 1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
                    <a:moveTo>
                      <a:pt x="14" y="1"/>
                    </a:moveTo>
                    <a:lnTo>
                      <a:pt x="10" y="0"/>
                    </a:lnTo>
                    <a:lnTo>
                      <a:pt x="2" y="1"/>
                    </a:lnTo>
                    <a:lnTo>
                      <a:pt x="0" y="3"/>
                    </a:lnTo>
                    <a:lnTo>
                      <a:pt x="2" y="4"/>
                    </a:lnTo>
                    <a:lnTo>
                      <a:pt x="11" y="7"/>
                    </a:lnTo>
                    <a:lnTo>
                      <a:pt x="14" y="8"/>
                    </a:lnTo>
                    <a:lnTo>
                      <a:pt x="19" y="9"/>
                    </a:lnTo>
                    <a:lnTo>
                      <a:pt x="18" y="6"/>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0" name="Freeform 46">
                <a:extLst>
                  <a:ext uri="{FF2B5EF4-FFF2-40B4-BE49-F238E27FC236}">
                    <a16:creationId xmlns:a16="http://schemas.microsoft.com/office/drawing/2014/main" id="{35C0A3BF-BA3B-4DB7-9001-31A3DD569CDD}"/>
                  </a:ext>
                </a:extLst>
              </p:cNvPr>
              <p:cNvSpPr>
                <a:spLocks/>
              </p:cNvSpPr>
              <p:nvPr/>
            </p:nvSpPr>
            <p:spPr bwMode="auto">
              <a:xfrm>
                <a:off x="2578" y="1648"/>
                <a:ext cx="19" cy="8"/>
              </a:xfrm>
              <a:custGeom>
                <a:avLst/>
                <a:gdLst>
                  <a:gd name="T0" fmla="*/ 11 w 19"/>
                  <a:gd name="T1" fmla="*/ 7 h 8"/>
                  <a:gd name="T2" fmla="*/ 11 w 19"/>
                  <a:gd name="T3" fmla="*/ 4 h 8"/>
                  <a:gd name="T4" fmla="*/ 13 w 19"/>
                  <a:gd name="T5" fmla="*/ 5 h 8"/>
                  <a:gd name="T6" fmla="*/ 17 w 19"/>
                  <a:gd name="T7" fmla="*/ 5 h 8"/>
                  <a:gd name="T8" fmla="*/ 19 w 19"/>
                  <a:gd name="T9" fmla="*/ 3 h 8"/>
                  <a:gd name="T10" fmla="*/ 19 w 19"/>
                  <a:gd name="T11" fmla="*/ 1 h 8"/>
                  <a:gd name="T12" fmla="*/ 16 w 19"/>
                  <a:gd name="T13" fmla="*/ 0 h 8"/>
                  <a:gd name="T14" fmla="*/ 11 w 19"/>
                  <a:gd name="T15" fmla="*/ 2 h 8"/>
                  <a:gd name="T16" fmla="*/ 8 w 19"/>
                  <a:gd name="T17" fmla="*/ 1 h 8"/>
                  <a:gd name="T18" fmla="*/ 6 w 19"/>
                  <a:gd name="T19" fmla="*/ 1 h 8"/>
                  <a:gd name="T20" fmla="*/ 6 w 19"/>
                  <a:gd name="T21" fmla="*/ 3 h 8"/>
                  <a:gd name="T22" fmla="*/ 3 w 19"/>
                  <a:gd name="T23" fmla="*/ 2 h 8"/>
                  <a:gd name="T24" fmla="*/ 0 w 19"/>
                  <a:gd name="T25" fmla="*/ 3 h 8"/>
                  <a:gd name="T26" fmla="*/ 6 w 19"/>
                  <a:gd name="T27" fmla="*/ 4 h 8"/>
                  <a:gd name="T28" fmla="*/ 9 w 19"/>
                  <a:gd name="T29" fmla="*/ 7 h 8"/>
                  <a:gd name="T30" fmla="*/ 11 w 19"/>
                  <a:gd name="T31" fmla="*/ 8 h 8"/>
                  <a:gd name="T32" fmla="*/ 11 w 19"/>
                  <a:gd name="T33" fmla="*/ 7 h 8"/>
                  <a:gd name="T34" fmla="*/ 11 w 19"/>
                  <a:gd name="T3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8">
                    <a:moveTo>
                      <a:pt x="11" y="7"/>
                    </a:moveTo>
                    <a:lnTo>
                      <a:pt x="11" y="4"/>
                    </a:lnTo>
                    <a:lnTo>
                      <a:pt x="13" y="5"/>
                    </a:lnTo>
                    <a:lnTo>
                      <a:pt x="17" y="5"/>
                    </a:lnTo>
                    <a:lnTo>
                      <a:pt x="19" y="3"/>
                    </a:lnTo>
                    <a:lnTo>
                      <a:pt x="19" y="1"/>
                    </a:lnTo>
                    <a:lnTo>
                      <a:pt x="16" y="0"/>
                    </a:lnTo>
                    <a:lnTo>
                      <a:pt x="11" y="2"/>
                    </a:lnTo>
                    <a:lnTo>
                      <a:pt x="8" y="1"/>
                    </a:lnTo>
                    <a:lnTo>
                      <a:pt x="6" y="1"/>
                    </a:lnTo>
                    <a:lnTo>
                      <a:pt x="6" y="3"/>
                    </a:lnTo>
                    <a:lnTo>
                      <a:pt x="3" y="2"/>
                    </a:lnTo>
                    <a:lnTo>
                      <a:pt x="0" y="3"/>
                    </a:lnTo>
                    <a:lnTo>
                      <a:pt x="6" y="4"/>
                    </a:lnTo>
                    <a:lnTo>
                      <a:pt x="9" y="7"/>
                    </a:lnTo>
                    <a:lnTo>
                      <a:pt x="11" y="8"/>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1" name="Freeform 47">
                <a:extLst>
                  <a:ext uri="{FF2B5EF4-FFF2-40B4-BE49-F238E27FC236}">
                    <a16:creationId xmlns:a16="http://schemas.microsoft.com/office/drawing/2014/main" id="{0C813FEA-57B6-408B-9913-C1EEF24DB7CB}"/>
                  </a:ext>
                </a:extLst>
              </p:cNvPr>
              <p:cNvSpPr>
                <a:spLocks/>
              </p:cNvSpPr>
              <p:nvPr/>
            </p:nvSpPr>
            <p:spPr bwMode="auto">
              <a:xfrm>
                <a:off x="2585" y="1817"/>
                <a:ext cx="14" cy="18"/>
              </a:xfrm>
              <a:custGeom>
                <a:avLst/>
                <a:gdLst>
                  <a:gd name="T0" fmla="*/ 4 w 14"/>
                  <a:gd name="T1" fmla="*/ 14 h 18"/>
                  <a:gd name="T2" fmla="*/ 6 w 14"/>
                  <a:gd name="T3" fmla="*/ 18 h 18"/>
                  <a:gd name="T4" fmla="*/ 10 w 14"/>
                  <a:gd name="T5" fmla="*/ 14 h 18"/>
                  <a:gd name="T6" fmla="*/ 12 w 14"/>
                  <a:gd name="T7" fmla="*/ 10 h 18"/>
                  <a:gd name="T8" fmla="*/ 13 w 14"/>
                  <a:gd name="T9" fmla="*/ 6 h 18"/>
                  <a:gd name="T10" fmla="*/ 14 w 14"/>
                  <a:gd name="T11" fmla="*/ 4 h 18"/>
                  <a:gd name="T12" fmla="*/ 12 w 14"/>
                  <a:gd name="T13" fmla="*/ 1 h 18"/>
                  <a:gd name="T14" fmla="*/ 10 w 14"/>
                  <a:gd name="T15" fmla="*/ 0 h 18"/>
                  <a:gd name="T16" fmla="*/ 4 w 14"/>
                  <a:gd name="T17" fmla="*/ 1 h 18"/>
                  <a:gd name="T18" fmla="*/ 1 w 14"/>
                  <a:gd name="T19" fmla="*/ 5 h 18"/>
                  <a:gd name="T20" fmla="*/ 0 w 14"/>
                  <a:gd name="T21" fmla="*/ 7 h 18"/>
                  <a:gd name="T22" fmla="*/ 2 w 14"/>
                  <a:gd name="T23" fmla="*/ 13 h 18"/>
                  <a:gd name="T24" fmla="*/ 4 w 14"/>
                  <a:gd name="T25" fmla="*/ 14 h 18"/>
                  <a:gd name="T26" fmla="*/ 4 w 14"/>
                  <a:gd name="T2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8">
                    <a:moveTo>
                      <a:pt x="4" y="14"/>
                    </a:moveTo>
                    <a:lnTo>
                      <a:pt x="6" y="18"/>
                    </a:lnTo>
                    <a:lnTo>
                      <a:pt x="10" y="14"/>
                    </a:lnTo>
                    <a:lnTo>
                      <a:pt x="12" y="10"/>
                    </a:lnTo>
                    <a:lnTo>
                      <a:pt x="13" y="6"/>
                    </a:lnTo>
                    <a:lnTo>
                      <a:pt x="14" y="4"/>
                    </a:lnTo>
                    <a:lnTo>
                      <a:pt x="12" y="1"/>
                    </a:lnTo>
                    <a:lnTo>
                      <a:pt x="10" y="0"/>
                    </a:lnTo>
                    <a:lnTo>
                      <a:pt x="4" y="1"/>
                    </a:lnTo>
                    <a:lnTo>
                      <a:pt x="1" y="5"/>
                    </a:lnTo>
                    <a:lnTo>
                      <a:pt x="0" y="7"/>
                    </a:lnTo>
                    <a:lnTo>
                      <a:pt x="2" y="13"/>
                    </a:lnTo>
                    <a:lnTo>
                      <a:pt x="4"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2" name="Freeform 48">
                <a:extLst>
                  <a:ext uri="{FF2B5EF4-FFF2-40B4-BE49-F238E27FC236}">
                    <a16:creationId xmlns:a16="http://schemas.microsoft.com/office/drawing/2014/main" id="{16D7E10F-B288-45F1-A84F-AE71E5AA3C55}"/>
                  </a:ext>
                </a:extLst>
              </p:cNvPr>
              <p:cNvSpPr>
                <a:spLocks/>
              </p:cNvSpPr>
              <p:nvPr/>
            </p:nvSpPr>
            <p:spPr bwMode="auto">
              <a:xfrm>
                <a:off x="2597" y="1659"/>
                <a:ext cx="16" cy="13"/>
              </a:xfrm>
              <a:custGeom>
                <a:avLst/>
                <a:gdLst>
                  <a:gd name="T0" fmla="*/ 13 w 16"/>
                  <a:gd name="T1" fmla="*/ 0 h 13"/>
                  <a:gd name="T2" fmla="*/ 10 w 16"/>
                  <a:gd name="T3" fmla="*/ 0 h 13"/>
                  <a:gd name="T4" fmla="*/ 7 w 16"/>
                  <a:gd name="T5" fmla="*/ 6 h 13"/>
                  <a:gd name="T6" fmla="*/ 4 w 16"/>
                  <a:gd name="T7" fmla="*/ 7 h 13"/>
                  <a:gd name="T8" fmla="*/ 1 w 16"/>
                  <a:gd name="T9" fmla="*/ 9 h 13"/>
                  <a:gd name="T10" fmla="*/ 0 w 16"/>
                  <a:gd name="T11" fmla="*/ 13 h 13"/>
                  <a:gd name="T12" fmla="*/ 4 w 16"/>
                  <a:gd name="T13" fmla="*/ 13 h 13"/>
                  <a:gd name="T14" fmla="*/ 8 w 16"/>
                  <a:gd name="T15" fmla="*/ 10 h 13"/>
                  <a:gd name="T16" fmla="*/ 13 w 16"/>
                  <a:gd name="T17" fmla="*/ 5 h 13"/>
                  <a:gd name="T18" fmla="*/ 16 w 16"/>
                  <a:gd name="T19" fmla="*/ 2 h 13"/>
                  <a:gd name="T20" fmla="*/ 15 w 16"/>
                  <a:gd name="T21" fmla="*/ 0 h 13"/>
                  <a:gd name="T22" fmla="*/ 13 w 16"/>
                  <a:gd name="T23" fmla="*/ 0 h 13"/>
                  <a:gd name="T24" fmla="*/ 13 w 16"/>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3">
                    <a:moveTo>
                      <a:pt x="13" y="0"/>
                    </a:moveTo>
                    <a:lnTo>
                      <a:pt x="10" y="0"/>
                    </a:lnTo>
                    <a:lnTo>
                      <a:pt x="7" y="6"/>
                    </a:lnTo>
                    <a:lnTo>
                      <a:pt x="4" y="7"/>
                    </a:lnTo>
                    <a:lnTo>
                      <a:pt x="1" y="9"/>
                    </a:lnTo>
                    <a:lnTo>
                      <a:pt x="0" y="13"/>
                    </a:lnTo>
                    <a:lnTo>
                      <a:pt x="4" y="13"/>
                    </a:lnTo>
                    <a:lnTo>
                      <a:pt x="8" y="10"/>
                    </a:lnTo>
                    <a:lnTo>
                      <a:pt x="13" y="5"/>
                    </a:lnTo>
                    <a:lnTo>
                      <a:pt x="16" y="2"/>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3" name="Freeform 49">
                <a:extLst>
                  <a:ext uri="{FF2B5EF4-FFF2-40B4-BE49-F238E27FC236}">
                    <a16:creationId xmlns:a16="http://schemas.microsoft.com/office/drawing/2014/main" id="{32AEE333-9439-4C86-B2EB-AF90B9F75A43}"/>
                  </a:ext>
                </a:extLst>
              </p:cNvPr>
              <p:cNvSpPr>
                <a:spLocks/>
              </p:cNvSpPr>
              <p:nvPr/>
            </p:nvSpPr>
            <p:spPr bwMode="auto">
              <a:xfrm>
                <a:off x="2601" y="1683"/>
                <a:ext cx="3" cy="4"/>
              </a:xfrm>
              <a:custGeom>
                <a:avLst/>
                <a:gdLst>
                  <a:gd name="T0" fmla="*/ 1 w 3"/>
                  <a:gd name="T1" fmla="*/ 0 h 4"/>
                  <a:gd name="T2" fmla="*/ 0 w 3"/>
                  <a:gd name="T3" fmla="*/ 1 h 4"/>
                  <a:gd name="T4" fmla="*/ 0 w 3"/>
                  <a:gd name="T5" fmla="*/ 4 h 4"/>
                  <a:gd name="T6" fmla="*/ 3 w 3"/>
                  <a:gd name="T7" fmla="*/ 3 h 4"/>
                  <a:gd name="T8" fmla="*/ 3 w 3"/>
                  <a:gd name="T9" fmla="*/ 1 h 4"/>
                  <a:gd name="T10" fmla="*/ 1 w 3"/>
                  <a:gd name="T11" fmla="*/ 0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lnTo>
                      <a:pt x="0" y="1"/>
                    </a:lnTo>
                    <a:lnTo>
                      <a:pt x="0" y="4"/>
                    </a:lnTo>
                    <a:lnTo>
                      <a:pt x="3" y="3"/>
                    </a:lnTo>
                    <a:lnTo>
                      <a:pt x="3" y="1"/>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4" name="Freeform 50">
                <a:extLst>
                  <a:ext uri="{FF2B5EF4-FFF2-40B4-BE49-F238E27FC236}">
                    <a16:creationId xmlns:a16="http://schemas.microsoft.com/office/drawing/2014/main" id="{C6E9FB73-B943-4F95-A82E-6158A07AA38C}"/>
                  </a:ext>
                </a:extLst>
              </p:cNvPr>
              <p:cNvSpPr>
                <a:spLocks/>
              </p:cNvSpPr>
              <p:nvPr/>
            </p:nvSpPr>
            <p:spPr bwMode="auto">
              <a:xfrm>
                <a:off x="2606" y="1650"/>
                <a:ext cx="12" cy="6"/>
              </a:xfrm>
              <a:custGeom>
                <a:avLst/>
                <a:gdLst>
                  <a:gd name="T0" fmla="*/ 8 w 12"/>
                  <a:gd name="T1" fmla="*/ 0 h 6"/>
                  <a:gd name="T2" fmla="*/ 2 w 12"/>
                  <a:gd name="T3" fmla="*/ 2 h 6"/>
                  <a:gd name="T4" fmla="*/ 0 w 12"/>
                  <a:gd name="T5" fmla="*/ 5 h 6"/>
                  <a:gd name="T6" fmla="*/ 2 w 12"/>
                  <a:gd name="T7" fmla="*/ 6 h 6"/>
                  <a:gd name="T8" fmla="*/ 12 w 12"/>
                  <a:gd name="T9" fmla="*/ 2 h 6"/>
                  <a:gd name="T10" fmla="*/ 8 w 12"/>
                  <a:gd name="T11" fmla="*/ 0 h 6"/>
                  <a:gd name="T12" fmla="*/ 8 w 1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8" y="0"/>
                    </a:moveTo>
                    <a:lnTo>
                      <a:pt x="2" y="2"/>
                    </a:lnTo>
                    <a:lnTo>
                      <a:pt x="0" y="5"/>
                    </a:lnTo>
                    <a:lnTo>
                      <a:pt x="2" y="6"/>
                    </a:lnTo>
                    <a:lnTo>
                      <a:pt x="12" y="2"/>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5" name="Freeform 51">
                <a:extLst>
                  <a:ext uri="{FF2B5EF4-FFF2-40B4-BE49-F238E27FC236}">
                    <a16:creationId xmlns:a16="http://schemas.microsoft.com/office/drawing/2014/main" id="{EF7B31E3-3B97-4170-90E8-CC2D83D1811B}"/>
                  </a:ext>
                </a:extLst>
              </p:cNvPr>
              <p:cNvSpPr>
                <a:spLocks/>
              </p:cNvSpPr>
              <p:nvPr/>
            </p:nvSpPr>
            <p:spPr bwMode="auto">
              <a:xfrm>
                <a:off x="2611" y="1793"/>
                <a:ext cx="11" cy="9"/>
              </a:xfrm>
              <a:custGeom>
                <a:avLst/>
                <a:gdLst>
                  <a:gd name="T0" fmla="*/ 2 w 11"/>
                  <a:gd name="T1" fmla="*/ 0 h 9"/>
                  <a:gd name="T2" fmla="*/ 0 w 11"/>
                  <a:gd name="T3" fmla="*/ 1 h 9"/>
                  <a:gd name="T4" fmla="*/ 0 w 11"/>
                  <a:gd name="T5" fmla="*/ 3 h 9"/>
                  <a:gd name="T6" fmla="*/ 5 w 11"/>
                  <a:gd name="T7" fmla="*/ 9 h 9"/>
                  <a:gd name="T8" fmla="*/ 8 w 11"/>
                  <a:gd name="T9" fmla="*/ 9 h 9"/>
                  <a:gd name="T10" fmla="*/ 11 w 11"/>
                  <a:gd name="T11" fmla="*/ 8 h 9"/>
                  <a:gd name="T12" fmla="*/ 11 w 11"/>
                  <a:gd name="T13" fmla="*/ 4 h 9"/>
                  <a:gd name="T14" fmla="*/ 10 w 11"/>
                  <a:gd name="T15" fmla="*/ 2 h 9"/>
                  <a:gd name="T16" fmla="*/ 7 w 11"/>
                  <a:gd name="T17" fmla="*/ 1 h 9"/>
                  <a:gd name="T18" fmla="*/ 4 w 11"/>
                  <a:gd name="T19" fmla="*/ 1 h 9"/>
                  <a:gd name="T20" fmla="*/ 2 w 11"/>
                  <a:gd name="T21" fmla="*/ 0 h 9"/>
                  <a:gd name="T22" fmla="*/ 2 w 1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2" y="0"/>
                    </a:moveTo>
                    <a:lnTo>
                      <a:pt x="0" y="1"/>
                    </a:lnTo>
                    <a:lnTo>
                      <a:pt x="0" y="3"/>
                    </a:lnTo>
                    <a:lnTo>
                      <a:pt x="5" y="9"/>
                    </a:lnTo>
                    <a:lnTo>
                      <a:pt x="8" y="9"/>
                    </a:lnTo>
                    <a:lnTo>
                      <a:pt x="11" y="8"/>
                    </a:lnTo>
                    <a:lnTo>
                      <a:pt x="11" y="4"/>
                    </a:lnTo>
                    <a:lnTo>
                      <a:pt x="10" y="2"/>
                    </a:lnTo>
                    <a:lnTo>
                      <a:pt x="7" y="1"/>
                    </a:lnTo>
                    <a:lnTo>
                      <a:pt x="4"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6" name="Freeform 52">
                <a:extLst>
                  <a:ext uri="{FF2B5EF4-FFF2-40B4-BE49-F238E27FC236}">
                    <a16:creationId xmlns:a16="http://schemas.microsoft.com/office/drawing/2014/main" id="{D387E02E-9CF0-4B8A-9946-477BE0A5AF66}"/>
                  </a:ext>
                </a:extLst>
              </p:cNvPr>
              <p:cNvSpPr>
                <a:spLocks/>
              </p:cNvSpPr>
              <p:nvPr/>
            </p:nvSpPr>
            <p:spPr bwMode="auto">
              <a:xfrm>
                <a:off x="2625" y="1657"/>
                <a:ext cx="10" cy="8"/>
              </a:xfrm>
              <a:custGeom>
                <a:avLst/>
                <a:gdLst>
                  <a:gd name="T0" fmla="*/ 4 w 10"/>
                  <a:gd name="T1" fmla="*/ 0 h 8"/>
                  <a:gd name="T2" fmla="*/ 0 w 10"/>
                  <a:gd name="T3" fmla="*/ 1 h 8"/>
                  <a:gd name="T4" fmla="*/ 0 w 10"/>
                  <a:gd name="T5" fmla="*/ 4 h 8"/>
                  <a:gd name="T6" fmla="*/ 0 w 10"/>
                  <a:gd name="T7" fmla="*/ 7 h 8"/>
                  <a:gd name="T8" fmla="*/ 4 w 10"/>
                  <a:gd name="T9" fmla="*/ 8 h 8"/>
                  <a:gd name="T10" fmla="*/ 6 w 10"/>
                  <a:gd name="T11" fmla="*/ 8 h 8"/>
                  <a:gd name="T12" fmla="*/ 7 w 10"/>
                  <a:gd name="T13" fmla="*/ 6 h 8"/>
                  <a:gd name="T14" fmla="*/ 10 w 10"/>
                  <a:gd name="T15" fmla="*/ 3 h 8"/>
                  <a:gd name="T16" fmla="*/ 10 w 10"/>
                  <a:gd name="T17" fmla="*/ 1 h 8"/>
                  <a:gd name="T18" fmla="*/ 6 w 10"/>
                  <a:gd name="T19" fmla="*/ 1 h 8"/>
                  <a:gd name="T20" fmla="*/ 4 w 10"/>
                  <a:gd name="T21" fmla="*/ 0 h 8"/>
                  <a:gd name="T22" fmla="*/ 4 w 10"/>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4" y="0"/>
                    </a:moveTo>
                    <a:lnTo>
                      <a:pt x="0" y="1"/>
                    </a:lnTo>
                    <a:lnTo>
                      <a:pt x="0" y="4"/>
                    </a:lnTo>
                    <a:lnTo>
                      <a:pt x="0" y="7"/>
                    </a:lnTo>
                    <a:lnTo>
                      <a:pt x="4" y="8"/>
                    </a:lnTo>
                    <a:lnTo>
                      <a:pt x="6" y="8"/>
                    </a:lnTo>
                    <a:lnTo>
                      <a:pt x="7" y="6"/>
                    </a:lnTo>
                    <a:lnTo>
                      <a:pt x="10" y="3"/>
                    </a:lnTo>
                    <a:lnTo>
                      <a:pt x="10" y="1"/>
                    </a:lnTo>
                    <a:lnTo>
                      <a:pt x="6"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7" name="Freeform 53">
                <a:extLst>
                  <a:ext uri="{FF2B5EF4-FFF2-40B4-BE49-F238E27FC236}">
                    <a16:creationId xmlns:a16="http://schemas.microsoft.com/office/drawing/2014/main" id="{D450C346-9E69-4B19-9B2B-CBBD9B0ABC24}"/>
                  </a:ext>
                </a:extLst>
              </p:cNvPr>
              <p:cNvSpPr>
                <a:spLocks/>
              </p:cNvSpPr>
              <p:nvPr/>
            </p:nvSpPr>
            <p:spPr bwMode="auto">
              <a:xfrm>
                <a:off x="2627" y="1684"/>
                <a:ext cx="30" cy="26"/>
              </a:xfrm>
              <a:custGeom>
                <a:avLst/>
                <a:gdLst>
                  <a:gd name="T0" fmla="*/ 1 w 30"/>
                  <a:gd name="T1" fmla="*/ 22 h 26"/>
                  <a:gd name="T2" fmla="*/ 2 w 30"/>
                  <a:gd name="T3" fmla="*/ 24 h 26"/>
                  <a:gd name="T4" fmla="*/ 4 w 30"/>
                  <a:gd name="T5" fmla="*/ 25 h 26"/>
                  <a:gd name="T6" fmla="*/ 8 w 30"/>
                  <a:gd name="T7" fmla="*/ 26 h 26"/>
                  <a:gd name="T8" fmla="*/ 15 w 30"/>
                  <a:gd name="T9" fmla="*/ 25 h 26"/>
                  <a:gd name="T10" fmla="*/ 18 w 30"/>
                  <a:gd name="T11" fmla="*/ 25 h 26"/>
                  <a:gd name="T12" fmla="*/ 23 w 30"/>
                  <a:gd name="T13" fmla="*/ 23 h 26"/>
                  <a:gd name="T14" fmla="*/ 27 w 30"/>
                  <a:gd name="T15" fmla="*/ 22 h 26"/>
                  <a:gd name="T16" fmla="*/ 29 w 30"/>
                  <a:gd name="T17" fmla="*/ 19 h 26"/>
                  <a:gd name="T18" fmla="*/ 30 w 30"/>
                  <a:gd name="T19" fmla="*/ 16 h 26"/>
                  <a:gd name="T20" fmla="*/ 29 w 30"/>
                  <a:gd name="T21" fmla="*/ 8 h 26"/>
                  <a:gd name="T22" fmla="*/ 30 w 30"/>
                  <a:gd name="T23" fmla="*/ 6 h 26"/>
                  <a:gd name="T24" fmla="*/ 29 w 30"/>
                  <a:gd name="T25" fmla="*/ 2 h 26"/>
                  <a:gd name="T26" fmla="*/ 21 w 30"/>
                  <a:gd name="T27" fmla="*/ 0 h 26"/>
                  <a:gd name="T28" fmla="*/ 18 w 30"/>
                  <a:gd name="T29" fmla="*/ 0 h 26"/>
                  <a:gd name="T30" fmla="*/ 15 w 30"/>
                  <a:gd name="T31" fmla="*/ 1 h 26"/>
                  <a:gd name="T32" fmla="*/ 12 w 30"/>
                  <a:gd name="T33" fmla="*/ 0 h 26"/>
                  <a:gd name="T34" fmla="*/ 8 w 30"/>
                  <a:gd name="T35" fmla="*/ 2 h 26"/>
                  <a:gd name="T36" fmla="*/ 4 w 30"/>
                  <a:gd name="T37" fmla="*/ 5 h 26"/>
                  <a:gd name="T38" fmla="*/ 1 w 30"/>
                  <a:gd name="T39" fmla="*/ 10 h 26"/>
                  <a:gd name="T40" fmla="*/ 0 w 30"/>
                  <a:gd name="T41" fmla="*/ 13 h 26"/>
                  <a:gd name="T42" fmla="*/ 0 w 30"/>
                  <a:gd name="T43" fmla="*/ 15 h 26"/>
                  <a:gd name="T44" fmla="*/ 0 w 30"/>
                  <a:gd name="T45" fmla="*/ 18 h 26"/>
                  <a:gd name="T46" fmla="*/ 0 w 30"/>
                  <a:gd name="T47" fmla="*/ 20 h 26"/>
                  <a:gd name="T48" fmla="*/ 1 w 30"/>
                  <a:gd name="T49" fmla="*/ 22 h 26"/>
                  <a:gd name="T50" fmla="*/ 1 w 30"/>
                  <a:gd name="T5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6">
                    <a:moveTo>
                      <a:pt x="1" y="22"/>
                    </a:moveTo>
                    <a:lnTo>
                      <a:pt x="2" y="24"/>
                    </a:lnTo>
                    <a:lnTo>
                      <a:pt x="4" y="25"/>
                    </a:lnTo>
                    <a:lnTo>
                      <a:pt x="8" y="26"/>
                    </a:lnTo>
                    <a:lnTo>
                      <a:pt x="15" y="25"/>
                    </a:lnTo>
                    <a:lnTo>
                      <a:pt x="18" y="25"/>
                    </a:lnTo>
                    <a:lnTo>
                      <a:pt x="23" y="23"/>
                    </a:lnTo>
                    <a:lnTo>
                      <a:pt x="27" y="22"/>
                    </a:lnTo>
                    <a:lnTo>
                      <a:pt x="29" y="19"/>
                    </a:lnTo>
                    <a:lnTo>
                      <a:pt x="30" y="16"/>
                    </a:lnTo>
                    <a:lnTo>
                      <a:pt x="29" y="8"/>
                    </a:lnTo>
                    <a:lnTo>
                      <a:pt x="30" y="6"/>
                    </a:lnTo>
                    <a:lnTo>
                      <a:pt x="29" y="2"/>
                    </a:lnTo>
                    <a:lnTo>
                      <a:pt x="21" y="0"/>
                    </a:lnTo>
                    <a:lnTo>
                      <a:pt x="18" y="0"/>
                    </a:lnTo>
                    <a:lnTo>
                      <a:pt x="15" y="1"/>
                    </a:lnTo>
                    <a:lnTo>
                      <a:pt x="12" y="0"/>
                    </a:lnTo>
                    <a:lnTo>
                      <a:pt x="8" y="2"/>
                    </a:lnTo>
                    <a:lnTo>
                      <a:pt x="4" y="5"/>
                    </a:lnTo>
                    <a:lnTo>
                      <a:pt x="1" y="10"/>
                    </a:lnTo>
                    <a:lnTo>
                      <a:pt x="0" y="13"/>
                    </a:lnTo>
                    <a:lnTo>
                      <a:pt x="0" y="15"/>
                    </a:lnTo>
                    <a:lnTo>
                      <a:pt x="0" y="18"/>
                    </a:lnTo>
                    <a:lnTo>
                      <a:pt x="0" y="20"/>
                    </a:lnTo>
                    <a:lnTo>
                      <a:pt x="1" y="22"/>
                    </a:ln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8" name="Freeform 54">
                <a:extLst>
                  <a:ext uri="{FF2B5EF4-FFF2-40B4-BE49-F238E27FC236}">
                    <a16:creationId xmlns:a16="http://schemas.microsoft.com/office/drawing/2014/main" id="{3E6F7BFF-AB25-4F53-A6AB-FBBD1A68B47D}"/>
                  </a:ext>
                </a:extLst>
              </p:cNvPr>
              <p:cNvSpPr>
                <a:spLocks/>
              </p:cNvSpPr>
              <p:nvPr/>
            </p:nvSpPr>
            <p:spPr bwMode="auto">
              <a:xfrm>
                <a:off x="2666" y="1681"/>
                <a:ext cx="4" cy="4"/>
              </a:xfrm>
              <a:custGeom>
                <a:avLst/>
                <a:gdLst>
                  <a:gd name="T0" fmla="*/ 0 w 4"/>
                  <a:gd name="T1" fmla="*/ 0 h 4"/>
                  <a:gd name="T2" fmla="*/ 0 w 4"/>
                  <a:gd name="T3" fmla="*/ 2 h 4"/>
                  <a:gd name="T4" fmla="*/ 4 w 4"/>
                  <a:gd name="T5" fmla="*/ 4 h 4"/>
                  <a:gd name="T6" fmla="*/ 4 w 4"/>
                  <a:gd name="T7" fmla="*/ 2 h 4"/>
                  <a:gd name="T8" fmla="*/ 0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2"/>
                    </a:lnTo>
                    <a:lnTo>
                      <a:pt x="4" y="4"/>
                    </a:lnTo>
                    <a:lnTo>
                      <a:pt x="4"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9" name="Rectangle 55">
                <a:extLst>
                  <a:ext uri="{FF2B5EF4-FFF2-40B4-BE49-F238E27FC236}">
                    <a16:creationId xmlns:a16="http://schemas.microsoft.com/office/drawing/2014/main" id="{05693B65-5043-4CAA-8F7C-35EC90256017}"/>
                  </a:ext>
                </a:extLst>
              </p:cNvPr>
              <p:cNvSpPr>
                <a:spLocks noChangeArrowheads="1"/>
              </p:cNvSpPr>
              <p:nvPr/>
            </p:nvSpPr>
            <p:spPr bwMode="auto">
              <a:xfrm>
                <a:off x="2521" y="139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0" name="Freeform 56">
                <a:extLst>
                  <a:ext uri="{FF2B5EF4-FFF2-40B4-BE49-F238E27FC236}">
                    <a16:creationId xmlns:a16="http://schemas.microsoft.com/office/drawing/2014/main" id="{59C07678-88DD-4FC2-BB8E-AB19041FAEB2}"/>
                  </a:ext>
                </a:extLst>
              </p:cNvPr>
              <p:cNvSpPr>
                <a:spLocks/>
              </p:cNvSpPr>
              <p:nvPr/>
            </p:nvSpPr>
            <p:spPr bwMode="auto">
              <a:xfrm>
                <a:off x="2521" y="1331"/>
                <a:ext cx="35" cy="4"/>
              </a:xfrm>
              <a:custGeom>
                <a:avLst/>
                <a:gdLst>
                  <a:gd name="T0" fmla="*/ 0 w 35"/>
                  <a:gd name="T1" fmla="*/ 4 h 4"/>
                  <a:gd name="T2" fmla="*/ 0 w 35"/>
                  <a:gd name="T3" fmla="*/ 3 h 4"/>
                  <a:gd name="T4" fmla="*/ 22 w 35"/>
                  <a:gd name="T5" fmla="*/ 1 h 4"/>
                  <a:gd name="T6" fmla="*/ 30 w 35"/>
                  <a:gd name="T7" fmla="*/ 0 h 4"/>
                  <a:gd name="T8" fmla="*/ 35 w 35"/>
                  <a:gd name="T9" fmla="*/ 0 h 4"/>
                  <a:gd name="T10" fmla="*/ 30 w 35"/>
                  <a:gd name="T11" fmla="*/ 2 h 4"/>
                  <a:gd name="T12" fmla="*/ 24 w 35"/>
                  <a:gd name="T13" fmla="*/ 2 h 4"/>
                  <a:gd name="T14" fmla="*/ 18 w 35"/>
                  <a:gd name="T15" fmla="*/ 3 h 4"/>
                  <a:gd name="T16" fmla="*/ 12 w 35"/>
                  <a:gd name="T17" fmla="*/ 3 h 4"/>
                  <a:gd name="T18" fmla="*/ 4 w 35"/>
                  <a:gd name="T19" fmla="*/ 4 h 4"/>
                  <a:gd name="T20" fmla="*/ 0 w 35"/>
                  <a:gd name="T21" fmla="*/ 4 h 4"/>
                  <a:gd name="T22" fmla="*/ 0 w 35"/>
                  <a:gd name="T23" fmla="*/ 4 h 4"/>
                  <a:gd name="T24" fmla="*/ 0 w 35"/>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
                    <a:moveTo>
                      <a:pt x="0" y="4"/>
                    </a:moveTo>
                    <a:lnTo>
                      <a:pt x="0" y="3"/>
                    </a:lnTo>
                    <a:lnTo>
                      <a:pt x="22" y="1"/>
                    </a:lnTo>
                    <a:lnTo>
                      <a:pt x="30" y="0"/>
                    </a:lnTo>
                    <a:lnTo>
                      <a:pt x="35" y="0"/>
                    </a:lnTo>
                    <a:lnTo>
                      <a:pt x="30" y="2"/>
                    </a:lnTo>
                    <a:lnTo>
                      <a:pt x="24" y="2"/>
                    </a:lnTo>
                    <a:lnTo>
                      <a:pt x="18" y="3"/>
                    </a:lnTo>
                    <a:lnTo>
                      <a:pt x="12" y="3"/>
                    </a:lnTo>
                    <a:lnTo>
                      <a:pt x="4"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1" name="Freeform 57">
                <a:extLst>
                  <a:ext uri="{FF2B5EF4-FFF2-40B4-BE49-F238E27FC236}">
                    <a16:creationId xmlns:a16="http://schemas.microsoft.com/office/drawing/2014/main" id="{8871E57A-C87C-4E9E-B570-B39B06248563}"/>
                  </a:ext>
                </a:extLst>
              </p:cNvPr>
              <p:cNvSpPr>
                <a:spLocks/>
              </p:cNvSpPr>
              <p:nvPr/>
            </p:nvSpPr>
            <p:spPr bwMode="auto">
              <a:xfrm>
                <a:off x="2521" y="1326"/>
                <a:ext cx="3" cy="2"/>
              </a:xfrm>
              <a:custGeom>
                <a:avLst/>
                <a:gdLst>
                  <a:gd name="T0" fmla="*/ 0 w 3"/>
                  <a:gd name="T1" fmla="*/ 2 h 2"/>
                  <a:gd name="T2" fmla="*/ 0 w 3"/>
                  <a:gd name="T3" fmla="*/ 0 h 2"/>
                  <a:gd name="T4" fmla="*/ 0 w 3"/>
                  <a:gd name="T5" fmla="*/ 0 h 2"/>
                  <a:gd name="T6" fmla="*/ 3 w 3"/>
                  <a:gd name="T7" fmla="*/ 2 h 2"/>
                  <a:gd name="T8" fmla="*/ 0 w 3"/>
                  <a:gd name="T9" fmla="*/ 2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0"/>
                    </a:lnTo>
                    <a:lnTo>
                      <a:pt x="0" y="0"/>
                    </a:lnTo>
                    <a:lnTo>
                      <a:pt x="3"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2" name="Freeform 58">
                <a:extLst>
                  <a:ext uri="{FF2B5EF4-FFF2-40B4-BE49-F238E27FC236}">
                    <a16:creationId xmlns:a16="http://schemas.microsoft.com/office/drawing/2014/main" id="{FB3AD00B-F17B-46D0-B697-2A9F0CF8A53F}"/>
                  </a:ext>
                </a:extLst>
              </p:cNvPr>
              <p:cNvSpPr>
                <a:spLocks/>
              </p:cNvSpPr>
              <p:nvPr/>
            </p:nvSpPr>
            <p:spPr bwMode="auto">
              <a:xfrm>
                <a:off x="2521" y="1306"/>
                <a:ext cx="0" cy="1"/>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3" name="Freeform 59">
                <a:extLst>
                  <a:ext uri="{FF2B5EF4-FFF2-40B4-BE49-F238E27FC236}">
                    <a16:creationId xmlns:a16="http://schemas.microsoft.com/office/drawing/2014/main" id="{5836CE95-0722-48D7-90FA-5397E9E2B7E7}"/>
                  </a:ext>
                </a:extLst>
              </p:cNvPr>
              <p:cNvSpPr>
                <a:spLocks/>
              </p:cNvSpPr>
              <p:nvPr/>
            </p:nvSpPr>
            <p:spPr bwMode="auto">
              <a:xfrm>
                <a:off x="2520" y="1305"/>
                <a:ext cx="1" cy="1"/>
              </a:xfrm>
              <a:custGeom>
                <a:avLst/>
                <a:gdLst>
                  <a:gd name="T0" fmla="*/ 1 w 1"/>
                  <a:gd name="T1" fmla="*/ 1 h 1"/>
                  <a:gd name="T2" fmla="*/ 0 w 1"/>
                  <a:gd name="T3" fmla="*/ 0 h 1"/>
                  <a:gd name="T4" fmla="*/ 1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0" y="0"/>
                    </a:lnTo>
                    <a:lnTo>
                      <a:pt x="1" y="0"/>
                    </a:lnTo>
                    <a:lnTo>
                      <a:pt x="1" y="1"/>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4" name="Freeform 60">
                <a:extLst>
                  <a:ext uri="{FF2B5EF4-FFF2-40B4-BE49-F238E27FC236}">
                    <a16:creationId xmlns:a16="http://schemas.microsoft.com/office/drawing/2014/main" id="{F5D52485-CD94-4315-A196-0187B8D89760}"/>
                  </a:ext>
                </a:extLst>
              </p:cNvPr>
              <p:cNvSpPr>
                <a:spLocks/>
              </p:cNvSpPr>
              <p:nvPr/>
            </p:nvSpPr>
            <p:spPr bwMode="auto">
              <a:xfrm>
                <a:off x="2521" y="1304"/>
                <a:ext cx="3" cy="3"/>
              </a:xfrm>
              <a:custGeom>
                <a:avLst/>
                <a:gdLst>
                  <a:gd name="T0" fmla="*/ 0 w 3"/>
                  <a:gd name="T1" fmla="*/ 1 h 3"/>
                  <a:gd name="T2" fmla="*/ 0 w 3"/>
                  <a:gd name="T3" fmla="*/ 0 h 3"/>
                  <a:gd name="T4" fmla="*/ 0 w 3"/>
                  <a:gd name="T5" fmla="*/ 0 h 3"/>
                  <a:gd name="T6" fmla="*/ 3 w 3"/>
                  <a:gd name="T7" fmla="*/ 1 h 3"/>
                  <a:gd name="T8" fmla="*/ 3 w 3"/>
                  <a:gd name="T9" fmla="*/ 3 h 3"/>
                  <a:gd name="T10" fmla="*/ 1 w 3"/>
                  <a:gd name="T11" fmla="*/ 1 h 3"/>
                  <a:gd name="T12" fmla="*/ 0 w 3"/>
                  <a:gd name="T13" fmla="*/ 1 h 3"/>
                  <a:gd name="T14" fmla="*/ 0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1"/>
                    </a:moveTo>
                    <a:lnTo>
                      <a:pt x="0" y="0"/>
                    </a:lnTo>
                    <a:lnTo>
                      <a:pt x="0" y="0"/>
                    </a:lnTo>
                    <a:lnTo>
                      <a:pt x="3" y="1"/>
                    </a:lnTo>
                    <a:lnTo>
                      <a:pt x="3" y="3"/>
                    </a:lnTo>
                    <a:lnTo>
                      <a:pt x="1"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5" name="Freeform 61">
                <a:extLst>
                  <a:ext uri="{FF2B5EF4-FFF2-40B4-BE49-F238E27FC236}">
                    <a16:creationId xmlns:a16="http://schemas.microsoft.com/office/drawing/2014/main" id="{B2A3A276-92D4-4797-A9C8-3D93477906DE}"/>
                  </a:ext>
                </a:extLst>
              </p:cNvPr>
              <p:cNvSpPr>
                <a:spLocks/>
              </p:cNvSpPr>
              <p:nvPr/>
            </p:nvSpPr>
            <p:spPr bwMode="auto">
              <a:xfrm>
                <a:off x="2764" y="2549"/>
                <a:ext cx="21" cy="8"/>
              </a:xfrm>
              <a:custGeom>
                <a:avLst/>
                <a:gdLst>
                  <a:gd name="T0" fmla="*/ 18 w 21"/>
                  <a:gd name="T1" fmla="*/ 8 h 8"/>
                  <a:gd name="T2" fmla="*/ 19 w 21"/>
                  <a:gd name="T3" fmla="*/ 7 h 8"/>
                  <a:gd name="T4" fmla="*/ 21 w 21"/>
                  <a:gd name="T5" fmla="*/ 5 h 8"/>
                  <a:gd name="T6" fmla="*/ 20 w 21"/>
                  <a:gd name="T7" fmla="*/ 2 h 8"/>
                  <a:gd name="T8" fmla="*/ 18 w 21"/>
                  <a:gd name="T9" fmla="*/ 1 h 8"/>
                  <a:gd name="T10" fmla="*/ 2 w 21"/>
                  <a:gd name="T11" fmla="*/ 0 h 8"/>
                  <a:gd name="T12" fmla="*/ 0 w 21"/>
                  <a:gd name="T13" fmla="*/ 2 h 8"/>
                  <a:gd name="T14" fmla="*/ 2 w 21"/>
                  <a:gd name="T15" fmla="*/ 8 h 8"/>
                  <a:gd name="T16" fmla="*/ 4 w 21"/>
                  <a:gd name="T17" fmla="*/ 8 h 8"/>
                  <a:gd name="T18" fmla="*/ 6 w 21"/>
                  <a:gd name="T19" fmla="*/ 8 h 8"/>
                  <a:gd name="T20" fmla="*/ 12 w 21"/>
                  <a:gd name="T21" fmla="*/ 8 h 8"/>
                  <a:gd name="T22" fmla="*/ 14 w 21"/>
                  <a:gd name="T23" fmla="*/ 8 h 8"/>
                  <a:gd name="T24" fmla="*/ 18 w 21"/>
                  <a:gd name="T25" fmla="*/ 8 h 8"/>
                  <a:gd name="T26" fmla="*/ 18 w 21"/>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8">
                    <a:moveTo>
                      <a:pt x="18" y="8"/>
                    </a:moveTo>
                    <a:lnTo>
                      <a:pt x="19" y="7"/>
                    </a:lnTo>
                    <a:lnTo>
                      <a:pt x="21" y="5"/>
                    </a:lnTo>
                    <a:lnTo>
                      <a:pt x="20" y="2"/>
                    </a:lnTo>
                    <a:lnTo>
                      <a:pt x="18" y="1"/>
                    </a:lnTo>
                    <a:lnTo>
                      <a:pt x="2" y="0"/>
                    </a:lnTo>
                    <a:lnTo>
                      <a:pt x="0" y="2"/>
                    </a:lnTo>
                    <a:lnTo>
                      <a:pt x="2" y="8"/>
                    </a:lnTo>
                    <a:lnTo>
                      <a:pt x="4" y="8"/>
                    </a:lnTo>
                    <a:lnTo>
                      <a:pt x="6" y="8"/>
                    </a:lnTo>
                    <a:lnTo>
                      <a:pt x="12" y="8"/>
                    </a:lnTo>
                    <a:lnTo>
                      <a:pt x="14" y="8"/>
                    </a:lnTo>
                    <a:lnTo>
                      <a:pt x="18" y="8"/>
                    </a:lnTo>
                    <a:lnTo>
                      <a:pt x="1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6" name="Freeform 62">
                <a:extLst>
                  <a:ext uri="{FF2B5EF4-FFF2-40B4-BE49-F238E27FC236}">
                    <a16:creationId xmlns:a16="http://schemas.microsoft.com/office/drawing/2014/main" id="{E178C496-CC02-49FA-A473-AF8315BC1855}"/>
                  </a:ext>
                </a:extLst>
              </p:cNvPr>
              <p:cNvSpPr>
                <a:spLocks/>
              </p:cNvSpPr>
              <p:nvPr/>
            </p:nvSpPr>
            <p:spPr bwMode="auto">
              <a:xfrm>
                <a:off x="2802" y="2111"/>
                <a:ext cx="33" cy="17"/>
              </a:xfrm>
              <a:custGeom>
                <a:avLst/>
                <a:gdLst>
                  <a:gd name="T0" fmla="*/ 29 w 33"/>
                  <a:gd name="T1" fmla="*/ 8 h 17"/>
                  <a:gd name="T2" fmla="*/ 18 w 33"/>
                  <a:gd name="T3" fmla="*/ 9 h 17"/>
                  <a:gd name="T4" fmla="*/ 13 w 33"/>
                  <a:gd name="T5" fmla="*/ 7 h 17"/>
                  <a:gd name="T6" fmla="*/ 10 w 33"/>
                  <a:gd name="T7" fmla="*/ 8 h 17"/>
                  <a:gd name="T8" fmla="*/ 7 w 33"/>
                  <a:gd name="T9" fmla="*/ 8 h 17"/>
                  <a:gd name="T10" fmla="*/ 8 w 33"/>
                  <a:gd name="T11" fmla="*/ 6 h 17"/>
                  <a:gd name="T12" fmla="*/ 5 w 33"/>
                  <a:gd name="T13" fmla="*/ 3 h 17"/>
                  <a:gd name="T14" fmla="*/ 7 w 33"/>
                  <a:gd name="T15" fmla="*/ 1 h 17"/>
                  <a:gd name="T16" fmla="*/ 4 w 33"/>
                  <a:gd name="T17" fmla="*/ 0 h 17"/>
                  <a:gd name="T18" fmla="*/ 0 w 33"/>
                  <a:gd name="T19" fmla="*/ 6 h 17"/>
                  <a:gd name="T20" fmla="*/ 4 w 33"/>
                  <a:gd name="T21" fmla="*/ 6 h 17"/>
                  <a:gd name="T22" fmla="*/ 5 w 33"/>
                  <a:gd name="T23" fmla="*/ 9 h 17"/>
                  <a:gd name="T24" fmla="*/ 10 w 33"/>
                  <a:gd name="T25" fmla="*/ 10 h 17"/>
                  <a:gd name="T26" fmla="*/ 10 w 33"/>
                  <a:gd name="T27" fmla="*/ 12 h 17"/>
                  <a:gd name="T28" fmla="*/ 13 w 33"/>
                  <a:gd name="T29" fmla="*/ 14 h 17"/>
                  <a:gd name="T30" fmla="*/ 16 w 33"/>
                  <a:gd name="T31" fmla="*/ 14 h 17"/>
                  <a:gd name="T32" fmla="*/ 18 w 33"/>
                  <a:gd name="T33" fmla="*/ 12 h 17"/>
                  <a:gd name="T34" fmla="*/ 22 w 33"/>
                  <a:gd name="T35" fmla="*/ 14 h 17"/>
                  <a:gd name="T36" fmla="*/ 22 w 33"/>
                  <a:gd name="T37" fmla="*/ 17 h 17"/>
                  <a:gd name="T38" fmla="*/ 24 w 33"/>
                  <a:gd name="T39" fmla="*/ 17 h 17"/>
                  <a:gd name="T40" fmla="*/ 27 w 33"/>
                  <a:gd name="T41" fmla="*/ 17 h 17"/>
                  <a:gd name="T42" fmla="*/ 27 w 33"/>
                  <a:gd name="T43" fmla="*/ 14 h 17"/>
                  <a:gd name="T44" fmla="*/ 29 w 33"/>
                  <a:gd name="T45" fmla="*/ 11 h 17"/>
                  <a:gd name="T46" fmla="*/ 33 w 33"/>
                  <a:gd name="T47" fmla="*/ 9 h 17"/>
                  <a:gd name="T48" fmla="*/ 31 w 33"/>
                  <a:gd name="T49" fmla="*/ 8 h 17"/>
                  <a:gd name="T50" fmla="*/ 29 w 33"/>
                  <a:gd name="T51" fmla="*/ 8 h 17"/>
                  <a:gd name="T52" fmla="*/ 29 w 33"/>
                  <a:gd name="T5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17">
                    <a:moveTo>
                      <a:pt x="29" y="8"/>
                    </a:moveTo>
                    <a:lnTo>
                      <a:pt x="18" y="9"/>
                    </a:lnTo>
                    <a:lnTo>
                      <a:pt x="13" y="7"/>
                    </a:lnTo>
                    <a:lnTo>
                      <a:pt x="10" y="8"/>
                    </a:lnTo>
                    <a:lnTo>
                      <a:pt x="7" y="8"/>
                    </a:lnTo>
                    <a:lnTo>
                      <a:pt x="8" y="6"/>
                    </a:lnTo>
                    <a:lnTo>
                      <a:pt x="5" y="3"/>
                    </a:lnTo>
                    <a:lnTo>
                      <a:pt x="7" y="1"/>
                    </a:lnTo>
                    <a:lnTo>
                      <a:pt x="4" y="0"/>
                    </a:lnTo>
                    <a:lnTo>
                      <a:pt x="0" y="6"/>
                    </a:lnTo>
                    <a:lnTo>
                      <a:pt x="4" y="6"/>
                    </a:lnTo>
                    <a:lnTo>
                      <a:pt x="5" y="9"/>
                    </a:lnTo>
                    <a:lnTo>
                      <a:pt x="10" y="10"/>
                    </a:lnTo>
                    <a:lnTo>
                      <a:pt x="10" y="12"/>
                    </a:lnTo>
                    <a:lnTo>
                      <a:pt x="13" y="14"/>
                    </a:lnTo>
                    <a:lnTo>
                      <a:pt x="16" y="14"/>
                    </a:lnTo>
                    <a:lnTo>
                      <a:pt x="18" y="12"/>
                    </a:lnTo>
                    <a:lnTo>
                      <a:pt x="22" y="14"/>
                    </a:lnTo>
                    <a:lnTo>
                      <a:pt x="22" y="17"/>
                    </a:lnTo>
                    <a:lnTo>
                      <a:pt x="24" y="17"/>
                    </a:lnTo>
                    <a:lnTo>
                      <a:pt x="27" y="17"/>
                    </a:lnTo>
                    <a:lnTo>
                      <a:pt x="27" y="14"/>
                    </a:lnTo>
                    <a:lnTo>
                      <a:pt x="29" y="11"/>
                    </a:lnTo>
                    <a:lnTo>
                      <a:pt x="33" y="9"/>
                    </a:lnTo>
                    <a:lnTo>
                      <a:pt x="31" y="8"/>
                    </a:lnTo>
                    <a:lnTo>
                      <a:pt x="29" y="8"/>
                    </a:lnTo>
                    <a:lnTo>
                      <a:pt x="2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7" name="Freeform 63">
                <a:extLst>
                  <a:ext uri="{FF2B5EF4-FFF2-40B4-BE49-F238E27FC236}">
                    <a16:creationId xmlns:a16="http://schemas.microsoft.com/office/drawing/2014/main" id="{8C6FF026-562C-46D3-A913-28CE0024F00E}"/>
                  </a:ext>
                </a:extLst>
              </p:cNvPr>
              <p:cNvSpPr>
                <a:spLocks/>
              </p:cNvSpPr>
              <p:nvPr/>
            </p:nvSpPr>
            <p:spPr bwMode="auto">
              <a:xfrm>
                <a:off x="2932" y="1636"/>
                <a:ext cx="42" cy="27"/>
              </a:xfrm>
              <a:custGeom>
                <a:avLst/>
                <a:gdLst>
                  <a:gd name="T0" fmla="*/ 4 w 42"/>
                  <a:gd name="T1" fmla="*/ 7 h 27"/>
                  <a:gd name="T2" fmla="*/ 10 w 42"/>
                  <a:gd name="T3" fmla="*/ 10 h 27"/>
                  <a:gd name="T4" fmla="*/ 4 w 42"/>
                  <a:gd name="T5" fmla="*/ 8 h 27"/>
                  <a:gd name="T6" fmla="*/ 2 w 42"/>
                  <a:gd name="T7" fmla="*/ 10 h 27"/>
                  <a:gd name="T8" fmla="*/ 0 w 42"/>
                  <a:gd name="T9" fmla="*/ 12 h 27"/>
                  <a:gd name="T10" fmla="*/ 4 w 42"/>
                  <a:gd name="T11" fmla="*/ 13 h 27"/>
                  <a:gd name="T12" fmla="*/ 6 w 42"/>
                  <a:gd name="T13" fmla="*/ 15 h 27"/>
                  <a:gd name="T14" fmla="*/ 4 w 42"/>
                  <a:gd name="T15" fmla="*/ 14 h 27"/>
                  <a:gd name="T16" fmla="*/ 0 w 42"/>
                  <a:gd name="T17" fmla="*/ 16 h 27"/>
                  <a:gd name="T18" fmla="*/ 4 w 42"/>
                  <a:gd name="T19" fmla="*/ 17 h 27"/>
                  <a:gd name="T20" fmla="*/ 6 w 42"/>
                  <a:gd name="T21" fmla="*/ 19 h 27"/>
                  <a:gd name="T22" fmla="*/ 12 w 42"/>
                  <a:gd name="T23" fmla="*/ 19 h 27"/>
                  <a:gd name="T24" fmla="*/ 17 w 42"/>
                  <a:gd name="T25" fmla="*/ 21 h 27"/>
                  <a:gd name="T26" fmla="*/ 20 w 42"/>
                  <a:gd name="T27" fmla="*/ 19 h 27"/>
                  <a:gd name="T28" fmla="*/ 22 w 42"/>
                  <a:gd name="T29" fmla="*/ 21 h 27"/>
                  <a:gd name="T30" fmla="*/ 19 w 42"/>
                  <a:gd name="T31" fmla="*/ 21 h 27"/>
                  <a:gd name="T32" fmla="*/ 16 w 42"/>
                  <a:gd name="T33" fmla="*/ 22 h 27"/>
                  <a:gd name="T34" fmla="*/ 13 w 42"/>
                  <a:gd name="T35" fmla="*/ 21 h 27"/>
                  <a:gd name="T36" fmla="*/ 11 w 42"/>
                  <a:gd name="T37" fmla="*/ 23 h 27"/>
                  <a:gd name="T38" fmla="*/ 13 w 42"/>
                  <a:gd name="T39" fmla="*/ 24 h 27"/>
                  <a:gd name="T40" fmla="*/ 16 w 42"/>
                  <a:gd name="T41" fmla="*/ 25 h 27"/>
                  <a:gd name="T42" fmla="*/ 20 w 42"/>
                  <a:gd name="T43" fmla="*/ 27 h 27"/>
                  <a:gd name="T44" fmla="*/ 37 w 42"/>
                  <a:gd name="T45" fmla="*/ 21 h 27"/>
                  <a:gd name="T46" fmla="*/ 39 w 42"/>
                  <a:gd name="T47" fmla="*/ 20 h 27"/>
                  <a:gd name="T48" fmla="*/ 42 w 42"/>
                  <a:gd name="T49" fmla="*/ 17 h 27"/>
                  <a:gd name="T50" fmla="*/ 41 w 42"/>
                  <a:gd name="T51" fmla="*/ 15 h 27"/>
                  <a:gd name="T52" fmla="*/ 40 w 42"/>
                  <a:gd name="T53" fmla="*/ 12 h 27"/>
                  <a:gd name="T54" fmla="*/ 31 w 42"/>
                  <a:gd name="T55" fmla="*/ 10 h 27"/>
                  <a:gd name="T56" fmla="*/ 29 w 42"/>
                  <a:gd name="T57" fmla="*/ 7 h 27"/>
                  <a:gd name="T58" fmla="*/ 27 w 42"/>
                  <a:gd name="T59" fmla="*/ 5 h 27"/>
                  <a:gd name="T60" fmla="*/ 21 w 42"/>
                  <a:gd name="T61" fmla="*/ 2 h 27"/>
                  <a:gd name="T62" fmla="*/ 10 w 42"/>
                  <a:gd name="T63" fmla="*/ 0 h 27"/>
                  <a:gd name="T64" fmla="*/ 7 w 42"/>
                  <a:gd name="T65" fmla="*/ 0 h 27"/>
                  <a:gd name="T66" fmla="*/ 4 w 42"/>
                  <a:gd name="T67" fmla="*/ 0 h 27"/>
                  <a:gd name="T68" fmla="*/ 2 w 42"/>
                  <a:gd name="T69" fmla="*/ 4 h 27"/>
                  <a:gd name="T70" fmla="*/ 2 w 42"/>
                  <a:gd name="T71" fmla="*/ 6 h 27"/>
                  <a:gd name="T72" fmla="*/ 4 w 42"/>
                  <a:gd name="T73" fmla="*/ 7 h 27"/>
                  <a:gd name="T74" fmla="*/ 4 w 42"/>
                  <a:gd name="T7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27">
                    <a:moveTo>
                      <a:pt x="4" y="7"/>
                    </a:moveTo>
                    <a:lnTo>
                      <a:pt x="10" y="10"/>
                    </a:lnTo>
                    <a:lnTo>
                      <a:pt x="4" y="8"/>
                    </a:lnTo>
                    <a:lnTo>
                      <a:pt x="2" y="10"/>
                    </a:lnTo>
                    <a:lnTo>
                      <a:pt x="0" y="12"/>
                    </a:lnTo>
                    <a:lnTo>
                      <a:pt x="4" y="13"/>
                    </a:lnTo>
                    <a:lnTo>
                      <a:pt x="6" y="15"/>
                    </a:lnTo>
                    <a:lnTo>
                      <a:pt x="4" y="14"/>
                    </a:lnTo>
                    <a:lnTo>
                      <a:pt x="0" y="16"/>
                    </a:lnTo>
                    <a:lnTo>
                      <a:pt x="4" y="17"/>
                    </a:lnTo>
                    <a:lnTo>
                      <a:pt x="6" y="19"/>
                    </a:lnTo>
                    <a:lnTo>
                      <a:pt x="12" y="19"/>
                    </a:lnTo>
                    <a:lnTo>
                      <a:pt x="17" y="21"/>
                    </a:lnTo>
                    <a:lnTo>
                      <a:pt x="20" y="19"/>
                    </a:lnTo>
                    <a:lnTo>
                      <a:pt x="22" y="21"/>
                    </a:lnTo>
                    <a:lnTo>
                      <a:pt x="19" y="21"/>
                    </a:lnTo>
                    <a:lnTo>
                      <a:pt x="16" y="22"/>
                    </a:lnTo>
                    <a:lnTo>
                      <a:pt x="13" y="21"/>
                    </a:lnTo>
                    <a:lnTo>
                      <a:pt x="11" y="23"/>
                    </a:lnTo>
                    <a:lnTo>
                      <a:pt x="13" y="24"/>
                    </a:lnTo>
                    <a:lnTo>
                      <a:pt x="16" y="25"/>
                    </a:lnTo>
                    <a:lnTo>
                      <a:pt x="20" y="27"/>
                    </a:lnTo>
                    <a:lnTo>
                      <a:pt x="37" y="21"/>
                    </a:lnTo>
                    <a:lnTo>
                      <a:pt x="39" y="20"/>
                    </a:lnTo>
                    <a:lnTo>
                      <a:pt x="42" y="17"/>
                    </a:lnTo>
                    <a:lnTo>
                      <a:pt x="41" y="15"/>
                    </a:lnTo>
                    <a:lnTo>
                      <a:pt x="40" y="12"/>
                    </a:lnTo>
                    <a:lnTo>
                      <a:pt x="31" y="10"/>
                    </a:lnTo>
                    <a:lnTo>
                      <a:pt x="29" y="7"/>
                    </a:lnTo>
                    <a:lnTo>
                      <a:pt x="27" y="5"/>
                    </a:lnTo>
                    <a:lnTo>
                      <a:pt x="21" y="2"/>
                    </a:lnTo>
                    <a:lnTo>
                      <a:pt x="10" y="0"/>
                    </a:lnTo>
                    <a:lnTo>
                      <a:pt x="7" y="0"/>
                    </a:lnTo>
                    <a:lnTo>
                      <a:pt x="4" y="0"/>
                    </a:lnTo>
                    <a:lnTo>
                      <a:pt x="2" y="4"/>
                    </a:lnTo>
                    <a:lnTo>
                      <a:pt x="2" y="6"/>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8" name="Freeform 64">
                <a:extLst>
                  <a:ext uri="{FF2B5EF4-FFF2-40B4-BE49-F238E27FC236}">
                    <a16:creationId xmlns:a16="http://schemas.microsoft.com/office/drawing/2014/main" id="{8E380526-3F9A-4776-9823-97AB252C2678}"/>
                  </a:ext>
                </a:extLst>
              </p:cNvPr>
              <p:cNvSpPr>
                <a:spLocks/>
              </p:cNvSpPr>
              <p:nvPr/>
            </p:nvSpPr>
            <p:spPr bwMode="auto">
              <a:xfrm>
                <a:off x="2801" y="2059"/>
                <a:ext cx="39" cy="15"/>
              </a:xfrm>
              <a:custGeom>
                <a:avLst/>
                <a:gdLst>
                  <a:gd name="T0" fmla="*/ 35 w 39"/>
                  <a:gd name="T1" fmla="*/ 10 h 15"/>
                  <a:gd name="T2" fmla="*/ 33 w 39"/>
                  <a:gd name="T3" fmla="*/ 9 h 15"/>
                  <a:gd name="T4" fmla="*/ 27 w 39"/>
                  <a:gd name="T5" fmla="*/ 6 h 15"/>
                  <a:gd name="T6" fmla="*/ 19 w 39"/>
                  <a:gd name="T7" fmla="*/ 2 h 15"/>
                  <a:gd name="T8" fmla="*/ 16 w 39"/>
                  <a:gd name="T9" fmla="*/ 2 h 15"/>
                  <a:gd name="T10" fmla="*/ 14 w 39"/>
                  <a:gd name="T11" fmla="*/ 1 h 15"/>
                  <a:gd name="T12" fmla="*/ 9 w 39"/>
                  <a:gd name="T13" fmla="*/ 1 h 15"/>
                  <a:gd name="T14" fmla="*/ 6 w 39"/>
                  <a:gd name="T15" fmla="*/ 0 h 15"/>
                  <a:gd name="T16" fmla="*/ 0 w 39"/>
                  <a:gd name="T17" fmla="*/ 1 h 15"/>
                  <a:gd name="T18" fmla="*/ 3 w 39"/>
                  <a:gd name="T19" fmla="*/ 2 h 15"/>
                  <a:gd name="T20" fmla="*/ 9 w 39"/>
                  <a:gd name="T21" fmla="*/ 4 h 15"/>
                  <a:gd name="T22" fmla="*/ 11 w 39"/>
                  <a:gd name="T23" fmla="*/ 7 h 15"/>
                  <a:gd name="T24" fmla="*/ 13 w 39"/>
                  <a:gd name="T25" fmla="*/ 9 h 15"/>
                  <a:gd name="T26" fmla="*/ 16 w 39"/>
                  <a:gd name="T27" fmla="*/ 10 h 15"/>
                  <a:gd name="T28" fmla="*/ 24 w 39"/>
                  <a:gd name="T29" fmla="*/ 13 h 15"/>
                  <a:gd name="T30" fmla="*/ 32 w 39"/>
                  <a:gd name="T31" fmla="*/ 15 h 15"/>
                  <a:gd name="T32" fmla="*/ 37 w 39"/>
                  <a:gd name="T33" fmla="*/ 15 h 15"/>
                  <a:gd name="T34" fmla="*/ 39 w 39"/>
                  <a:gd name="T35" fmla="*/ 12 h 15"/>
                  <a:gd name="T36" fmla="*/ 35 w 39"/>
                  <a:gd name="T3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5">
                    <a:moveTo>
                      <a:pt x="35" y="10"/>
                    </a:moveTo>
                    <a:lnTo>
                      <a:pt x="33" y="9"/>
                    </a:lnTo>
                    <a:lnTo>
                      <a:pt x="27" y="6"/>
                    </a:lnTo>
                    <a:lnTo>
                      <a:pt x="19" y="2"/>
                    </a:lnTo>
                    <a:lnTo>
                      <a:pt x="16" y="2"/>
                    </a:lnTo>
                    <a:lnTo>
                      <a:pt x="14" y="1"/>
                    </a:lnTo>
                    <a:lnTo>
                      <a:pt x="9" y="1"/>
                    </a:lnTo>
                    <a:lnTo>
                      <a:pt x="6" y="0"/>
                    </a:lnTo>
                    <a:lnTo>
                      <a:pt x="0" y="1"/>
                    </a:lnTo>
                    <a:lnTo>
                      <a:pt x="3" y="2"/>
                    </a:lnTo>
                    <a:lnTo>
                      <a:pt x="9" y="4"/>
                    </a:lnTo>
                    <a:lnTo>
                      <a:pt x="11" y="7"/>
                    </a:lnTo>
                    <a:lnTo>
                      <a:pt x="13" y="9"/>
                    </a:lnTo>
                    <a:lnTo>
                      <a:pt x="16" y="10"/>
                    </a:lnTo>
                    <a:lnTo>
                      <a:pt x="24" y="13"/>
                    </a:lnTo>
                    <a:lnTo>
                      <a:pt x="32" y="15"/>
                    </a:lnTo>
                    <a:lnTo>
                      <a:pt x="37" y="15"/>
                    </a:lnTo>
                    <a:lnTo>
                      <a:pt x="39" y="12"/>
                    </a:lnTo>
                    <a:lnTo>
                      <a:pt x="3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9" name="Freeform 65">
                <a:extLst>
                  <a:ext uri="{FF2B5EF4-FFF2-40B4-BE49-F238E27FC236}">
                    <a16:creationId xmlns:a16="http://schemas.microsoft.com/office/drawing/2014/main" id="{FA4EC948-76CD-40D8-9E15-F1256DAF2967}"/>
                  </a:ext>
                </a:extLst>
              </p:cNvPr>
              <p:cNvSpPr>
                <a:spLocks/>
              </p:cNvSpPr>
              <p:nvPr/>
            </p:nvSpPr>
            <p:spPr bwMode="auto">
              <a:xfrm>
                <a:off x="3022" y="1274"/>
                <a:ext cx="11" cy="4"/>
              </a:xfrm>
              <a:custGeom>
                <a:avLst/>
                <a:gdLst>
                  <a:gd name="T0" fmla="*/ 1 w 11"/>
                  <a:gd name="T1" fmla="*/ 4 h 4"/>
                  <a:gd name="T2" fmla="*/ 8 w 11"/>
                  <a:gd name="T3" fmla="*/ 4 h 4"/>
                  <a:gd name="T4" fmla="*/ 11 w 11"/>
                  <a:gd name="T5" fmla="*/ 2 h 4"/>
                  <a:gd name="T6" fmla="*/ 9 w 11"/>
                  <a:gd name="T7" fmla="*/ 1 h 4"/>
                  <a:gd name="T8" fmla="*/ 2 w 11"/>
                  <a:gd name="T9" fmla="*/ 0 h 4"/>
                  <a:gd name="T10" fmla="*/ 0 w 11"/>
                  <a:gd name="T11" fmla="*/ 1 h 4"/>
                  <a:gd name="T12" fmla="*/ 1 w 11"/>
                  <a:gd name="T13" fmla="*/ 4 h 4"/>
                  <a:gd name="T14" fmla="*/ 1 w 1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1" y="4"/>
                    </a:moveTo>
                    <a:lnTo>
                      <a:pt x="8" y="4"/>
                    </a:lnTo>
                    <a:lnTo>
                      <a:pt x="11" y="2"/>
                    </a:lnTo>
                    <a:lnTo>
                      <a:pt x="9" y="1"/>
                    </a:lnTo>
                    <a:lnTo>
                      <a:pt x="2"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0" name="Freeform 66">
                <a:extLst>
                  <a:ext uri="{FF2B5EF4-FFF2-40B4-BE49-F238E27FC236}">
                    <a16:creationId xmlns:a16="http://schemas.microsoft.com/office/drawing/2014/main" id="{A2214696-7645-457F-B97A-5771083B789B}"/>
                  </a:ext>
                </a:extLst>
              </p:cNvPr>
              <p:cNvSpPr>
                <a:spLocks/>
              </p:cNvSpPr>
              <p:nvPr/>
            </p:nvSpPr>
            <p:spPr bwMode="auto">
              <a:xfrm>
                <a:off x="3032" y="1281"/>
                <a:ext cx="43" cy="21"/>
              </a:xfrm>
              <a:custGeom>
                <a:avLst/>
                <a:gdLst>
                  <a:gd name="T0" fmla="*/ 6 w 43"/>
                  <a:gd name="T1" fmla="*/ 6 h 21"/>
                  <a:gd name="T2" fmla="*/ 11 w 43"/>
                  <a:gd name="T3" fmla="*/ 11 h 21"/>
                  <a:gd name="T4" fmla="*/ 28 w 43"/>
                  <a:gd name="T5" fmla="*/ 16 h 21"/>
                  <a:gd name="T6" fmla="*/ 31 w 43"/>
                  <a:gd name="T7" fmla="*/ 17 h 21"/>
                  <a:gd name="T8" fmla="*/ 34 w 43"/>
                  <a:gd name="T9" fmla="*/ 20 h 21"/>
                  <a:gd name="T10" fmla="*/ 36 w 43"/>
                  <a:gd name="T11" fmla="*/ 21 h 21"/>
                  <a:gd name="T12" fmla="*/ 39 w 43"/>
                  <a:gd name="T13" fmla="*/ 20 h 21"/>
                  <a:gd name="T14" fmla="*/ 36 w 43"/>
                  <a:gd name="T15" fmla="*/ 15 h 21"/>
                  <a:gd name="T16" fmla="*/ 39 w 43"/>
                  <a:gd name="T17" fmla="*/ 13 h 21"/>
                  <a:gd name="T18" fmla="*/ 42 w 43"/>
                  <a:gd name="T19" fmla="*/ 12 h 21"/>
                  <a:gd name="T20" fmla="*/ 43 w 43"/>
                  <a:gd name="T21" fmla="*/ 9 h 21"/>
                  <a:gd name="T22" fmla="*/ 41 w 43"/>
                  <a:gd name="T23" fmla="*/ 8 h 21"/>
                  <a:gd name="T24" fmla="*/ 38 w 43"/>
                  <a:gd name="T25" fmla="*/ 7 h 21"/>
                  <a:gd name="T26" fmla="*/ 35 w 43"/>
                  <a:gd name="T27" fmla="*/ 6 h 21"/>
                  <a:gd name="T28" fmla="*/ 24 w 43"/>
                  <a:gd name="T29" fmla="*/ 2 h 21"/>
                  <a:gd name="T30" fmla="*/ 18 w 43"/>
                  <a:gd name="T31" fmla="*/ 0 h 21"/>
                  <a:gd name="T32" fmla="*/ 13 w 43"/>
                  <a:gd name="T33" fmla="*/ 0 h 21"/>
                  <a:gd name="T34" fmla="*/ 9 w 43"/>
                  <a:gd name="T35" fmla="*/ 1 h 21"/>
                  <a:gd name="T36" fmla="*/ 0 w 43"/>
                  <a:gd name="T37" fmla="*/ 1 h 21"/>
                  <a:gd name="T38" fmla="*/ 6 w 43"/>
                  <a:gd name="T39" fmla="*/ 6 h 21"/>
                  <a:gd name="T40" fmla="*/ 6 w 43"/>
                  <a:gd name="T4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21">
                    <a:moveTo>
                      <a:pt x="6" y="6"/>
                    </a:moveTo>
                    <a:lnTo>
                      <a:pt x="11" y="11"/>
                    </a:lnTo>
                    <a:lnTo>
                      <a:pt x="28" y="16"/>
                    </a:lnTo>
                    <a:lnTo>
                      <a:pt x="31" y="17"/>
                    </a:lnTo>
                    <a:lnTo>
                      <a:pt x="34" y="20"/>
                    </a:lnTo>
                    <a:lnTo>
                      <a:pt x="36" y="21"/>
                    </a:lnTo>
                    <a:lnTo>
                      <a:pt x="39" y="20"/>
                    </a:lnTo>
                    <a:lnTo>
                      <a:pt x="36" y="15"/>
                    </a:lnTo>
                    <a:lnTo>
                      <a:pt x="39" y="13"/>
                    </a:lnTo>
                    <a:lnTo>
                      <a:pt x="42" y="12"/>
                    </a:lnTo>
                    <a:lnTo>
                      <a:pt x="43" y="9"/>
                    </a:lnTo>
                    <a:lnTo>
                      <a:pt x="41" y="8"/>
                    </a:lnTo>
                    <a:lnTo>
                      <a:pt x="38" y="7"/>
                    </a:lnTo>
                    <a:lnTo>
                      <a:pt x="35" y="6"/>
                    </a:lnTo>
                    <a:lnTo>
                      <a:pt x="24" y="2"/>
                    </a:lnTo>
                    <a:lnTo>
                      <a:pt x="18" y="0"/>
                    </a:lnTo>
                    <a:lnTo>
                      <a:pt x="13" y="0"/>
                    </a:lnTo>
                    <a:lnTo>
                      <a:pt x="9" y="1"/>
                    </a:lnTo>
                    <a:lnTo>
                      <a:pt x="0" y="1"/>
                    </a:lnTo>
                    <a:lnTo>
                      <a:pt x="6"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1" name="Freeform 67">
                <a:extLst>
                  <a:ext uri="{FF2B5EF4-FFF2-40B4-BE49-F238E27FC236}">
                    <a16:creationId xmlns:a16="http://schemas.microsoft.com/office/drawing/2014/main" id="{085472D6-B955-4D4C-ADE0-869CBCE074B2}"/>
                  </a:ext>
                </a:extLst>
              </p:cNvPr>
              <p:cNvSpPr>
                <a:spLocks/>
              </p:cNvSpPr>
              <p:nvPr/>
            </p:nvSpPr>
            <p:spPr bwMode="auto">
              <a:xfrm>
                <a:off x="3118" y="1264"/>
                <a:ext cx="21" cy="7"/>
              </a:xfrm>
              <a:custGeom>
                <a:avLst/>
                <a:gdLst>
                  <a:gd name="T0" fmla="*/ 21 w 21"/>
                  <a:gd name="T1" fmla="*/ 7 h 7"/>
                  <a:gd name="T2" fmla="*/ 19 w 21"/>
                  <a:gd name="T3" fmla="*/ 6 h 7"/>
                  <a:gd name="T4" fmla="*/ 16 w 21"/>
                  <a:gd name="T5" fmla="*/ 4 h 7"/>
                  <a:gd name="T6" fmla="*/ 13 w 21"/>
                  <a:gd name="T7" fmla="*/ 3 h 7"/>
                  <a:gd name="T8" fmla="*/ 9 w 21"/>
                  <a:gd name="T9" fmla="*/ 2 h 7"/>
                  <a:gd name="T10" fmla="*/ 7 w 21"/>
                  <a:gd name="T11" fmla="*/ 0 h 7"/>
                  <a:gd name="T12" fmla="*/ 4 w 21"/>
                  <a:gd name="T13" fmla="*/ 0 h 7"/>
                  <a:gd name="T14" fmla="*/ 0 w 21"/>
                  <a:gd name="T15" fmla="*/ 1 h 7"/>
                  <a:gd name="T16" fmla="*/ 12 w 21"/>
                  <a:gd name="T17" fmla="*/ 7 h 7"/>
                  <a:gd name="T18" fmla="*/ 21 w 21"/>
                  <a:gd name="T19" fmla="*/ 7 h 7"/>
                  <a:gd name="T20" fmla="*/ 21 w 21"/>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7">
                    <a:moveTo>
                      <a:pt x="21" y="7"/>
                    </a:moveTo>
                    <a:lnTo>
                      <a:pt x="19" y="6"/>
                    </a:lnTo>
                    <a:lnTo>
                      <a:pt x="16" y="4"/>
                    </a:lnTo>
                    <a:lnTo>
                      <a:pt x="13" y="3"/>
                    </a:lnTo>
                    <a:lnTo>
                      <a:pt x="9" y="2"/>
                    </a:lnTo>
                    <a:lnTo>
                      <a:pt x="7" y="0"/>
                    </a:lnTo>
                    <a:lnTo>
                      <a:pt x="4" y="0"/>
                    </a:lnTo>
                    <a:lnTo>
                      <a:pt x="0" y="1"/>
                    </a:lnTo>
                    <a:lnTo>
                      <a:pt x="12" y="7"/>
                    </a:lnTo>
                    <a:lnTo>
                      <a:pt x="21" y="7"/>
                    </a:lnTo>
                    <a:lnTo>
                      <a:pt x="2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2" name="Freeform 68">
                <a:extLst>
                  <a:ext uri="{FF2B5EF4-FFF2-40B4-BE49-F238E27FC236}">
                    <a16:creationId xmlns:a16="http://schemas.microsoft.com/office/drawing/2014/main" id="{9BE2309F-5AF2-4E5A-9513-BFCD9685A5D5}"/>
                  </a:ext>
                </a:extLst>
              </p:cNvPr>
              <p:cNvSpPr>
                <a:spLocks/>
              </p:cNvSpPr>
              <p:nvPr/>
            </p:nvSpPr>
            <p:spPr bwMode="auto">
              <a:xfrm>
                <a:off x="3128" y="1258"/>
                <a:ext cx="26" cy="8"/>
              </a:xfrm>
              <a:custGeom>
                <a:avLst/>
                <a:gdLst>
                  <a:gd name="T0" fmla="*/ 23 w 26"/>
                  <a:gd name="T1" fmla="*/ 8 h 8"/>
                  <a:gd name="T2" fmla="*/ 24 w 26"/>
                  <a:gd name="T3" fmla="*/ 8 h 8"/>
                  <a:gd name="T4" fmla="*/ 26 w 26"/>
                  <a:gd name="T5" fmla="*/ 8 h 8"/>
                  <a:gd name="T6" fmla="*/ 24 w 26"/>
                  <a:gd name="T7" fmla="*/ 6 h 8"/>
                  <a:gd name="T8" fmla="*/ 17 w 26"/>
                  <a:gd name="T9" fmla="*/ 5 h 8"/>
                  <a:gd name="T10" fmla="*/ 15 w 26"/>
                  <a:gd name="T11" fmla="*/ 5 h 8"/>
                  <a:gd name="T12" fmla="*/ 12 w 26"/>
                  <a:gd name="T13" fmla="*/ 3 h 8"/>
                  <a:gd name="T14" fmla="*/ 3 w 26"/>
                  <a:gd name="T15" fmla="*/ 0 h 8"/>
                  <a:gd name="T16" fmla="*/ 0 w 26"/>
                  <a:gd name="T17" fmla="*/ 4 h 8"/>
                  <a:gd name="T18" fmla="*/ 8 w 26"/>
                  <a:gd name="T19" fmla="*/ 4 h 8"/>
                  <a:gd name="T20" fmla="*/ 12 w 26"/>
                  <a:gd name="T21" fmla="*/ 6 h 8"/>
                  <a:gd name="T22" fmla="*/ 15 w 26"/>
                  <a:gd name="T23" fmla="*/ 7 h 8"/>
                  <a:gd name="T24" fmla="*/ 23 w 26"/>
                  <a:gd name="T25" fmla="*/ 8 h 8"/>
                  <a:gd name="T26" fmla="*/ 23 w 2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8">
                    <a:moveTo>
                      <a:pt x="23" y="8"/>
                    </a:moveTo>
                    <a:lnTo>
                      <a:pt x="24" y="8"/>
                    </a:lnTo>
                    <a:lnTo>
                      <a:pt x="26" y="8"/>
                    </a:lnTo>
                    <a:lnTo>
                      <a:pt x="24" y="6"/>
                    </a:lnTo>
                    <a:lnTo>
                      <a:pt x="17" y="5"/>
                    </a:lnTo>
                    <a:lnTo>
                      <a:pt x="15" y="5"/>
                    </a:lnTo>
                    <a:lnTo>
                      <a:pt x="12" y="3"/>
                    </a:lnTo>
                    <a:lnTo>
                      <a:pt x="3" y="0"/>
                    </a:lnTo>
                    <a:lnTo>
                      <a:pt x="0" y="4"/>
                    </a:lnTo>
                    <a:lnTo>
                      <a:pt x="8" y="4"/>
                    </a:lnTo>
                    <a:lnTo>
                      <a:pt x="12" y="6"/>
                    </a:lnTo>
                    <a:lnTo>
                      <a:pt x="15" y="7"/>
                    </a:lnTo>
                    <a:lnTo>
                      <a:pt x="23" y="8"/>
                    </a:lnTo>
                    <a:lnTo>
                      <a:pt x="2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3" name="Freeform 69">
                <a:extLst>
                  <a:ext uri="{FF2B5EF4-FFF2-40B4-BE49-F238E27FC236}">
                    <a16:creationId xmlns:a16="http://schemas.microsoft.com/office/drawing/2014/main" id="{52DE0D83-8AC6-4EF8-9F77-DF012902F0A9}"/>
                  </a:ext>
                </a:extLst>
              </p:cNvPr>
              <p:cNvSpPr>
                <a:spLocks/>
              </p:cNvSpPr>
              <p:nvPr/>
            </p:nvSpPr>
            <p:spPr bwMode="auto">
              <a:xfrm>
                <a:off x="3131" y="1264"/>
                <a:ext cx="16" cy="7"/>
              </a:xfrm>
              <a:custGeom>
                <a:avLst/>
                <a:gdLst>
                  <a:gd name="T0" fmla="*/ 11 w 16"/>
                  <a:gd name="T1" fmla="*/ 7 h 7"/>
                  <a:gd name="T2" fmla="*/ 13 w 16"/>
                  <a:gd name="T3" fmla="*/ 6 h 7"/>
                  <a:gd name="T4" fmla="*/ 16 w 16"/>
                  <a:gd name="T5" fmla="*/ 3 h 7"/>
                  <a:gd name="T6" fmla="*/ 9 w 16"/>
                  <a:gd name="T7" fmla="*/ 2 h 7"/>
                  <a:gd name="T8" fmla="*/ 6 w 16"/>
                  <a:gd name="T9" fmla="*/ 1 h 7"/>
                  <a:gd name="T10" fmla="*/ 3 w 16"/>
                  <a:gd name="T11" fmla="*/ 0 h 7"/>
                  <a:gd name="T12" fmla="*/ 0 w 16"/>
                  <a:gd name="T13" fmla="*/ 2 h 7"/>
                  <a:gd name="T14" fmla="*/ 3 w 16"/>
                  <a:gd name="T15" fmla="*/ 3 h 7"/>
                  <a:gd name="T16" fmla="*/ 5 w 16"/>
                  <a:gd name="T17" fmla="*/ 3 h 7"/>
                  <a:gd name="T18" fmla="*/ 9 w 16"/>
                  <a:gd name="T19" fmla="*/ 6 h 7"/>
                  <a:gd name="T20" fmla="*/ 11 w 16"/>
                  <a:gd name="T21" fmla="*/ 7 h 7"/>
                  <a:gd name="T22" fmla="*/ 11 w 16"/>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7">
                    <a:moveTo>
                      <a:pt x="11" y="7"/>
                    </a:moveTo>
                    <a:lnTo>
                      <a:pt x="13" y="6"/>
                    </a:lnTo>
                    <a:lnTo>
                      <a:pt x="16" y="3"/>
                    </a:lnTo>
                    <a:lnTo>
                      <a:pt x="9" y="2"/>
                    </a:lnTo>
                    <a:lnTo>
                      <a:pt x="6" y="1"/>
                    </a:lnTo>
                    <a:lnTo>
                      <a:pt x="3" y="0"/>
                    </a:lnTo>
                    <a:lnTo>
                      <a:pt x="0" y="2"/>
                    </a:lnTo>
                    <a:lnTo>
                      <a:pt x="3" y="3"/>
                    </a:lnTo>
                    <a:lnTo>
                      <a:pt x="5" y="3"/>
                    </a:lnTo>
                    <a:lnTo>
                      <a:pt x="9" y="6"/>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4" name="Freeform 70">
                <a:extLst>
                  <a:ext uri="{FF2B5EF4-FFF2-40B4-BE49-F238E27FC236}">
                    <a16:creationId xmlns:a16="http://schemas.microsoft.com/office/drawing/2014/main" id="{288B03A0-BD4B-49AE-852E-E2AC3582635F}"/>
                  </a:ext>
                </a:extLst>
              </p:cNvPr>
              <p:cNvSpPr>
                <a:spLocks/>
              </p:cNvSpPr>
              <p:nvPr/>
            </p:nvSpPr>
            <p:spPr bwMode="auto">
              <a:xfrm>
                <a:off x="2965" y="1297"/>
                <a:ext cx="18" cy="8"/>
              </a:xfrm>
              <a:custGeom>
                <a:avLst/>
                <a:gdLst>
                  <a:gd name="T0" fmla="*/ 0 w 18"/>
                  <a:gd name="T1" fmla="*/ 5 h 8"/>
                  <a:gd name="T2" fmla="*/ 0 w 18"/>
                  <a:gd name="T3" fmla="*/ 0 h 8"/>
                  <a:gd name="T4" fmla="*/ 3 w 18"/>
                  <a:gd name="T5" fmla="*/ 1 h 8"/>
                  <a:gd name="T6" fmla="*/ 6 w 18"/>
                  <a:gd name="T7" fmla="*/ 1 h 8"/>
                  <a:gd name="T8" fmla="*/ 9 w 18"/>
                  <a:gd name="T9" fmla="*/ 2 h 8"/>
                  <a:gd name="T10" fmla="*/ 17 w 18"/>
                  <a:gd name="T11" fmla="*/ 7 h 8"/>
                  <a:gd name="T12" fmla="*/ 18 w 18"/>
                  <a:gd name="T13" fmla="*/ 8 h 8"/>
                  <a:gd name="T14" fmla="*/ 13 w 18"/>
                  <a:gd name="T15" fmla="*/ 8 h 8"/>
                  <a:gd name="T16" fmla="*/ 9 w 18"/>
                  <a:gd name="T17" fmla="*/ 8 h 8"/>
                  <a:gd name="T18" fmla="*/ 0 w 18"/>
                  <a:gd name="T19" fmla="*/ 5 h 8"/>
                  <a:gd name="T20" fmla="*/ 0 w 18"/>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8">
                    <a:moveTo>
                      <a:pt x="0" y="5"/>
                    </a:moveTo>
                    <a:lnTo>
                      <a:pt x="0" y="0"/>
                    </a:lnTo>
                    <a:lnTo>
                      <a:pt x="3" y="1"/>
                    </a:lnTo>
                    <a:lnTo>
                      <a:pt x="6" y="1"/>
                    </a:lnTo>
                    <a:lnTo>
                      <a:pt x="9" y="2"/>
                    </a:lnTo>
                    <a:lnTo>
                      <a:pt x="17" y="7"/>
                    </a:lnTo>
                    <a:lnTo>
                      <a:pt x="18" y="8"/>
                    </a:lnTo>
                    <a:lnTo>
                      <a:pt x="13" y="8"/>
                    </a:lnTo>
                    <a:lnTo>
                      <a:pt x="9"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5" name="Freeform 71">
                <a:extLst>
                  <a:ext uri="{FF2B5EF4-FFF2-40B4-BE49-F238E27FC236}">
                    <a16:creationId xmlns:a16="http://schemas.microsoft.com/office/drawing/2014/main" id="{011ED35D-E51C-4D5E-82C0-B821E0AD9F1F}"/>
                  </a:ext>
                </a:extLst>
              </p:cNvPr>
              <p:cNvSpPr>
                <a:spLocks/>
              </p:cNvSpPr>
              <p:nvPr/>
            </p:nvSpPr>
            <p:spPr bwMode="auto">
              <a:xfrm>
                <a:off x="2954" y="1293"/>
                <a:ext cx="11" cy="9"/>
              </a:xfrm>
              <a:custGeom>
                <a:avLst/>
                <a:gdLst>
                  <a:gd name="T0" fmla="*/ 11 w 11"/>
                  <a:gd name="T1" fmla="*/ 9 h 9"/>
                  <a:gd name="T2" fmla="*/ 3 w 11"/>
                  <a:gd name="T3" fmla="*/ 7 h 9"/>
                  <a:gd name="T4" fmla="*/ 1 w 11"/>
                  <a:gd name="T5" fmla="*/ 5 h 9"/>
                  <a:gd name="T6" fmla="*/ 0 w 11"/>
                  <a:gd name="T7" fmla="*/ 3 h 9"/>
                  <a:gd name="T8" fmla="*/ 3 w 11"/>
                  <a:gd name="T9" fmla="*/ 0 h 9"/>
                  <a:gd name="T10" fmla="*/ 7 w 11"/>
                  <a:gd name="T11" fmla="*/ 0 h 9"/>
                  <a:gd name="T12" fmla="*/ 9 w 11"/>
                  <a:gd name="T13" fmla="*/ 0 h 9"/>
                  <a:gd name="T14" fmla="*/ 11 w 11"/>
                  <a:gd name="T15" fmla="*/ 4 h 9"/>
                  <a:gd name="T16" fmla="*/ 11 w 11"/>
                  <a:gd name="T17" fmla="*/ 4 h 9"/>
                  <a:gd name="T18" fmla="*/ 11 w 11"/>
                  <a:gd name="T19" fmla="*/ 9 h 9"/>
                  <a:gd name="T20" fmla="*/ 11 w 11"/>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
                    <a:moveTo>
                      <a:pt x="11" y="9"/>
                    </a:moveTo>
                    <a:lnTo>
                      <a:pt x="3" y="7"/>
                    </a:lnTo>
                    <a:lnTo>
                      <a:pt x="1" y="5"/>
                    </a:lnTo>
                    <a:lnTo>
                      <a:pt x="0" y="3"/>
                    </a:lnTo>
                    <a:lnTo>
                      <a:pt x="3" y="0"/>
                    </a:lnTo>
                    <a:lnTo>
                      <a:pt x="7" y="0"/>
                    </a:lnTo>
                    <a:lnTo>
                      <a:pt x="9" y="0"/>
                    </a:lnTo>
                    <a:lnTo>
                      <a:pt x="11" y="4"/>
                    </a:lnTo>
                    <a:lnTo>
                      <a:pt x="11" y="4"/>
                    </a:lnTo>
                    <a:lnTo>
                      <a:pt x="11" y="9"/>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6" name="Freeform 72">
                <a:extLst>
                  <a:ext uri="{FF2B5EF4-FFF2-40B4-BE49-F238E27FC236}">
                    <a16:creationId xmlns:a16="http://schemas.microsoft.com/office/drawing/2014/main" id="{76FD86AE-8D79-4E4B-B45D-D64704ECE7E9}"/>
                  </a:ext>
                </a:extLst>
              </p:cNvPr>
              <p:cNvSpPr>
                <a:spLocks/>
              </p:cNvSpPr>
              <p:nvPr/>
            </p:nvSpPr>
            <p:spPr bwMode="auto">
              <a:xfrm>
                <a:off x="3252" y="1297"/>
                <a:ext cx="15" cy="1"/>
              </a:xfrm>
              <a:custGeom>
                <a:avLst/>
                <a:gdLst>
                  <a:gd name="T0" fmla="*/ 12 w 15"/>
                  <a:gd name="T1" fmla="*/ 1 h 1"/>
                  <a:gd name="T2" fmla="*/ 15 w 15"/>
                  <a:gd name="T3" fmla="*/ 1 h 1"/>
                  <a:gd name="T4" fmla="*/ 6 w 15"/>
                  <a:gd name="T5" fmla="*/ 1 h 1"/>
                  <a:gd name="T6" fmla="*/ 0 w 15"/>
                  <a:gd name="T7" fmla="*/ 1 h 1"/>
                  <a:gd name="T8" fmla="*/ 9 w 15"/>
                  <a:gd name="T9" fmla="*/ 0 h 1"/>
                  <a:gd name="T10" fmla="*/ 12 w 15"/>
                  <a:gd name="T11" fmla="*/ 1 h 1"/>
                  <a:gd name="T12" fmla="*/ 12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2" y="1"/>
                    </a:moveTo>
                    <a:lnTo>
                      <a:pt x="15" y="1"/>
                    </a:lnTo>
                    <a:lnTo>
                      <a:pt x="6" y="1"/>
                    </a:lnTo>
                    <a:lnTo>
                      <a:pt x="0" y="1"/>
                    </a:lnTo>
                    <a:lnTo>
                      <a:pt x="9" y="0"/>
                    </a:lnTo>
                    <a:lnTo>
                      <a:pt x="12" y="1"/>
                    </a:lnTo>
                    <a:lnTo>
                      <a:pt x="1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7" name="Freeform 73">
                <a:extLst>
                  <a:ext uri="{FF2B5EF4-FFF2-40B4-BE49-F238E27FC236}">
                    <a16:creationId xmlns:a16="http://schemas.microsoft.com/office/drawing/2014/main" id="{6E36D2D7-CEE2-4400-90C5-28A1334107A1}"/>
                  </a:ext>
                </a:extLst>
              </p:cNvPr>
              <p:cNvSpPr>
                <a:spLocks/>
              </p:cNvSpPr>
              <p:nvPr/>
            </p:nvSpPr>
            <p:spPr bwMode="auto">
              <a:xfrm>
                <a:off x="3302" y="1617"/>
                <a:ext cx="36" cy="16"/>
              </a:xfrm>
              <a:custGeom>
                <a:avLst/>
                <a:gdLst>
                  <a:gd name="T0" fmla="*/ 31 w 36"/>
                  <a:gd name="T1" fmla="*/ 0 h 16"/>
                  <a:gd name="T2" fmla="*/ 28 w 36"/>
                  <a:gd name="T3" fmla="*/ 1 h 16"/>
                  <a:gd name="T4" fmla="*/ 25 w 36"/>
                  <a:gd name="T5" fmla="*/ 2 h 16"/>
                  <a:gd name="T6" fmla="*/ 22 w 36"/>
                  <a:gd name="T7" fmla="*/ 4 h 16"/>
                  <a:gd name="T8" fmla="*/ 20 w 36"/>
                  <a:gd name="T9" fmla="*/ 5 h 16"/>
                  <a:gd name="T10" fmla="*/ 12 w 36"/>
                  <a:gd name="T11" fmla="*/ 5 h 16"/>
                  <a:gd name="T12" fmla="*/ 9 w 36"/>
                  <a:gd name="T13" fmla="*/ 7 h 16"/>
                  <a:gd name="T14" fmla="*/ 7 w 36"/>
                  <a:gd name="T15" fmla="*/ 8 h 16"/>
                  <a:gd name="T16" fmla="*/ 3 w 36"/>
                  <a:gd name="T17" fmla="*/ 10 h 16"/>
                  <a:gd name="T18" fmla="*/ 1 w 36"/>
                  <a:gd name="T19" fmla="*/ 12 h 16"/>
                  <a:gd name="T20" fmla="*/ 0 w 36"/>
                  <a:gd name="T21" fmla="*/ 14 h 16"/>
                  <a:gd name="T22" fmla="*/ 2 w 36"/>
                  <a:gd name="T23" fmla="*/ 16 h 16"/>
                  <a:gd name="T24" fmla="*/ 11 w 36"/>
                  <a:gd name="T25" fmla="*/ 15 h 16"/>
                  <a:gd name="T26" fmla="*/ 13 w 36"/>
                  <a:gd name="T27" fmla="*/ 14 h 16"/>
                  <a:gd name="T28" fmla="*/ 19 w 36"/>
                  <a:gd name="T29" fmla="*/ 14 h 16"/>
                  <a:gd name="T30" fmla="*/ 21 w 36"/>
                  <a:gd name="T31" fmla="*/ 13 h 16"/>
                  <a:gd name="T32" fmla="*/ 25 w 36"/>
                  <a:gd name="T33" fmla="*/ 13 h 16"/>
                  <a:gd name="T34" fmla="*/ 27 w 36"/>
                  <a:gd name="T35" fmla="*/ 13 h 16"/>
                  <a:gd name="T36" fmla="*/ 29 w 36"/>
                  <a:gd name="T37" fmla="*/ 12 h 16"/>
                  <a:gd name="T38" fmla="*/ 35 w 36"/>
                  <a:gd name="T39" fmla="*/ 10 h 16"/>
                  <a:gd name="T40" fmla="*/ 36 w 36"/>
                  <a:gd name="T41" fmla="*/ 8 h 16"/>
                  <a:gd name="T42" fmla="*/ 35 w 36"/>
                  <a:gd name="T43" fmla="*/ 5 h 16"/>
                  <a:gd name="T44" fmla="*/ 33 w 36"/>
                  <a:gd name="T45" fmla="*/ 2 h 16"/>
                  <a:gd name="T46" fmla="*/ 31 w 36"/>
                  <a:gd name="T47" fmla="*/ 0 h 16"/>
                  <a:gd name="T48" fmla="*/ 31 w 36"/>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16">
                    <a:moveTo>
                      <a:pt x="31" y="0"/>
                    </a:moveTo>
                    <a:lnTo>
                      <a:pt x="28" y="1"/>
                    </a:lnTo>
                    <a:lnTo>
                      <a:pt x="25" y="2"/>
                    </a:lnTo>
                    <a:lnTo>
                      <a:pt x="22" y="4"/>
                    </a:lnTo>
                    <a:lnTo>
                      <a:pt x="20" y="5"/>
                    </a:lnTo>
                    <a:lnTo>
                      <a:pt x="12" y="5"/>
                    </a:lnTo>
                    <a:lnTo>
                      <a:pt x="9" y="7"/>
                    </a:lnTo>
                    <a:lnTo>
                      <a:pt x="7" y="8"/>
                    </a:lnTo>
                    <a:lnTo>
                      <a:pt x="3" y="10"/>
                    </a:lnTo>
                    <a:lnTo>
                      <a:pt x="1" y="12"/>
                    </a:lnTo>
                    <a:lnTo>
                      <a:pt x="0" y="14"/>
                    </a:lnTo>
                    <a:lnTo>
                      <a:pt x="2" y="16"/>
                    </a:lnTo>
                    <a:lnTo>
                      <a:pt x="11" y="15"/>
                    </a:lnTo>
                    <a:lnTo>
                      <a:pt x="13" y="14"/>
                    </a:lnTo>
                    <a:lnTo>
                      <a:pt x="19" y="14"/>
                    </a:lnTo>
                    <a:lnTo>
                      <a:pt x="21" y="13"/>
                    </a:lnTo>
                    <a:lnTo>
                      <a:pt x="25" y="13"/>
                    </a:lnTo>
                    <a:lnTo>
                      <a:pt x="27" y="13"/>
                    </a:lnTo>
                    <a:lnTo>
                      <a:pt x="29" y="12"/>
                    </a:lnTo>
                    <a:lnTo>
                      <a:pt x="35" y="10"/>
                    </a:lnTo>
                    <a:lnTo>
                      <a:pt x="36" y="8"/>
                    </a:lnTo>
                    <a:lnTo>
                      <a:pt x="35" y="5"/>
                    </a:lnTo>
                    <a:lnTo>
                      <a:pt x="33" y="2"/>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8" name="Freeform 74">
                <a:extLst>
                  <a:ext uri="{FF2B5EF4-FFF2-40B4-BE49-F238E27FC236}">
                    <a16:creationId xmlns:a16="http://schemas.microsoft.com/office/drawing/2014/main" id="{C7406DA9-2DF5-4E66-AB8F-FED2481AEA73}"/>
                  </a:ext>
                </a:extLst>
              </p:cNvPr>
              <p:cNvSpPr>
                <a:spLocks/>
              </p:cNvSpPr>
              <p:nvPr/>
            </p:nvSpPr>
            <p:spPr bwMode="auto">
              <a:xfrm>
                <a:off x="3305" y="1622"/>
                <a:ext cx="6" cy="3"/>
              </a:xfrm>
              <a:custGeom>
                <a:avLst/>
                <a:gdLst>
                  <a:gd name="T0" fmla="*/ 6 w 6"/>
                  <a:gd name="T1" fmla="*/ 0 h 3"/>
                  <a:gd name="T2" fmla="*/ 2 w 6"/>
                  <a:gd name="T3" fmla="*/ 0 h 3"/>
                  <a:gd name="T4" fmla="*/ 0 w 6"/>
                  <a:gd name="T5" fmla="*/ 1 h 3"/>
                  <a:gd name="T6" fmla="*/ 0 w 6"/>
                  <a:gd name="T7" fmla="*/ 3 h 3"/>
                  <a:gd name="T8" fmla="*/ 4 w 6"/>
                  <a:gd name="T9" fmla="*/ 2 h 3"/>
                  <a:gd name="T10" fmla="*/ 6 w 6"/>
                  <a:gd name="T11" fmla="*/ 0 h 3"/>
                  <a:gd name="T12" fmla="*/ 6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2" y="0"/>
                    </a:lnTo>
                    <a:lnTo>
                      <a:pt x="0" y="1"/>
                    </a:lnTo>
                    <a:lnTo>
                      <a:pt x="0" y="3"/>
                    </a:lnTo>
                    <a:lnTo>
                      <a:pt x="4" y="2"/>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9" name="Freeform 75">
                <a:extLst>
                  <a:ext uri="{FF2B5EF4-FFF2-40B4-BE49-F238E27FC236}">
                    <a16:creationId xmlns:a16="http://schemas.microsoft.com/office/drawing/2014/main" id="{D9F434CB-F1B9-4540-B230-ECF629F5B088}"/>
                  </a:ext>
                </a:extLst>
              </p:cNvPr>
              <p:cNvSpPr>
                <a:spLocks/>
              </p:cNvSpPr>
              <p:nvPr/>
            </p:nvSpPr>
            <p:spPr bwMode="auto">
              <a:xfrm>
                <a:off x="3324" y="1631"/>
                <a:ext cx="4" cy="1"/>
              </a:xfrm>
              <a:custGeom>
                <a:avLst/>
                <a:gdLst>
                  <a:gd name="T0" fmla="*/ 4 w 4"/>
                  <a:gd name="T1" fmla="*/ 0 h 1"/>
                  <a:gd name="T2" fmla="*/ 3 w 4"/>
                  <a:gd name="T3" fmla="*/ 0 h 1"/>
                  <a:gd name="T4" fmla="*/ 0 w 4"/>
                  <a:gd name="T5" fmla="*/ 1 h 1"/>
                  <a:gd name="T6" fmla="*/ 4 w 4"/>
                  <a:gd name="T7" fmla="*/ 0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lnTo>
                      <a:pt x="3" y="0"/>
                    </a:lnTo>
                    <a:lnTo>
                      <a:pt x="0"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0" name="Freeform 76">
                <a:extLst>
                  <a:ext uri="{FF2B5EF4-FFF2-40B4-BE49-F238E27FC236}">
                    <a16:creationId xmlns:a16="http://schemas.microsoft.com/office/drawing/2014/main" id="{5D0F453F-3B7D-4EB9-833E-1778DB4B62D2}"/>
                  </a:ext>
                </a:extLst>
              </p:cNvPr>
              <p:cNvSpPr>
                <a:spLocks/>
              </p:cNvSpPr>
              <p:nvPr/>
            </p:nvSpPr>
            <p:spPr bwMode="auto">
              <a:xfrm>
                <a:off x="3338" y="1571"/>
                <a:ext cx="7" cy="2"/>
              </a:xfrm>
              <a:custGeom>
                <a:avLst/>
                <a:gdLst>
                  <a:gd name="T0" fmla="*/ 7 w 7"/>
                  <a:gd name="T1" fmla="*/ 0 h 2"/>
                  <a:gd name="T2" fmla="*/ 6 w 7"/>
                  <a:gd name="T3" fmla="*/ 0 h 2"/>
                  <a:gd name="T4" fmla="*/ 3 w 7"/>
                  <a:gd name="T5" fmla="*/ 0 h 2"/>
                  <a:gd name="T6" fmla="*/ 0 w 7"/>
                  <a:gd name="T7" fmla="*/ 1 h 2"/>
                  <a:gd name="T8" fmla="*/ 6 w 7"/>
                  <a:gd name="T9" fmla="*/ 2 h 2"/>
                  <a:gd name="T10" fmla="*/ 7 w 7"/>
                  <a:gd name="T11" fmla="*/ 0 h 2"/>
                  <a:gd name="T12" fmla="*/ 7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7" y="0"/>
                    </a:moveTo>
                    <a:lnTo>
                      <a:pt x="6" y="0"/>
                    </a:lnTo>
                    <a:lnTo>
                      <a:pt x="3" y="0"/>
                    </a:lnTo>
                    <a:lnTo>
                      <a:pt x="0" y="1"/>
                    </a:lnTo>
                    <a:lnTo>
                      <a:pt x="6" y="2"/>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1" name="Freeform 77">
                <a:extLst>
                  <a:ext uri="{FF2B5EF4-FFF2-40B4-BE49-F238E27FC236}">
                    <a16:creationId xmlns:a16="http://schemas.microsoft.com/office/drawing/2014/main" id="{1A725826-40EB-4379-84CC-2F2A3B015247}"/>
                  </a:ext>
                </a:extLst>
              </p:cNvPr>
              <p:cNvSpPr>
                <a:spLocks/>
              </p:cNvSpPr>
              <p:nvPr/>
            </p:nvSpPr>
            <p:spPr bwMode="auto">
              <a:xfrm>
                <a:off x="3340" y="1557"/>
                <a:ext cx="24" cy="5"/>
              </a:xfrm>
              <a:custGeom>
                <a:avLst/>
                <a:gdLst>
                  <a:gd name="T0" fmla="*/ 2 w 24"/>
                  <a:gd name="T1" fmla="*/ 2 h 5"/>
                  <a:gd name="T2" fmla="*/ 13 w 24"/>
                  <a:gd name="T3" fmla="*/ 4 h 5"/>
                  <a:gd name="T4" fmla="*/ 18 w 24"/>
                  <a:gd name="T5" fmla="*/ 5 h 5"/>
                  <a:gd name="T6" fmla="*/ 22 w 24"/>
                  <a:gd name="T7" fmla="*/ 5 h 5"/>
                  <a:gd name="T8" fmla="*/ 24 w 24"/>
                  <a:gd name="T9" fmla="*/ 4 h 5"/>
                  <a:gd name="T10" fmla="*/ 18 w 24"/>
                  <a:gd name="T11" fmla="*/ 1 h 5"/>
                  <a:gd name="T12" fmla="*/ 10 w 24"/>
                  <a:gd name="T13" fmla="*/ 0 h 5"/>
                  <a:gd name="T14" fmla="*/ 2 w 24"/>
                  <a:gd name="T15" fmla="*/ 0 h 5"/>
                  <a:gd name="T16" fmla="*/ 0 w 24"/>
                  <a:gd name="T17" fmla="*/ 2 h 5"/>
                  <a:gd name="T18" fmla="*/ 2 w 24"/>
                  <a:gd name="T19" fmla="*/ 2 h 5"/>
                  <a:gd name="T20" fmla="*/ 2 w 24"/>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5">
                    <a:moveTo>
                      <a:pt x="2" y="2"/>
                    </a:moveTo>
                    <a:lnTo>
                      <a:pt x="13" y="4"/>
                    </a:lnTo>
                    <a:lnTo>
                      <a:pt x="18" y="5"/>
                    </a:lnTo>
                    <a:lnTo>
                      <a:pt x="22" y="5"/>
                    </a:lnTo>
                    <a:lnTo>
                      <a:pt x="24" y="4"/>
                    </a:lnTo>
                    <a:lnTo>
                      <a:pt x="18" y="1"/>
                    </a:lnTo>
                    <a:lnTo>
                      <a:pt x="10" y="0"/>
                    </a:lnTo>
                    <a:lnTo>
                      <a:pt x="2" y="0"/>
                    </a:lnTo>
                    <a:lnTo>
                      <a:pt x="0"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2" name="Freeform 78">
                <a:extLst>
                  <a:ext uri="{FF2B5EF4-FFF2-40B4-BE49-F238E27FC236}">
                    <a16:creationId xmlns:a16="http://schemas.microsoft.com/office/drawing/2014/main" id="{B7912520-033D-425C-B561-0C6D87BF7CF6}"/>
                  </a:ext>
                </a:extLst>
              </p:cNvPr>
              <p:cNvSpPr>
                <a:spLocks/>
              </p:cNvSpPr>
              <p:nvPr/>
            </p:nvSpPr>
            <p:spPr bwMode="auto">
              <a:xfrm>
                <a:off x="3350" y="1566"/>
                <a:ext cx="34" cy="9"/>
              </a:xfrm>
              <a:custGeom>
                <a:avLst/>
                <a:gdLst>
                  <a:gd name="T0" fmla="*/ 34 w 34"/>
                  <a:gd name="T1" fmla="*/ 4 h 9"/>
                  <a:gd name="T2" fmla="*/ 28 w 34"/>
                  <a:gd name="T3" fmla="*/ 1 h 9"/>
                  <a:gd name="T4" fmla="*/ 22 w 34"/>
                  <a:gd name="T5" fmla="*/ 1 h 9"/>
                  <a:gd name="T6" fmla="*/ 20 w 34"/>
                  <a:gd name="T7" fmla="*/ 1 h 9"/>
                  <a:gd name="T8" fmla="*/ 16 w 34"/>
                  <a:gd name="T9" fmla="*/ 0 h 9"/>
                  <a:gd name="T10" fmla="*/ 11 w 34"/>
                  <a:gd name="T11" fmla="*/ 1 h 9"/>
                  <a:gd name="T12" fmla="*/ 3 w 34"/>
                  <a:gd name="T13" fmla="*/ 1 h 9"/>
                  <a:gd name="T14" fmla="*/ 0 w 34"/>
                  <a:gd name="T15" fmla="*/ 5 h 9"/>
                  <a:gd name="T16" fmla="*/ 6 w 34"/>
                  <a:gd name="T17" fmla="*/ 4 h 9"/>
                  <a:gd name="T18" fmla="*/ 12 w 34"/>
                  <a:gd name="T19" fmla="*/ 5 h 9"/>
                  <a:gd name="T20" fmla="*/ 20 w 34"/>
                  <a:gd name="T21" fmla="*/ 6 h 9"/>
                  <a:gd name="T22" fmla="*/ 22 w 34"/>
                  <a:gd name="T23" fmla="*/ 7 h 9"/>
                  <a:gd name="T24" fmla="*/ 24 w 34"/>
                  <a:gd name="T25" fmla="*/ 9 h 9"/>
                  <a:gd name="T26" fmla="*/ 29 w 34"/>
                  <a:gd name="T27" fmla="*/ 9 h 9"/>
                  <a:gd name="T28" fmla="*/ 34 w 34"/>
                  <a:gd name="T29" fmla="*/ 9 h 9"/>
                  <a:gd name="T30" fmla="*/ 32 w 34"/>
                  <a:gd name="T31" fmla="*/ 6 h 9"/>
                  <a:gd name="T32" fmla="*/ 34 w 34"/>
                  <a:gd name="T33" fmla="*/ 4 h 9"/>
                  <a:gd name="T34" fmla="*/ 34 w 34"/>
                  <a:gd name="T3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
                    <a:moveTo>
                      <a:pt x="34" y="4"/>
                    </a:moveTo>
                    <a:lnTo>
                      <a:pt x="28" y="1"/>
                    </a:lnTo>
                    <a:lnTo>
                      <a:pt x="22" y="1"/>
                    </a:lnTo>
                    <a:lnTo>
                      <a:pt x="20" y="1"/>
                    </a:lnTo>
                    <a:lnTo>
                      <a:pt x="16" y="0"/>
                    </a:lnTo>
                    <a:lnTo>
                      <a:pt x="11" y="1"/>
                    </a:lnTo>
                    <a:lnTo>
                      <a:pt x="3" y="1"/>
                    </a:lnTo>
                    <a:lnTo>
                      <a:pt x="0" y="5"/>
                    </a:lnTo>
                    <a:lnTo>
                      <a:pt x="6" y="4"/>
                    </a:lnTo>
                    <a:lnTo>
                      <a:pt x="12" y="5"/>
                    </a:lnTo>
                    <a:lnTo>
                      <a:pt x="20" y="6"/>
                    </a:lnTo>
                    <a:lnTo>
                      <a:pt x="22" y="7"/>
                    </a:lnTo>
                    <a:lnTo>
                      <a:pt x="24" y="9"/>
                    </a:lnTo>
                    <a:lnTo>
                      <a:pt x="29" y="9"/>
                    </a:lnTo>
                    <a:lnTo>
                      <a:pt x="34" y="9"/>
                    </a:lnTo>
                    <a:lnTo>
                      <a:pt x="32" y="6"/>
                    </a:lnTo>
                    <a:lnTo>
                      <a:pt x="34" y="4"/>
                    </a:lnTo>
                    <a:lnTo>
                      <a:pt x="3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3" name="Freeform 79">
                <a:extLst>
                  <a:ext uri="{FF2B5EF4-FFF2-40B4-BE49-F238E27FC236}">
                    <a16:creationId xmlns:a16="http://schemas.microsoft.com/office/drawing/2014/main" id="{0E807397-F55E-4146-A8D2-1DA2F5B98E48}"/>
                  </a:ext>
                </a:extLst>
              </p:cNvPr>
              <p:cNvSpPr>
                <a:spLocks/>
              </p:cNvSpPr>
              <p:nvPr/>
            </p:nvSpPr>
            <p:spPr bwMode="auto">
              <a:xfrm>
                <a:off x="3350" y="1571"/>
                <a:ext cx="33" cy="19"/>
              </a:xfrm>
              <a:custGeom>
                <a:avLst/>
                <a:gdLst>
                  <a:gd name="T0" fmla="*/ 26 w 33"/>
                  <a:gd name="T1" fmla="*/ 13 h 19"/>
                  <a:gd name="T2" fmla="*/ 24 w 33"/>
                  <a:gd name="T3" fmla="*/ 13 h 19"/>
                  <a:gd name="T4" fmla="*/ 24 w 33"/>
                  <a:gd name="T5" fmla="*/ 11 h 19"/>
                  <a:gd name="T6" fmla="*/ 26 w 33"/>
                  <a:gd name="T7" fmla="*/ 11 h 19"/>
                  <a:gd name="T8" fmla="*/ 30 w 33"/>
                  <a:gd name="T9" fmla="*/ 11 h 19"/>
                  <a:gd name="T10" fmla="*/ 32 w 33"/>
                  <a:gd name="T11" fmla="*/ 12 h 19"/>
                  <a:gd name="T12" fmla="*/ 33 w 33"/>
                  <a:gd name="T13" fmla="*/ 10 h 19"/>
                  <a:gd name="T14" fmla="*/ 31 w 33"/>
                  <a:gd name="T15" fmla="*/ 10 h 19"/>
                  <a:gd name="T16" fmla="*/ 28 w 33"/>
                  <a:gd name="T17" fmla="*/ 8 h 19"/>
                  <a:gd name="T18" fmla="*/ 25 w 33"/>
                  <a:gd name="T19" fmla="*/ 7 h 19"/>
                  <a:gd name="T20" fmla="*/ 23 w 33"/>
                  <a:gd name="T21" fmla="*/ 5 h 19"/>
                  <a:gd name="T22" fmla="*/ 20 w 33"/>
                  <a:gd name="T23" fmla="*/ 4 h 19"/>
                  <a:gd name="T24" fmla="*/ 17 w 33"/>
                  <a:gd name="T25" fmla="*/ 1 h 19"/>
                  <a:gd name="T26" fmla="*/ 12 w 33"/>
                  <a:gd name="T27" fmla="*/ 1 h 19"/>
                  <a:gd name="T28" fmla="*/ 7 w 33"/>
                  <a:gd name="T29" fmla="*/ 0 h 19"/>
                  <a:gd name="T30" fmla="*/ 2 w 33"/>
                  <a:gd name="T31" fmla="*/ 1 h 19"/>
                  <a:gd name="T32" fmla="*/ 0 w 33"/>
                  <a:gd name="T33" fmla="*/ 3 h 19"/>
                  <a:gd name="T34" fmla="*/ 0 w 33"/>
                  <a:gd name="T35" fmla="*/ 5 h 19"/>
                  <a:gd name="T36" fmla="*/ 3 w 33"/>
                  <a:gd name="T37" fmla="*/ 9 h 19"/>
                  <a:gd name="T38" fmla="*/ 6 w 33"/>
                  <a:gd name="T39" fmla="*/ 9 h 19"/>
                  <a:gd name="T40" fmla="*/ 8 w 33"/>
                  <a:gd name="T41" fmla="*/ 11 h 19"/>
                  <a:gd name="T42" fmla="*/ 16 w 33"/>
                  <a:gd name="T43" fmla="*/ 13 h 19"/>
                  <a:gd name="T44" fmla="*/ 22 w 33"/>
                  <a:gd name="T45" fmla="*/ 17 h 19"/>
                  <a:gd name="T46" fmla="*/ 28 w 33"/>
                  <a:gd name="T47" fmla="*/ 19 h 19"/>
                  <a:gd name="T48" fmla="*/ 30 w 33"/>
                  <a:gd name="T49" fmla="*/ 19 h 19"/>
                  <a:gd name="T50" fmla="*/ 31 w 33"/>
                  <a:gd name="T51" fmla="*/ 17 h 19"/>
                  <a:gd name="T52" fmla="*/ 26 w 33"/>
                  <a:gd name="T53" fmla="*/ 13 h 19"/>
                  <a:gd name="T54" fmla="*/ 26 w 33"/>
                  <a:gd name="T5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19">
                    <a:moveTo>
                      <a:pt x="26" y="13"/>
                    </a:moveTo>
                    <a:lnTo>
                      <a:pt x="24" y="13"/>
                    </a:lnTo>
                    <a:lnTo>
                      <a:pt x="24" y="11"/>
                    </a:lnTo>
                    <a:lnTo>
                      <a:pt x="26" y="11"/>
                    </a:lnTo>
                    <a:lnTo>
                      <a:pt x="30" y="11"/>
                    </a:lnTo>
                    <a:lnTo>
                      <a:pt x="32" y="12"/>
                    </a:lnTo>
                    <a:lnTo>
                      <a:pt x="33" y="10"/>
                    </a:lnTo>
                    <a:lnTo>
                      <a:pt x="31" y="10"/>
                    </a:lnTo>
                    <a:lnTo>
                      <a:pt x="28" y="8"/>
                    </a:lnTo>
                    <a:lnTo>
                      <a:pt x="25" y="7"/>
                    </a:lnTo>
                    <a:lnTo>
                      <a:pt x="23" y="5"/>
                    </a:lnTo>
                    <a:lnTo>
                      <a:pt x="20" y="4"/>
                    </a:lnTo>
                    <a:lnTo>
                      <a:pt x="17" y="1"/>
                    </a:lnTo>
                    <a:lnTo>
                      <a:pt x="12" y="1"/>
                    </a:lnTo>
                    <a:lnTo>
                      <a:pt x="7" y="0"/>
                    </a:lnTo>
                    <a:lnTo>
                      <a:pt x="2" y="1"/>
                    </a:lnTo>
                    <a:lnTo>
                      <a:pt x="0" y="3"/>
                    </a:lnTo>
                    <a:lnTo>
                      <a:pt x="0" y="5"/>
                    </a:lnTo>
                    <a:lnTo>
                      <a:pt x="3" y="9"/>
                    </a:lnTo>
                    <a:lnTo>
                      <a:pt x="6" y="9"/>
                    </a:lnTo>
                    <a:lnTo>
                      <a:pt x="8" y="11"/>
                    </a:lnTo>
                    <a:lnTo>
                      <a:pt x="16" y="13"/>
                    </a:lnTo>
                    <a:lnTo>
                      <a:pt x="22" y="17"/>
                    </a:lnTo>
                    <a:lnTo>
                      <a:pt x="28" y="19"/>
                    </a:lnTo>
                    <a:lnTo>
                      <a:pt x="30" y="19"/>
                    </a:lnTo>
                    <a:lnTo>
                      <a:pt x="31" y="17"/>
                    </a:lnTo>
                    <a:lnTo>
                      <a:pt x="26" y="13"/>
                    </a:lnTo>
                    <a:lnTo>
                      <a:pt x="2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4" name="Freeform 80">
                <a:extLst>
                  <a:ext uri="{FF2B5EF4-FFF2-40B4-BE49-F238E27FC236}">
                    <a16:creationId xmlns:a16="http://schemas.microsoft.com/office/drawing/2014/main" id="{EED43C17-7596-4854-B6E8-CC442970A496}"/>
                  </a:ext>
                </a:extLst>
              </p:cNvPr>
              <p:cNvSpPr>
                <a:spLocks/>
              </p:cNvSpPr>
              <p:nvPr/>
            </p:nvSpPr>
            <p:spPr bwMode="auto">
              <a:xfrm>
                <a:off x="3383" y="1529"/>
                <a:ext cx="26" cy="10"/>
              </a:xfrm>
              <a:custGeom>
                <a:avLst/>
                <a:gdLst>
                  <a:gd name="T0" fmla="*/ 15 w 26"/>
                  <a:gd name="T1" fmla="*/ 0 h 10"/>
                  <a:gd name="T2" fmla="*/ 9 w 26"/>
                  <a:gd name="T3" fmla="*/ 0 h 10"/>
                  <a:gd name="T4" fmla="*/ 4 w 26"/>
                  <a:gd name="T5" fmla="*/ 2 h 10"/>
                  <a:gd name="T6" fmla="*/ 0 w 26"/>
                  <a:gd name="T7" fmla="*/ 6 h 10"/>
                  <a:gd name="T8" fmla="*/ 4 w 26"/>
                  <a:gd name="T9" fmla="*/ 8 h 10"/>
                  <a:gd name="T10" fmla="*/ 12 w 26"/>
                  <a:gd name="T11" fmla="*/ 10 h 10"/>
                  <a:gd name="T12" fmla="*/ 23 w 26"/>
                  <a:gd name="T13" fmla="*/ 8 h 10"/>
                  <a:gd name="T14" fmla="*/ 26 w 26"/>
                  <a:gd name="T15" fmla="*/ 7 h 10"/>
                  <a:gd name="T16" fmla="*/ 23 w 26"/>
                  <a:gd name="T17" fmla="*/ 6 h 10"/>
                  <a:gd name="T18" fmla="*/ 22 w 26"/>
                  <a:gd name="T19" fmla="*/ 3 h 10"/>
                  <a:gd name="T20" fmla="*/ 18 w 26"/>
                  <a:gd name="T21" fmla="*/ 1 h 10"/>
                  <a:gd name="T22" fmla="*/ 15 w 26"/>
                  <a:gd name="T23" fmla="*/ 0 h 10"/>
                  <a:gd name="T24" fmla="*/ 15 w 2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0">
                    <a:moveTo>
                      <a:pt x="15" y="0"/>
                    </a:moveTo>
                    <a:lnTo>
                      <a:pt x="9" y="0"/>
                    </a:lnTo>
                    <a:lnTo>
                      <a:pt x="4" y="2"/>
                    </a:lnTo>
                    <a:lnTo>
                      <a:pt x="0" y="6"/>
                    </a:lnTo>
                    <a:lnTo>
                      <a:pt x="4" y="8"/>
                    </a:lnTo>
                    <a:lnTo>
                      <a:pt x="12" y="10"/>
                    </a:lnTo>
                    <a:lnTo>
                      <a:pt x="23" y="8"/>
                    </a:lnTo>
                    <a:lnTo>
                      <a:pt x="26" y="7"/>
                    </a:lnTo>
                    <a:lnTo>
                      <a:pt x="23" y="6"/>
                    </a:lnTo>
                    <a:lnTo>
                      <a:pt x="22" y="3"/>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5" name="Freeform 81">
                <a:extLst>
                  <a:ext uri="{FF2B5EF4-FFF2-40B4-BE49-F238E27FC236}">
                    <a16:creationId xmlns:a16="http://schemas.microsoft.com/office/drawing/2014/main" id="{0E71C552-842C-4BE9-A6FB-72EC5991F39D}"/>
                  </a:ext>
                </a:extLst>
              </p:cNvPr>
              <p:cNvSpPr>
                <a:spLocks/>
              </p:cNvSpPr>
              <p:nvPr/>
            </p:nvSpPr>
            <p:spPr bwMode="auto">
              <a:xfrm>
                <a:off x="3393" y="1429"/>
                <a:ext cx="3" cy="3"/>
              </a:xfrm>
              <a:custGeom>
                <a:avLst/>
                <a:gdLst>
                  <a:gd name="T0" fmla="*/ 3 w 3"/>
                  <a:gd name="T1" fmla="*/ 0 h 3"/>
                  <a:gd name="T2" fmla="*/ 0 w 3"/>
                  <a:gd name="T3" fmla="*/ 0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0"/>
                    </a:lnTo>
                    <a:lnTo>
                      <a:pt x="0" y="3"/>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6" name="Freeform 82">
                <a:extLst>
                  <a:ext uri="{FF2B5EF4-FFF2-40B4-BE49-F238E27FC236}">
                    <a16:creationId xmlns:a16="http://schemas.microsoft.com/office/drawing/2014/main" id="{5F0BA4A4-E5D8-42A7-950C-05958279628B}"/>
                  </a:ext>
                </a:extLst>
              </p:cNvPr>
              <p:cNvSpPr>
                <a:spLocks/>
              </p:cNvSpPr>
              <p:nvPr/>
            </p:nvSpPr>
            <p:spPr bwMode="auto">
              <a:xfrm>
                <a:off x="3400" y="1298"/>
                <a:ext cx="14" cy="10"/>
              </a:xfrm>
              <a:custGeom>
                <a:avLst/>
                <a:gdLst>
                  <a:gd name="T0" fmla="*/ 8 w 14"/>
                  <a:gd name="T1" fmla="*/ 9 h 10"/>
                  <a:gd name="T2" fmla="*/ 12 w 14"/>
                  <a:gd name="T3" fmla="*/ 10 h 10"/>
                  <a:gd name="T4" fmla="*/ 14 w 14"/>
                  <a:gd name="T5" fmla="*/ 9 h 10"/>
                  <a:gd name="T6" fmla="*/ 12 w 14"/>
                  <a:gd name="T7" fmla="*/ 6 h 10"/>
                  <a:gd name="T8" fmla="*/ 9 w 14"/>
                  <a:gd name="T9" fmla="*/ 4 h 10"/>
                  <a:gd name="T10" fmla="*/ 7 w 14"/>
                  <a:gd name="T11" fmla="*/ 1 h 10"/>
                  <a:gd name="T12" fmla="*/ 4 w 14"/>
                  <a:gd name="T13" fmla="*/ 0 h 10"/>
                  <a:gd name="T14" fmla="*/ 0 w 14"/>
                  <a:gd name="T15" fmla="*/ 2 h 10"/>
                  <a:gd name="T16" fmla="*/ 3 w 14"/>
                  <a:gd name="T17" fmla="*/ 4 h 10"/>
                  <a:gd name="T18" fmla="*/ 8 w 14"/>
                  <a:gd name="T19" fmla="*/ 9 h 10"/>
                  <a:gd name="T20" fmla="*/ 8 w 14"/>
                  <a:gd name="T21"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8" y="9"/>
                    </a:moveTo>
                    <a:lnTo>
                      <a:pt x="12" y="10"/>
                    </a:lnTo>
                    <a:lnTo>
                      <a:pt x="14" y="9"/>
                    </a:lnTo>
                    <a:lnTo>
                      <a:pt x="12" y="6"/>
                    </a:lnTo>
                    <a:lnTo>
                      <a:pt x="9" y="4"/>
                    </a:lnTo>
                    <a:lnTo>
                      <a:pt x="7" y="1"/>
                    </a:lnTo>
                    <a:lnTo>
                      <a:pt x="4" y="0"/>
                    </a:lnTo>
                    <a:lnTo>
                      <a:pt x="0" y="2"/>
                    </a:lnTo>
                    <a:lnTo>
                      <a:pt x="3" y="4"/>
                    </a:lnTo>
                    <a:lnTo>
                      <a:pt x="8" y="9"/>
                    </a:lnTo>
                    <a:lnTo>
                      <a:pt x="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7" name="Freeform 83">
                <a:extLst>
                  <a:ext uri="{FF2B5EF4-FFF2-40B4-BE49-F238E27FC236}">
                    <a16:creationId xmlns:a16="http://schemas.microsoft.com/office/drawing/2014/main" id="{8161EEE9-AFDA-4DCE-8F41-BEA401057CCA}"/>
                  </a:ext>
                </a:extLst>
              </p:cNvPr>
              <p:cNvSpPr>
                <a:spLocks/>
              </p:cNvSpPr>
              <p:nvPr/>
            </p:nvSpPr>
            <p:spPr bwMode="auto">
              <a:xfrm>
                <a:off x="3403" y="1513"/>
                <a:ext cx="11" cy="9"/>
              </a:xfrm>
              <a:custGeom>
                <a:avLst/>
                <a:gdLst>
                  <a:gd name="T0" fmla="*/ 7 w 11"/>
                  <a:gd name="T1" fmla="*/ 3 h 9"/>
                  <a:gd name="T2" fmla="*/ 5 w 11"/>
                  <a:gd name="T3" fmla="*/ 3 h 9"/>
                  <a:gd name="T4" fmla="*/ 7 w 11"/>
                  <a:gd name="T5" fmla="*/ 2 h 9"/>
                  <a:gd name="T6" fmla="*/ 7 w 11"/>
                  <a:gd name="T7" fmla="*/ 1 h 9"/>
                  <a:gd name="T8" fmla="*/ 5 w 11"/>
                  <a:gd name="T9" fmla="*/ 0 h 9"/>
                  <a:gd name="T10" fmla="*/ 2 w 11"/>
                  <a:gd name="T11" fmla="*/ 0 h 9"/>
                  <a:gd name="T12" fmla="*/ 0 w 11"/>
                  <a:gd name="T13" fmla="*/ 2 h 9"/>
                  <a:gd name="T14" fmla="*/ 0 w 11"/>
                  <a:gd name="T15" fmla="*/ 5 h 9"/>
                  <a:gd name="T16" fmla="*/ 0 w 11"/>
                  <a:gd name="T17" fmla="*/ 7 h 9"/>
                  <a:gd name="T18" fmla="*/ 3 w 11"/>
                  <a:gd name="T19" fmla="*/ 9 h 9"/>
                  <a:gd name="T20" fmla="*/ 6 w 11"/>
                  <a:gd name="T21" fmla="*/ 9 h 9"/>
                  <a:gd name="T22" fmla="*/ 7 w 11"/>
                  <a:gd name="T23" fmla="*/ 9 h 9"/>
                  <a:gd name="T24" fmla="*/ 11 w 11"/>
                  <a:gd name="T25" fmla="*/ 7 h 9"/>
                  <a:gd name="T26" fmla="*/ 9 w 11"/>
                  <a:gd name="T27" fmla="*/ 3 h 9"/>
                  <a:gd name="T28" fmla="*/ 7 w 11"/>
                  <a:gd name="T29" fmla="*/ 3 h 9"/>
                  <a:gd name="T30" fmla="*/ 7 w 11"/>
                  <a:gd name="T3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7" y="3"/>
                    </a:moveTo>
                    <a:lnTo>
                      <a:pt x="5" y="3"/>
                    </a:lnTo>
                    <a:lnTo>
                      <a:pt x="7" y="2"/>
                    </a:lnTo>
                    <a:lnTo>
                      <a:pt x="7" y="1"/>
                    </a:lnTo>
                    <a:lnTo>
                      <a:pt x="5" y="0"/>
                    </a:lnTo>
                    <a:lnTo>
                      <a:pt x="2" y="0"/>
                    </a:lnTo>
                    <a:lnTo>
                      <a:pt x="0" y="2"/>
                    </a:lnTo>
                    <a:lnTo>
                      <a:pt x="0" y="5"/>
                    </a:lnTo>
                    <a:lnTo>
                      <a:pt x="0" y="7"/>
                    </a:lnTo>
                    <a:lnTo>
                      <a:pt x="3" y="9"/>
                    </a:lnTo>
                    <a:lnTo>
                      <a:pt x="6" y="9"/>
                    </a:lnTo>
                    <a:lnTo>
                      <a:pt x="7" y="9"/>
                    </a:lnTo>
                    <a:lnTo>
                      <a:pt x="11" y="7"/>
                    </a:lnTo>
                    <a:lnTo>
                      <a:pt x="9" y="3"/>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8" name="Freeform 84">
                <a:extLst>
                  <a:ext uri="{FF2B5EF4-FFF2-40B4-BE49-F238E27FC236}">
                    <a16:creationId xmlns:a16="http://schemas.microsoft.com/office/drawing/2014/main" id="{FC162C67-38BF-4669-A5AC-93F365610A46}"/>
                  </a:ext>
                </a:extLst>
              </p:cNvPr>
              <p:cNvSpPr>
                <a:spLocks/>
              </p:cNvSpPr>
              <p:nvPr/>
            </p:nvSpPr>
            <p:spPr bwMode="auto">
              <a:xfrm>
                <a:off x="3405" y="1429"/>
                <a:ext cx="15" cy="6"/>
              </a:xfrm>
              <a:custGeom>
                <a:avLst/>
                <a:gdLst>
                  <a:gd name="T0" fmla="*/ 5 w 15"/>
                  <a:gd name="T1" fmla="*/ 0 h 6"/>
                  <a:gd name="T2" fmla="*/ 0 w 15"/>
                  <a:gd name="T3" fmla="*/ 0 h 6"/>
                  <a:gd name="T4" fmla="*/ 3 w 15"/>
                  <a:gd name="T5" fmla="*/ 3 h 6"/>
                  <a:gd name="T6" fmla="*/ 5 w 15"/>
                  <a:gd name="T7" fmla="*/ 4 h 6"/>
                  <a:gd name="T8" fmla="*/ 9 w 15"/>
                  <a:gd name="T9" fmla="*/ 5 h 6"/>
                  <a:gd name="T10" fmla="*/ 13 w 15"/>
                  <a:gd name="T11" fmla="*/ 6 h 6"/>
                  <a:gd name="T12" fmla="*/ 15 w 15"/>
                  <a:gd name="T13" fmla="*/ 4 h 6"/>
                  <a:gd name="T14" fmla="*/ 9 w 15"/>
                  <a:gd name="T15" fmla="*/ 4 h 6"/>
                  <a:gd name="T16" fmla="*/ 5 w 15"/>
                  <a:gd name="T17" fmla="*/ 1 h 6"/>
                  <a:gd name="T18" fmla="*/ 5 w 15"/>
                  <a:gd name="T19" fmla="*/ 0 h 6"/>
                  <a:gd name="T20" fmla="*/ 5 w 1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5" y="0"/>
                    </a:moveTo>
                    <a:lnTo>
                      <a:pt x="0" y="0"/>
                    </a:lnTo>
                    <a:lnTo>
                      <a:pt x="3" y="3"/>
                    </a:lnTo>
                    <a:lnTo>
                      <a:pt x="5" y="4"/>
                    </a:lnTo>
                    <a:lnTo>
                      <a:pt x="9" y="5"/>
                    </a:lnTo>
                    <a:lnTo>
                      <a:pt x="13" y="6"/>
                    </a:lnTo>
                    <a:lnTo>
                      <a:pt x="15" y="4"/>
                    </a:lnTo>
                    <a:lnTo>
                      <a:pt x="9" y="4"/>
                    </a:lnTo>
                    <a:lnTo>
                      <a:pt x="5"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9" name="Freeform 85">
                <a:extLst>
                  <a:ext uri="{FF2B5EF4-FFF2-40B4-BE49-F238E27FC236}">
                    <a16:creationId xmlns:a16="http://schemas.microsoft.com/office/drawing/2014/main" id="{AE4C2F7B-F594-45D6-BA3D-B38134A51D92}"/>
                  </a:ext>
                </a:extLst>
              </p:cNvPr>
              <p:cNvSpPr>
                <a:spLocks/>
              </p:cNvSpPr>
              <p:nvPr/>
            </p:nvSpPr>
            <p:spPr bwMode="auto">
              <a:xfrm>
                <a:off x="3423" y="1310"/>
                <a:ext cx="10" cy="6"/>
              </a:xfrm>
              <a:custGeom>
                <a:avLst/>
                <a:gdLst>
                  <a:gd name="T0" fmla="*/ 8 w 10"/>
                  <a:gd name="T1" fmla="*/ 6 h 6"/>
                  <a:gd name="T2" fmla="*/ 10 w 10"/>
                  <a:gd name="T3" fmla="*/ 4 h 6"/>
                  <a:gd name="T4" fmla="*/ 4 w 10"/>
                  <a:gd name="T5" fmla="*/ 0 h 6"/>
                  <a:gd name="T6" fmla="*/ 2 w 10"/>
                  <a:gd name="T7" fmla="*/ 0 h 6"/>
                  <a:gd name="T8" fmla="*/ 0 w 10"/>
                  <a:gd name="T9" fmla="*/ 1 h 6"/>
                  <a:gd name="T10" fmla="*/ 8 w 10"/>
                  <a:gd name="T11" fmla="*/ 6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10" y="4"/>
                    </a:lnTo>
                    <a:lnTo>
                      <a:pt x="4" y="0"/>
                    </a:lnTo>
                    <a:lnTo>
                      <a:pt x="2" y="0"/>
                    </a:lnTo>
                    <a:lnTo>
                      <a:pt x="0" y="1"/>
                    </a:lnTo>
                    <a:lnTo>
                      <a:pt x="8"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0" name="Freeform 86">
                <a:extLst>
                  <a:ext uri="{FF2B5EF4-FFF2-40B4-BE49-F238E27FC236}">
                    <a16:creationId xmlns:a16="http://schemas.microsoft.com/office/drawing/2014/main" id="{00DB7028-B639-43B2-BCE4-ED21E1683A6C}"/>
                  </a:ext>
                </a:extLst>
              </p:cNvPr>
              <p:cNvSpPr>
                <a:spLocks/>
              </p:cNvSpPr>
              <p:nvPr/>
            </p:nvSpPr>
            <p:spPr bwMode="auto">
              <a:xfrm>
                <a:off x="3426" y="1503"/>
                <a:ext cx="22" cy="12"/>
              </a:xfrm>
              <a:custGeom>
                <a:avLst/>
                <a:gdLst>
                  <a:gd name="T0" fmla="*/ 14 w 22"/>
                  <a:gd name="T1" fmla="*/ 0 h 12"/>
                  <a:gd name="T2" fmla="*/ 11 w 22"/>
                  <a:gd name="T3" fmla="*/ 2 h 12"/>
                  <a:gd name="T4" fmla="*/ 8 w 22"/>
                  <a:gd name="T5" fmla="*/ 3 h 12"/>
                  <a:gd name="T6" fmla="*/ 5 w 22"/>
                  <a:gd name="T7" fmla="*/ 1 h 12"/>
                  <a:gd name="T8" fmla="*/ 0 w 22"/>
                  <a:gd name="T9" fmla="*/ 2 h 12"/>
                  <a:gd name="T10" fmla="*/ 1 w 22"/>
                  <a:gd name="T11" fmla="*/ 6 h 12"/>
                  <a:gd name="T12" fmla="*/ 0 w 22"/>
                  <a:gd name="T13" fmla="*/ 11 h 12"/>
                  <a:gd name="T14" fmla="*/ 6 w 22"/>
                  <a:gd name="T15" fmla="*/ 12 h 12"/>
                  <a:gd name="T16" fmla="*/ 8 w 22"/>
                  <a:gd name="T17" fmla="*/ 11 h 12"/>
                  <a:gd name="T18" fmla="*/ 11 w 22"/>
                  <a:gd name="T19" fmla="*/ 11 h 12"/>
                  <a:gd name="T20" fmla="*/ 16 w 22"/>
                  <a:gd name="T21" fmla="*/ 11 h 12"/>
                  <a:gd name="T22" fmla="*/ 20 w 22"/>
                  <a:gd name="T23" fmla="*/ 12 h 12"/>
                  <a:gd name="T24" fmla="*/ 22 w 22"/>
                  <a:gd name="T25" fmla="*/ 10 h 12"/>
                  <a:gd name="T26" fmla="*/ 22 w 22"/>
                  <a:gd name="T27" fmla="*/ 8 h 12"/>
                  <a:gd name="T28" fmla="*/ 20 w 22"/>
                  <a:gd name="T29" fmla="*/ 8 h 12"/>
                  <a:gd name="T30" fmla="*/ 16 w 22"/>
                  <a:gd name="T31" fmla="*/ 9 h 12"/>
                  <a:gd name="T32" fmla="*/ 14 w 22"/>
                  <a:gd name="T33" fmla="*/ 8 h 12"/>
                  <a:gd name="T34" fmla="*/ 13 w 22"/>
                  <a:gd name="T35" fmla="*/ 4 h 12"/>
                  <a:gd name="T36" fmla="*/ 9 w 22"/>
                  <a:gd name="T37" fmla="*/ 6 h 12"/>
                  <a:gd name="T38" fmla="*/ 13 w 22"/>
                  <a:gd name="T39" fmla="*/ 4 h 12"/>
                  <a:gd name="T40" fmla="*/ 15 w 22"/>
                  <a:gd name="T41" fmla="*/ 3 h 12"/>
                  <a:gd name="T42" fmla="*/ 14 w 22"/>
                  <a:gd name="T43" fmla="*/ 0 h 12"/>
                  <a:gd name="T44" fmla="*/ 14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14" y="0"/>
                    </a:moveTo>
                    <a:lnTo>
                      <a:pt x="11" y="2"/>
                    </a:lnTo>
                    <a:lnTo>
                      <a:pt x="8" y="3"/>
                    </a:lnTo>
                    <a:lnTo>
                      <a:pt x="5" y="1"/>
                    </a:lnTo>
                    <a:lnTo>
                      <a:pt x="0" y="2"/>
                    </a:lnTo>
                    <a:lnTo>
                      <a:pt x="1" y="6"/>
                    </a:lnTo>
                    <a:lnTo>
                      <a:pt x="0" y="11"/>
                    </a:lnTo>
                    <a:lnTo>
                      <a:pt x="6" y="12"/>
                    </a:lnTo>
                    <a:lnTo>
                      <a:pt x="8" y="11"/>
                    </a:lnTo>
                    <a:lnTo>
                      <a:pt x="11" y="11"/>
                    </a:lnTo>
                    <a:lnTo>
                      <a:pt x="16" y="11"/>
                    </a:lnTo>
                    <a:lnTo>
                      <a:pt x="20" y="12"/>
                    </a:lnTo>
                    <a:lnTo>
                      <a:pt x="22" y="10"/>
                    </a:lnTo>
                    <a:lnTo>
                      <a:pt x="22" y="8"/>
                    </a:lnTo>
                    <a:lnTo>
                      <a:pt x="20" y="8"/>
                    </a:lnTo>
                    <a:lnTo>
                      <a:pt x="16" y="9"/>
                    </a:lnTo>
                    <a:lnTo>
                      <a:pt x="14" y="8"/>
                    </a:lnTo>
                    <a:lnTo>
                      <a:pt x="13" y="4"/>
                    </a:lnTo>
                    <a:lnTo>
                      <a:pt x="9" y="6"/>
                    </a:lnTo>
                    <a:lnTo>
                      <a:pt x="13" y="4"/>
                    </a:lnTo>
                    <a:lnTo>
                      <a:pt x="15" y="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1" name="Freeform 87">
                <a:extLst>
                  <a:ext uri="{FF2B5EF4-FFF2-40B4-BE49-F238E27FC236}">
                    <a16:creationId xmlns:a16="http://schemas.microsoft.com/office/drawing/2014/main" id="{D9DEFA48-8289-4954-A706-330203BA5EF9}"/>
                  </a:ext>
                </a:extLst>
              </p:cNvPr>
              <p:cNvSpPr>
                <a:spLocks/>
              </p:cNvSpPr>
              <p:nvPr/>
            </p:nvSpPr>
            <p:spPr bwMode="auto">
              <a:xfrm>
                <a:off x="3797" y="2207"/>
                <a:ext cx="22" cy="39"/>
              </a:xfrm>
              <a:custGeom>
                <a:avLst/>
                <a:gdLst>
                  <a:gd name="T0" fmla="*/ 4 w 22"/>
                  <a:gd name="T1" fmla="*/ 25 h 39"/>
                  <a:gd name="T2" fmla="*/ 3 w 22"/>
                  <a:gd name="T3" fmla="*/ 25 h 39"/>
                  <a:gd name="T4" fmla="*/ 2 w 22"/>
                  <a:gd name="T5" fmla="*/ 35 h 39"/>
                  <a:gd name="T6" fmla="*/ 5 w 22"/>
                  <a:gd name="T7" fmla="*/ 35 h 39"/>
                  <a:gd name="T8" fmla="*/ 5 w 22"/>
                  <a:gd name="T9" fmla="*/ 39 h 39"/>
                  <a:gd name="T10" fmla="*/ 9 w 22"/>
                  <a:gd name="T11" fmla="*/ 38 h 39"/>
                  <a:gd name="T12" fmla="*/ 11 w 22"/>
                  <a:gd name="T13" fmla="*/ 35 h 39"/>
                  <a:gd name="T14" fmla="*/ 12 w 22"/>
                  <a:gd name="T15" fmla="*/ 33 h 39"/>
                  <a:gd name="T16" fmla="*/ 11 w 22"/>
                  <a:gd name="T17" fmla="*/ 32 h 39"/>
                  <a:gd name="T18" fmla="*/ 12 w 22"/>
                  <a:gd name="T19" fmla="*/ 33 h 39"/>
                  <a:gd name="T20" fmla="*/ 16 w 22"/>
                  <a:gd name="T21" fmla="*/ 33 h 39"/>
                  <a:gd name="T22" fmla="*/ 19 w 22"/>
                  <a:gd name="T23" fmla="*/ 33 h 39"/>
                  <a:gd name="T24" fmla="*/ 20 w 22"/>
                  <a:gd name="T25" fmla="*/ 27 h 39"/>
                  <a:gd name="T26" fmla="*/ 20 w 22"/>
                  <a:gd name="T27" fmla="*/ 21 h 39"/>
                  <a:gd name="T28" fmla="*/ 20 w 22"/>
                  <a:gd name="T29" fmla="*/ 19 h 39"/>
                  <a:gd name="T30" fmla="*/ 19 w 22"/>
                  <a:gd name="T31" fmla="*/ 17 h 39"/>
                  <a:gd name="T32" fmla="*/ 20 w 22"/>
                  <a:gd name="T33" fmla="*/ 14 h 39"/>
                  <a:gd name="T34" fmla="*/ 22 w 22"/>
                  <a:gd name="T35" fmla="*/ 12 h 39"/>
                  <a:gd name="T36" fmla="*/ 19 w 22"/>
                  <a:gd name="T37" fmla="*/ 4 h 39"/>
                  <a:gd name="T38" fmla="*/ 17 w 22"/>
                  <a:gd name="T39" fmla="*/ 1 h 39"/>
                  <a:gd name="T40" fmla="*/ 13 w 22"/>
                  <a:gd name="T41" fmla="*/ 0 h 39"/>
                  <a:gd name="T42" fmla="*/ 11 w 22"/>
                  <a:gd name="T43" fmla="*/ 1 h 39"/>
                  <a:gd name="T44" fmla="*/ 9 w 22"/>
                  <a:gd name="T45" fmla="*/ 5 h 39"/>
                  <a:gd name="T46" fmla="*/ 5 w 22"/>
                  <a:gd name="T47" fmla="*/ 6 h 39"/>
                  <a:gd name="T48" fmla="*/ 3 w 22"/>
                  <a:gd name="T49" fmla="*/ 7 h 39"/>
                  <a:gd name="T50" fmla="*/ 0 w 22"/>
                  <a:gd name="T51" fmla="*/ 5 h 39"/>
                  <a:gd name="T52" fmla="*/ 0 w 22"/>
                  <a:gd name="T53" fmla="*/ 9 h 39"/>
                  <a:gd name="T54" fmla="*/ 2 w 22"/>
                  <a:gd name="T55" fmla="*/ 13 h 39"/>
                  <a:gd name="T56" fmla="*/ 4 w 22"/>
                  <a:gd name="T57" fmla="*/ 15 h 39"/>
                  <a:gd name="T58" fmla="*/ 3 w 22"/>
                  <a:gd name="T59" fmla="*/ 21 h 39"/>
                  <a:gd name="T60" fmla="*/ 4 w 22"/>
                  <a:gd name="T61" fmla="*/ 22 h 39"/>
                  <a:gd name="T62" fmla="*/ 4 w 22"/>
                  <a:gd name="T63" fmla="*/ 25 h 39"/>
                  <a:gd name="T64" fmla="*/ 4 w 22"/>
                  <a:gd name="T65"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9">
                    <a:moveTo>
                      <a:pt x="4" y="25"/>
                    </a:moveTo>
                    <a:lnTo>
                      <a:pt x="3" y="25"/>
                    </a:lnTo>
                    <a:lnTo>
                      <a:pt x="2" y="35"/>
                    </a:lnTo>
                    <a:lnTo>
                      <a:pt x="5" y="35"/>
                    </a:lnTo>
                    <a:lnTo>
                      <a:pt x="5" y="39"/>
                    </a:lnTo>
                    <a:lnTo>
                      <a:pt x="9" y="38"/>
                    </a:lnTo>
                    <a:lnTo>
                      <a:pt x="11" y="35"/>
                    </a:lnTo>
                    <a:lnTo>
                      <a:pt x="12" y="33"/>
                    </a:lnTo>
                    <a:lnTo>
                      <a:pt x="11" y="32"/>
                    </a:lnTo>
                    <a:lnTo>
                      <a:pt x="12" y="33"/>
                    </a:lnTo>
                    <a:lnTo>
                      <a:pt x="16" y="33"/>
                    </a:lnTo>
                    <a:lnTo>
                      <a:pt x="19" y="33"/>
                    </a:lnTo>
                    <a:lnTo>
                      <a:pt x="20" y="27"/>
                    </a:lnTo>
                    <a:lnTo>
                      <a:pt x="20" y="21"/>
                    </a:lnTo>
                    <a:lnTo>
                      <a:pt x="20" y="19"/>
                    </a:lnTo>
                    <a:lnTo>
                      <a:pt x="19" y="17"/>
                    </a:lnTo>
                    <a:lnTo>
                      <a:pt x="20" y="14"/>
                    </a:lnTo>
                    <a:lnTo>
                      <a:pt x="22" y="12"/>
                    </a:lnTo>
                    <a:lnTo>
                      <a:pt x="19" y="4"/>
                    </a:lnTo>
                    <a:lnTo>
                      <a:pt x="17" y="1"/>
                    </a:lnTo>
                    <a:lnTo>
                      <a:pt x="13" y="0"/>
                    </a:lnTo>
                    <a:lnTo>
                      <a:pt x="11" y="1"/>
                    </a:lnTo>
                    <a:lnTo>
                      <a:pt x="9" y="5"/>
                    </a:lnTo>
                    <a:lnTo>
                      <a:pt x="5" y="6"/>
                    </a:lnTo>
                    <a:lnTo>
                      <a:pt x="3" y="7"/>
                    </a:lnTo>
                    <a:lnTo>
                      <a:pt x="0" y="5"/>
                    </a:lnTo>
                    <a:lnTo>
                      <a:pt x="0" y="9"/>
                    </a:lnTo>
                    <a:lnTo>
                      <a:pt x="2" y="13"/>
                    </a:lnTo>
                    <a:lnTo>
                      <a:pt x="4" y="15"/>
                    </a:lnTo>
                    <a:lnTo>
                      <a:pt x="3" y="21"/>
                    </a:lnTo>
                    <a:lnTo>
                      <a:pt x="4" y="22"/>
                    </a:lnTo>
                    <a:lnTo>
                      <a:pt x="4" y="25"/>
                    </a:ln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2" name="Freeform 88">
                <a:extLst>
                  <a:ext uri="{FF2B5EF4-FFF2-40B4-BE49-F238E27FC236}">
                    <a16:creationId xmlns:a16="http://schemas.microsoft.com/office/drawing/2014/main" id="{99A5D240-3D54-4A9A-8D38-760A85DB75F7}"/>
                  </a:ext>
                </a:extLst>
              </p:cNvPr>
              <p:cNvSpPr>
                <a:spLocks/>
              </p:cNvSpPr>
              <p:nvPr/>
            </p:nvSpPr>
            <p:spPr bwMode="auto">
              <a:xfrm>
                <a:off x="3802" y="2178"/>
                <a:ext cx="14" cy="27"/>
              </a:xfrm>
              <a:custGeom>
                <a:avLst/>
                <a:gdLst>
                  <a:gd name="T0" fmla="*/ 0 w 14"/>
                  <a:gd name="T1" fmla="*/ 10 h 27"/>
                  <a:gd name="T2" fmla="*/ 2 w 14"/>
                  <a:gd name="T3" fmla="*/ 12 h 27"/>
                  <a:gd name="T4" fmla="*/ 0 w 14"/>
                  <a:gd name="T5" fmla="*/ 17 h 27"/>
                  <a:gd name="T6" fmla="*/ 3 w 14"/>
                  <a:gd name="T7" fmla="*/ 18 h 27"/>
                  <a:gd name="T8" fmla="*/ 2 w 14"/>
                  <a:gd name="T9" fmla="*/ 21 h 27"/>
                  <a:gd name="T10" fmla="*/ 4 w 14"/>
                  <a:gd name="T11" fmla="*/ 22 h 27"/>
                  <a:gd name="T12" fmla="*/ 5 w 14"/>
                  <a:gd name="T13" fmla="*/ 25 h 27"/>
                  <a:gd name="T14" fmla="*/ 8 w 14"/>
                  <a:gd name="T15" fmla="*/ 27 h 27"/>
                  <a:gd name="T16" fmla="*/ 9 w 14"/>
                  <a:gd name="T17" fmla="*/ 27 h 27"/>
                  <a:gd name="T18" fmla="*/ 12 w 14"/>
                  <a:gd name="T19" fmla="*/ 21 h 27"/>
                  <a:gd name="T20" fmla="*/ 12 w 14"/>
                  <a:gd name="T21" fmla="*/ 18 h 27"/>
                  <a:gd name="T22" fmla="*/ 13 w 14"/>
                  <a:gd name="T23" fmla="*/ 15 h 27"/>
                  <a:gd name="T24" fmla="*/ 14 w 14"/>
                  <a:gd name="T25" fmla="*/ 13 h 27"/>
                  <a:gd name="T26" fmla="*/ 13 w 14"/>
                  <a:gd name="T27" fmla="*/ 8 h 27"/>
                  <a:gd name="T28" fmla="*/ 12 w 14"/>
                  <a:gd name="T29" fmla="*/ 5 h 27"/>
                  <a:gd name="T30" fmla="*/ 13 w 14"/>
                  <a:gd name="T31" fmla="*/ 3 h 27"/>
                  <a:gd name="T32" fmla="*/ 12 w 14"/>
                  <a:gd name="T33" fmla="*/ 0 h 27"/>
                  <a:gd name="T34" fmla="*/ 11 w 14"/>
                  <a:gd name="T35" fmla="*/ 2 h 27"/>
                  <a:gd name="T36" fmla="*/ 9 w 14"/>
                  <a:gd name="T37" fmla="*/ 5 h 27"/>
                  <a:gd name="T38" fmla="*/ 7 w 14"/>
                  <a:gd name="T39" fmla="*/ 4 h 27"/>
                  <a:gd name="T40" fmla="*/ 2 w 14"/>
                  <a:gd name="T41" fmla="*/ 8 h 27"/>
                  <a:gd name="T42" fmla="*/ 0 w 14"/>
                  <a:gd name="T43" fmla="*/ 10 h 27"/>
                  <a:gd name="T44" fmla="*/ 0 w 14"/>
                  <a:gd name="T4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7">
                    <a:moveTo>
                      <a:pt x="0" y="10"/>
                    </a:moveTo>
                    <a:lnTo>
                      <a:pt x="2" y="12"/>
                    </a:lnTo>
                    <a:lnTo>
                      <a:pt x="0" y="17"/>
                    </a:lnTo>
                    <a:lnTo>
                      <a:pt x="3" y="18"/>
                    </a:lnTo>
                    <a:lnTo>
                      <a:pt x="2" y="21"/>
                    </a:lnTo>
                    <a:lnTo>
                      <a:pt x="4" y="22"/>
                    </a:lnTo>
                    <a:lnTo>
                      <a:pt x="5" y="25"/>
                    </a:lnTo>
                    <a:lnTo>
                      <a:pt x="8" y="27"/>
                    </a:lnTo>
                    <a:lnTo>
                      <a:pt x="9" y="27"/>
                    </a:lnTo>
                    <a:lnTo>
                      <a:pt x="12" y="21"/>
                    </a:lnTo>
                    <a:lnTo>
                      <a:pt x="12" y="18"/>
                    </a:lnTo>
                    <a:lnTo>
                      <a:pt x="13" y="15"/>
                    </a:lnTo>
                    <a:lnTo>
                      <a:pt x="14" y="13"/>
                    </a:lnTo>
                    <a:lnTo>
                      <a:pt x="13" y="8"/>
                    </a:lnTo>
                    <a:lnTo>
                      <a:pt x="12" y="5"/>
                    </a:lnTo>
                    <a:lnTo>
                      <a:pt x="13" y="3"/>
                    </a:lnTo>
                    <a:lnTo>
                      <a:pt x="12" y="0"/>
                    </a:lnTo>
                    <a:lnTo>
                      <a:pt x="11" y="2"/>
                    </a:lnTo>
                    <a:lnTo>
                      <a:pt x="9" y="5"/>
                    </a:lnTo>
                    <a:lnTo>
                      <a:pt x="7" y="4"/>
                    </a:lnTo>
                    <a:lnTo>
                      <a:pt x="2" y="8"/>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3" name="Freeform 89">
                <a:extLst>
                  <a:ext uri="{FF2B5EF4-FFF2-40B4-BE49-F238E27FC236}">
                    <a16:creationId xmlns:a16="http://schemas.microsoft.com/office/drawing/2014/main" id="{41A4B892-96EE-4043-9105-806C0DD24206}"/>
                  </a:ext>
                </a:extLst>
              </p:cNvPr>
              <p:cNvSpPr>
                <a:spLocks/>
              </p:cNvSpPr>
              <p:nvPr/>
            </p:nvSpPr>
            <p:spPr bwMode="auto">
              <a:xfrm>
                <a:off x="3856" y="2255"/>
                <a:ext cx="42" cy="25"/>
              </a:xfrm>
              <a:custGeom>
                <a:avLst/>
                <a:gdLst>
                  <a:gd name="T0" fmla="*/ 26 w 42"/>
                  <a:gd name="T1" fmla="*/ 20 h 25"/>
                  <a:gd name="T2" fmla="*/ 26 w 42"/>
                  <a:gd name="T3" fmla="*/ 21 h 25"/>
                  <a:gd name="T4" fmla="*/ 29 w 42"/>
                  <a:gd name="T5" fmla="*/ 24 h 25"/>
                  <a:gd name="T6" fmla="*/ 34 w 42"/>
                  <a:gd name="T7" fmla="*/ 25 h 25"/>
                  <a:gd name="T8" fmla="*/ 36 w 42"/>
                  <a:gd name="T9" fmla="*/ 25 h 25"/>
                  <a:gd name="T10" fmla="*/ 36 w 42"/>
                  <a:gd name="T11" fmla="*/ 21 h 25"/>
                  <a:gd name="T12" fmla="*/ 38 w 42"/>
                  <a:gd name="T13" fmla="*/ 19 h 25"/>
                  <a:gd name="T14" fmla="*/ 37 w 42"/>
                  <a:gd name="T15" fmla="*/ 17 h 25"/>
                  <a:gd name="T16" fmla="*/ 36 w 42"/>
                  <a:gd name="T17" fmla="*/ 15 h 25"/>
                  <a:gd name="T18" fmla="*/ 35 w 42"/>
                  <a:gd name="T19" fmla="*/ 12 h 25"/>
                  <a:gd name="T20" fmla="*/ 37 w 42"/>
                  <a:gd name="T21" fmla="*/ 8 h 25"/>
                  <a:gd name="T22" fmla="*/ 42 w 42"/>
                  <a:gd name="T23" fmla="*/ 2 h 25"/>
                  <a:gd name="T24" fmla="*/ 42 w 42"/>
                  <a:gd name="T25" fmla="*/ 0 h 25"/>
                  <a:gd name="T26" fmla="*/ 37 w 42"/>
                  <a:gd name="T27" fmla="*/ 2 h 25"/>
                  <a:gd name="T28" fmla="*/ 31 w 42"/>
                  <a:gd name="T29" fmla="*/ 2 h 25"/>
                  <a:gd name="T30" fmla="*/ 26 w 42"/>
                  <a:gd name="T31" fmla="*/ 4 h 25"/>
                  <a:gd name="T32" fmla="*/ 20 w 42"/>
                  <a:gd name="T33" fmla="*/ 3 h 25"/>
                  <a:gd name="T34" fmla="*/ 17 w 42"/>
                  <a:gd name="T35" fmla="*/ 4 h 25"/>
                  <a:gd name="T36" fmla="*/ 12 w 42"/>
                  <a:gd name="T37" fmla="*/ 1 h 25"/>
                  <a:gd name="T38" fmla="*/ 9 w 42"/>
                  <a:gd name="T39" fmla="*/ 1 h 25"/>
                  <a:gd name="T40" fmla="*/ 6 w 42"/>
                  <a:gd name="T41" fmla="*/ 3 h 25"/>
                  <a:gd name="T42" fmla="*/ 4 w 42"/>
                  <a:gd name="T43" fmla="*/ 3 h 25"/>
                  <a:gd name="T44" fmla="*/ 2 w 42"/>
                  <a:gd name="T45" fmla="*/ 3 h 25"/>
                  <a:gd name="T46" fmla="*/ 0 w 42"/>
                  <a:gd name="T47" fmla="*/ 5 h 25"/>
                  <a:gd name="T48" fmla="*/ 0 w 42"/>
                  <a:gd name="T49" fmla="*/ 9 h 25"/>
                  <a:gd name="T50" fmla="*/ 2 w 42"/>
                  <a:gd name="T51" fmla="*/ 11 h 25"/>
                  <a:gd name="T52" fmla="*/ 5 w 42"/>
                  <a:gd name="T53" fmla="*/ 11 h 25"/>
                  <a:gd name="T54" fmla="*/ 14 w 42"/>
                  <a:gd name="T55" fmla="*/ 16 h 25"/>
                  <a:gd name="T56" fmla="*/ 17 w 42"/>
                  <a:gd name="T57" fmla="*/ 18 h 25"/>
                  <a:gd name="T58" fmla="*/ 20 w 42"/>
                  <a:gd name="T59" fmla="*/ 18 h 25"/>
                  <a:gd name="T60" fmla="*/ 22 w 42"/>
                  <a:gd name="T61" fmla="*/ 18 h 25"/>
                  <a:gd name="T62" fmla="*/ 26 w 42"/>
                  <a:gd name="T63" fmla="*/ 20 h 25"/>
                  <a:gd name="T64" fmla="*/ 26 w 42"/>
                  <a:gd name="T6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25">
                    <a:moveTo>
                      <a:pt x="26" y="20"/>
                    </a:moveTo>
                    <a:lnTo>
                      <a:pt x="26" y="21"/>
                    </a:lnTo>
                    <a:lnTo>
                      <a:pt x="29" y="24"/>
                    </a:lnTo>
                    <a:lnTo>
                      <a:pt x="34" y="25"/>
                    </a:lnTo>
                    <a:lnTo>
                      <a:pt x="36" y="25"/>
                    </a:lnTo>
                    <a:lnTo>
                      <a:pt x="36" y="21"/>
                    </a:lnTo>
                    <a:lnTo>
                      <a:pt x="38" y="19"/>
                    </a:lnTo>
                    <a:lnTo>
                      <a:pt x="37" y="17"/>
                    </a:lnTo>
                    <a:lnTo>
                      <a:pt x="36" y="15"/>
                    </a:lnTo>
                    <a:lnTo>
                      <a:pt x="35" y="12"/>
                    </a:lnTo>
                    <a:lnTo>
                      <a:pt x="37" y="8"/>
                    </a:lnTo>
                    <a:lnTo>
                      <a:pt x="42" y="2"/>
                    </a:lnTo>
                    <a:lnTo>
                      <a:pt x="42" y="0"/>
                    </a:lnTo>
                    <a:lnTo>
                      <a:pt x="37" y="2"/>
                    </a:lnTo>
                    <a:lnTo>
                      <a:pt x="31" y="2"/>
                    </a:lnTo>
                    <a:lnTo>
                      <a:pt x="26" y="4"/>
                    </a:lnTo>
                    <a:lnTo>
                      <a:pt x="20" y="3"/>
                    </a:lnTo>
                    <a:lnTo>
                      <a:pt x="17" y="4"/>
                    </a:lnTo>
                    <a:lnTo>
                      <a:pt x="12" y="1"/>
                    </a:lnTo>
                    <a:lnTo>
                      <a:pt x="9" y="1"/>
                    </a:lnTo>
                    <a:lnTo>
                      <a:pt x="6" y="3"/>
                    </a:lnTo>
                    <a:lnTo>
                      <a:pt x="4" y="3"/>
                    </a:lnTo>
                    <a:lnTo>
                      <a:pt x="2" y="3"/>
                    </a:lnTo>
                    <a:lnTo>
                      <a:pt x="0" y="5"/>
                    </a:lnTo>
                    <a:lnTo>
                      <a:pt x="0" y="9"/>
                    </a:lnTo>
                    <a:lnTo>
                      <a:pt x="2" y="11"/>
                    </a:lnTo>
                    <a:lnTo>
                      <a:pt x="5" y="11"/>
                    </a:lnTo>
                    <a:lnTo>
                      <a:pt x="14" y="16"/>
                    </a:lnTo>
                    <a:lnTo>
                      <a:pt x="17" y="18"/>
                    </a:lnTo>
                    <a:lnTo>
                      <a:pt x="20" y="18"/>
                    </a:lnTo>
                    <a:lnTo>
                      <a:pt x="22" y="18"/>
                    </a:lnTo>
                    <a:lnTo>
                      <a:pt x="26" y="20"/>
                    </a:lnTo>
                    <a:lnTo>
                      <a:pt x="2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4" name="Freeform 90">
                <a:extLst>
                  <a:ext uri="{FF2B5EF4-FFF2-40B4-BE49-F238E27FC236}">
                    <a16:creationId xmlns:a16="http://schemas.microsoft.com/office/drawing/2014/main" id="{452BD31F-462A-461D-8E35-0CC6A9704129}"/>
                  </a:ext>
                </a:extLst>
              </p:cNvPr>
              <p:cNvSpPr>
                <a:spLocks noEditPoints="1"/>
              </p:cNvSpPr>
              <p:nvPr/>
            </p:nvSpPr>
            <p:spPr bwMode="auto">
              <a:xfrm>
                <a:off x="3542" y="1894"/>
                <a:ext cx="166" cy="164"/>
              </a:xfrm>
              <a:custGeom>
                <a:avLst/>
                <a:gdLst>
                  <a:gd name="T0" fmla="*/ 51 w 166"/>
                  <a:gd name="T1" fmla="*/ 12 h 164"/>
                  <a:gd name="T2" fmla="*/ 52 w 166"/>
                  <a:gd name="T3" fmla="*/ 6 h 164"/>
                  <a:gd name="T4" fmla="*/ 54 w 166"/>
                  <a:gd name="T5" fmla="*/ 20 h 164"/>
                  <a:gd name="T6" fmla="*/ 62 w 166"/>
                  <a:gd name="T7" fmla="*/ 30 h 164"/>
                  <a:gd name="T8" fmla="*/ 56 w 166"/>
                  <a:gd name="T9" fmla="*/ 47 h 164"/>
                  <a:gd name="T10" fmla="*/ 60 w 166"/>
                  <a:gd name="T11" fmla="*/ 45 h 164"/>
                  <a:gd name="T12" fmla="*/ 148 w 166"/>
                  <a:gd name="T13" fmla="*/ 113 h 164"/>
                  <a:gd name="T14" fmla="*/ 134 w 166"/>
                  <a:gd name="T15" fmla="*/ 96 h 164"/>
                  <a:gd name="T16" fmla="*/ 135 w 166"/>
                  <a:gd name="T17" fmla="*/ 81 h 164"/>
                  <a:gd name="T18" fmla="*/ 118 w 166"/>
                  <a:gd name="T19" fmla="*/ 60 h 164"/>
                  <a:gd name="T20" fmla="*/ 90 w 166"/>
                  <a:gd name="T21" fmla="*/ 51 h 164"/>
                  <a:gd name="T22" fmla="*/ 103 w 166"/>
                  <a:gd name="T23" fmla="*/ 44 h 164"/>
                  <a:gd name="T24" fmla="*/ 115 w 166"/>
                  <a:gd name="T25" fmla="*/ 28 h 164"/>
                  <a:gd name="T26" fmla="*/ 90 w 166"/>
                  <a:gd name="T27" fmla="*/ 21 h 164"/>
                  <a:gd name="T28" fmla="*/ 87 w 166"/>
                  <a:gd name="T29" fmla="*/ 14 h 164"/>
                  <a:gd name="T30" fmla="*/ 87 w 166"/>
                  <a:gd name="T31" fmla="*/ 2 h 164"/>
                  <a:gd name="T32" fmla="*/ 69 w 166"/>
                  <a:gd name="T33" fmla="*/ 9 h 164"/>
                  <a:gd name="T34" fmla="*/ 62 w 166"/>
                  <a:gd name="T35" fmla="*/ 23 h 164"/>
                  <a:gd name="T36" fmla="*/ 69 w 166"/>
                  <a:gd name="T37" fmla="*/ 30 h 164"/>
                  <a:gd name="T38" fmla="*/ 59 w 166"/>
                  <a:gd name="T39" fmla="*/ 39 h 164"/>
                  <a:gd name="T40" fmla="*/ 72 w 166"/>
                  <a:gd name="T41" fmla="*/ 39 h 164"/>
                  <a:gd name="T42" fmla="*/ 67 w 166"/>
                  <a:gd name="T43" fmla="*/ 48 h 164"/>
                  <a:gd name="T44" fmla="*/ 68 w 166"/>
                  <a:gd name="T45" fmla="*/ 61 h 164"/>
                  <a:gd name="T46" fmla="*/ 77 w 166"/>
                  <a:gd name="T47" fmla="*/ 49 h 164"/>
                  <a:gd name="T48" fmla="*/ 78 w 166"/>
                  <a:gd name="T49" fmla="*/ 63 h 164"/>
                  <a:gd name="T50" fmla="*/ 76 w 166"/>
                  <a:gd name="T51" fmla="*/ 78 h 164"/>
                  <a:gd name="T52" fmla="*/ 87 w 166"/>
                  <a:gd name="T53" fmla="*/ 75 h 164"/>
                  <a:gd name="T54" fmla="*/ 96 w 166"/>
                  <a:gd name="T55" fmla="*/ 83 h 164"/>
                  <a:gd name="T56" fmla="*/ 103 w 166"/>
                  <a:gd name="T57" fmla="*/ 96 h 164"/>
                  <a:gd name="T58" fmla="*/ 92 w 166"/>
                  <a:gd name="T59" fmla="*/ 104 h 164"/>
                  <a:gd name="T60" fmla="*/ 80 w 166"/>
                  <a:gd name="T61" fmla="*/ 111 h 164"/>
                  <a:gd name="T62" fmla="*/ 87 w 166"/>
                  <a:gd name="T63" fmla="*/ 118 h 164"/>
                  <a:gd name="T64" fmla="*/ 75 w 166"/>
                  <a:gd name="T65" fmla="*/ 133 h 164"/>
                  <a:gd name="T66" fmla="*/ 84 w 166"/>
                  <a:gd name="T67" fmla="*/ 135 h 164"/>
                  <a:gd name="T68" fmla="*/ 103 w 166"/>
                  <a:gd name="T69" fmla="*/ 135 h 164"/>
                  <a:gd name="T70" fmla="*/ 94 w 166"/>
                  <a:gd name="T71" fmla="*/ 141 h 164"/>
                  <a:gd name="T72" fmla="*/ 71 w 166"/>
                  <a:gd name="T73" fmla="*/ 158 h 164"/>
                  <a:gd name="T74" fmla="*/ 77 w 166"/>
                  <a:gd name="T75" fmla="*/ 159 h 164"/>
                  <a:gd name="T76" fmla="*/ 95 w 166"/>
                  <a:gd name="T77" fmla="*/ 151 h 164"/>
                  <a:gd name="T78" fmla="*/ 122 w 166"/>
                  <a:gd name="T79" fmla="*/ 150 h 164"/>
                  <a:gd name="T80" fmla="*/ 155 w 166"/>
                  <a:gd name="T81" fmla="*/ 147 h 164"/>
                  <a:gd name="T82" fmla="*/ 148 w 166"/>
                  <a:gd name="T83" fmla="*/ 138 h 164"/>
                  <a:gd name="T84" fmla="*/ 157 w 166"/>
                  <a:gd name="T85" fmla="*/ 129 h 164"/>
                  <a:gd name="T86" fmla="*/ 68 w 166"/>
                  <a:gd name="T87" fmla="*/ 83 h 164"/>
                  <a:gd name="T88" fmla="*/ 61 w 166"/>
                  <a:gd name="T89" fmla="*/ 70 h 164"/>
                  <a:gd name="T90" fmla="*/ 43 w 166"/>
                  <a:gd name="T91" fmla="*/ 70 h 164"/>
                  <a:gd name="T92" fmla="*/ 38 w 166"/>
                  <a:gd name="T93" fmla="*/ 71 h 164"/>
                  <a:gd name="T94" fmla="*/ 32 w 166"/>
                  <a:gd name="T95" fmla="*/ 79 h 164"/>
                  <a:gd name="T96" fmla="*/ 17 w 166"/>
                  <a:gd name="T97" fmla="*/ 87 h 164"/>
                  <a:gd name="T98" fmla="*/ 7 w 166"/>
                  <a:gd name="T99" fmla="*/ 92 h 164"/>
                  <a:gd name="T100" fmla="*/ 3 w 166"/>
                  <a:gd name="T101" fmla="*/ 99 h 164"/>
                  <a:gd name="T102" fmla="*/ 16 w 166"/>
                  <a:gd name="T103" fmla="*/ 106 h 164"/>
                  <a:gd name="T104" fmla="*/ 23 w 166"/>
                  <a:gd name="T105" fmla="*/ 115 h 164"/>
                  <a:gd name="T106" fmla="*/ 9 w 166"/>
                  <a:gd name="T107" fmla="*/ 125 h 164"/>
                  <a:gd name="T108" fmla="*/ 6 w 166"/>
                  <a:gd name="T109" fmla="*/ 134 h 164"/>
                  <a:gd name="T110" fmla="*/ 27 w 166"/>
                  <a:gd name="T111" fmla="*/ 130 h 164"/>
                  <a:gd name="T112" fmla="*/ 43 w 166"/>
                  <a:gd name="T113" fmla="*/ 125 h 164"/>
                  <a:gd name="T114" fmla="*/ 55 w 166"/>
                  <a:gd name="T115" fmla="*/ 121 h 164"/>
                  <a:gd name="T116" fmla="*/ 59 w 166"/>
                  <a:gd name="T117" fmla="*/ 100 h 164"/>
                  <a:gd name="T118" fmla="*/ 67 w 166"/>
                  <a:gd name="T119" fmla="*/ 8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6" h="164">
                    <a:moveTo>
                      <a:pt x="50" y="15"/>
                    </a:moveTo>
                    <a:lnTo>
                      <a:pt x="49" y="15"/>
                    </a:lnTo>
                    <a:lnTo>
                      <a:pt x="45" y="17"/>
                    </a:lnTo>
                    <a:lnTo>
                      <a:pt x="49" y="18"/>
                    </a:lnTo>
                    <a:lnTo>
                      <a:pt x="50" y="15"/>
                    </a:lnTo>
                    <a:close/>
                    <a:moveTo>
                      <a:pt x="50" y="15"/>
                    </a:moveTo>
                    <a:lnTo>
                      <a:pt x="51" y="14"/>
                    </a:lnTo>
                    <a:lnTo>
                      <a:pt x="51" y="12"/>
                    </a:lnTo>
                    <a:lnTo>
                      <a:pt x="52" y="14"/>
                    </a:lnTo>
                    <a:lnTo>
                      <a:pt x="54" y="14"/>
                    </a:lnTo>
                    <a:lnTo>
                      <a:pt x="54" y="11"/>
                    </a:lnTo>
                    <a:lnTo>
                      <a:pt x="56" y="9"/>
                    </a:lnTo>
                    <a:lnTo>
                      <a:pt x="58" y="6"/>
                    </a:lnTo>
                    <a:lnTo>
                      <a:pt x="58" y="4"/>
                    </a:lnTo>
                    <a:lnTo>
                      <a:pt x="55" y="4"/>
                    </a:lnTo>
                    <a:lnTo>
                      <a:pt x="52" y="6"/>
                    </a:lnTo>
                    <a:lnTo>
                      <a:pt x="50" y="9"/>
                    </a:lnTo>
                    <a:lnTo>
                      <a:pt x="49" y="11"/>
                    </a:lnTo>
                    <a:lnTo>
                      <a:pt x="46" y="9"/>
                    </a:lnTo>
                    <a:lnTo>
                      <a:pt x="45" y="11"/>
                    </a:lnTo>
                    <a:lnTo>
                      <a:pt x="46" y="14"/>
                    </a:lnTo>
                    <a:lnTo>
                      <a:pt x="50" y="15"/>
                    </a:lnTo>
                    <a:close/>
                    <a:moveTo>
                      <a:pt x="58" y="20"/>
                    </a:moveTo>
                    <a:lnTo>
                      <a:pt x="54" y="20"/>
                    </a:lnTo>
                    <a:lnTo>
                      <a:pt x="55" y="23"/>
                    </a:lnTo>
                    <a:lnTo>
                      <a:pt x="53" y="22"/>
                    </a:lnTo>
                    <a:lnTo>
                      <a:pt x="50" y="23"/>
                    </a:lnTo>
                    <a:lnTo>
                      <a:pt x="51" y="26"/>
                    </a:lnTo>
                    <a:lnTo>
                      <a:pt x="54" y="27"/>
                    </a:lnTo>
                    <a:lnTo>
                      <a:pt x="56" y="30"/>
                    </a:lnTo>
                    <a:lnTo>
                      <a:pt x="59" y="30"/>
                    </a:lnTo>
                    <a:lnTo>
                      <a:pt x="62" y="30"/>
                    </a:lnTo>
                    <a:lnTo>
                      <a:pt x="60" y="32"/>
                    </a:lnTo>
                    <a:lnTo>
                      <a:pt x="63" y="30"/>
                    </a:lnTo>
                    <a:lnTo>
                      <a:pt x="64" y="28"/>
                    </a:lnTo>
                    <a:lnTo>
                      <a:pt x="61" y="28"/>
                    </a:lnTo>
                    <a:lnTo>
                      <a:pt x="59" y="26"/>
                    </a:lnTo>
                    <a:lnTo>
                      <a:pt x="59" y="23"/>
                    </a:lnTo>
                    <a:lnTo>
                      <a:pt x="58" y="20"/>
                    </a:lnTo>
                    <a:close/>
                    <a:moveTo>
                      <a:pt x="56" y="47"/>
                    </a:moveTo>
                    <a:lnTo>
                      <a:pt x="61" y="46"/>
                    </a:lnTo>
                    <a:lnTo>
                      <a:pt x="64" y="46"/>
                    </a:lnTo>
                    <a:lnTo>
                      <a:pt x="64" y="43"/>
                    </a:lnTo>
                    <a:lnTo>
                      <a:pt x="61" y="43"/>
                    </a:lnTo>
                    <a:lnTo>
                      <a:pt x="59" y="39"/>
                    </a:lnTo>
                    <a:lnTo>
                      <a:pt x="58" y="43"/>
                    </a:lnTo>
                    <a:lnTo>
                      <a:pt x="60" y="43"/>
                    </a:lnTo>
                    <a:lnTo>
                      <a:pt x="60" y="45"/>
                    </a:lnTo>
                    <a:lnTo>
                      <a:pt x="56" y="47"/>
                    </a:lnTo>
                    <a:close/>
                    <a:moveTo>
                      <a:pt x="166" y="116"/>
                    </a:moveTo>
                    <a:lnTo>
                      <a:pt x="165" y="113"/>
                    </a:lnTo>
                    <a:lnTo>
                      <a:pt x="160" y="111"/>
                    </a:lnTo>
                    <a:lnTo>
                      <a:pt x="155" y="109"/>
                    </a:lnTo>
                    <a:lnTo>
                      <a:pt x="152" y="109"/>
                    </a:lnTo>
                    <a:lnTo>
                      <a:pt x="149" y="111"/>
                    </a:lnTo>
                    <a:lnTo>
                      <a:pt x="148" y="113"/>
                    </a:lnTo>
                    <a:lnTo>
                      <a:pt x="143" y="112"/>
                    </a:lnTo>
                    <a:lnTo>
                      <a:pt x="147" y="106"/>
                    </a:lnTo>
                    <a:lnTo>
                      <a:pt x="147" y="104"/>
                    </a:lnTo>
                    <a:lnTo>
                      <a:pt x="146" y="101"/>
                    </a:lnTo>
                    <a:lnTo>
                      <a:pt x="138" y="96"/>
                    </a:lnTo>
                    <a:lnTo>
                      <a:pt x="136" y="96"/>
                    </a:lnTo>
                    <a:lnTo>
                      <a:pt x="132" y="96"/>
                    </a:lnTo>
                    <a:lnTo>
                      <a:pt x="134" y="96"/>
                    </a:lnTo>
                    <a:lnTo>
                      <a:pt x="137" y="96"/>
                    </a:lnTo>
                    <a:lnTo>
                      <a:pt x="138" y="96"/>
                    </a:lnTo>
                    <a:lnTo>
                      <a:pt x="143" y="97"/>
                    </a:lnTo>
                    <a:lnTo>
                      <a:pt x="145" y="97"/>
                    </a:lnTo>
                    <a:lnTo>
                      <a:pt x="141" y="92"/>
                    </a:lnTo>
                    <a:lnTo>
                      <a:pt x="140" y="90"/>
                    </a:lnTo>
                    <a:lnTo>
                      <a:pt x="140" y="88"/>
                    </a:lnTo>
                    <a:lnTo>
                      <a:pt x="135" y="81"/>
                    </a:lnTo>
                    <a:lnTo>
                      <a:pt x="132" y="80"/>
                    </a:lnTo>
                    <a:lnTo>
                      <a:pt x="127" y="79"/>
                    </a:lnTo>
                    <a:lnTo>
                      <a:pt x="127" y="78"/>
                    </a:lnTo>
                    <a:lnTo>
                      <a:pt x="124" y="75"/>
                    </a:lnTo>
                    <a:lnTo>
                      <a:pt x="123" y="70"/>
                    </a:lnTo>
                    <a:lnTo>
                      <a:pt x="122" y="69"/>
                    </a:lnTo>
                    <a:lnTo>
                      <a:pt x="120" y="61"/>
                    </a:lnTo>
                    <a:lnTo>
                      <a:pt x="118" y="60"/>
                    </a:lnTo>
                    <a:lnTo>
                      <a:pt x="113" y="54"/>
                    </a:lnTo>
                    <a:lnTo>
                      <a:pt x="111" y="53"/>
                    </a:lnTo>
                    <a:lnTo>
                      <a:pt x="107" y="52"/>
                    </a:lnTo>
                    <a:lnTo>
                      <a:pt x="104" y="52"/>
                    </a:lnTo>
                    <a:lnTo>
                      <a:pt x="102" y="53"/>
                    </a:lnTo>
                    <a:lnTo>
                      <a:pt x="94" y="53"/>
                    </a:lnTo>
                    <a:lnTo>
                      <a:pt x="92" y="52"/>
                    </a:lnTo>
                    <a:lnTo>
                      <a:pt x="90" y="51"/>
                    </a:lnTo>
                    <a:lnTo>
                      <a:pt x="92" y="52"/>
                    </a:lnTo>
                    <a:lnTo>
                      <a:pt x="94" y="52"/>
                    </a:lnTo>
                    <a:lnTo>
                      <a:pt x="96" y="52"/>
                    </a:lnTo>
                    <a:lnTo>
                      <a:pt x="98" y="52"/>
                    </a:lnTo>
                    <a:lnTo>
                      <a:pt x="102" y="48"/>
                    </a:lnTo>
                    <a:lnTo>
                      <a:pt x="104" y="48"/>
                    </a:lnTo>
                    <a:lnTo>
                      <a:pt x="105" y="46"/>
                    </a:lnTo>
                    <a:lnTo>
                      <a:pt x="103" y="44"/>
                    </a:lnTo>
                    <a:lnTo>
                      <a:pt x="98" y="46"/>
                    </a:lnTo>
                    <a:lnTo>
                      <a:pt x="97" y="45"/>
                    </a:lnTo>
                    <a:lnTo>
                      <a:pt x="102" y="44"/>
                    </a:lnTo>
                    <a:lnTo>
                      <a:pt x="105" y="44"/>
                    </a:lnTo>
                    <a:lnTo>
                      <a:pt x="107" y="41"/>
                    </a:lnTo>
                    <a:lnTo>
                      <a:pt x="110" y="38"/>
                    </a:lnTo>
                    <a:lnTo>
                      <a:pt x="113" y="35"/>
                    </a:lnTo>
                    <a:lnTo>
                      <a:pt x="115" y="28"/>
                    </a:lnTo>
                    <a:lnTo>
                      <a:pt x="118" y="26"/>
                    </a:lnTo>
                    <a:lnTo>
                      <a:pt x="118" y="22"/>
                    </a:lnTo>
                    <a:lnTo>
                      <a:pt x="117" y="20"/>
                    </a:lnTo>
                    <a:lnTo>
                      <a:pt x="109" y="20"/>
                    </a:lnTo>
                    <a:lnTo>
                      <a:pt x="103" y="19"/>
                    </a:lnTo>
                    <a:lnTo>
                      <a:pt x="101" y="20"/>
                    </a:lnTo>
                    <a:lnTo>
                      <a:pt x="96" y="19"/>
                    </a:lnTo>
                    <a:lnTo>
                      <a:pt x="90" y="21"/>
                    </a:lnTo>
                    <a:lnTo>
                      <a:pt x="87" y="21"/>
                    </a:lnTo>
                    <a:lnTo>
                      <a:pt x="85" y="23"/>
                    </a:lnTo>
                    <a:lnTo>
                      <a:pt x="85" y="20"/>
                    </a:lnTo>
                    <a:lnTo>
                      <a:pt x="88" y="19"/>
                    </a:lnTo>
                    <a:lnTo>
                      <a:pt x="88" y="17"/>
                    </a:lnTo>
                    <a:lnTo>
                      <a:pt x="86" y="17"/>
                    </a:lnTo>
                    <a:lnTo>
                      <a:pt x="84" y="15"/>
                    </a:lnTo>
                    <a:lnTo>
                      <a:pt x="87" y="14"/>
                    </a:lnTo>
                    <a:lnTo>
                      <a:pt x="88" y="14"/>
                    </a:lnTo>
                    <a:lnTo>
                      <a:pt x="100" y="5"/>
                    </a:lnTo>
                    <a:lnTo>
                      <a:pt x="100" y="1"/>
                    </a:lnTo>
                    <a:lnTo>
                      <a:pt x="97" y="0"/>
                    </a:lnTo>
                    <a:lnTo>
                      <a:pt x="94" y="1"/>
                    </a:lnTo>
                    <a:lnTo>
                      <a:pt x="93" y="1"/>
                    </a:lnTo>
                    <a:lnTo>
                      <a:pt x="89" y="2"/>
                    </a:lnTo>
                    <a:lnTo>
                      <a:pt x="87" y="2"/>
                    </a:lnTo>
                    <a:lnTo>
                      <a:pt x="85" y="3"/>
                    </a:lnTo>
                    <a:lnTo>
                      <a:pt x="81" y="3"/>
                    </a:lnTo>
                    <a:lnTo>
                      <a:pt x="77" y="2"/>
                    </a:lnTo>
                    <a:lnTo>
                      <a:pt x="75" y="1"/>
                    </a:lnTo>
                    <a:lnTo>
                      <a:pt x="75" y="4"/>
                    </a:lnTo>
                    <a:lnTo>
                      <a:pt x="72" y="5"/>
                    </a:lnTo>
                    <a:lnTo>
                      <a:pt x="73" y="9"/>
                    </a:lnTo>
                    <a:lnTo>
                      <a:pt x="69" y="9"/>
                    </a:lnTo>
                    <a:lnTo>
                      <a:pt x="70" y="11"/>
                    </a:lnTo>
                    <a:lnTo>
                      <a:pt x="70" y="13"/>
                    </a:lnTo>
                    <a:lnTo>
                      <a:pt x="71" y="17"/>
                    </a:lnTo>
                    <a:lnTo>
                      <a:pt x="66" y="15"/>
                    </a:lnTo>
                    <a:lnTo>
                      <a:pt x="63" y="18"/>
                    </a:lnTo>
                    <a:lnTo>
                      <a:pt x="64" y="21"/>
                    </a:lnTo>
                    <a:lnTo>
                      <a:pt x="64" y="22"/>
                    </a:lnTo>
                    <a:lnTo>
                      <a:pt x="62" y="23"/>
                    </a:lnTo>
                    <a:lnTo>
                      <a:pt x="64" y="26"/>
                    </a:lnTo>
                    <a:lnTo>
                      <a:pt x="67" y="26"/>
                    </a:lnTo>
                    <a:lnTo>
                      <a:pt x="64" y="27"/>
                    </a:lnTo>
                    <a:lnTo>
                      <a:pt x="68" y="27"/>
                    </a:lnTo>
                    <a:lnTo>
                      <a:pt x="68" y="29"/>
                    </a:lnTo>
                    <a:lnTo>
                      <a:pt x="66" y="28"/>
                    </a:lnTo>
                    <a:lnTo>
                      <a:pt x="66" y="30"/>
                    </a:lnTo>
                    <a:lnTo>
                      <a:pt x="69" y="30"/>
                    </a:lnTo>
                    <a:lnTo>
                      <a:pt x="67" y="30"/>
                    </a:lnTo>
                    <a:lnTo>
                      <a:pt x="63" y="31"/>
                    </a:lnTo>
                    <a:lnTo>
                      <a:pt x="67" y="34"/>
                    </a:lnTo>
                    <a:lnTo>
                      <a:pt x="63" y="32"/>
                    </a:lnTo>
                    <a:lnTo>
                      <a:pt x="63" y="35"/>
                    </a:lnTo>
                    <a:lnTo>
                      <a:pt x="62" y="38"/>
                    </a:lnTo>
                    <a:lnTo>
                      <a:pt x="61" y="37"/>
                    </a:lnTo>
                    <a:lnTo>
                      <a:pt x="59" y="39"/>
                    </a:lnTo>
                    <a:lnTo>
                      <a:pt x="63" y="38"/>
                    </a:lnTo>
                    <a:lnTo>
                      <a:pt x="67" y="39"/>
                    </a:lnTo>
                    <a:lnTo>
                      <a:pt x="63" y="39"/>
                    </a:lnTo>
                    <a:lnTo>
                      <a:pt x="62" y="41"/>
                    </a:lnTo>
                    <a:lnTo>
                      <a:pt x="64" y="43"/>
                    </a:lnTo>
                    <a:lnTo>
                      <a:pt x="68" y="41"/>
                    </a:lnTo>
                    <a:lnTo>
                      <a:pt x="72" y="36"/>
                    </a:lnTo>
                    <a:lnTo>
                      <a:pt x="72" y="39"/>
                    </a:lnTo>
                    <a:lnTo>
                      <a:pt x="75" y="38"/>
                    </a:lnTo>
                    <a:lnTo>
                      <a:pt x="70" y="39"/>
                    </a:lnTo>
                    <a:lnTo>
                      <a:pt x="69" y="41"/>
                    </a:lnTo>
                    <a:lnTo>
                      <a:pt x="69" y="44"/>
                    </a:lnTo>
                    <a:lnTo>
                      <a:pt x="71" y="44"/>
                    </a:lnTo>
                    <a:lnTo>
                      <a:pt x="69" y="44"/>
                    </a:lnTo>
                    <a:lnTo>
                      <a:pt x="67" y="46"/>
                    </a:lnTo>
                    <a:lnTo>
                      <a:pt x="67" y="48"/>
                    </a:lnTo>
                    <a:lnTo>
                      <a:pt x="66" y="51"/>
                    </a:lnTo>
                    <a:lnTo>
                      <a:pt x="66" y="55"/>
                    </a:lnTo>
                    <a:lnTo>
                      <a:pt x="66" y="57"/>
                    </a:lnTo>
                    <a:lnTo>
                      <a:pt x="64" y="61"/>
                    </a:lnTo>
                    <a:lnTo>
                      <a:pt x="63" y="65"/>
                    </a:lnTo>
                    <a:lnTo>
                      <a:pt x="64" y="65"/>
                    </a:lnTo>
                    <a:lnTo>
                      <a:pt x="67" y="63"/>
                    </a:lnTo>
                    <a:lnTo>
                      <a:pt x="68" y="61"/>
                    </a:lnTo>
                    <a:lnTo>
                      <a:pt x="69" y="53"/>
                    </a:lnTo>
                    <a:lnTo>
                      <a:pt x="71" y="49"/>
                    </a:lnTo>
                    <a:lnTo>
                      <a:pt x="75" y="48"/>
                    </a:lnTo>
                    <a:lnTo>
                      <a:pt x="70" y="52"/>
                    </a:lnTo>
                    <a:lnTo>
                      <a:pt x="72" y="54"/>
                    </a:lnTo>
                    <a:lnTo>
                      <a:pt x="72" y="53"/>
                    </a:lnTo>
                    <a:lnTo>
                      <a:pt x="75" y="55"/>
                    </a:lnTo>
                    <a:lnTo>
                      <a:pt x="77" y="49"/>
                    </a:lnTo>
                    <a:lnTo>
                      <a:pt x="77" y="52"/>
                    </a:lnTo>
                    <a:lnTo>
                      <a:pt x="80" y="54"/>
                    </a:lnTo>
                    <a:lnTo>
                      <a:pt x="77" y="53"/>
                    </a:lnTo>
                    <a:lnTo>
                      <a:pt x="77" y="53"/>
                    </a:lnTo>
                    <a:lnTo>
                      <a:pt x="76" y="56"/>
                    </a:lnTo>
                    <a:lnTo>
                      <a:pt x="76" y="58"/>
                    </a:lnTo>
                    <a:lnTo>
                      <a:pt x="79" y="61"/>
                    </a:lnTo>
                    <a:lnTo>
                      <a:pt x="78" y="63"/>
                    </a:lnTo>
                    <a:lnTo>
                      <a:pt x="75" y="69"/>
                    </a:lnTo>
                    <a:lnTo>
                      <a:pt x="73" y="72"/>
                    </a:lnTo>
                    <a:lnTo>
                      <a:pt x="75" y="73"/>
                    </a:lnTo>
                    <a:lnTo>
                      <a:pt x="72" y="71"/>
                    </a:lnTo>
                    <a:lnTo>
                      <a:pt x="72" y="71"/>
                    </a:lnTo>
                    <a:lnTo>
                      <a:pt x="72" y="73"/>
                    </a:lnTo>
                    <a:lnTo>
                      <a:pt x="76" y="79"/>
                    </a:lnTo>
                    <a:lnTo>
                      <a:pt x="76" y="78"/>
                    </a:lnTo>
                    <a:lnTo>
                      <a:pt x="75" y="75"/>
                    </a:lnTo>
                    <a:lnTo>
                      <a:pt x="78" y="74"/>
                    </a:lnTo>
                    <a:lnTo>
                      <a:pt x="80" y="77"/>
                    </a:lnTo>
                    <a:lnTo>
                      <a:pt x="83" y="75"/>
                    </a:lnTo>
                    <a:lnTo>
                      <a:pt x="83" y="73"/>
                    </a:lnTo>
                    <a:lnTo>
                      <a:pt x="85" y="74"/>
                    </a:lnTo>
                    <a:lnTo>
                      <a:pt x="87" y="74"/>
                    </a:lnTo>
                    <a:lnTo>
                      <a:pt x="87" y="75"/>
                    </a:lnTo>
                    <a:lnTo>
                      <a:pt x="88" y="75"/>
                    </a:lnTo>
                    <a:lnTo>
                      <a:pt x="94" y="72"/>
                    </a:lnTo>
                    <a:lnTo>
                      <a:pt x="102" y="72"/>
                    </a:lnTo>
                    <a:lnTo>
                      <a:pt x="98" y="73"/>
                    </a:lnTo>
                    <a:lnTo>
                      <a:pt x="96" y="75"/>
                    </a:lnTo>
                    <a:lnTo>
                      <a:pt x="94" y="79"/>
                    </a:lnTo>
                    <a:lnTo>
                      <a:pt x="93" y="81"/>
                    </a:lnTo>
                    <a:lnTo>
                      <a:pt x="96" y="83"/>
                    </a:lnTo>
                    <a:lnTo>
                      <a:pt x="98" y="86"/>
                    </a:lnTo>
                    <a:lnTo>
                      <a:pt x="100" y="89"/>
                    </a:lnTo>
                    <a:lnTo>
                      <a:pt x="101" y="87"/>
                    </a:lnTo>
                    <a:lnTo>
                      <a:pt x="102" y="87"/>
                    </a:lnTo>
                    <a:lnTo>
                      <a:pt x="104" y="87"/>
                    </a:lnTo>
                    <a:lnTo>
                      <a:pt x="103" y="91"/>
                    </a:lnTo>
                    <a:lnTo>
                      <a:pt x="101" y="94"/>
                    </a:lnTo>
                    <a:lnTo>
                      <a:pt x="103" y="96"/>
                    </a:lnTo>
                    <a:lnTo>
                      <a:pt x="102" y="96"/>
                    </a:lnTo>
                    <a:lnTo>
                      <a:pt x="101" y="99"/>
                    </a:lnTo>
                    <a:lnTo>
                      <a:pt x="102" y="101"/>
                    </a:lnTo>
                    <a:lnTo>
                      <a:pt x="101" y="101"/>
                    </a:lnTo>
                    <a:lnTo>
                      <a:pt x="101" y="105"/>
                    </a:lnTo>
                    <a:lnTo>
                      <a:pt x="96" y="103"/>
                    </a:lnTo>
                    <a:lnTo>
                      <a:pt x="94" y="104"/>
                    </a:lnTo>
                    <a:lnTo>
                      <a:pt x="92" y="104"/>
                    </a:lnTo>
                    <a:lnTo>
                      <a:pt x="86" y="105"/>
                    </a:lnTo>
                    <a:lnTo>
                      <a:pt x="86" y="104"/>
                    </a:lnTo>
                    <a:lnTo>
                      <a:pt x="83" y="101"/>
                    </a:lnTo>
                    <a:lnTo>
                      <a:pt x="80" y="104"/>
                    </a:lnTo>
                    <a:lnTo>
                      <a:pt x="83" y="107"/>
                    </a:lnTo>
                    <a:lnTo>
                      <a:pt x="85" y="105"/>
                    </a:lnTo>
                    <a:lnTo>
                      <a:pt x="83" y="108"/>
                    </a:lnTo>
                    <a:lnTo>
                      <a:pt x="80" y="111"/>
                    </a:lnTo>
                    <a:lnTo>
                      <a:pt x="77" y="113"/>
                    </a:lnTo>
                    <a:lnTo>
                      <a:pt x="81" y="113"/>
                    </a:lnTo>
                    <a:lnTo>
                      <a:pt x="84" y="111"/>
                    </a:lnTo>
                    <a:lnTo>
                      <a:pt x="86" y="112"/>
                    </a:lnTo>
                    <a:lnTo>
                      <a:pt x="87" y="114"/>
                    </a:lnTo>
                    <a:lnTo>
                      <a:pt x="87" y="115"/>
                    </a:lnTo>
                    <a:lnTo>
                      <a:pt x="88" y="117"/>
                    </a:lnTo>
                    <a:lnTo>
                      <a:pt x="87" y="118"/>
                    </a:lnTo>
                    <a:lnTo>
                      <a:pt x="86" y="121"/>
                    </a:lnTo>
                    <a:lnTo>
                      <a:pt x="84" y="123"/>
                    </a:lnTo>
                    <a:lnTo>
                      <a:pt x="79" y="126"/>
                    </a:lnTo>
                    <a:lnTo>
                      <a:pt x="73" y="128"/>
                    </a:lnTo>
                    <a:lnTo>
                      <a:pt x="71" y="130"/>
                    </a:lnTo>
                    <a:lnTo>
                      <a:pt x="71" y="132"/>
                    </a:lnTo>
                    <a:lnTo>
                      <a:pt x="76" y="133"/>
                    </a:lnTo>
                    <a:lnTo>
                      <a:pt x="75" y="133"/>
                    </a:lnTo>
                    <a:lnTo>
                      <a:pt x="75" y="134"/>
                    </a:lnTo>
                    <a:lnTo>
                      <a:pt x="78" y="134"/>
                    </a:lnTo>
                    <a:lnTo>
                      <a:pt x="80" y="132"/>
                    </a:lnTo>
                    <a:lnTo>
                      <a:pt x="83" y="131"/>
                    </a:lnTo>
                    <a:lnTo>
                      <a:pt x="84" y="133"/>
                    </a:lnTo>
                    <a:lnTo>
                      <a:pt x="87" y="133"/>
                    </a:lnTo>
                    <a:lnTo>
                      <a:pt x="87" y="134"/>
                    </a:lnTo>
                    <a:lnTo>
                      <a:pt x="84" y="135"/>
                    </a:lnTo>
                    <a:lnTo>
                      <a:pt x="87" y="135"/>
                    </a:lnTo>
                    <a:lnTo>
                      <a:pt x="89" y="134"/>
                    </a:lnTo>
                    <a:lnTo>
                      <a:pt x="92" y="135"/>
                    </a:lnTo>
                    <a:lnTo>
                      <a:pt x="94" y="138"/>
                    </a:lnTo>
                    <a:lnTo>
                      <a:pt x="95" y="139"/>
                    </a:lnTo>
                    <a:lnTo>
                      <a:pt x="98" y="139"/>
                    </a:lnTo>
                    <a:lnTo>
                      <a:pt x="102" y="135"/>
                    </a:lnTo>
                    <a:lnTo>
                      <a:pt x="103" y="135"/>
                    </a:lnTo>
                    <a:lnTo>
                      <a:pt x="105" y="135"/>
                    </a:lnTo>
                    <a:lnTo>
                      <a:pt x="110" y="131"/>
                    </a:lnTo>
                    <a:lnTo>
                      <a:pt x="105" y="137"/>
                    </a:lnTo>
                    <a:lnTo>
                      <a:pt x="104" y="138"/>
                    </a:lnTo>
                    <a:lnTo>
                      <a:pt x="102" y="140"/>
                    </a:lnTo>
                    <a:lnTo>
                      <a:pt x="102" y="142"/>
                    </a:lnTo>
                    <a:lnTo>
                      <a:pt x="97" y="142"/>
                    </a:lnTo>
                    <a:lnTo>
                      <a:pt x="94" y="141"/>
                    </a:lnTo>
                    <a:lnTo>
                      <a:pt x="88" y="142"/>
                    </a:lnTo>
                    <a:lnTo>
                      <a:pt x="84" y="146"/>
                    </a:lnTo>
                    <a:lnTo>
                      <a:pt x="81" y="146"/>
                    </a:lnTo>
                    <a:lnTo>
                      <a:pt x="79" y="150"/>
                    </a:lnTo>
                    <a:lnTo>
                      <a:pt x="77" y="152"/>
                    </a:lnTo>
                    <a:lnTo>
                      <a:pt x="75" y="154"/>
                    </a:lnTo>
                    <a:lnTo>
                      <a:pt x="73" y="155"/>
                    </a:lnTo>
                    <a:lnTo>
                      <a:pt x="71" y="158"/>
                    </a:lnTo>
                    <a:lnTo>
                      <a:pt x="69" y="159"/>
                    </a:lnTo>
                    <a:lnTo>
                      <a:pt x="67" y="160"/>
                    </a:lnTo>
                    <a:lnTo>
                      <a:pt x="66" y="163"/>
                    </a:lnTo>
                    <a:lnTo>
                      <a:pt x="68" y="161"/>
                    </a:lnTo>
                    <a:lnTo>
                      <a:pt x="71" y="164"/>
                    </a:lnTo>
                    <a:lnTo>
                      <a:pt x="72" y="164"/>
                    </a:lnTo>
                    <a:lnTo>
                      <a:pt x="75" y="161"/>
                    </a:lnTo>
                    <a:lnTo>
                      <a:pt x="77" y="159"/>
                    </a:lnTo>
                    <a:lnTo>
                      <a:pt x="79" y="158"/>
                    </a:lnTo>
                    <a:lnTo>
                      <a:pt x="83" y="157"/>
                    </a:lnTo>
                    <a:lnTo>
                      <a:pt x="85" y="157"/>
                    </a:lnTo>
                    <a:lnTo>
                      <a:pt x="85" y="156"/>
                    </a:lnTo>
                    <a:lnTo>
                      <a:pt x="85" y="157"/>
                    </a:lnTo>
                    <a:lnTo>
                      <a:pt x="92" y="159"/>
                    </a:lnTo>
                    <a:lnTo>
                      <a:pt x="95" y="157"/>
                    </a:lnTo>
                    <a:lnTo>
                      <a:pt x="95" y="151"/>
                    </a:lnTo>
                    <a:lnTo>
                      <a:pt x="96" y="152"/>
                    </a:lnTo>
                    <a:lnTo>
                      <a:pt x="100" y="151"/>
                    </a:lnTo>
                    <a:lnTo>
                      <a:pt x="104" y="150"/>
                    </a:lnTo>
                    <a:lnTo>
                      <a:pt x="109" y="152"/>
                    </a:lnTo>
                    <a:lnTo>
                      <a:pt x="112" y="152"/>
                    </a:lnTo>
                    <a:lnTo>
                      <a:pt x="115" y="150"/>
                    </a:lnTo>
                    <a:lnTo>
                      <a:pt x="115" y="151"/>
                    </a:lnTo>
                    <a:lnTo>
                      <a:pt x="122" y="150"/>
                    </a:lnTo>
                    <a:lnTo>
                      <a:pt x="124" y="148"/>
                    </a:lnTo>
                    <a:lnTo>
                      <a:pt x="130" y="148"/>
                    </a:lnTo>
                    <a:lnTo>
                      <a:pt x="131" y="150"/>
                    </a:lnTo>
                    <a:lnTo>
                      <a:pt x="135" y="149"/>
                    </a:lnTo>
                    <a:lnTo>
                      <a:pt x="140" y="149"/>
                    </a:lnTo>
                    <a:lnTo>
                      <a:pt x="146" y="150"/>
                    </a:lnTo>
                    <a:lnTo>
                      <a:pt x="149" y="148"/>
                    </a:lnTo>
                    <a:lnTo>
                      <a:pt x="155" y="147"/>
                    </a:lnTo>
                    <a:lnTo>
                      <a:pt x="156" y="144"/>
                    </a:lnTo>
                    <a:lnTo>
                      <a:pt x="160" y="143"/>
                    </a:lnTo>
                    <a:lnTo>
                      <a:pt x="162" y="141"/>
                    </a:lnTo>
                    <a:lnTo>
                      <a:pt x="161" y="139"/>
                    </a:lnTo>
                    <a:lnTo>
                      <a:pt x="155" y="140"/>
                    </a:lnTo>
                    <a:lnTo>
                      <a:pt x="151" y="138"/>
                    </a:lnTo>
                    <a:lnTo>
                      <a:pt x="151" y="137"/>
                    </a:lnTo>
                    <a:lnTo>
                      <a:pt x="148" y="138"/>
                    </a:lnTo>
                    <a:lnTo>
                      <a:pt x="149" y="137"/>
                    </a:lnTo>
                    <a:lnTo>
                      <a:pt x="154" y="135"/>
                    </a:lnTo>
                    <a:lnTo>
                      <a:pt x="153" y="133"/>
                    </a:lnTo>
                    <a:lnTo>
                      <a:pt x="154" y="132"/>
                    </a:lnTo>
                    <a:lnTo>
                      <a:pt x="156" y="131"/>
                    </a:lnTo>
                    <a:lnTo>
                      <a:pt x="160" y="131"/>
                    </a:lnTo>
                    <a:lnTo>
                      <a:pt x="160" y="129"/>
                    </a:lnTo>
                    <a:lnTo>
                      <a:pt x="157" y="129"/>
                    </a:lnTo>
                    <a:lnTo>
                      <a:pt x="163" y="126"/>
                    </a:lnTo>
                    <a:lnTo>
                      <a:pt x="165" y="124"/>
                    </a:lnTo>
                    <a:lnTo>
                      <a:pt x="166" y="118"/>
                    </a:lnTo>
                    <a:lnTo>
                      <a:pt x="166" y="116"/>
                    </a:lnTo>
                    <a:close/>
                    <a:moveTo>
                      <a:pt x="66" y="82"/>
                    </a:moveTo>
                    <a:lnTo>
                      <a:pt x="67" y="81"/>
                    </a:lnTo>
                    <a:lnTo>
                      <a:pt x="67" y="83"/>
                    </a:lnTo>
                    <a:lnTo>
                      <a:pt x="68" y="83"/>
                    </a:lnTo>
                    <a:lnTo>
                      <a:pt x="68" y="80"/>
                    </a:lnTo>
                    <a:lnTo>
                      <a:pt x="67" y="78"/>
                    </a:lnTo>
                    <a:lnTo>
                      <a:pt x="64" y="78"/>
                    </a:lnTo>
                    <a:lnTo>
                      <a:pt x="62" y="79"/>
                    </a:lnTo>
                    <a:lnTo>
                      <a:pt x="62" y="78"/>
                    </a:lnTo>
                    <a:lnTo>
                      <a:pt x="64" y="75"/>
                    </a:lnTo>
                    <a:lnTo>
                      <a:pt x="61" y="71"/>
                    </a:lnTo>
                    <a:lnTo>
                      <a:pt x="61" y="70"/>
                    </a:lnTo>
                    <a:lnTo>
                      <a:pt x="60" y="70"/>
                    </a:lnTo>
                    <a:lnTo>
                      <a:pt x="59" y="67"/>
                    </a:lnTo>
                    <a:lnTo>
                      <a:pt x="53" y="67"/>
                    </a:lnTo>
                    <a:lnTo>
                      <a:pt x="50" y="69"/>
                    </a:lnTo>
                    <a:lnTo>
                      <a:pt x="47" y="67"/>
                    </a:lnTo>
                    <a:lnTo>
                      <a:pt x="45" y="71"/>
                    </a:lnTo>
                    <a:lnTo>
                      <a:pt x="43" y="71"/>
                    </a:lnTo>
                    <a:lnTo>
                      <a:pt x="43" y="70"/>
                    </a:lnTo>
                    <a:lnTo>
                      <a:pt x="45" y="69"/>
                    </a:lnTo>
                    <a:lnTo>
                      <a:pt x="45" y="66"/>
                    </a:lnTo>
                    <a:lnTo>
                      <a:pt x="42" y="65"/>
                    </a:lnTo>
                    <a:lnTo>
                      <a:pt x="40" y="66"/>
                    </a:lnTo>
                    <a:lnTo>
                      <a:pt x="40" y="66"/>
                    </a:lnTo>
                    <a:lnTo>
                      <a:pt x="41" y="69"/>
                    </a:lnTo>
                    <a:lnTo>
                      <a:pt x="38" y="71"/>
                    </a:lnTo>
                    <a:lnTo>
                      <a:pt x="38" y="71"/>
                    </a:lnTo>
                    <a:lnTo>
                      <a:pt x="37" y="69"/>
                    </a:lnTo>
                    <a:lnTo>
                      <a:pt x="35" y="69"/>
                    </a:lnTo>
                    <a:lnTo>
                      <a:pt x="29" y="69"/>
                    </a:lnTo>
                    <a:lnTo>
                      <a:pt x="27" y="71"/>
                    </a:lnTo>
                    <a:lnTo>
                      <a:pt x="28" y="74"/>
                    </a:lnTo>
                    <a:lnTo>
                      <a:pt x="26" y="75"/>
                    </a:lnTo>
                    <a:lnTo>
                      <a:pt x="24" y="79"/>
                    </a:lnTo>
                    <a:lnTo>
                      <a:pt x="32" y="79"/>
                    </a:lnTo>
                    <a:lnTo>
                      <a:pt x="30" y="81"/>
                    </a:lnTo>
                    <a:lnTo>
                      <a:pt x="29" y="81"/>
                    </a:lnTo>
                    <a:lnTo>
                      <a:pt x="28" y="81"/>
                    </a:lnTo>
                    <a:lnTo>
                      <a:pt x="24" y="83"/>
                    </a:lnTo>
                    <a:lnTo>
                      <a:pt x="26" y="87"/>
                    </a:lnTo>
                    <a:lnTo>
                      <a:pt x="20" y="84"/>
                    </a:lnTo>
                    <a:lnTo>
                      <a:pt x="18" y="88"/>
                    </a:lnTo>
                    <a:lnTo>
                      <a:pt x="17" y="87"/>
                    </a:lnTo>
                    <a:lnTo>
                      <a:pt x="15" y="84"/>
                    </a:lnTo>
                    <a:lnTo>
                      <a:pt x="11" y="84"/>
                    </a:lnTo>
                    <a:lnTo>
                      <a:pt x="9" y="86"/>
                    </a:lnTo>
                    <a:lnTo>
                      <a:pt x="6" y="84"/>
                    </a:lnTo>
                    <a:lnTo>
                      <a:pt x="6" y="87"/>
                    </a:lnTo>
                    <a:lnTo>
                      <a:pt x="7" y="87"/>
                    </a:lnTo>
                    <a:lnTo>
                      <a:pt x="7" y="89"/>
                    </a:lnTo>
                    <a:lnTo>
                      <a:pt x="7" y="92"/>
                    </a:lnTo>
                    <a:lnTo>
                      <a:pt x="9" y="92"/>
                    </a:lnTo>
                    <a:lnTo>
                      <a:pt x="11" y="95"/>
                    </a:lnTo>
                    <a:lnTo>
                      <a:pt x="9" y="95"/>
                    </a:lnTo>
                    <a:lnTo>
                      <a:pt x="7" y="97"/>
                    </a:lnTo>
                    <a:lnTo>
                      <a:pt x="10" y="98"/>
                    </a:lnTo>
                    <a:lnTo>
                      <a:pt x="6" y="98"/>
                    </a:lnTo>
                    <a:lnTo>
                      <a:pt x="6" y="99"/>
                    </a:lnTo>
                    <a:lnTo>
                      <a:pt x="3" y="99"/>
                    </a:lnTo>
                    <a:lnTo>
                      <a:pt x="6" y="101"/>
                    </a:lnTo>
                    <a:lnTo>
                      <a:pt x="9" y="104"/>
                    </a:lnTo>
                    <a:lnTo>
                      <a:pt x="11" y="101"/>
                    </a:lnTo>
                    <a:lnTo>
                      <a:pt x="13" y="105"/>
                    </a:lnTo>
                    <a:lnTo>
                      <a:pt x="18" y="104"/>
                    </a:lnTo>
                    <a:lnTo>
                      <a:pt x="19" y="106"/>
                    </a:lnTo>
                    <a:lnTo>
                      <a:pt x="18" y="107"/>
                    </a:lnTo>
                    <a:lnTo>
                      <a:pt x="16" y="106"/>
                    </a:lnTo>
                    <a:lnTo>
                      <a:pt x="13" y="109"/>
                    </a:lnTo>
                    <a:lnTo>
                      <a:pt x="13" y="112"/>
                    </a:lnTo>
                    <a:lnTo>
                      <a:pt x="8" y="117"/>
                    </a:lnTo>
                    <a:lnTo>
                      <a:pt x="12" y="116"/>
                    </a:lnTo>
                    <a:lnTo>
                      <a:pt x="18" y="116"/>
                    </a:lnTo>
                    <a:lnTo>
                      <a:pt x="20" y="113"/>
                    </a:lnTo>
                    <a:lnTo>
                      <a:pt x="20" y="115"/>
                    </a:lnTo>
                    <a:lnTo>
                      <a:pt x="23" y="115"/>
                    </a:lnTo>
                    <a:lnTo>
                      <a:pt x="20" y="115"/>
                    </a:lnTo>
                    <a:lnTo>
                      <a:pt x="13" y="117"/>
                    </a:lnTo>
                    <a:lnTo>
                      <a:pt x="8" y="121"/>
                    </a:lnTo>
                    <a:lnTo>
                      <a:pt x="9" y="123"/>
                    </a:lnTo>
                    <a:lnTo>
                      <a:pt x="2" y="123"/>
                    </a:lnTo>
                    <a:lnTo>
                      <a:pt x="0" y="125"/>
                    </a:lnTo>
                    <a:lnTo>
                      <a:pt x="6" y="125"/>
                    </a:lnTo>
                    <a:lnTo>
                      <a:pt x="9" y="125"/>
                    </a:lnTo>
                    <a:lnTo>
                      <a:pt x="6" y="126"/>
                    </a:lnTo>
                    <a:lnTo>
                      <a:pt x="2" y="128"/>
                    </a:lnTo>
                    <a:lnTo>
                      <a:pt x="0" y="130"/>
                    </a:lnTo>
                    <a:lnTo>
                      <a:pt x="3" y="131"/>
                    </a:lnTo>
                    <a:lnTo>
                      <a:pt x="6" y="131"/>
                    </a:lnTo>
                    <a:lnTo>
                      <a:pt x="10" y="131"/>
                    </a:lnTo>
                    <a:lnTo>
                      <a:pt x="6" y="133"/>
                    </a:lnTo>
                    <a:lnTo>
                      <a:pt x="6" y="134"/>
                    </a:lnTo>
                    <a:lnTo>
                      <a:pt x="8" y="133"/>
                    </a:lnTo>
                    <a:lnTo>
                      <a:pt x="13" y="133"/>
                    </a:lnTo>
                    <a:lnTo>
                      <a:pt x="8" y="135"/>
                    </a:lnTo>
                    <a:lnTo>
                      <a:pt x="11" y="137"/>
                    </a:lnTo>
                    <a:lnTo>
                      <a:pt x="13" y="135"/>
                    </a:lnTo>
                    <a:lnTo>
                      <a:pt x="16" y="137"/>
                    </a:lnTo>
                    <a:lnTo>
                      <a:pt x="28" y="132"/>
                    </a:lnTo>
                    <a:lnTo>
                      <a:pt x="27" y="130"/>
                    </a:lnTo>
                    <a:lnTo>
                      <a:pt x="29" y="130"/>
                    </a:lnTo>
                    <a:lnTo>
                      <a:pt x="30" y="131"/>
                    </a:lnTo>
                    <a:lnTo>
                      <a:pt x="33" y="131"/>
                    </a:lnTo>
                    <a:lnTo>
                      <a:pt x="35" y="128"/>
                    </a:lnTo>
                    <a:lnTo>
                      <a:pt x="37" y="129"/>
                    </a:lnTo>
                    <a:lnTo>
                      <a:pt x="38" y="125"/>
                    </a:lnTo>
                    <a:lnTo>
                      <a:pt x="40" y="125"/>
                    </a:lnTo>
                    <a:lnTo>
                      <a:pt x="43" y="125"/>
                    </a:lnTo>
                    <a:lnTo>
                      <a:pt x="44" y="125"/>
                    </a:lnTo>
                    <a:lnTo>
                      <a:pt x="46" y="122"/>
                    </a:lnTo>
                    <a:lnTo>
                      <a:pt x="47" y="125"/>
                    </a:lnTo>
                    <a:lnTo>
                      <a:pt x="50" y="123"/>
                    </a:lnTo>
                    <a:lnTo>
                      <a:pt x="53" y="124"/>
                    </a:lnTo>
                    <a:lnTo>
                      <a:pt x="55" y="124"/>
                    </a:lnTo>
                    <a:lnTo>
                      <a:pt x="54" y="121"/>
                    </a:lnTo>
                    <a:lnTo>
                      <a:pt x="55" y="121"/>
                    </a:lnTo>
                    <a:lnTo>
                      <a:pt x="58" y="116"/>
                    </a:lnTo>
                    <a:lnTo>
                      <a:pt x="59" y="113"/>
                    </a:lnTo>
                    <a:lnTo>
                      <a:pt x="60" y="111"/>
                    </a:lnTo>
                    <a:lnTo>
                      <a:pt x="60" y="108"/>
                    </a:lnTo>
                    <a:lnTo>
                      <a:pt x="59" y="105"/>
                    </a:lnTo>
                    <a:lnTo>
                      <a:pt x="58" y="103"/>
                    </a:lnTo>
                    <a:lnTo>
                      <a:pt x="59" y="101"/>
                    </a:lnTo>
                    <a:lnTo>
                      <a:pt x="59" y="100"/>
                    </a:lnTo>
                    <a:lnTo>
                      <a:pt x="59" y="100"/>
                    </a:lnTo>
                    <a:lnTo>
                      <a:pt x="56" y="96"/>
                    </a:lnTo>
                    <a:lnTo>
                      <a:pt x="56" y="94"/>
                    </a:lnTo>
                    <a:lnTo>
                      <a:pt x="55" y="91"/>
                    </a:lnTo>
                    <a:lnTo>
                      <a:pt x="56" y="88"/>
                    </a:lnTo>
                    <a:lnTo>
                      <a:pt x="60" y="89"/>
                    </a:lnTo>
                    <a:lnTo>
                      <a:pt x="62" y="87"/>
                    </a:lnTo>
                    <a:lnTo>
                      <a:pt x="67" y="83"/>
                    </a:lnTo>
                    <a:lnTo>
                      <a:pt x="6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5" name="Freeform 91">
                <a:extLst>
                  <a:ext uri="{FF2B5EF4-FFF2-40B4-BE49-F238E27FC236}">
                    <a16:creationId xmlns:a16="http://schemas.microsoft.com/office/drawing/2014/main" id="{70597AA3-E3E8-4499-9972-B87FD97F8A05}"/>
                  </a:ext>
                </a:extLst>
              </p:cNvPr>
              <p:cNvSpPr>
                <a:spLocks/>
              </p:cNvSpPr>
              <p:nvPr/>
            </p:nvSpPr>
            <p:spPr bwMode="auto">
              <a:xfrm>
                <a:off x="3818" y="1954"/>
                <a:ext cx="15" cy="11"/>
              </a:xfrm>
              <a:custGeom>
                <a:avLst/>
                <a:gdLst>
                  <a:gd name="T0" fmla="*/ 4 w 15"/>
                  <a:gd name="T1" fmla="*/ 7 h 11"/>
                  <a:gd name="T2" fmla="*/ 9 w 15"/>
                  <a:gd name="T3" fmla="*/ 11 h 11"/>
                  <a:gd name="T4" fmla="*/ 12 w 15"/>
                  <a:gd name="T5" fmla="*/ 10 h 11"/>
                  <a:gd name="T6" fmla="*/ 14 w 15"/>
                  <a:gd name="T7" fmla="*/ 10 h 11"/>
                  <a:gd name="T8" fmla="*/ 15 w 15"/>
                  <a:gd name="T9" fmla="*/ 9 h 11"/>
                  <a:gd name="T10" fmla="*/ 15 w 15"/>
                  <a:gd name="T11" fmla="*/ 5 h 11"/>
                  <a:gd name="T12" fmla="*/ 12 w 15"/>
                  <a:gd name="T13" fmla="*/ 0 h 11"/>
                  <a:gd name="T14" fmla="*/ 12 w 15"/>
                  <a:gd name="T15" fmla="*/ 2 h 11"/>
                  <a:gd name="T16" fmla="*/ 9 w 15"/>
                  <a:gd name="T17" fmla="*/ 3 h 11"/>
                  <a:gd name="T18" fmla="*/ 9 w 15"/>
                  <a:gd name="T19" fmla="*/ 1 h 11"/>
                  <a:gd name="T20" fmla="*/ 6 w 15"/>
                  <a:gd name="T21" fmla="*/ 0 h 11"/>
                  <a:gd name="T22" fmla="*/ 3 w 15"/>
                  <a:gd name="T23" fmla="*/ 2 h 11"/>
                  <a:gd name="T24" fmla="*/ 0 w 15"/>
                  <a:gd name="T25" fmla="*/ 2 h 11"/>
                  <a:gd name="T26" fmla="*/ 4 w 15"/>
                  <a:gd name="T27" fmla="*/ 9 h 11"/>
                  <a:gd name="T28" fmla="*/ 4 w 15"/>
                  <a:gd name="T29" fmla="*/ 7 h 11"/>
                  <a:gd name="T30" fmla="*/ 4 w 15"/>
                  <a:gd name="T3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1">
                    <a:moveTo>
                      <a:pt x="4" y="7"/>
                    </a:moveTo>
                    <a:lnTo>
                      <a:pt x="9" y="11"/>
                    </a:lnTo>
                    <a:lnTo>
                      <a:pt x="12" y="10"/>
                    </a:lnTo>
                    <a:lnTo>
                      <a:pt x="14" y="10"/>
                    </a:lnTo>
                    <a:lnTo>
                      <a:pt x="15" y="9"/>
                    </a:lnTo>
                    <a:lnTo>
                      <a:pt x="15" y="5"/>
                    </a:lnTo>
                    <a:lnTo>
                      <a:pt x="12" y="0"/>
                    </a:lnTo>
                    <a:lnTo>
                      <a:pt x="12" y="2"/>
                    </a:lnTo>
                    <a:lnTo>
                      <a:pt x="9" y="3"/>
                    </a:lnTo>
                    <a:lnTo>
                      <a:pt x="9" y="1"/>
                    </a:lnTo>
                    <a:lnTo>
                      <a:pt x="6" y="0"/>
                    </a:lnTo>
                    <a:lnTo>
                      <a:pt x="3" y="2"/>
                    </a:lnTo>
                    <a:lnTo>
                      <a:pt x="0" y="2"/>
                    </a:lnTo>
                    <a:lnTo>
                      <a:pt x="4" y="9"/>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6" name="Freeform 92">
                <a:extLst>
                  <a:ext uri="{FF2B5EF4-FFF2-40B4-BE49-F238E27FC236}">
                    <a16:creationId xmlns:a16="http://schemas.microsoft.com/office/drawing/2014/main" id="{EA3EE0C3-36EC-46C4-BF50-A8B2149E9F9B}"/>
                  </a:ext>
                </a:extLst>
              </p:cNvPr>
              <p:cNvSpPr>
                <a:spLocks/>
              </p:cNvSpPr>
              <p:nvPr/>
            </p:nvSpPr>
            <p:spPr bwMode="auto">
              <a:xfrm>
                <a:off x="3834" y="1945"/>
                <a:ext cx="24" cy="28"/>
              </a:xfrm>
              <a:custGeom>
                <a:avLst/>
                <a:gdLst>
                  <a:gd name="T0" fmla="*/ 13 w 24"/>
                  <a:gd name="T1" fmla="*/ 24 h 28"/>
                  <a:gd name="T2" fmla="*/ 11 w 24"/>
                  <a:gd name="T3" fmla="*/ 23 h 28"/>
                  <a:gd name="T4" fmla="*/ 7 w 24"/>
                  <a:gd name="T5" fmla="*/ 23 h 28"/>
                  <a:gd name="T6" fmla="*/ 5 w 24"/>
                  <a:gd name="T7" fmla="*/ 21 h 28"/>
                  <a:gd name="T8" fmla="*/ 2 w 24"/>
                  <a:gd name="T9" fmla="*/ 22 h 28"/>
                  <a:gd name="T10" fmla="*/ 1 w 24"/>
                  <a:gd name="T11" fmla="*/ 24 h 28"/>
                  <a:gd name="T12" fmla="*/ 8 w 24"/>
                  <a:gd name="T13" fmla="*/ 28 h 28"/>
                  <a:gd name="T14" fmla="*/ 10 w 24"/>
                  <a:gd name="T15" fmla="*/ 27 h 28"/>
                  <a:gd name="T16" fmla="*/ 13 w 24"/>
                  <a:gd name="T17" fmla="*/ 24 h 28"/>
                  <a:gd name="T18" fmla="*/ 14 w 24"/>
                  <a:gd name="T19" fmla="*/ 26 h 28"/>
                  <a:gd name="T20" fmla="*/ 14 w 24"/>
                  <a:gd name="T21" fmla="*/ 28 h 28"/>
                  <a:gd name="T22" fmla="*/ 15 w 24"/>
                  <a:gd name="T23" fmla="*/ 28 h 28"/>
                  <a:gd name="T24" fmla="*/ 16 w 24"/>
                  <a:gd name="T25" fmla="*/ 22 h 28"/>
                  <a:gd name="T26" fmla="*/ 14 w 24"/>
                  <a:gd name="T27" fmla="*/ 20 h 28"/>
                  <a:gd name="T28" fmla="*/ 17 w 24"/>
                  <a:gd name="T29" fmla="*/ 21 h 28"/>
                  <a:gd name="T30" fmla="*/ 16 w 24"/>
                  <a:gd name="T31" fmla="*/ 18 h 28"/>
                  <a:gd name="T32" fmla="*/ 18 w 24"/>
                  <a:gd name="T33" fmla="*/ 15 h 28"/>
                  <a:gd name="T34" fmla="*/ 20 w 24"/>
                  <a:gd name="T35" fmla="*/ 15 h 28"/>
                  <a:gd name="T36" fmla="*/ 18 w 24"/>
                  <a:gd name="T37" fmla="*/ 10 h 28"/>
                  <a:gd name="T38" fmla="*/ 22 w 24"/>
                  <a:gd name="T39" fmla="*/ 9 h 28"/>
                  <a:gd name="T40" fmla="*/ 23 w 24"/>
                  <a:gd name="T41" fmla="*/ 6 h 28"/>
                  <a:gd name="T42" fmla="*/ 23 w 24"/>
                  <a:gd name="T43" fmla="*/ 2 h 28"/>
                  <a:gd name="T44" fmla="*/ 24 w 24"/>
                  <a:gd name="T45" fmla="*/ 1 h 28"/>
                  <a:gd name="T46" fmla="*/ 20 w 24"/>
                  <a:gd name="T47" fmla="*/ 0 h 28"/>
                  <a:gd name="T48" fmla="*/ 18 w 24"/>
                  <a:gd name="T49" fmla="*/ 0 h 28"/>
                  <a:gd name="T50" fmla="*/ 15 w 24"/>
                  <a:gd name="T51" fmla="*/ 1 h 28"/>
                  <a:gd name="T52" fmla="*/ 16 w 24"/>
                  <a:gd name="T53" fmla="*/ 5 h 28"/>
                  <a:gd name="T54" fmla="*/ 15 w 24"/>
                  <a:gd name="T55" fmla="*/ 6 h 28"/>
                  <a:gd name="T56" fmla="*/ 15 w 24"/>
                  <a:gd name="T57" fmla="*/ 4 h 28"/>
                  <a:gd name="T58" fmla="*/ 11 w 24"/>
                  <a:gd name="T59" fmla="*/ 7 h 28"/>
                  <a:gd name="T60" fmla="*/ 10 w 24"/>
                  <a:gd name="T61" fmla="*/ 5 h 28"/>
                  <a:gd name="T62" fmla="*/ 11 w 24"/>
                  <a:gd name="T63" fmla="*/ 2 h 28"/>
                  <a:gd name="T64" fmla="*/ 6 w 24"/>
                  <a:gd name="T65" fmla="*/ 2 h 28"/>
                  <a:gd name="T66" fmla="*/ 8 w 24"/>
                  <a:gd name="T67" fmla="*/ 4 h 28"/>
                  <a:gd name="T68" fmla="*/ 6 w 24"/>
                  <a:gd name="T69" fmla="*/ 6 h 28"/>
                  <a:gd name="T70" fmla="*/ 0 w 24"/>
                  <a:gd name="T71" fmla="*/ 6 h 28"/>
                  <a:gd name="T72" fmla="*/ 2 w 24"/>
                  <a:gd name="T73" fmla="*/ 9 h 28"/>
                  <a:gd name="T74" fmla="*/ 4 w 24"/>
                  <a:gd name="T75" fmla="*/ 11 h 28"/>
                  <a:gd name="T76" fmla="*/ 2 w 24"/>
                  <a:gd name="T77" fmla="*/ 14 h 28"/>
                  <a:gd name="T78" fmla="*/ 4 w 24"/>
                  <a:gd name="T79" fmla="*/ 14 h 28"/>
                  <a:gd name="T80" fmla="*/ 6 w 24"/>
                  <a:gd name="T81" fmla="*/ 16 h 28"/>
                  <a:gd name="T82" fmla="*/ 11 w 24"/>
                  <a:gd name="T83" fmla="*/ 16 h 28"/>
                  <a:gd name="T84" fmla="*/ 10 w 24"/>
                  <a:gd name="T85" fmla="*/ 19 h 28"/>
                  <a:gd name="T86" fmla="*/ 14 w 24"/>
                  <a:gd name="T87" fmla="*/ 20 h 28"/>
                  <a:gd name="T88" fmla="*/ 11 w 24"/>
                  <a:gd name="T89" fmla="*/ 23 h 28"/>
                  <a:gd name="T90" fmla="*/ 13 w 24"/>
                  <a:gd name="T91" fmla="*/ 24 h 28"/>
                  <a:gd name="T92" fmla="*/ 13 w 24"/>
                  <a:gd name="T9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28">
                    <a:moveTo>
                      <a:pt x="13" y="24"/>
                    </a:moveTo>
                    <a:lnTo>
                      <a:pt x="11" y="23"/>
                    </a:lnTo>
                    <a:lnTo>
                      <a:pt x="7" y="23"/>
                    </a:lnTo>
                    <a:lnTo>
                      <a:pt x="5" y="21"/>
                    </a:lnTo>
                    <a:lnTo>
                      <a:pt x="2" y="22"/>
                    </a:lnTo>
                    <a:lnTo>
                      <a:pt x="1" y="24"/>
                    </a:lnTo>
                    <a:lnTo>
                      <a:pt x="8" y="28"/>
                    </a:lnTo>
                    <a:lnTo>
                      <a:pt x="10" y="27"/>
                    </a:lnTo>
                    <a:lnTo>
                      <a:pt x="13" y="24"/>
                    </a:lnTo>
                    <a:lnTo>
                      <a:pt x="14" y="26"/>
                    </a:lnTo>
                    <a:lnTo>
                      <a:pt x="14" y="28"/>
                    </a:lnTo>
                    <a:lnTo>
                      <a:pt x="15" y="28"/>
                    </a:lnTo>
                    <a:lnTo>
                      <a:pt x="16" y="22"/>
                    </a:lnTo>
                    <a:lnTo>
                      <a:pt x="14" y="20"/>
                    </a:lnTo>
                    <a:lnTo>
                      <a:pt x="17" y="21"/>
                    </a:lnTo>
                    <a:lnTo>
                      <a:pt x="16" y="18"/>
                    </a:lnTo>
                    <a:lnTo>
                      <a:pt x="18" y="15"/>
                    </a:lnTo>
                    <a:lnTo>
                      <a:pt x="20" y="15"/>
                    </a:lnTo>
                    <a:lnTo>
                      <a:pt x="18" y="10"/>
                    </a:lnTo>
                    <a:lnTo>
                      <a:pt x="22" y="9"/>
                    </a:lnTo>
                    <a:lnTo>
                      <a:pt x="23" y="6"/>
                    </a:lnTo>
                    <a:lnTo>
                      <a:pt x="23" y="2"/>
                    </a:lnTo>
                    <a:lnTo>
                      <a:pt x="24" y="1"/>
                    </a:lnTo>
                    <a:lnTo>
                      <a:pt x="20" y="0"/>
                    </a:lnTo>
                    <a:lnTo>
                      <a:pt x="18" y="0"/>
                    </a:lnTo>
                    <a:lnTo>
                      <a:pt x="15" y="1"/>
                    </a:lnTo>
                    <a:lnTo>
                      <a:pt x="16" y="5"/>
                    </a:lnTo>
                    <a:lnTo>
                      <a:pt x="15" y="6"/>
                    </a:lnTo>
                    <a:lnTo>
                      <a:pt x="15" y="4"/>
                    </a:lnTo>
                    <a:lnTo>
                      <a:pt x="11" y="7"/>
                    </a:lnTo>
                    <a:lnTo>
                      <a:pt x="10" y="5"/>
                    </a:lnTo>
                    <a:lnTo>
                      <a:pt x="11" y="2"/>
                    </a:lnTo>
                    <a:lnTo>
                      <a:pt x="6" y="2"/>
                    </a:lnTo>
                    <a:lnTo>
                      <a:pt x="8" y="4"/>
                    </a:lnTo>
                    <a:lnTo>
                      <a:pt x="6" y="6"/>
                    </a:lnTo>
                    <a:lnTo>
                      <a:pt x="0" y="6"/>
                    </a:lnTo>
                    <a:lnTo>
                      <a:pt x="2" y="9"/>
                    </a:lnTo>
                    <a:lnTo>
                      <a:pt x="4" y="11"/>
                    </a:lnTo>
                    <a:lnTo>
                      <a:pt x="2" y="14"/>
                    </a:lnTo>
                    <a:lnTo>
                      <a:pt x="4" y="14"/>
                    </a:lnTo>
                    <a:lnTo>
                      <a:pt x="6" y="16"/>
                    </a:lnTo>
                    <a:lnTo>
                      <a:pt x="11" y="16"/>
                    </a:lnTo>
                    <a:lnTo>
                      <a:pt x="10" y="19"/>
                    </a:lnTo>
                    <a:lnTo>
                      <a:pt x="14" y="20"/>
                    </a:lnTo>
                    <a:lnTo>
                      <a:pt x="11" y="23"/>
                    </a:lnTo>
                    <a:lnTo>
                      <a:pt x="13" y="24"/>
                    </a:lnTo>
                    <a:lnTo>
                      <a:pt x="1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7" name="Freeform 93">
                <a:extLst>
                  <a:ext uri="{FF2B5EF4-FFF2-40B4-BE49-F238E27FC236}">
                    <a16:creationId xmlns:a16="http://schemas.microsoft.com/office/drawing/2014/main" id="{177F0E4E-8EAB-4859-A1E8-6535D6FBFD76}"/>
                  </a:ext>
                </a:extLst>
              </p:cNvPr>
              <p:cNvSpPr>
                <a:spLocks/>
              </p:cNvSpPr>
              <p:nvPr/>
            </p:nvSpPr>
            <p:spPr bwMode="auto">
              <a:xfrm>
                <a:off x="3933" y="1908"/>
                <a:ext cx="12" cy="21"/>
              </a:xfrm>
              <a:custGeom>
                <a:avLst/>
                <a:gdLst>
                  <a:gd name="T0" fmla="*/ 3 w 12"/>
                  <a:gd name="T1" fmla="*/ 18 h 21"/>
                  <a:gd name="T2" fmla="*/ 3 w 12"/>
                  <a:gd name="T3" fmla="*/ 17 h 21"/>
                  <a:gd name="T4" fmla="*/ 6 w 12"/>
                  <a:gd name="T5" fmla="*/ 15 h 21"/>
                  <a:gd name="T6" fmla="*/ 8 w 12"/>
                  <a:gd name="T7" fmla="*/ 13 h 21"/>
                  <a:gd name="T8" fmla="*/ 9 w 12"/>
                  <a:gd name="T9" fmla="*/ 9 h 21"/>
                  <a:gd name="T10" fmla="*/ 9 w 12"/>
                  <a:gd name="T11" fmla="*/ 5 h 21"/>
                  <a:gd name="T12" fmla="*/ 12 w 12"/>
                  <a:gd name="T13" fmla="*/ 4 h 21"/>
                  <a:gd name="T14" fmla="*/ 12 w 12"/>
                  <a:gd name="T15" fmla="*/ 0 h 21"/>
                  <a:gd name="T16" fmla="*/ 9 w 12"/>
                  <a:gd name="T17" fmla="*/ 3 h 21"/>
                  <a:gd name="T18" fmla="*/ 6 w 12"/>
                  <a:gd name="T19" fmla="*/ 3 h 21"/>
                  <a:gd name="T20" fmla="*/ 4 w 12"/>
                  <a:gd name="T21" fmla="*/ 4 h 21"/>
                  <a:gd name="T22" fmla="*/ 1 w 12"/>
                  <a:gd name="T23" fmla="*/ 7 h 21"/>
                  <a:gd name="T24" fmla="*/ 0 w 12"/>
                  <a:gd name="T25" fmla="*/ 9 h 21"/>
                  <a:gd name="T26" fmla="*/ 1 w 12"/>
                  <a:gd name="T27" fmla="*/ 13 h 21"/>
                  <a:gd name="T28" fmla="*/ 1 w 12"/>
                  <a:gd name="T29" fmla="*/ 15 h 21"/>
                  <a:gd name="T30" fmla="*/ 2 w 12"/>
                  <a:gd name="T31" fmla="*/ 17 h 21"/>
                  <a:gd name="T32" fmla="*/ 1 w 12"/>
                  <a:gd name="T33" fmla="*/ 21 h 21"/>
                  <a:gd name="T34" fmla="*/ 3 w 12"/>
                  <a:gd name="T35" fmla="*/ 18 h 21"/>
                  <a:gd name="T36" fmla="*/ 3 w 12"/>
                  <a:gd name="T3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1">
                    <a:moveTo>
                      <a:pt x="3" y="18"/>
                    </a:moveTo>
                    <a:lnTo>
                      <a:pt x="3" y="17"/>
                    </a:lnTo>
                    <a:lnTo>
                      <a:pt x="6" y="15"/>
                    </a:lnTo>
                    <a:lnTo>
                      <a:pt x="8" y="13"/>
                    </a:lnTo>
                    <a:lnTo>
                      <a:pt x="9" y="9"/>
                    </a:lnTo>
                    <a:lnTo>
                      <a:pt x="9" y="5"/>
                    </a:lnTo>
                    <a:lnTo>
                      <a:pt x="12" y="4"/>
                    </a:lnTo>
                    <a:lnTo>
                      <a:pt x="12" y="0"/>
                    </a:lnTo>
                    <a:lnTo>
                      <a:pt x="9" y="3"/>
                    </a:lnTo>
                    <a:lnTo>
                      <a:pt x="6" y="3"/>
                    </a:lnTo>
                    <a:lnTo>
                      <a:pt x="4" y="4"/>
                    </a:lnTo>
                    <a:lnTo>
                      <a:pt x="1" y="7"/>
                    </a:lnTo>
                    <a:lnTo>
                      <a:pt x="0" y="9"/>
                    </a:lnTo>
                    <a:lnTo>
                      <a:pt x="1" y="13"/>
                    </a:lnTo>
                    <a:lnTo>
                      <a:pt x="1" y="15"/>
                    </a:lnTo>
                    <a:lnTo>
                      <a:pt x="2" y="17"/>
                    </a:lnTo>
                    <a:lnTo>
                      <a:pt x="1" y="21"/>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8" name="Freeform 94">
                <a:extLst>
                  <a:ext uri="{FF2B5EF4-FFF2-40B4-BE49-F238E27FC236}">
                    <a16:creationId xmlns:a16="http://schemas.microsoft.com/office/drawing/2014/main" id="{2198F8DE-799A-48A3-A081-BA0F82D08EDA}"/>
                  </a:ext>
                </a:extLst>
              </p:cNvPr>
              <p:cNvSpPr>
                <a:spLocks/>
              </p:cNvSpPr>
              <p:nvPr/>
            </p:nvSpPr>
            <p:spPr bwMode="auto">
              <a:xfrm>
                <a:off x="3985" y="1895"/>
                <a:ext cx="18" cy="14"/>
              </a:xfrm>
              <a:custGeom>
                <a:avLst/>
                <a:gdLst>
                  <a:gd name="T0" fmla="*/ 1 w 18"/>
                  <a:gd name="T1" fmla="*/ 14 h 14"/>
                  <a:gd name="T2" fmla="*/ 4 w 18"/>
                  <a:gd name="T3" fmla="*/ 11 h 14"/>
                  <a:gd name="T4" fmla="*/ 4 w 18"/>
                  <a:gd name="T5" fmla="*/ 9 h 14"/>
                  <a:gd name="T6" fmla="*/ 8 w 18"/>
                  <a:gd name="T7" fmla="*/ 8 h 14"/>
                  <a:gd name="T8" fmla="*/ 10 w 18"/>
                  <a:gd name="T9" fmla="*/ 8 h 14"/>
                  <a:gd name="T10" fmla="*/ 16 w 18"/>
                  <a:gd name="T11" fmla="*/ 4 h 14"/>
                  <a:gd name="T12" fmla="*/ 18 w 18"/>
                  <a:gd name="T13" fmla="*/ 3 h 14"/>
                  <a:gd name="T14" fmla="*/ 17 w 18"/>
                  <a:gd name="T15" fmla="*/ 1 h 14"/>
                  <a:gd name="T16" fmla="*/ 13 w 18"/>
                  <a:gd name="T17" fmla="*/ 0 h 14"/>
                  <a:gd name="T18" fmla="*/ 11 w 18"/>
                  <a:gd name="T19" fmla="*/ 1 h 14"/>
                  <a:gd name="T20" fmla="*/ 8 w 18"/>
                  <a:gd name="T21" fmla="*/ 0 h 14"/>
                  <a:gd name="T22" fmla="*/ 5 w 18"/>
                  <a:gd name="T23" fmla="*/ 1 h 14"/>
                  <a:gd name="T24" fmla="*/ 3 w 18"/>
                  <a:gd name="T25" fmla="*/ 2 h 14"/>
                  <a:gd name="T26" fmla="*/ 0 w 18"/>
                  <a:gd name="T27" fmla="*/ 2 h 14"/>
                  <a:gd name="T28" fmla="*/ 1 w 18"/>
                  <a:gd name="T29" fmla="*/ 4 h 14"/>
                  <a:gd name="T30" fmla="*/ 0 w 18"/>
                  <a:gd name="T31" fmla="*/ 8 h 14"/>
                  <a:gd name="T32" fmla="*/ 2 w 18"/>
                  <a:gd name="T33" fmla="*/ 9 h 14"/>
                  <a:gd name="T34" fmla="*/ 1 w 18"/>
                  <a:gd name="T35" fmla="*/ 14 h 14"/>
                  <a:gd name="T36" fmla="*/ 1 w 18"/>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4">
                    <a:moveTo>
                      <a:pt x="1" y="14"/>
                    </a:moveTo>
                    <a:lnTo>
                      <a:pt x="4" y="11"/>
                    </a:lnTo>
                    <a:lnTo>
                      <a:pt x="4" y="9"/>
                    </a:lnTo>
                    <a:lnTo>
                      <a:pt x="8" y="8"/>
                    </a:lnTo>
                    <a:lnTo>
                      <a:pt x="10" y="8"/>
                    </a:lnTo>
                    <a:lnTo>
                      <a:pt x="16" y="4"/>
                    </a:lnTo>
                    <a:lnTo>
                      <a:pt x="18" y="3"/>
                    </a:lnTo>
                    <a:lnTo>
                      <a:pt x="17" y="1"/>
                    </a:lnTo>
                    <a:lnTo>
                      <a:pt x="13" y="0"/>
                    </a:lnTo>
                    <a:lnTo>
                      <a:pt x="11" y="1"/>
                    </a:lnTo>
                    <a:lnTo>
                      <a:pt x="8" y="0"/>
                    </a:lnTo>
                    <a:lnTo>
                      <a:pt x="5" y="1"/>
                    </a:lnTo>
                    <a:lnTo>
                      <a:pt x="3" y="2"/>
                    </a:lnTo>
                    <a:lnTo>
                      <a:pt x="0" y="2"/>
                    </a:lnTo>
                    <a:lnTo>
                      <a:pt x="1" y="4"/>
                    </a:lnTo>
                    <a:lnTo>
                      <a:pt x="0" y="8"/>
                    </a:lnTo>
                    <a:lnTo>
                      <a:pt x="2" y="9"/>
                    </a:lnTo>
                    <a:lnTo>
                      <a:pt x="1" y="14"/>
                    </a:ln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9" name="Freeform 95">
                <a:extLst>
                  <a:ext uri="{FF2B5EF4-FFF2-40B4-BE49-F238E27FC236}">
                    <a16:creationId xmlns:a16="http://schemas.microsoft.com/office/drawing/2014/main" id="{6BA6FA1D-8393-45DF-8AF6-7133BA5CBE23}"/>
                  </a:ext>
                </a:extLst>
              </p:cNvPr>
              <p:cNvSpPr>
                <a:spLocks/>
              </p:cNvSpPr>
              <p:nvPr/>
            </p:nvSpPr>
            <p:spPr bwMode="auto">
              <a:xfrm>
                <a:off x="3987" y="1886"/>
                <a:ext cx="12" cy="8"/>
              </a:xfrm>
              <a:custGeom>
                <a:avLst/>
                <a:gdLst>
                  <a:gd name="T0" fmla="*/ 8 w 12"/>
                  <a:gd name="T1" fmla="*/ 0 h 8"/>
                  <a:gd name="T2" fmla="*/ 6 w 12"/>
                  <a:gd name="T3" fmla="*/ 2 h 8"/>
                  <a:gd name="T4" fmla="*/ 0 w 12"/>
                  <a:gd name="T5" fmla="*/ 3 h 8"/>
                  <a:gd name="T6" fmla="*/ 6 w 12"/>
                  <a:gd name="T7" fmla="*/ 4 h 8"/>
                  <a:gd name="T8" fmla="*/ 7 w 12"/>
                  <a:gd name="T9" fmla="*/ 8 h 8"/>
                  <a:gd name="T10" fmla="*/ 12 w 12"/>
                  <a:gd name="T11" fmla="*/ 4 h 8"/>
                  <a:gd name="T12" fmla="*/ 10 w 12"/>
                  <a:gd name="T13" fmla="*/ 1 h 8"/>
                  <a:gd name="T14" fmla="*/ 8 w 12"/>
                  <a:gd name="T15" fmla="*/ 0 h 8"/>
                  <a:gd name="T16" fmla="*/ 8 w 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8" y="0"/>
                    </a:moveTo>
                    <a:lnTo>
                      <a:pt x="6" y="2"/>
                    </a:lnTo>
                    <a:lnTo>
                      <a:pt x="0" y="3"/>
                    </a:lnTo>
                    <a:lnTo>
                      <a:pt x="6" y="4"/>
                    </a:lnTo>
                    <a:lnTo>
                      <a:pt x="7" y="8"/>
                    </a:lnTo>
                    <a:lnTo>
                      <a:pt x="12" y="4"/>
                    </a:lnTo>
                    <a:lnTo>
                      <a:pt x="10"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0" name="Freeform 96">
                <a:extLst>
                  <a:ext uri="{FF2B5EF4-FFF2-40B4-BE49-F238E27FC236}">
                    <a16:creationId xmlns:a16="http://schemas.microsoft.com/office/drawing/2014/main" id="{06D9D89C-97A7-45E6-BDC7-DAC1DFE95032}"/>
                  </a:ext>
                </a:extLst>
              </p:cNvPr>
              <p:cNvSpPr>
                <a:spLocks noEditPoints="1"/>
              </p:cNvSpPr>
              <p:nvPr/>
            </p:nvSpPr>
            <p:spPr bwMode="auto">
              <a:xfrm>
                <a:off x="3831" y="1352"/>
                <a:ext cx="226" cy="119"/>
              </a:xfrm>
              <a:custGeom>
                <a:avLst/>
                <a:gdLst>
                  <a:gd name="T0" fmla="*/ 130 w 226"/>
                  <a:gd name="T1" fmla="*/ 47 h 119"/>
                  <a:gd name="T2" fmla="*/ 111 w 226"/>
                  <a:gd name="T3" fmla="*/ 39 h 119"/>
                  <a:gd name="T4" fmla="*/ 94 w 226"/>
                  <a:gd name="T5" fmla="*/ 35 h 119"/>
                  <a:gd name="T6" fmla="*/ 84 w 226"/>
                  <a:gd name="T7" fmla="*/ 21 h 119"/>
                  <a:gd name="T8" fmla="*/ 72 w 226"/>
                  <a:gd name="T9" fmla="*/ 19 h 119"/>
                  <a:gd name="T10" fmla="*/ 73 w 226"/>
                  <a:gd name="T11" fmla="*/ 42 h 119"/>
                  <a:gd name="T12" fmla="*/ 54 w 226"/>
                  <a:gd name="T13" fmla="*/ 23 h 119"/>
                  <a:gd name="T14" fmla="*/ 45 w 226"/>
                  <a:gd name="T15" fmla="*/ 35 h 119"/>
                  <a:gd name="T16" fmla="*/ 35 w 226"/>
                  <a:gd name="T17" fmla="*/ 26 h 119"/>
                  <a:gd name="T18" fmla="*/ 28 w 226"/>
                  <a:gd name="T19" fmla="*/ 23 h 119"/>
                  <a:gd name="T20" fmla="*/ 10 w 226"/>
                  <a:gd name="T21" fmla="*/ 23 h 119"/>
                  <a:gd name="T22" fmla="*/ 3 w 226"/>
                  <a:gd name="T23" fmla="*/ 33 h 119"/>
                  <a:gd name="T24" fmla="*/ 19 w 226"/>
                  <a:gd name="T25" fmla="*/ 41 h 119"/>
                  <a:gd name="T26" fmla="*/ 5 w 226"/>
                  <a:gd name="T27" fmla="*/ 48 h 119"/>
                  <a:gd name="T28" fmla="*/ 22 w 226"/>
                  <a:gd name="T29" fmla="*/ 61 h 119"/>
                  <a:gd name="T30" fmla="*/ 33 w 226"/>
                  <a:gd name="T31" fmla="*/ 70 h 119"/>
                  <a:gd name="T32" fmla="*/ 48 w 226"/>
                  <a:gd name="T33" fmla="*/ 63 h 119"/>
                  <a:gd name="T34" fmla="*/ 61 w 226"/>
                  <a:gd name="T35" fmla="*/ 52 h 119"/>
                  <a:gd name="T36" fmla="*/ 76 w 226"/>
                  <a:gd name="T37" fmla="*/ 60 h 119"/>
                  <a:gd name="T38" fmla="*/ 87 w 226"/>
                  <a:gd name="T39" fmla="*/ 65 h 119"/>
                  <a:gd name="T40" fmla="*/ 63 w 226"/>
                  <a:gd name="T41" fmla="*/ 70 h 119"/>
                  <a:gd name="T42" fmla="*/ 38 w 226"/>
                  <a:gd name="T43" fmla="*/ 80 h 119"/>
                  <a:gd name="T44" fmla="*/ 60 w 226"/>
                  <a:gd name="T45" fmla="*/ 83 h 119"/>
                  <a:gd name="T46" fmla="*/ 85 w 226"/>
                  <a:gd name="T47" fmla="*/ 80 h 119"/>
                  <a:gd name="T48" fmla="*/ 70 w 226"/>
                  <a:gd name="T49" fmla="*/ 90 h 119"/>
                  <a:gd name="T50" fmla="*/ 55 w 226"/>
                  <a:gd name="T51" fmla="*/ 91 h 119"/>
                  <a:gd name="T52" fmla="*/ 51 w 226"/>
                  <a:gd name="T53" fmla="*/ 101 h 119"/>
                  <a:gd name="T54" fmla="*/ 79 w 226"/>
                  <a:gd name="T55" fmla="*/ 107 h 119"/>
                  <a:gd name="T56" fmla="*/ 73 w 226"/>
                  <a:gd name="T57" fmla="*/ 113 h 119"/>
                  <a:gd name="T58" fmla="*/ 85 w 226"/>
                  <a:gd name="T59" fmla="*/ 112 h 119"/>
                  <a:gd name="T60" fmla="*/ 101 w 226"/>
                  <a:gd name="T61" fmla="*/ 92 h 119"/>
                  <a:gd name="T62" fmla="*/ 113 w 226"/>
                  <a:gd name="T63" fmla="*/ 69 h 119"/>
                  <a:gd name="T64" fmla="*/ 135 w 226"/>
                  <a:gd name="T65" fmla="*/ 58 h 119"/>
                  <a:gd name="T66" fmla="*/ 200 w 226"/>
                  <a:gd name="T67" fmla="*/ 9 h 119"/>
                  <a:gd name="T68" fmla="*/ 182 w 226"/>
                  <a:gd name="T69" fmla="*/ 7 h 119"/>
                  <a:gd name="T70" fmla="*/ 172 w 226"/>
                  <a:gd name="T71" fmla="*/ 3 h 119"/>
                  <a:gd name="T72" fmla="*/ 161 w 226"/>
                  <a:gd name="T73" fmla="*/ 15 h 119"/>
                  <a:gd name="T74" fmla="*/ 139 w 226"/>
                  <a:gd name="T75" fmla="*/ 9 h 119"/>
                  <a:gd name="T76" fmla="*/ 124 w 226"/>
                  <a:gd name="T77" fmla="*/ 7 h 119"/>
                  <a:gd name="T78" fmla="*/ 118 w 226"/>
                  <a:gd name="T79" fmla="*/ 14 h 119"/>
                  <a:gd name="T80" fmla="*/ 112 w 226"/>
                  <a:gd name="T81" fmla="*/ 15 h 119"/>
                  <a:gd name="T82" fmla="*/ 112 w 226"/>
                  <a:gd name="T83" fmla="*/ 24 h 119"/>
                  <a:gd name="T84" fmla="*/ 156 w 226"/>
                  <a:gd name="T85" fmla="*/ 23 h 119"/>
                  <a:gd name="T86" fmla="*/ 141 w 226"/>
                  <a:gd name="T87" fmla="*/ 29 h 119"/>
                  <a:gd name="T88" fmla="*/ 136 w 226"/>
                  <a:gd name="T89" fmla="*/ 33 h 119"/>
                  <a:gd name="T90" fmla="*/ 166 w 226"/>
                  <a:gd name="T91" fmla="*/ 40 h 119"/>
                  <a:gd name="T92" fmla="*/ 206 w 226"/>
                  <a:gd name="T93" fmla="*/ 34 h 119"/>
                  <a:gd name="T94" fmla="*/ 225 w 226"/>
                  <a:gd name="T95" fmla="*/ 16 h 119"/>
                  <a:gd name="T96" fmla="*/ 157 w 226"/>
                  <a:gd name="T97" fmla="*/ 64 h 119"/>
                  <a:gd name="T98" fmla="*/ 135 w 226"/>
                  <a:gd name="T99" fmla="*/ 65 h 119"/>
                  <a:gd name="T100" fmla="*/ 180 w 226"/>
                  <a:gd name="T101" fmla="*/ 81 h 119"/>
                  <a:gd name="T102" fmla="*/ 167 w 226"/>
                  <a:gd name="T103" fmla="*/ 69 h 119"/>
                  <a:gd name="T104" fmla="*/ 149 w 226"/>
                  <a:gd name="T105" fmla="*/ 81 h 119"/>
                  <a:gd name="T106" fmla="*/ 148 w 226"/>
                  <a:gd name="T107" fmla="*/ 92 h 119"/>
                  <a:gd name="T108" fmla="*/ 166 w 226"/>
                  <a:gd name="T109" fmla="*/ 98 h 119"/>
                  <a:gd name="T110" fmla="*/ 193 w 226"/>
                  <a:gd name="T111"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 h="119">
                    <a:moveTo>
                      <a:pt x="135" y="58"/>
                    </a:moveTo>
                    <a:lnTo>
                      <a:pt x="138" y="57"/>
                    </a:lnTo>
                    <a:lnTo>
                      <a:pt x="140" y="58"/>
                    </a:lnTo>
                    <a:lnTo>
                      <a:pt x="146" y="57"/>
                    </a:lnTo>
                    <a:lnTo>
                      <a:pt x="148" y="55"/>
                    </a:lnTo>
                    <a:lnTo>
                      <a:pt x="147" y="51"/>
                    </a:lnTo>
                    <a:lnTo>
                      <a:pt x="136" y="49"/>
                    </a:lnTo>
                    <a:lnTo>
                      <a:pt x="130" y="47"/>
                    </a:lnTo>
                    <a:lnTo>
                      <a:pt x="128" y="47"/>
                    </a:lnTo>
                    <a:lnTo>
                      <a:pt x="124" y="42"/>
                    </a:lnTo>
                    <a:lnTo>
                      <a:pt x="119" y="41"/>
                    </a:lnTo>
                    <a:lnTo>
                      <a:pt x="115" y="42"/>
                    </a:lnTo>
                    <a:lnTo>
                      <a:pt x="113" y="42"/>
                    </a:lnTo>
                    <a:lnTo>
                      <a:pt x="111" y="40"/>
                    </a:lnTo>
                    <a:lnTo>
                      <a:pt x="107" y="39"/>
                    </a:lnTo>
                    <a:lnTo>
                      <a:pt x="111" y="39"/>
                    </a:lnTo>
                    <a:lnTo>
                      <a:pt x="111" y="36"/>
                    </a:lnTo>
                    <a:lnTo>
                      <a:pt x="111" y="33"/>
                    </a:lnTo>
                    <a:lnTo>
                      <a:pt x="110" y="31"/>
                    </a:lnTo>
                    <a:lnTo>
                      <a:pt x="104" y="27"/>
                    </a:lnTo>
                    <a:lnTo>
                      <a:pt x="101" y="30"/>
                    </a:lnTo>
                    <a:lnTo>
                      <a:pt x="99" y="32"/>
                    </a:lnTo>
                    <a:lnTo>
                      <a:pt x="97" y="35"/>
                    </a:lnTo>
                    <a:lnTo>
                      <a:pt x="94" y="35"/>
                    </a:lnTo>
                    <a:lnTo>
                      <a:pt x="96" y="33"/>
                    </a:lnTo>
                    <a:lnTo>
                      <a:pt x="94" y="30"/>
                    </a:lnTo>
                    <a:lnTo>
                      <a:pt x="99" y="26"/>
                    </a:lnTo>
                    <a:lnTo>
                      <a:pt x="99" y="24"/>
                    </a:lnTo>
                    <a:lnTo>
                      <a:pt x="94" y="19"/>
                    </a:lnTo>
                    <a:lnTo>
                      <a:pt x="88" y="18"/>
                    </a:lnTo>
                    <a:lnTo>
                      <a:pt x="85" y="17"/>
                    </a:lnTo>
                    <a:lnTo>
                      <a:pt x="84" y="21"/>
                    </a:lnTo>
                    <a:lnTo>
                      <a:pt x="81" y="19"/>
                    </a:lnTo>
                    <a:lnTo>
                      <a:pt x="80" y="16"/>
                    </a:lnTo>
                    <a:lnTo>
                      <a:pt x="78" y="15"/>
                    </a:lnTo>
                    <a:lnTo>
                      <a:pt x="76" y="15"/>
                    </a:lnTo>
                    <a:lnTo>
                      <a:pt x="74" y="17"/>
                    </a:lnTo>
                    <a:lnTo>
                      <a:pt x="74" y="17"/>
                    </a:lnTo>
                    <a:lnTo>
                      <a:pt x="76" y="21"/>
                    </a:lnTo>
                    <a:lnTo>
                      <a:pt x="72" y="19"/>
                    </a:lnTo>
                    <a:lnTo>
                      <a:pt x="70" y="22"/>
                    </a:lnTo>
                    <a:lnTo>
                      <a:pt x="73" y="31"/>
                    </a:lnTo>
                    <a:lnTo>
                      <a:pt x="74" y="36"/>
                    </a:lnTo>
                    <a:lnTo>
                      <a:pt x="80" y="47"/>
                    </a:lnTo>
                    <a:lnTo>
                      <a:pt x="80" y="50"/>
                    </a:lnTo>
                    <a:lnTo>
                      <a:pt x="78" y="48"/>
                    </a:lnTo>
                    <a:lnTo>
                      <a:pt x="77" y="44"/>
                    </a:lnTo>
                    <a:lnTo>
                      <a:pt x="73" y="42"/>
                    </a:lnTo>
                    <a:lnTo>
                      <a:pt x="71" y="41"/>
                    </a:lnTo>
                    <a:lnTo>
                      <a:pt x="70" y="39"/>
                    </a:lnTo>
                    <a:lnTo>
                      <a:pt x="68" y="36"/>
                    </a:lnTo>
                    <a:lnTo>
                      <a:pt x="65" y="31"/>
                    </a:lnTo>
                    <a:lnTo>
                      <a:pt x="65" y="29"/>
                    </a:lnTo>
                    <a:lnTo>
                      <a:pt x="60" y="24"/>
                    </a:lnTo>
                    <a:lnTo>
                      <a:pt x="56" y="23"/>
                    </a:lnTo>
                    <a:lnTo>
                      <a:pt x="54" y="23"/>
                    </a:lnTo>
                    <a:lnTo>
                      <a:pt x="51" y="25"/>
                    </a:lnTo>
                    <a:lnTo>
                      <a:pt x="51" y="29"/>
                    </a:lnTo>
                    <a:lnTo>
                      <a:pt x="48" y="29"/>
                    </a:lnTo>
                    <a:lnTo>
                      <a:pt x="45" y="31"/>
                    </a:lnTo>
                    <a:lnTo>
                      <a:pt x="48" y="36"/>
                    </a:lnTo>
                    <a:lnTo>
                      <a:pt x="48" y="39"/>
                    </a:lnTo>
                    <a:lnTo>
                      <a:pt x="45" y="38"/>
                    </a:lnTo>
                    <a:lnTo>
                      <a:pt x="45" y="35"/>
                    </a:lnTo>
                    <a:lnTo>
                      <a:pt x="42" y="33"/>
                    </a:lnTo>
                    <a:lnTo>
                      <a:pt x="39" y="33"/>
                    </a:lnTo>
                    <a:lnTo>
                      <a:pt x="36" y="32"/>
                    </a:lnTo>
                    <a:lnTo>
                      <a:pt x="38" y="29"/>
                    </a:lnTo>
                    <a:lnTo>
                      <a:pt x="36" y="29"/>
                    </a:lnTo>
                    <a:lnTo>
                      <a:pt x="30" y="30"/>
                    </a:lnTo>
                    <a:lnTo>
                      <a:pt x="27" y="29"/>
                    </a:lnTo>
                    <a:lnTo>
                      <a:pt x="35" y="26"/>
                    </a:lnTo>
                    <a:lnTo>
                      <a:pt x="38" y="25"/>
                    </a:lnTo>
                    <a:lnTo>
                      <a:pt x="40" y="25"/>
                    </a:lnTo>
                    <a:lnTo>
                      <a:pt x="44" y="25"/>
                    </a:lnTo>
                    <a:lnTo>
                      <a:pt x="46" y="24"/>
                    </a:lnTo>
                    <a:lnTo>
                      <a:pt x="45" y="21"/>
                    </a:lnTo>
                    <a:lnTo>
                      <a:pt x="43" y="21"/>
                    </a:lnTo>
                    <a:lnTo>
                      <a:pt x="37" y="21"/>
                    </a:lnTo>
                    <a:lnTo>
                      <a:pt x="28" y="23"/>
                    </a:lnTo>
                    <a:lnTo>
                      <a:pt x="26" y="23"/>
                    </a:lnTo>
                    <a:lnTo>
                      <a:pt x="22" y="22"/>
                    </a:lnTo>
                    <a:lnTo>
                      <a:pt x="21" y="24"/>
                    </a:lnTo>
                    <a:lnTo>
                      <a:pt x="22" y="26"/>
                    </a:lnTo>
                    <a:lnTo>
                      <a:pt x="20" y="26"/>
                    </a:lnTo>
                    <a:lnTo>
                      <a:pt x="18" y="24"/>
                    </a:lnTo>
                    <a:lnTo>
                      <a:pt x="16" y="21"/>
                    </a:lnTo>
                    <a:lnTo>
                      <a:pt x="10" y="23"/>
                    </a:lnTo>
                    <a:lnTo>
                      <a:pt x="8" y="25"/>
                    </a:lnTo>
                    <a:lnTo>
                      <a:pt x="9" y="27"/>
                    </a:lnTo>
                    <a:lnTo>
                      <a:pt x="7" y="27"/>
                    </a:lnTo>
                    <a:lnTo>
                      <a:pt x="3" y="29"/>
                    </a:lnTo>
                    <a:lnTo>
                      <a:pt x="5" y="30"/>
                    </a:lnTo>
                    <a:lnTo>
                      <a:pt x="3" y="30"/>
                    </a:lnTo>
                    <a:lnTo>
                      <a:pt x="0" y="31"/>
                    </a:lnTo>
                    <a:lnTo>
                      <a:pt x="3" y="33"/>
                    </a:lnTo>
                    <a:lnTo>
                      <a:pt x="3" y="35"/>
                    </a:lnTo>
                    <a:lnTo>
                      <a:pt x="7" y="41"/>
                    </a:lnTo>
                    <a:lnTo>
                      <a:pt x="8" y="44"/>
                    </a:lnTo>
                    <a:lnTo>
                      <a:pt x="11" y="43"/>
                    </a:lnTo>
                    <a:lnTo>
                      <a:pt x="13" y="41"/>
                    </a:lnTo>
                    <a:lnTo>
                      <a:pt x="13" y="38"/>
                    </a:lnTo>
                    <a:lnTo>
                      <a:pt x="19" y="38"/>
                    </a:lnTo>
                    <a:lnTo>
                      <a:pt x="19" y="41"/>
                    </a:lnTo>
                    <a:lnTo>
                      <a:pt x="16" y="42"/>
                    </a:lnTo>
                    <a:lnTo>
                      <a:pt x="16" y="46"/>
                    </a:lnTo>
                    <a:lnTo>
                      <a:pt x="18" y="48"/>
                    </a:lnTo>
                    <a:lnTo>
                      <a:pt x="21" y="50"/>
                    </a:lnTo>
                    <a:lnTo>
                      <a:pt x="18" y="50"/>
                    </a:lnTo>
                    <a:lnTo>
                      <a:pt x="16" y="49"/>
                    </a:lnTo>
                    <a:lnTo>
                      <a:pt x="9" y="47"/>
                    </a:lnTo>
                    <a:lnTo>
                      <a:pt x="5" y="48"/>
                    </a:lnTo>
                    <a:lnTo>
                      <a:pt x="9" y="50"/>
                    </a:lnTo>
                    <a:lnTo>
                      <a:pt x="13" y="52"/>
                    </a:lnTo>
                    <a:lnTo>
                      <a:pt x="11" y="52"/>
                    </a:lnTo>
                    <a:lnTo>
                      <a:pt x="11" y="55"/>
                    </a:lnTo>
                    <a:lnTo>
                      <a:pt x="13" y="58"/>
                    </a:lnTo>
                    <a:lnTo>
                      <a:pt x="17" y="59"/>
                    </a:lnTo>
                    <a:lnTo>
                      <a:pt x="19" y="59"/>
                    </a:lnTo>
                    <a:lnTo>
                      <a:pt x="22" y="61"/>
                    </a:lnTo>
                    <a:lnTo>
                      <a:pt x="25" y="61"/>
                    </a:lnTo>
                    <a:lnTo>
                      <a:pt x="31" y="61"/>
                    </a:lnTo>
                    <a:lnTo>
                      <a:pt x="19" y="63"/>
                    </a:lnTo>
                    <a:lnTo>
                      <a:pt x="22" y="65"/>
                    </a:lnTo>
                    <a:lnTo>
                      <a:pt x="25" y="67"/>
                    </a:lnTo>
                    <a:lnTo>
                      <a:pt x="28" y="68"/>
                    </a:lnTo>
                    <a:lnTo>
                      <a:pt x="29" y="72"/>
                    </a:lnTo>
                    <a:lnTo>
                      <a:pt x="33" y="70"/>
                    </a:lnTo>
                    <a:lnTo>
                      <a:pt x="38" y="72"/>
                    </a:lnTo>
                    <a:lnTo>
                      <a:pt x="40" y="69"/>
                    </a:lnTo>
                    <a:lnTo>
                      <a:pt x="44" y="70"/>
                    </a:lnTo>
                    <a:lnTo>
                      <a:pt x="46" y="68"/>
                    </a:lnTo>
                    <a:lnTo>
                      <a:pt x="47" y="66"/>
                    </a:lnTo>
                    <a:lnTo>
                      <a:pt x="50" y="66"/>
                    </a:lnTo>
                    <a:lnTo>
                      <a:pt x="52" y="64"/>
                    </a:lnTo>
                    <a:lnTo>
                      <a:pt x="48" y="63"/>
                    </a:lnTo>
                    <a:lnTo>
                      <a:pt x="51" y="59"/>
                    </a:lnTo>
                    <a:lnTo>
                      <a:pt x="50" y="57"/>
                    </a:lnTo>
                    <a:lnTo>
                      <a:pt x="52" y="56"/>
                    </a:lnTo>
                    <a:lnTo>
                      <a:pt x="55" y="56"/>
                    </a:lnTo>
                    <a:lnTo>
                      <a:pt x="55" y="59"/>
                    </a:lnTo>
                    <a:lnTo>
                      <a:pt x="57" y="58"/>
                    </a:lnTo>
                    <a:lnTo>
                      <a:pt x="60" y="56"/>
                    </a:lnTo>
                    <a:lnTo>
                      <a:pt x="61" y="52"/>
                    </a:lnTo>
                    <a:lnTo>
                      <a:pt x="64" y="52"/>
                    </a:lnTo>
                    <a:lnTo>
                      <a:pt x="64" y="56"/>
                    </a:lnTo>
                    <a:lnTo>
                      <a:pt x="63" y="58"/>
                    </a:lnTo>
                    <a:lnTo>
                      <a:pt x="61" y="60"/>
                    </a:lnTo>
                    <a:lnTo>
                      <a:pt x="62" y="63"/>
                    </a:lnTo>
                    <a:lnTo>
                      <a:pt x="64" y="64"/>
                    </a:lnTo>
                    <a:lnTo>
                      <a:pt x="70" y="63"/>
                    </a:lnTo>
                    <a:lnTo>
                      <a:pt x="76" y="60"/>
                    </a:lnTo>
                    <a:lnTo>
                      <a:pt x="77" y="58"/>
                    </a:lnTo>
                    <a:lnTo>
                      <a:pt x="80" y="57"/>
                    </a:lnTo>
                    <a:lnTo>
                      <a:pt x="80" y="59"/>
                    </a:lnTo>
                    <a:lnTo>
                      <a:pt x="78" y="61"/>
                    </a:lnTo>
                    <a:lnTo>
                      <a:pt x="78" y="64"/>
                    </a:lnTo>
                    <a:lnTo>
                      <a:pt x="81" y="65"/>
                    </a:lnTo>
                    <a:lnTo>
                      <a:pt x="84" y="66"/>
                    </a:lnTo>
                    <a:lnTo>
                      <a:pt x="87" y="65"/>
                    </a:lnTo>
                    <a:lnTo>
                      <a:pt x="89" y="65"/>
                    </a:lnTo>
                    <a:lnTo>
                      <a:pt x="84" y="67"/>
                    </a:lnTo>
                    <a:lnTo>
                      <a:pt x="81" y="67"/>
                    </a:lnTo>
                    <a:lnTo>
                      <a:pt x="72" y="67"/>
                    </a:lnTo>
                    <a:lnTo>
                      <a:pt x="70" y="67"/>
                    </a:lnTo>
                    <a:lnTo>
                      <a:pt x="67" y="68"/>
                    </a:lnTo>
                    <a:lnTo>
                      <a:pt x="67" y="70"/>
                    </a:lnTo>
                    <a:lnTo>
                      <a:pt x="63" y="70"/>
                    </a:lnTo>
                    <a:lnTo>
                      <a:pt x="55" y="74"/>
                    </a:lnTo>
                    <a:lnTo>
                      <a:pt x="50" y="75"/>
                    </a:lnTo>
                    <a:lnTo>
                      <a:pt x="46" y="74"/>
                    </a:lnTo>
                    <a:lnTo>
                      <a:pt x="46" y="77"/>
                    </a:lnTo>
                    <a:lnTo>
                      <a:pt x="44" y="75"/>
                    </a:lnTo>
                    <a:lnTo>
                      <a:pt x="40" y="75"/>
                    </a:lnTo>
                    <a:lnTo>
                      <a:pt x="38" y="77"/>
                    </a:lnTo>
                    <a:lnTo>
                      <a:pt x="38" y="80"/>
                    </a:lnTo>
                    <a:lnTo>
                      <a:pt x="39" y="83"/>
                    </a:lnTo>
                    <a:lnTo>
                      <a:pt x="40" y="85"/>
                    </a:lnTo>
                    <a:lnTo>
                      <a:pt x="43" y="85"/>
                    </a:lnTo>
                    <a:lnTo>
                      <a:pt x="46" y="84"/>
                    </a:lnTo>
                    <a:lnTo>
                      <a:pt x="48" y="84"/>
                    </a:lnTo>
                    <a:lnTo>
                      <a:pt x="52" y="84"/>
                    </a:lnTo>
                    <a:lnTo>
                      <a:pt x="56" y="83"/>
                    </a:lnTo>
                    <a:lnTo>
                      <a:pt x="60" y="83"/>
                    </a:lnTo>
                    <a:lnTo>
                      <a:pt x="62" y="81"/>
                    </a:lnTo>
                    <a:lnTo>
                      <a:pt x="65" y="81"/>
                    </a:lnTo>
                    <a:lnTo>
                      <a:pt x="68" y="82"/>
                    </a:lnTo>
                    <a:lnTo>
                      <a:pt x="71" y="82"/>
                    </a:lnTo>
                    <a:lnTo>
                      <a:pt x="73" y="82"/>
                    </a:lnTo>
                    <a:lnTo>
                      <a:pt x="79" y="82"/>
                    </a:lnTo>
                    <a:lnTo>
                      <a:pt x="82" y="80"/>
                    </a:lnTo>
                    <a:lnTo>
                      <a:pt x="85" y="80"/>
                    </a:lnTo>
                    <a:lnTo>
                      <a:pt x="84" y="82"/>
                    </a:lnTo>
                    <a:lnTo>
                      <a:pt x="86" y="84"/>
                    </a:lnTo>
                    <a:lnTo>
                      <a:pt x="84" y="83"/>
                    </a:lnTo>
                    <a:lnTo>
                      <a:pt x="69" y="84"/>
                    </a:lnTo>
                    <a:lnTo>
                      <a:pt x="61" y="85"/>
                    </a:lnTo>
                    <a:lnTo>
                      <a:pt x="57" y="86"/>
                    </a:lnTo>
                    <a:lnTo>
                      <a:pt x="55" y="87"/>
                    </a:lnTo>
                    <a:lnTo>
                      <a:pt x="70" y="90"/>
                    </a:lnTo>
                    <a:lnTo>
                      <a:pt x="72" y="92"/>
                    </a:lnTo>
                    <a:lnTo>
                      <a:pt x="74" y="93"/>
                    </a:lnTo>
                    <a:lnTo>
                      <a:pt x="72" y="93"/>
                    </a:lnTo>
                    <a:lnTo>
                      <a:pt x="70" y="91"/>
                    </a:lnTo>
                    <a:lnTo>
                      <a:pt x="67" y="91"/>
                    </a:lnTo>
                    <a:lnTo>
                      <a:pt x="64" y="91"/>
                    </a:lnTo>
                    <a:lnTo>
                      <a:pt x="59" y="90"/>
                    </a:lnTo>
                    <a:lnTo>
                      <a:pt x="55" y="91"/>
                    </a:lnTo>
                    <a:lnTo>
                      <a:pt x="53" y="92"/>
                    </a:lnTo>
                    <a:lnTo>
                      <a:pt x="51" y="90"/>
                    </a:lnTo>
                    <a:lnTo>
                      <a:pt x="47" y="90"/>
                    </a:lnTo>
                    <a:lnTo>
                      <a:pt x="45" y="90"/>
                    </a:lnTo>
                    <a:lnTo>
                      <a:pt x="42" y="91"/>
                    </a:lnTo>
                    <a:lnTo>
                      <a:pt x="43" y="94"/>
                    </a:lnTo>
                    <a:lnTo>
                      <a:pt x="47" y="100"/>
                    </a:lnTo>
                    <a:lnTo>
                      <a:pt x="51" y="101"/>
                    </a:lnTo>
                    <a:lnTo>
                      <a:pt x="53" y="101"/>
                    </a:lnTo>
                    <a:lnTo>
                      <a:pt x="56" y="102"/>
                    </a:lnTo>
                    <a:lnTo>
                      <a:pt x="59" y="104"/>
                    </a:lnTo>
                    <a:lnTo>
                      <a:pt x="62" y="106"/>
                    </a:lnTo>
                    <a:lnTo>
                      <a:pt x="68" y="107"/>
                    </a:lnTo>
                    <a:lnTo>
                      <a:pt x="70" y="104"/>
                    </a:lnTo>
                    <a:lnTo>
                      <a:pt x="73" y="106"/>
                    </a:lnTo>
                    <a:lnTo>
                      <a:pt x="79" y="107"/>
                    </a:lnTo>
                    <a:lnTo>
                      <a:pt x="76" y="108"/>
                    </a:lnTo>
                    <a:lnTo>
                      <a:pt x="73" y="107"/>
                    </a:lnTo>
                    <a:lnTo>
                      <a:pt x="70" y="108"/>
                    </a:lnTo>
                    <a:lnTo>
                      <a:pt x="68" y="108"/>
                    </a:lnTo>
                    <a:lnTo>
                      <a:pt x="64" y="110"/>
                    </a:lnTo>
                    <a:lnTo>
                      <a:pt x="68" y="111"/>
                    </a:lnTo>
                    <a:lnTo>
                      <a:pt x="70" y="112"/>
                    </a:lnTo>
                    <a:lnTo>
                      <a:pt x="73" y="113"/>
                    </a:lnTo>
                    <a:lnTo>
                      <a:pt x="76" y="116"/>
                    </a:lnTo>
                    <a:lnTo>
                      <a:pt x="76" y="119"/>
                    </a:lnTo>
                    <a:lnTo>
                      <a:pt x="79" y="118"/>
                    </a:lnTo>
                    <a:lnTo>
                      <a:pt x="81" y="119"/>
                    </a:lnTo>
                    <a:lnTo>
                      <a:pt x="84" y="118"/>
                    </a:lnTo>
                    <a:lnTo>
                      <a:pt x="87" y="116"/>
                    </a:lnTo>
                    <a:lnTo>
                      <a:pt x="87" y="113"/>
                    </a:lnTo>
                    <a:lnTo>
                      <a:pt x="85" y="112"/>
                    </a:lnTo>
                    <a:lnTo>
                      <a:pt x="89" y="108"/>
                    </a:lnTo>
                    <a:lnTo>
                      <a:pt x="87" y="104"/>
                    </a:lnTo>
                    <a:lnTo>
                      <a:pt x="90" y="104"/>
                    </a:lnTo>
                    <a:lnTo>
                      <a:pt x="93" y="99"/>
                    </a:lnTo>
                    <a:lnTo>
                      <a:pt x="94" y="97"/>
                    </a:lnTo>
                    <a:lnTo>
                      <a:pt x="95" y="93"/>
                    </a:lnTo>
                    <a:lnTo>
                      <a:pt x="98" y="92"/>
                    </a:lnTo>
                    <a:lnTo>
                      <a:pt x="101" y="92"/>
                    </a:lnTo>
                    <a:lnTo>
                      <a:pt x="104" y="90"/>
                    </a:lnTo>
                    <a:lnTo>
                      <a:pt x="105" y="84"/>
                    </a:lnTo>
                    <a:lnTo>
                      <a:pt x="105" y="78"/>
                    </a:lnTo>
                    <a:lnTo>
                      <a:pt x="106" y="76"/>
                    </a:lnTo>
                    <a:lnTo>
                      <a:pt x="112" y="76"/>
                    </a:lnTo>
                    <a:lnTo>
                      <a:pt x="114" y="74"/>
                    </a:lnTo>
                    <a:lnTo>
                      <a:pt x="112" y="72"/>
                    </a:lnTo>
                    <a:lnTo>
                      <a:pt x="113" y="69"/>
                    </a:lnTo>
                    <a:lnTo>
                      <a:pt x="114" y="66"/>
                    </a:lnTo>
                    <a:lnTo>
                      <a:pt x="113" y="64"/>
                    </a:lnTo>
                    <a:lnTo>
                      <a:pt x="119" y="63"/>
                    </a:lnTo>
                    <a:lnTo>
                      <a:pt x="121" y="60"/>
                    </a:lnTo>
                    <a:lnTo>
                      <a:pt x="124" y="59"/>
                    </a:lnTo>
                    <a:lnTo>
                      <a:pt x="128" y="59"/>
                    </a:lnTo>
                    <a:lnTo>
                      <a:pt x="132" y="58"/>
                    </a:lnTo>
                    <a:lnTo>
                      <a:pt x="135" y="58"/>
                    </a:lnTo>
                    <a:close/>
                    <a:moveTo>
                      <a:pt x="226" y="14"/>
                    </a:moveTo>
                    <a:lnTo>
                      <a:pt x="224" y="13"/>
                    </a:lnTo>
                    <a:lnTo>
                      <a:pt x="221" y="10"/>
                    </a:lnTo>
                    <a:lnTo>
                      <a:pt x="218" y="10"/>
                    </a:lnTo>
                    <a:lnTo>
                      <a:pt x="209" y="10"/>
                    </a:lnTo>
                    <a:lnTo>
                      <a:pt x="206" y="10"/>
                    </a:lnTo>
                    <a:lnTo>
                      <a:pt x="204" y="9"/>
                    </a:lnTo>
                    <a:lnTo>
                      <a:pt x="200" y="9"/>
                    </a:lnTo>
                    <a:lnTo>
                      <a:pt x="198" y="8"/>
                    </a:lnTo>
                    <a:lnTo>
                      <a:pt x="195" y="8"/>
                    </a:lnTo>
                    <a:lnTo>
                      <a:pt x="193" y="6"/>
                    </a:lnTo>
                    <a:lnTo>
                      <a:pt x="191" y="7"/>
                    </a:lnTo>
                    <a:lnTo>
                      <a:pt x="188" y="5"/>
                    </a:lnTo>
                    <a:lnTo>
                      <a:pt x="185" y="5"/>
                    </a:lnTo>
                    <a:lnTo>
                      <a:pt x="185" y="7"/>
                    </a:lnTo>
                    <a:lnTo>
                      <a:pt x="182" y="7"/>
                    </a:lnTo>
                    <a:lnTo>
                      <a:pt x="180" y="7"/>
                    </a:lnTo>
                    <a:lnTo>
                      <a:pt x="179" y="9"/>
                    </a:lnTo>
                    <a:lnTo>
                      <a:pt x="176" y="13"/>
                    </a:lnTo>
                    <a:lnTo>
                      <a:pt x="171" y="10"/>
                    </a:lnTo>
                    <a:lnTo>
                      <a:pt x="170" y="8"/>
                    </a:lnTo>
                    <a:lnTo>
                      <a:pt x="173" y="7"/>
                    </a:lnTo>
                    <a:lnTo>
                      <a:pt x="172" y="5"/>
                    </a:lnTo>
                    <a:lnTo>
                      <a:pt x="172" y="3"/>
                    </a:lnTo>
                    <a:lnTo>
                      <a:pt x="166" y="0"/>
                    </a:lnTo>
                    <a:lnTo>
                      <a:pt x="165" y="6"/>
                    </a:lnTo>
                    <a:lnTo>
                      <a:pt x="164" y="3"/>
                    </a:lnTo>
                    <a:lnTo>
                      <a:pt x="162" y="3"/>
                    </a:lnTo>
                    <a:lnTo>
                      <a:pt x="159" y="6"/>
                    </a:lnTo>
                    <a:lnTo>
                      <a:pt x="163" y="7"/>
                    </a:lnTo>
                    <a:lnTo>
                      <a:pt x="161" y="13"/>
                    </a:lnTo>
                    <a:lnTo>
                      <a:pt x="161" y="15"/>
                    </a:lnTo>
                    <a:lnTo>
                      <a:pt x="159" y="16"/>
                    </a:lnTo>
                    <a:lnTo>
                      <a:pt x="157" y="16"/>
                    </a:lnTo>
                    <a:lnTo>
                      <a:pt x="156" y="14"/>
                    </a:lnTo>
                    <a:lnTo>
                      <a:pt x="154" y="13"/>
                    </a:lnTo>
                    <a:lnTo>
                      <a:pt x="150" y="13"/>
                    </a:lnTo>
                    <a:lnTo>
                      <a:pt x="153" y="9"/>
                    </a:lnTo>
                    <a:lnTo>
                      <a:pt x="150" y="7"/>
                    </a:lnTo>
                    <a:lnTo>
                      <a:pt x="139" y="9"/>
                    </a:lnTo>
                    <a:lnTo>
                      <a:pt x="138" y="7"/>
                    </a:lnTo>
                    <a:lnTo>
                      <a:pt x="136" y="7"/>
                    </a:lnTo>
                    <a:lnTo>
                      <a:pt x="133" y="5"/>
                    </a:lnTo>
                    <a:lnTo>
                      <a:pt x="130" y="3"/>
                    </a:lnTo>
                    <a:lnTo>
                      <a:pt x="122" y="0"/>
                    </a:lnTo>
                    <a:lnTo>
                      <a:pt x="120" y="4"/>
                    </a:lnTo>
                    <a:lnTo>
                      <a:pt x="125" y="5"/>
                    </a:lnTo>
                    <a:lnTo>
                      <a:pt x="124" y="7"/>
                    </a:lnTo>
                    <a:lnTo>
                      <a:pt x="122" y="9"/>
                    </a:lnTo>
                    <a:lnTo>
                      <a:pt x="119" y="7"/>
                    </a:lnTo>
                    <a:lnTo>
                      <a:pt x="116" y="6"/>
                    </a:lnTo>
                    <a:lnTo>
                      <a:pt x="113" y="6"/>
                    </a:lnTo>
                    <a:lnTo>
                      <a:pt x="114" y="8"/>
                    </a:lnTo>
                    <a:lnTo>
                      <a:pt x="118" y="10"/>
                    </a:lnTo>
                    <a:lnTo>
                      <a:pt x="120" y="10"/>
                    </a:lnTo>
                    <a:lnTo>
                      <a:pt x="118" y="14"/>
                    </a:lnTo>
                    <a:lnTo>
                      <a:pt x="112" y="10"/>
                    </a:lnTo>
                    <a:lnTo>
                      <a:pt x="110" y="10"/>
                    </a:lnTo>
                    <a:lnTo>
                      <a:pt x="101" y="10"/>
                    </a:lnTo>
                    <a:lnTo>
                      <a:pt x="97" y="12"/>
                    </a:lnTo>
                    <a:lnTo>
                      <a:pt x="103" y="14"/>
                    </a:lnTo>
                    <a:lnTo>
                      <a:pt x="106" y="15"/>
                    </a:lnTo>
                    <a:lnTo>
                      <a:pt x="108" y="15"/>
                    </a:lnTo>
                    <a:lnTo>
                      <a:pt x="112" y="15"/>
                    </a:lnTo>
                    <a:lnTo>
                      <a:pt x="111" y="16"/>
                    </a:lnTo>
                    <a:lnTo>
                      <a:pt x="108" y="16"/>
                    </a:lnTo>
                    <a:lnTo>
                      <a:pt x="105" y="18"/>
                    </a:lnTo>
                    <a:lnTo>
                      <a:pt x="103" y="18"/>
                    </a:lnTo>
                    <a:lnTo>
                      <a:pt x="104" y="22"/>
                    </a:lnTo>
                    <a:lnTo>
                      <a:pt x="106" y="23"/>
                    </a:lnTo>
                    <a:lnTo>
                      <a:pt x="110" y="24"/>
                    </a:lnTo>
                    <a:lnTo>
                      <a:pt x="112" y="24"/>
                    </a:lnTo>
                    <a:lnTo>
                      <a:pt x="119" y="24"/>
                    </a:lnTo>
                    <a:lnTo>
                      <a:pt x="121" y="25"/>
                    </a:lnTo>
                    <a:lnTo>
                      <a:pt x="128" y="24"/>
                    </a:lnTo>
                    <a:lnTo>
                      <a:pt x="133" y="23"/>
                    </a:lnTo>
                    <a:lnTo>
                      <a:pt x="141" y="22"/>
                    </a:lnTo>
                    <a:lnTo>
                      <a:pt x="150" y="22"/>
                    </a:lnTo>
                    <a:lnTo>
                      <a:pt x="154" y="24"/>
                    </a:lnTo>
                    <a:lnTo>
                      <a:pt x="156" y="23"/>
                    </a:lnTo>
                    <a:lnTo>
                      <a:pt x="159" y="23"/>
                    </a:lnTo>
                    <a:lnTo>
                      <a:pt x="156" y="24"/>
                    </a:lnTo>
                    <a:lnTo>
                      <a:pt x="154" y="24"/>
                    </a:lnTo>
                    <a:lnTo>
                      <a:pt x="150" y="25"/>
                    </a:lnTo>
                    <a:lnTo>
                      <a:pt x="141" y="25"/>
                    </a:lnTo>
                    <a:lnTo>
                      <a:pt x="136" y="26"/>
                    </a:lnTo>
                    <a:lnTo>
                      <a:pt x="139" y="29"/>
                    </a:lnTo>
                    <a:lnTo>
                      <a:pt x="141" y="29"/>
                    </a:lnTo>
                    <a:lnTo>
                      <a:pt x="133" y="29"/>
                    </a:lnTo>
                    <a:lnTo>
                      <a:pt x="130" y="27"/>
                    </a:lnTo>
                    <a:lnTo>
                      <a:pt x="128" y="27"/>
                    </a:lnTo>
                    <a:lnTo>
                      <a:pt x="124" y="27"/>
                    </a:lnTo>
                    <a:lnTo>
                      <a:pt x="123" y="31"/>
                    </a:lnTo>
                    <a:lnTo>
                      <a:pt x="128" y="32"/>
                    </a:lnTo>
                    <a:lnTo>
                      <a:pt x="130" y="33"/>
                    </a:lnTo>
                    <a:lnTo>
                      <a:pt x="136" y="33"/>
                    </a:lnTo>
                    <a:lnTo>
                      <a:pt x="141" y="35"/>
                    </a:lnTo>
                    <a:lnTo>
                      <a:pt x="147" y="35"/>
                    </a:lnTo>
                    <a:lnTo>
                      <a:pt x="149" y="35"/>
                    </a:lnTo>
                    <a:lnTo>
                      <a:pt x="153" y="35"/>
                    </a:lnTo>
                    <a:lnTo>
                      <a:pt x="158" y="34"/>
                    </a:lnTo>
                    <a:lnTo>
                      <a:pt x="164" y="35"/>
                    </a:lnTo>
                    <a:lnTo>
                      <a:pt x="164" y="38"/>
                    </a:lnTo>
                    <a:lnTo>
                      <a:pt x="166" y="40"/>
                    </a:lnTo>
                    <a:lnTo>
                      <a:pt x="170" y="41"/>
                    </a:lnTo>
                    <a:lnTo>
                      <a:pt x="175" y="41"/>
                    </a:lnTo>
                    <a:lnTo>
                      <a:pt x="181" y="41"/>
                    </a:lnTo>
                    <a:lnTo>
                      <a:pt x="183" y="41"/>
                    </a:lnTo>
                    <a:lnTo>
                      <a:pt x="185" y="38"/>
                    </a:lnTo>
                    <a:lnTo>
                      <a:pt x="195" y="35"/>
                    </a:lnTo>
                    <a:lnTo>
                      <a:pt x="197" y="38"/>
                    </a:lnTo>
                    <a:lnTo>
                      <a:pt x="206" y="34"/>
                    </a:lnTo>
                    <a:lnTo>
                      <a:pt x="208" y="32"/>
                    </a:lnTo>
                    <a:lnTo>
                      <a:pt x="208" y="30"/>
                    </a:lnTo>
                    <a:lnTo>
                      <a:pt x="210" y="27"/>
                    </a:lnTo>
                    <a:lnTo>
                      <a:pt x="216" y="25"/>
                    </a:lnTo>
                    <a:lnTo>
                      <a:pt x="222" y="22"/>
                    </a:lnTo>
                    <a:lnTo>
                      <a:pt x="225" y="21"/>
                    </a:lnTo>
                    <a:lnTo>
                      <a:pt x="226" y="18"/>
                    </a:lnTo>
                    <a:lnTo>
                      <a:pt x="225" y="16"/>
                    </a:lnTo>
                    <a:lnTo>
                      <a:pt x="226" y="14"/>
                    </a:lnTo>
                    <a:close/>
                    <a:moveTo>
                      <a:pt x="139" y="70"/>
                    </a:moveTo>
                    <a:lnTo>
                      <a:pt x="142" y="72"/>
                    </a:lnTo>
                    <a:lnTo>
                      <a:pt x="145" y="70"/>
                    </a:lnTo>
                    <a:lnTo>
                      <a:pt x="150" y="69"/>
                    </a:lnTo>
                    <a:lnTo>
                      <a:pt x="156" y="69"/>
                    </a:lnTo>
                    <a:lnTo>
                      <a:pt x="157" y="67"/>
                    </a:lnTo>
                    <a:lnTo>
                      <a:pt x="157" y="64"/>
                    </a:lnTo>
                    <a:lnTo>
                      <a:pt x="157" y="61"/>
                    </a:lnTo>
                    <a:lnTo>
                      <a:pt x="150" y="59"/>
                    </a:lnTo>
                    <a:lnTo>
                      <a:pt x="148" y="60"/>
                    </a:lnTo>
                    <a:lnTo>
                      <a:pt x="145" y="59"/>
                    </a:lnTo>
                    <a:lnTo>
                      <a:pt x="139" y="60"/>
                    </a:lnTo>
                    <a:lnTo>
                      <a:pt x="131" y="63"/>
                    </a:lnTo>
                    <a:lnTo>
                      <a:pt x="129" y="63"/>
                    </a:lnTo>
                    <a:lnTo>
                      <a:pt x="135" y="65"/>
                    </a:lnTo>
                    <a:lnTo>
                      <a:pt x="135" y="67"/>
                    </a:lnTo>
                    <a:lnTo>
                      <a:pt x="137" y="68"/>
                    </a:lnTo>
                    <a:lnTo>
                      <a:pt x="137" y="70"/>
                    </a:lnTo>
                    <a:lnTo>
                      <a:pt x="139" y="70"/>
                    </a:lnTo>
                    <a:close/>
                    <a:moveTo>
                      <a:pt x="188" y="81"/>
                    </a:moveTo>
                    <a:lnTo>
                      <a:pt x="184" y="81"/>
                    </a:lnTo>
                    <a:lnTo>
                      <a:pt x="182" y="81"/>
                    </a:lnTo>
                    <a:lnTo>
                      <a:pt x="180" y="81"/>
                    </a:lnTo>
                    <a:lnTo>
                      <a:pt x="176" y="81"/>
                    </a:lnTo>
                    <a:lnTo>
                      <a:pt x="174" y="78"/>
                    </a:lnTo>
                    <a:lnTo>
                      <a:pt x="171" y="77"/>
                    </a:lnTo>
                    <a:lnTo>
                      <a:pt x="170" y="75"/>
                    </a:lnTo>
                    <a:lnTo>
                      <a:pt x="172" y="74"/>
                    </a:lnTo>
                    <a:lnTo>
                      <a:pt x="173" y="72"/>
                    </a:lnTo>
                    <a:lnTo>
                      <a:pt x="171" y="70"/>
                    </a:lnTo>
                    <a:lnTo>
                      <a:pt x="167" y="69"/>
                    </a:lnTo>
                    <a:lnTo>
                      <a:pt x="162" y="70"/>
                    </a:lnTo>
                    <a:lnTo>
                      <a:pt x="159" y="72"/>
                    </a:lnTo>
                    <a:lnTo>
                      <a:pt x="154" y="70"/>
                    </a:lnTo>
                    <a:lnTo>
                      <a:pt x="148" y="72"/>
                    </a:lnTo>
                    <a:lnTo>
                      <a:pt x="139" y="74"/>
                    </a:lnTo>
                    <a:lnTo>
                      <a:pt x="142" y="76"/>
                    </a:lnTo>
                    <a:lnTo>
                      <a:pt x="148" y="78"/>
                    </a:lnTo>
                    <a:lnTo>
                      <a:pt x="149" y="81"/>
                    </a:lnTo>
                    <a:lnTo>
                      <a:pt x="146" y="84"/>
                    </a:lnTo>
                    <a:lnTo>
                      <a:pt x="145" y="86"/>
                    </a:lnTo>
                    <a:lnTo>
                      <a:pt x="141" y="90"/>
                    </a:lnTo>
                    <a:lnTo>
                      <a:pt x="139" y="91"/>
                    </a:lnTo>
                    <a:lnTo>
                      <a:pt x="139" y="93"/>
                    </a:lnTo>
                    <a:lnTo>
                      <a:pt x="141" y="93"/>
                    </a:lnTo>
                    <a:lnTo>
                      <a:pt x="145" y="93"/>
                    </a:lnTo>
                    <a:lnTo>
                      <a:pt x="148" y="92"/>
                    </a:lnTo>
                    <a:lnTo>
                      <a:pt x="156" y="92"/>
                    </a:lnTo>
                    <a:lnTo>
                      <a:pt x="158" y="90"/>
                    </a:lnTo>
                    <a:lnTo>
                      <a:pt x="162" y="90"/>
                    </a:lnTo>
                    <a:lnTo>
                      <a:pt x="164" y="90"/>
                    </a:lnTo>
                    <a:lnTo>
                      <a:pt x="162" y="93"/>
                    </a:lnTo>
                    <a:lnTo>
                      <a:pt x="161" y="99"/>
                    </a:lnTo>
                    <a:lnTo>
                      <a:pt x="163" y="99"/>
                    </a:lnTo>
                    <a:lnTo>
                      <a:pt x="166" y="98"/>
                    </a:lnTo>
                    <a:lnTo>
                      <a:pt x="168" y="95"/>
                    </a:lnTo>
                    <a:lnTo>
                      <a:pt x="172" y="94"/>
                    </a:lnTo>
                    <a:lnTo>
                      <a:pt x="174" y="95"/>
                    </a:lnTo>
                    <a:lnTo>
                      <a:pt x="178" y="94"/>
                    </a:lnTo>
                    <a:lnTo>
                      <a:pt x="180" y="92"/>
                    </a:lnTo>
                    <a:lnTo>
                      <a:pt x="184" y="86"/>
                    </a:lnTo>
                    <a:lnTo>
                      <a:pt x="190" y="85"/>
                    </a:lnTo>
                    <a:lnTo>
                      <a:pt x="193" y="85"/>
                    </a:lnTo>
                    <a:lnTo>
                      <a:pt x="190" y="82"/>
                    </a:lnTo>
                    <a:lnTo>
                      <a:pt x="18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1" name="Freeform 97">
                <a:extLst>
                  <a:ext uri="{FF2B5EF4-FFF2-40B4-BE49-F238E27FC236}">
                    <a16:creationId xmlns:a16="http://schemas.microsoft.com/office/drawing/2014/main" id="{8B390230-6883-44AE-8AB5-BF57980BDD44}"/>
                  </a:ext>
                </a:extLst>
              </p:cNvPr>
              <p:cNvSpPr>
                <a:spLocks/>
              </p:cNvSpPr>
              <p:nvPr/>
            </p:nvSpPr>
            <p:spPr bwMode="auto">
              <a:xfrm>
                <a:off x="3798" y="1912"/>
                <a:ext cx="32" cy="21"/>
              </a:xfrm>
              <a:custGeom>
                <a:avLst/>
                <a:gdLst>
                  <a:gd name="T0" fmla="*/ 2 w 32"/>
                  <a:gd name="T1" fmla="*/ 21 h 21"/>
                  <a:gd name="T2" fmla="*/ 0 w 32"/>
                  <a:gd name="T3" fmla="*/ 19 h 21"/>
                  <a:gd name="T4" fmla="*/ 1 w 32"/>
                  <a:gd name="T5" fmla="*/ 16 h 21"/>
                  <a:gd name="T6" fmla="*/ 4 w 32"/>
                  <a:gd name="T7" fmla="*/ 13 h 21"/>
                  <a:gd name="T8" fmla="*/ 6 w 32"/>
                  <a:gd name="T9" fmla="*/ 12 h 21"/>
                  <a:gd name="T10" fmla="*/ 8 w 32"/>
                  <a:gd name="T11" fmla="*/ 12 h 21"/>
                  <a:gd name="T12" fmla="*/ 10 w 32"/>
                  <a:gd name="T13" fmla="*/ 12 h 21"/>
                  <a:gd name="T14" fmla="*/ 13 w 32"/>
                  <a:gd name="T15" fmla="*/ 12 h 21"/>
                  <a:gd name="T16" fmla="*/ 16 w 32"/>
                  <a:gd name="T17" fmla="*/ 12 h 21"/>
                  <a:gd name="T18" fmla="*/ 19 w 32"/>
                  <a:gd name="T19" fmla="*/ 9 h 21"/>
                  <a:gd name="T20" fmla="*/ 20 w 32"/>
                  <a:gd name="T21" fmla="*/ 6 h 21"/>
                  <a:gd name="T22" fmla="*/ 24 w 32"/>
                  <a:gd name="T23" fmla="*/ 3 h 21"/>
                  <a:gd name="T24" fmla="*/ 26 w 32"/>
                  <a:gd name="T25" fmla="*/ 3 h 21"/>
                  <a:gd name="T26" fmla="*/ 32 w 32"/>
                  <a:gd name="T27" fmla="*/ 0 h 21"/>
                  <a:gd name="T28" fmla="*/ 29 w 32"/>
                  <a:gd name="T29" fmla="*/ 3 h 21"/>
                  <a:gd name="T30" fmla="*/ 30 w 32"/>
                  <a:gd name="T31" fmla="*/ 5 h 21"/>
                  <a:gd name="T32" fmla="*/ 30 w 32"/>
                  <a:gd name="T33" fmla="*/ 10 h 21"/>
                  <a:gd name="T34" fmla="*/ 29 w 32"/>
                  <a:gd name="T35" fmla="*/ 13 h 21"/>
                  <a:gd name="T36" fmla="*/ 26 w 32"/>
                  <a:gd name="T37" fmla="*/ 14 h 21"/>
                  <a:gd name="T38" fmla="*/ 24 w 32"/>
                  <a:gd name="T39" fmla="*/ 13 h 21"/>
                  <a:gd name="T40" fmla="*/ 24 w 32"/>
                  <a:gd name="T41" fmla="*/ 13 h 21"/>
                  <a:gd name="T42" fmla="*/ 23 w 32"/>
                  <a:gd name="T43" fmla="*/ 13 h 21"/>
                  <a:gd name="T44" fmla="*/ 20 w 32"/>
                  <a:gd name="T45" fmla="*/ 13 h 21"/>
                  <a:gd name="T46" fmla="*/ 13 w 32"/>
                  <a:gd name="T47" fmla="*/ 14 h 21"/>
                  <a:gd name="T48" fmla="*/ 11 w 32"/>
                  <a:gd name="T49" fmla="*/ 13 h 21"/>
                  <a:gd name="T50" fmla="*/ 11 w 32"/>
                  <a:gd name="T51" fmla="*/ 14 h 21"/>
                  <a:gd name="T52" fmla="*/ 6 w 32"/>
                  <a:gd name="T53" fmla="*/ 16 h 21"/>
                  <a:gd name="T54" fmla="*/ 2 w 32"/>
                  <a:gd name="T55" fmla="*/ 21 h 21"/>
                  <a:gd name="T56" fmla="*/ 2 w 32"/>
                  <a:gd name="T5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1">
                    <a:moveTo>
                      <a:pt x="2" y="21"/>
                    </a:moveTo>
                    <a:lnTo>
                      <a:pt x="0" y="19"/>
                    </a:lnTo>
                    <a:lnTo>
                      <a:pt x="1" y="16"/>
                    </a:lnTo>
                    <a:lnTo>
                      <a:pt x="4" y="13"/>
                    </a:lnTo>
                    <a:lnTo>
                      <a:pt x="6" y="12"/>
                    </a:lnTo>
                    <a:lnTo>
                      <a:pt x="8" y="12"/>
                    </a:lnTo>
                    <a:lnTo>
                      <a:pt x="10" y="12"/>
                    </a:lnTo>
                    <a:lnTo>
                      <a:pt x="13" y="12"/>
                    </a:lnTo>
                    <a:lnTo>
                      <a:pt x="16" y="12"/>
                    </a:lnTo>
                    <a:lnTo>
                      <a:pt x="19" y="9"/>
                    </a:lnTo>
                    <a:lnTo>
                      <a:pt x="20" y="6"/>
                    </a:lnTo>
                    <a:lnTo>
                      <a:pt x="24" y="3"/>
                    </a:lnTo>
                    <a:lnTo>
                      <a:pt x="26" y="3"/>
                    </a:lnTo>
                    <a:lnTo>
                      <a:pt x="32" y="0"/>
                    </a:lnTo>
                    <a:lnTo>
                      <a:pt x="29" y="3"/>
                    </a:lnTo>
                    <a:lnTo>
                      <a:pt x="30" y="5"/>
                    </a:lnTo>
                    <a:lnTo>
                      <a:pt x="30" y="10"/>
                    </a:lnTo>
                    <a:lnTo>
                      <a:pt x="29" y="13"/>
                    </a:lnTo>
                    <a:lnTo>
                      <a:pt x="26" y="14"/>
                    </a:lnTo>
                    <a:lnTo>
                      <a:pt x="24" y="13"/>
                    </a:lnTo>
                    <a:lnTo>
                      <a:pt x="24" y="13"/>
                    </a:lnTo>
                    <a:lnTo>
                      <a:pt x="23" y="13"/>
                    </a:lnTo>
                    <a:lnTo>
                      <a:pt x="20" y="13"/>
                    </a:lnTo>
                    <a:lnTo>
                      <a:pt x="13" y="14"/>
                    </a:lnTo>
                    <a:lnTo>
                      <a:pt x="11" y="13"/>
                    </a:lnTo>
                    <a:lnTo>
                      <a:pt x="11" y="14"/>
                    </a:lnTo>
                    <a:lnTo>
                      <a:pt x="6" y="16"/>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2" name="Freeform 98">
                <a:extLst>
                  <a:ext uri="{FF2B5EF4-FFF2-40B4-BE49-F238E27FC236}">
                    <a16:creationId xmlns:a16="http://schemas.microsoft.com/office/drawing/2014/main" id="{EAB55EFF-F9DE-40A2-AEFB-CE3BA4B8AF61}"/>
                  </a:ext>
                </a:extLst>
              </p:cNvPr>
              <p:cNvSpPr>
                <a:spLocks/>
              </p:cNvSpPr>
              <p:nvPr/>
            </p:nvSpPr>
            <p:spPr bwMode="auto">
              <a:xfrm>
                <a:off x="3835" y="1966"/>
                <a:ext cx="12" cy="7"/>
              </a:xfrm>
              <a:custGeom>
                <a:avLst/>
                <a:gdLst>
                  <a:gd name="T0" fmla="*/ 12 w 12"/>
                  <a:gd name="T1" fmla="*/ 3 h 7"/>
                  <a:gd name="T2" fmla="*/ 9 w 12"/>
                  <a:gd name="T3" fmla="*/ 6 h 7"/>
                  <a:gd name="T4" fmla="*/ 7 w 12"/>
                  <a:gd name="T5" fmla="*/ 7 h 7"/>
                  <a:gd name="T6" fmla="*/ 0 w 12"/>
                  <a:gd name="T7" fmla="*/ 3 h 7"/>
                  <a:gd name="T8" fmla="*/ 1 w 12"/>
                  <a:gd name="T9" fmla="*/ 1 h 7"/>
                  <a:gd name="T10" fmla="*/ 4 w 12"/>
                  <a:gd name="T11" fmla="*/ 0 h 7"/>
                  <a:gd name="T12" fmla="*/ 6 w 12"/>
                  <a:gd name="T13" fmla="*/ 2 h 7"/>
                  <a:gd name="T14" fmla="*/ 10 w 12"/>
                  <a:gd name="T15" fmla="*/ 2 h 7"/>
                  <a:gd name="T16" fmla="*/ 12 w 12"/>
                  <a:gd name="T17" fmla="*/ 3 h 7"/>
                  <a:gd name="T18" fmla="*/ 12 w 12"/>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12" y="3"/>
                    </a:moveTo>
                    <a:lnTo>
                      <a:pt x="9" y="6"/>
                    </a:lnTo>
                    <a:lnTo>
                      <a:pt x="7" y="7"/>
                    </a:lnTo>
                    <a:lnTo>
                      <a:pt x="0" y="3"/>
                    </a:lnTo>
                    <a:lnTo>
                      <a:pt x="1" y="1"/>
                    </a:lnTo>
                    <a:lnTo>
                      <a:pt x="4" y="0"/>
                    </a:lnTo>
                    <a:lnTo>
                      <a:pt x="6" y="2"/>
                    </a:lnTo>
                    <a:lnTo>
                      <a:pt x="10" y="2"/>
                    </a:lnTo>
                    <a:lnTo>
                      <a:pt x="12" y="3"/>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3" name="Freeform 99">
                <a:extLst>
                  <a:ext uri="{FF2B5EF4-FFF2-40B4-BE49-F238E27FC236}">
                    <a16:creationId xmlns:a16="http://schemas.microsoft.com/office/drawing/2014/main" id="{9FE0C78A-1BB4-4481-AB6B-3BF19C488BF1}"/>
                  </a:ext>
                </a:extLst>
              </p:cNvPr>
              <p:cNvSpPr>
                <a:spLocks/>
              </p:cNvSpPr>
              <p:nvPr/>
            </p:nvSpPr>
            <p:spPr bwMode="auto">
              <a:xfrm>
                <a:off x="4007" y="2297"/>
                <a:ext cx="38" cy="10"/>
              </a:xfrm>
              <a:custGeom>
                <a:avLst/>
                <a:gdLst>
                  <a:gd name="T0" fmla="*/ 36 w 38"/>
                  <a:gd name="T1" fmla="*/ 9 h 10"/>
                  <a:gd name="T2" fmla="*/ 36 w 38"/>
                  <a:gd name="T3" fmla="*/ 9 h 10"/>
                  <a:gd name="T4" fmla="*/ 38 w 38"/>
                  <a:gd name="T5" fmla="*/ 8 h 10"/>
                  <a:gd name="T6" fmla="*/ 38 w 38"/>
                  <a:gd name="T7" fmla="*/ 4 h 10"/>
                  <a:gd name="T8" fmla="*/ 36 w 38"/>
                  <a:gd name="T9" fmla="*/ 5 h 10"/>
                  <a:gd name="T10" fmla="*/ 30 w 38"/>
                  <a:gd name="T11" fmla="*/ 6 h 10"/>
                  <a:gd name="T12" fmla="*/ 30 w 38"/>
                  <a:gd name="T13" fmla="*/ 4 h 10"/>
                  <a:gd name="T14" fmla="*/ 26 w 38"/>
                  <a:gd name="T15" fmla="*/ 4 h 10"/>
                  <a:gd name="T16" fmla="*/ 23 w 38"/>
                  <a:gd name="T17" fmla="*/ 4 h 10"/>
                  <a:gd name="T18" fmla="*/ 20 w 38"/>
                  <a:gd name="T19" fmla="*/ 3 h 10"/>
                  <a:gd name="T20" fmla="*/ 16 w 38"/>
                  <a:gd name="T21" fmla="*/ 2 h 10"/>
                  <a:gd name="T22" fmla="*/ 11 w 38"/>
                  <a:gd name="T23" fmla="*/ 4 h 10"/>
                  <a:gd name="T24" fmla="*/ 9 w 38"/>
                  <a:gd name="T25" fmla="*/ 3 h 10"/>
                  <a:gd name="T26" fmla="*/ 8 w 38"/>
                  <a:gd name="T27" fmla="*/ 1 h 10"/>
                  <a:gd name="T28" fmla="*/ 6 w 38"/>
                  <a:gd name="T29" fmla="*/ 1 h 10"/>
                  <a:gd name="T30" fmla="*/ 0 w 38"/>
                  <a:gd name="T31" fmla="*/ 0 h 10"/>
                  <a:gd name="T32" fmla="*/ 0 w 38"/>
                  <a:gd name="T33" fmla="*/ 5 h 10"/>
                  <a:gd name="T34" fmla="*/ 11 w 38"/>
                  <a:gd name="T35" fmla="*/ 6 h 10"/>
                  <a:gd name="T36" fmla="*/ 16 w 38"/>
                  <a:gd name="T37" fmla="*/ 8 h 10"/>
                  <a:gd name="T38" fmla="*/ 16 w 38"/>
                  <a:gd name="T39" fmla="*/ 9 h 10"/>
                  <a:gd name="T40" fmla="*/ 17 w 38"/>
                  <a:gd name="T41" fmla="*/ 10 h 10"/>
                  <a:gd name="T42" fmla="*/ 22 w 38"/>
                  <a:gd name="T43" fmla="*/ 10 h 10"/>
                  <a:gd name="T44" fmla="*/ 25 w 38"/>
                  <a:gd name="T45" fmla="*/ 9 h 10"/>
                  <a:gd name="T46" fmla="*/ 36 w 38"/>
                  <a:gd name="T47" fmla="*/ 9 h 10"/>
                  <a:gd name="T48" fmla="*/ 36 w 38"/>
                  <a:gd name="T4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10">
                    <a:moveTo>
                      <a:pt x="36" y="9"/>
                    </a:moveTo>
                    <a:lnTo>
                      <a:pt x="36" y="9"/>
                    </a:lnTo>
                    <a:lnTo>
                      <a:pt x="38" y="8"/>
                    </a:lnTo>
                    <a:lnTo>
                      <a:pt x="38" y="4"/>
                    </a:lnTo>
                    <a:lnTo>
                      <a:pt x="36" y="5"/>
                    </a:lnTo>
                    <a:lnTo>
                      <a:pt x="30" y="6"/>
                    </a:lnTo>
                    <a:lnTo>
                      <a:pt x="30" y="4"/>
                    </a:lnTo>
                    <a:lnTo>
                      <a:pt x="26" y="4"/>
                    </a:lnTo>
                    <a:lnTo>
                      <a:pt x="23" y="4"/>
                    </a:lnTo>
                    <a:lnTo>
                      <a:pt x="20" y="3"/>
                    </a:lnTo>
                    <a:lnTo>
                      <a:pt x="16" y="2"/>
                    </a:lnTo>
                    <a:lnTo>
                      <a:pt x="11" y="4"/>
                    </a:lnTo>
                    <a:lnTo>
                      <a:pt x="9" y="3"/>
                    </a:lnTo>
                    <a:lnTo>
                      <a:pt x="8" y="1"/>
                    </a:lnTo>
                    <a:lnTo>
                      <a:pt x="6" y="1"/>
                    </a:lnTo>
                    <a:lnTo>
                      <a:pt x="0" y="0"/>
                    </a:lnTo>
                    <a:lnTo>
                      <a:pt x="0" y="5"/>
                    </a:lnTo>
                    <a:lnTo>
                      <a:pt x="11" y="6"/>
                    </a:lnTo>
                    <a:lnTo>
                      <a:pt x="16" y="8"/>
                    </a:lnTo>
                    <a:lnTo>
                      <a:pt x="16" y="9"/>
                    </a:lnTo>
                    <a:lnTo>
                      <a:pt x="17" y="10"/>
                    </a:lnTo>
                    <a:lnTo>
                      <a:pt x="22" y="10"/>
                    </a:lnTo>
                    <a:lnTo>
                      <a:pt x="25" y="9"/>
                    </a:lnTo>
                    <a:lnTo>
                      <a:pt x="36" y="9"/>
                    </a:lnTo>
                    <a:lnTo>
                      <a:pt x="3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4" name="Freeform 100">
                <a:extLst>
                  <a:ext uri="{FF2B5EF4-FFF2-40B4-BE49-F238E27FC236}">
                    <a16:creationId xmlns:a16="http://schemas.microsoft.com/office/drawing/2014/main" id="{5CC346E7-6F69-4751-BB71-3A9169673467}"/>
                  </a:ext>
                </a:extLst>
              </p:cNvPr>
              <p:cNvSpPr>
                <a:spLocks/>
              </p:cNvSpPr>
              <p:nvPr/>
            </p:nvSpPr>
            <p:spPr bwMode="auto">
              <a:xfrm>
                <a:off x="4064" y="2284"/>
                <a:ext cx="7" cy="8"/>
              </a:xfrm>
              <a:custGeom>
                <a:avLst/>
                <a:gdLst>
                  <a:gd name="T0" fmla="*/ 2 w 7"/>
                  <a:gd name="T1" fmla="*/ 7 h 8"/>
                  <a:gd name="T2" fmla="*/ 6 w 7"/>
                  <a:gd name="T3" fmla="*/ 5 h 8"/>
                  <a:gd name="T4" fmla="*/ 7 w 7"/>
                  <a:gd name="T5" fmla="*/ 0 h 8"/>
                  <a:gd name="T6" fmla="*/ 5 w 7"/>
                  <a:gd name="T7" fmla="*/ 0 h 8"/>
                  <a:gd name="T8" fmla="*/ 1 w 7"/>
                  <a:gd name="T9" fmla="*/ 2 h 8"/>
                  <a:gd name="T10" fmla="*/ 0 w 7"/>
                  <a:gd name="T11" fmla="*/ 5 h 8"/>
                  <a:gd name="T12" fmla="*/ 0 w 7"/>
                  <a:gd name="T13" fmla="*/ 8 h 8"/>
                  <a:gd name="T14" fmla="*/ 2 w 7"/>
                  <a:gd name="T15" fmla="*/ 7 h 8"/>
                  <a:gd name="T16" fmla="*/ 2 w 7"/>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7"/>
                    </a:moveTo>
                    <a:lnTo>
                      <a:pt x="6" y="5"/>
                    </a:lnTo>
                    <a:lnTo>
                      <a:pt x="7" y="0"/>
                    </a:lnTo>
                    <a:lnTo>
                      <a:pt x="5" y="0"/>
                    </a:lnTo>
                    <a:lnTo>
                      <a:pt x="1" y="2"/>
                    </a:lnTo>
                    <a:lnTo>
                      <a:pt x="0" y="5"/>
                    </a:lnTo>
                    <a:lnTo>
                      <a:pt x="0" y="8"/>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5" name="Freeform 101">
                <a:extLst>
                  <a:ext uri="{FF2B5EF4-FFF2-40B4-BE49-F238E27FC236}">
                    <a16:creationId xmlns:a16="http://schemas.microsoft.com/office/drawing/2014/main" id="{259AB2AE-FC32-446E-AE0F-BDE7EBEC9FAA}"/>
                  </a:ext>
                </a:extLst>
              </p:cNvPr>
              <p:cNvSpPr>
                <a:spLocks/>
              </p:cNvSpPr>
              <p:nvPr/>
            </p:nvSpPr>
            <p:spPr bwMode="auto">
              <a:xfrm>
                <a:off x="4127" y="2296"/>
                <a:ext cx="31" cy="17"/>
              </a:xfrm>
              <a:custGeom>
                <a:avLst/>
                <a:gdLst>
                  <a:gd name="T0" fmla="*/ 3 w 31"/>
                  <a:gd name="T1" fmla="*/ 14 h 17"/>
                  <a:gd name="T2" fmla="*/ 5 w 31"/>
                  <a:gd name="T3" fmla="*/ 15 h 17"/>
                  <a:gd name="T4" fmla="*/ 8 w 31"/>
                  <a:gd name="T5" fmla="*/ 15 h 17"/>
                  <a:gd name="T6" fmla="*/ 10 w 31"/>
                  <a:gd name="T7" fmla="*/ 17 h 17"/>
                  <a:gd name="T8" fmla="*/ 10 w 31"/>
                  <a:gd name="T9" fmla="*/ 15 h 17"/>
                  <a:gd name="T10" fmla="*/ 11 w 31"/>
                  <a:gd name="T11" fmla="*/ 15 h 17"/>
                  <a:gd name="T12" fmla="*/ 13 w 31"/>
                  <a:gd name="T13" fmla="*/ 14 h 17"/>
                  <a:gd name="T14" fmla="*/ 17 w 31"/>
                  <a:gd name="T15" fmla="*/ 13 h 17"/>
                  <a:gd name="T16" fmla="*/ 19 w 31"/>
                  <a:gd name="T17" fmla="*/ 11 h 17"/>
                  <a:gd name="T18" fmla="*/ 22 w 31"/>
                  <a:gd name="T19" fmla="*/ 11 h 17"/>
                  <a:gd name="T20" fmla="*/ 24 w 31"/>
                  <a:gd name="T21" fmla="*/ 10 h 17"/>
                  <a:gd name="T22" fmla="*/ 22 w 31"/>
                  <a:gd name="T23" fmla="*/ 7 h 17"/>
                  <a:gd name="T24" fmla="*/ 23 w 31"/>
                  <a:gd name="T25" fmla="*/ 5 h 17"/>
                  <a:gd name="T26" fmla="*/ 25 w 31"/>
                  <a:gd name="T27" fmla="*/ 3 h 17"/>
                  <a:gd name="T28" fmla="*/ 29 w 31"/>
                  <a:gd name="T29" fmla="*/ 2 h 17"/>
                  <a:gd name="T30" fmla="*/ 31 w 31"/>
                  <a:gd name="T31" fmla="*/ 0 h 17"/>
                  <a:gd name="T32" fmla="*/ 29 w 31"/>
                  <a:gd name="T33" fmla="*/ 1 h 17"/>
                  <a:gd name="T34" fmla="*/ 24 w 31"/>
                  <a:gd name="T35" fmla="*/ 3 h 17"/>
                  <a:gd name="T36" fmla="*/ 19 w 31"/>
                  <a:gd name="T37" fmla="*/ 4 h 17"/>
                  <a:gd name="T38" fmla="*/ 14 w 31"/>
                  <a:gd name="T39" fmla="*/ 5 h 17"/>
                  <a:gd name="T40" fmla="*/ 12 w 31"/>
                  <a:gd name="T41" fmla="*/ 4 h 17"/>
                  <a:gd name="T42" fmla="*/ 8 w 31"/>
                  <a:gd name="T43" fmla="*/ 6 h 17"/>
                  <a:gd name="T44" fmla="*/ 8 w 31"/>
                  <a:gd name="T45" fmla="*/ 7 h 17"/>
                  <a:gd name="T46" fmla="*/ 4 w 31"/>
                  <a:gd name="T47" fmla="*/ 7 h 17"/>
                  <a:gd name="T48" fmla="*/ 0 w 31"/>
                  <a:gd name="T49" fmla="*/ 10 h 17"/>
                  <a:gd name="T50" fmla="*/ 0 w 31"/>
                  <a:gd name="T51" fmla="*/ 12 h 17"/>
                  <a:gd name="T52" fmla="*/ 3 w 31"/>
                  <a:gd name="T53" fmla="*/ 14 h 17"/>
                  <a:gd name="T54" fmla="*/ 3 w 31"/>
                  <a:gd name="T5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7">
                    <a:moveTo>
                      <a:pt x="3" y="14"/>
                    </a:moveTo>
                    <a:lnTo>
                      <a:pt x="5" y="15"/>
                    </a:lnTo>
                    <a:lnTo>
                      <a:pt x="8" y="15"/>
                    </a:lnTo>
                    <a:lnTo>
                      <a:pt x="10" y="17"/>
                    </a:lnTo>
                    <a:lnTo>
                      <a:pt x="10" y="15"/>
                    </a:lnTo>
                    <a:lnTo>
                      <a:pt x="11" y="15"/>
                    </a:lnTo>
                    <a:lnTo>
                      <a:pt x="13" y="14"/>
                    </a:lnTo>
                    <a:lnTo>
                      <a:pt x="17" y="13"/>
                    </a:lnTo>
                    <a:lnTo>
                      <a:pt x="19" y="11"/>
                    </a:lnTo>
                    <a:lnTo>
                      <a:pt x="22" y="11"/>
                    </a:lnTo>
                    <a:lnTo>
                      <a:pt x="24" y="10"/>
                    </a:lnTo>
                    <a:lnTo>
                      <a:pt x="22" y="7"/>
                    </a:lnTo>
                    <a:lnTo>
                      <a:pt x="23" y="5"/>
                    </a:lnTo>
                    <a:lnTo>
                      <a:pt x="25" y="3"/>
                    </a:lnTo>
                    <a:lnTo>
                      <a:pt x="29" y="2"/>
                    </a:lnTo>
                    <a:lnTo>
                      <a:pt x="31" y="0"/>
                    </a:lnTo>
                    <a:lnTo>
                      <a:pt x="29" y="1"/>
                    </a:lnTo>
                    <a:lnTo>
                      <a:pt x="24" y="3"/>
                    </a:lnTo>
                    <a:lnTo>
                      <a:pt x="19" y="4"/>
                    </a:lnTo>
                    <a:lnTo>
                      <a:pt x="14" y="5"/>
                    </a:lnTo>
                    <a:lnTo>
                      <a:pt x="12" y="4"/>
                    </a:lnTo>
                    <a:lnTo>
                      <a:pt x="8" y="6"/>
                    </a:lnTo>
                    <a:lnTo>
                      <a:pt x="8" y="7"/>
                    </a:lnTo>
                    <a:lnTo>
                      <a:pt x="4" y="7"/>
                    </a:lnTo>
                    <a:lnTo>
                      <a:pt x="0" y="10"/>
                    </a:lnTo>
                    <a:lnTo>
                      <a:pt x="0" y="12"/>
                    </a:lnTo>
                    <a:lnTo>
                      <a:pt x="3" y="14"/>
                    </a:lnTo>
                    <a:lnTo>
                      <a:pt x="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6" name="Freeform 102">
                <a:extLst>
                  <a:ext uri="{FF2B5EF4-FFF2-40B4-BE49-F238E27FC236}">
                    <a16:creationId xmlns:a16="http://schemas.microsoft.com/office/drawing/2014/main" id="{0EB07D70-0670-4C5E-A35D-A2C60B55EAE4}"/>
                  </a:ext>
                </a:extLst>
              </p:cNvPr>
              <p:cNvSpPr>
                <a:spLocks/>
              </p:cNvSpPr>
              <p:nvPr/>
            </p:nvSpPr>
            <p:spPr bwMode="auto">
              <a:xfrm>
                <a:off x="4345" y="1656"/>
                <a:ext cx="29" cy="18"/>
              </a:xfrm>
              <a:custGeom>
                <a:avLst/>
                <a:gdLst>
                  <a:gd name="T0" fmla="*/ 25 w 29"/>
                  <a:gd name="T1" fmla="*/ 10 h 18"/>
                  <a:gd name="T2" fmla="*/ 27 w 29"/>
                  <a:gd name="T3" fmla="*/ 9 h 18"/>
                  <a:gd name="T4" fmla="*/ 26 w 29"/>
                  <a:gd name="T5" fmla="*/ 11 h 18"/>
                  <a:gd name="T6" fmla="*/ 29 w 29"/>
                  <a:gd name="T7" fmla="*/ 9 h 18"/>
                  <a:gd name="T8" fmla="*/ 27 w 29"/>
                  <a:gd name="T9" fmla="*/ 7 h 18"/>
                  <a:gd name="T10" fmla="*/ 25 w 29"/>
                  <a:gd name="T11" fmla="*/ 4 h 18"/>
                  <a:gd name="T12" fmla="*/ 16 w 29"/>
                  <a:gd name="T13" fmla="*/ 1 h 18"/>
                  <a:gd name="T14" fmla="*/ 14 w 29"/>
                  <a:gd name="T15" fmla="*/ 0 h 18"/>
                  <a:gd name="T16" fmla="*/ 10 w 29"/>
                  <a:gd name="T17" fmla="*/ 0 h 18"/>
                  <a:gd name="T18" fmla="*/ 6 w 29"/>
                  <a:gd name="T19" fmla="*/ 1 h 18"/>
                  <a:gd name="T20" fmla="*/ 2 w 29"/>
                  <a:gd name="T21" fmla="*/ 3 h 18"/>
                  <a:gd name="T22" fmla="*/ 1 w 29"/>
                  <a:gd name="T23" fmla="*/ 7 h 18"/>
                  <a:gd name="T24" fmla="*/ 0 w 29"/>
                  <a:gd name="T25" fmla="*/ 12 h 18"/>
                  <a:gd name="T26" fmla="*/ 0 w 29"/>
                  <a:gd name="T27" fmla="*/ 14 h 18"/>
                  <a:gd name="T28" fmla="*/ 6 w 29"/>
                  <a:gd name="T29" fmla="*/ 18 h 18"/>
                  <a:gd name="T30" fmla="*/ 11 w 29"/>
                  <a:gd name="T31" fmla="*/ 18 h 18"/>
                  <a:gd name="T32" fmla="*/ 17 w 29"/>
                  <a:gd name="T33" fmla="*/ 17 h 18"/>
                  <a:gd name="T34" fmla="*/ 19 w 29"/>
                  <a:gd name="T35" fmla="*/ 16 h 18"/>
                  <a:gd name="T36" fmla="*/ 25 w 29"/>
                  <a:gd name="T37" fmla="*/ 10 h 18"/>
                  <a:gd name="T38" fmla="*/ 25 w 29"/>
                  <a:gd name="T3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18">
                    <a:moveTo>
                      <a:pt x="25" y="10"/>
                    </a:moveTo>
                    <a:lnTo>
                      <a:pt x="27" y="9"/>
                    </a:lnTo>
                    <a:lnTo>
                      <a:pt x="26" y="11"/>
                    </a:lnTo>
                    <a:lnTo>
                      <a:pt x="29" y="9"/>
                    </a:lnTo>
                    <a:lnTo>
                      <a:pt x="27" y="7"/>
                    </a:lnTo>
                    <a:lnTo>
                      <a:pt x="25" y="4"/>
                    </a:lnTo>
                    <a:lnTo>
                      <a:pt x="16" y="1"/>
                    </a:lnTo>
                    <a:lnTo>
                      <a:pt x="14" y="0"/>
                    </a:lnTo>
                    <a:lnTo>
                      <a:pt x="10" y="0"/>
                    </a:lnTo>
                    <a:lnTo>
                      <a:pt x="6" y="1"/>
                    </a:lnTo>
                    <a:lnTo>
                      <a:pt x="2" y="3"/>
                    </a:lnTo>
                    <a:lnTo>
                      <a:pt x="1" y="7"/>
                    </a:lnTo>
                    <a:lnTo>
                      <a:pt x="0" y="12"/>
                    </a:lnTo>
                    <a:lnTo>
                      <a:pt x="0" y="14"/>
                    </a:lnTo>
                    <a:lnTo>
                      <a:pt x="6" y="18"/>
                    </a:lnTo>
                    <a:lnTo>
                      <a:pt x="11" y="18"/>
                    </a:lnTo>
                    <a:lnTo>
                      <a:pt x="17" y="17"/>
                    </a:lnTo>
                    <a:lnTo>
                      <a:pt x="19" y="16"/>
                    </a:lnTo>
                    <a:lnTo>
                      <a:pt x="25" y="10"/>
                    </a:lnTo>
                    <a:lnTo>
                      <a:pt x="2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7" name="Freeform 103">
                <a:extLst>
                  <a:ext uri="{FF2B5EF4-FFF2-40B4-BE49-F238E27FC236}">
                    <a16:creationId xmlns:a16="http://schemas.microsoft.com/office/drawing/2014/main" id="{A4105272-A0F1-4815-AB68-50EEF73A62AC}"/>
                  </a:ext>
                </a:extLst>
              </p:cNvPr>
              <p:cNvSpPr>
                <a:spLocks/>
              </p:cNvSpPr>
              <p:nvPr/>
            </p:nvSpPr>
            <p:spPr bwMode="auto">
              <a:xfrm>
                <a:off x="4487" y="1632"/>
                <a:ext cx="27" cy="19"/>
              </a:xfrm>
              <a:custGeom>
                <a:avLst/>
                <a:gdLst>
                  <a:gd name="T0" fmla="*/ 22 w 27"/>
                  <a:gd name="T1" fmla="*/ 11 h 19"/>
                  <a:gd name="T2" fmla="*/ 19 w 27"/>
                  <a:gd name="T3" fmla="*/ 9 h 19"/>
                  <a:gd name="T4" fmla="*/ 17 w 27"/>
                  <a:gd name="T5" fmla="*/ 9 h 19"/>
                  <a:gd name="T6" fmla="*/ 13 w 27"/>
                  <a:gd name="T7" fmla="*/ 7 h 19"/>
                  <a:gd name="T8" fmla="*/ 11 w 27"/>
                  <a:gd name="T9" fmla="*/ 4 h 19"/>
                  <a:gd name="T10" fmla="*/ 5 w 27"/>
                  <a:gd name="T11" fmla="*/ 0 h 19"/>
                  <a:gd name="T12" fmla="*/ 3 w 27"/>
                  <a:gd name="T13" fmla="*/ 1 h 19"/>
                  <a:gd name="T14" fmla="*/ 0 w 27"/>
                  <a:gd name="T15" fmla="*/ 3 h 19"/>
                  <a:gd name="T16" fmla="*/ 3 w 27"/>
                  <a:gd name="T17" fmla="*/ 6 h 19"/>
                  <a:gd name="T18" fmla="*/ 0 w 27"/>
                  <a:gd name="T19" fmla="*/ 6 h 19"/>
                  <a:gd name="T20" fmla="*/ 1 w 27"/>
                  <a:gd name="T21" fmla="*/ 10 h 19"/>
                  <a:gd name="T22" fmla="*/ 2 w 27"/>
                  <a:gd name="T23" fmla="*/ 11 h 19"/>
                  <a:gd name="T24" fmla="*/ 6 w 27"/>
                  <a:gd name="T25" fmla="*/ 15 h 19"/>
                  <a:gd name="T26" fmla="*/ 10 w 27"/>
                  <a:gd name="T27" fmla="*/ 15 h 19"/>
                  <a:gd name="T28" fmla="*/ 12 w 27"/>
                  <a:gd name="T29" fmla="*/ 15 h 19"/>
                  <a:gd name="T30" fmla="*/ 13 w 27"/>
                  <a:gd name="T31" fmla="*/ 18 h 19"/>
                  <a:gd name="T32" fmla="*/ 17 w 27"/>
                  <a:gd name="T33" fmla="*/ 19 h 19"/>
                  <a:gd name="T34" fmla="*/ 19 w 27"/>
                  <a:gd name="T35" fmla="*/ 18 h 19"/>
                  <a:gd name="T36" fmla="*/ 22 w 27"/>
                  <a:gd name="T37" fmla="*/ 19 h 19"/>
                  <a:gd name="T38" fmla="*/ 24 w 27"/>
                  <a:gd name="T39" fmla="*/ 18 h 19"/>
                  <a:gd name="T40" fmla="*/ 27 w 27"/>
                  <a:gd name="T41" fmla="*/ 16 h 19"/>
                  <a:gd name="T42" fmla="*/ 26 w 27"/>
                  <a:gd name="T43" fmla="*/ 12 h 19"/>
                  <a:gd name="T44" fmla="*/ 22 w 27"/>
                  <a:gd name="T45" fmla="*/ 11 h 19"/>
                  <a:gd name="T46" fmla="*/ 22 w 27"/>
                  <a:gd name="T4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9">
                    <a:moveTo>
                      <a:pt x="22" y="11"/>
                    </a:moveTo>
                    <a:lnTo>
                      <a:pt x="19" y="9"/>
                    </a:lnTo>
                    <a:lnTo>
                      <a:pt x="17" y="9"/>
                    </a:lnTo>
                    <a:lnTo>
                      <a:pt x="13" y="7"/>
                    </a:lnTo>
                    <a:lnTo>
                      <a:pt x="11" y="4"/>
                    </a:lnTo>
                    <a:lnTo>
                      <a:pt x="5" y="0"/>
                    </a:lnTo>
                    <a:lnTo>
                      <a:pt x="3" y="1"/>
                    </a:lnTo>
                    <a:lnTo>
                      <a:pt x="0" y="3"/>
                    </a:lnTo>
                    <a:lnTo>
                      <a:pt x="3" y="6"/>
                    </a:lnTo>
                    <a:lnTo>
                      <a:pt x="0" y="6"/>
                    </a:lnTo>
                    <a:lnTo>
                      <a:pt x="1" y="10"/>
                    </a:lnTo>
                    <a:lnTo>
                      <a:pt x="2" y="11"/>
                    </a:lnTo>
                    <a:lnTo>
                      <a:pt x="6" y="15"/>
                    </a:lnTo>
                    <a:lnTo>
                      <a:pt x="10" y="15"/>
                    </a:lnTo>
                    <a:lnTo>
                      <a:pt x="12" y="15"/>
                    </a:lnTo>
                    <a:lnTo>
                      <a:pt x="13" y="18"/>
                    </a:lnTo>
                    <a:lnTo>
                      <a:pt x="17" y="19"/>
                    </a:lnTo>
                    <a:lnTo>
                      <a:pt x="19" y="18"/>
                    </a:lnTo>
                    <a:lnTo>
                      <a:pt x="22" y="19"/>
                    </a:lnTo>
                    <a:lnTo>
                      <a:pt x="24" y="18"/>
                    </a:lnTo>
                    <a:lnTo>
                      <a:pt x="27" y="16"/>
                    </a:lnTo>
                    <a:lnTo>
                      <a:pt x="26" y="12"/>
                    </a:lnTo>
                    <a:lnTo>
                      <a:pt x="22" y="11"/>
                    </a:lnTo>
                    <a:lnTo>
                      <a:pt x="2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8" name="Freeform 104">
                <a:extLst>
                  <a:ext uri="{FF2B5EF4-FFF2-40B4-BE49-F238E27FC236}">
                    <a16:creationId xmlns:a16="http://schemas.microsoft.com/office/drawing/2014/main" id="{092F285C-63E9-4844-AD24-FAFBEF73591D}"/>
                  </a:ext>
                </a:extLst>
              </p:cNvPr>
              <p:cNvSpPr>
                <a:spLocks/>
              </p:cNvSpPr>
              <p:nvPr/>
            </p:nvSpPr>
            <p:spPr bwMode="auto">
              <a:xfrm>
                <a:off x="3998" y="2242"/>
                <a:ext cx="23" cy="17"/>
              </a:xfrm>
              <a:custGeom>
                <a:avLst/>
                <a:gdLst>
                  <a:gd name="T0" fmla="*/ 9 w 23"/>
                  <a:gd name="T1" fmla="*/ 9 h 17"/>
                  <a:gd name="T2" fmla="*/ 8 w 23"/>
                  <a:gd name="T3" fmla="*/ 7 h 17"/>
                  <a:gd name="T4" fmla="*/ 6 w 23"/>
                  <a:gd name="T5" fmla="*/ 5 h 17"/>
                  <a:gd name="T6" fmla="*/ 3 w 23"/>
                  <a:gd name="T7" fmla="*/ 4 h 17"/>
                  <a:gd name="T8" fmla="*/ 0 w 23"/>
                  <a:gd name="T9" fmla="*/ 4 h 17"/>
                  <a:gd name="T10" fmla="*/ 3 w 23"/>
                  <a:gd name="T11" fmla="*/ 1 h 17"/>
                  <a:gd name="T12" fmla="*/ 6 w 23"/>
                  <a:gd name="T13" fmla="*/ 0 h 17"/>
                  <a:gd name="T14" fmla="*/ 8 w 23"/>
                  <a:gd name="T15" fmla="*/ 4 h 17"/>
                  <a:gd name="T16" fmla="*/ 11 w 23"/>
                  <a:gd name="T17" fmla="*/ 5 h 17"/>
                  <a:gd name="T18" fmla="*/ 13 w 23"/>
                  <a:gd name="T19" fmla="*/ 6 h 17"/>
                  <a:gd name="T20" fmla="*/ 16 w 23"/>
                  <a:gd name="T21" fmla="*/ 6 h 17"/>
                  <a:gd name="T22" fmla="*/ 18 w 23"/>
                  <a:gd name="T23" fmla="*/ 9 h 17"/>
                  <a:gd name="T24" fmla="*/ 18 w 23"/>
                  <a:gd name="T25" fmla="*/ 12 h 17"/>
                  <a:gd name="T26" fmla="*/ 20 w 23"/>
                  <a:gd name="T27" fmla="*/ 14 h 17"/>
                  <a:gd name="T28" fmla="*/ 22 w 23"/>
                  <a:gd name="T29" fmla="*/ 15 h 17"/>
                  <a:gd name="T30" fmla="*/ 23 w 23"/>
                  <a:gd name="T31" fmla="*/ 17 h 17"/>
                  <a:gd name="T32" fmla="*/ 22 w 23"/>
                  <a:gd name="T33" fmla="*/ 17 h 17"/>
                  <a:gd name="T34" fmla="*/ 20 w 23"/>
                  <a:gd name="T35" fmla="*/ 16 h 17"/>
                  <a:gd name="T36" fmla="*/ 16 w 23"/>
                  <a:gd name="T37" fmla="*/ 12 h 17"/>
                  <a:gd name="T38" fmla="*/ 11 w 23"/>
                  <a:gd name="T39" fmla="*/ 11 h 17"/>
                  <a:gd name="T40" fmla="*/ 9 w 23"/>
                  <a:gd name="T41" fmla="*/ 9 h 17"/>
                  <a:gd name="T42" fmla="*/ 9 w 23"/>
                  <a:gd name="T4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7">
                    <a:moveTo>
                      <a:pt x="9" y="9"/>
                    </a:moveTo>
                    <a:lnTo>
                      <a:pt x="8" y="7"/>
                    </a:lnTo>
                    <a:lnTo>
                      <a:pt x="6" y="5"/>
                    </a:lnTo>
                    <a:lnTo>
                      <a:pt x="3" y="4"/>
                    </a:lnTo>
                    <a:lnTo>
                      <a:pt x="0" y="4"/>
                    </a:lnTo>
                    <a:lnTo>
                      <a:pt x="3" y="1"/>
                    </a:lnTo>
                    <a:lnTo>
                      <a:pt x="6" y="0"/>
                    </a:lnTo>
                    <a:lnTo>
                      <a:pt x="8" y="4"/>
                    </a:lnTo>
                    <a:lnTo>
                      <a:pt x="11" y="5"/>
                    </a:lnTo>
                    <a:lnTo>
                      <a:pt x="13" y="6"/>
                    </a:lnTo>
                    <a:lnTo>
                      <a:pt x="16" y="6"/>
                    </a:lnTo>
                    <a:lnTo>
                      <a:pt x="18" y="9"/>
                    </a:lnTo>
                    <a:lnTo>
                      <a:pt x="18" y="12"/>
                    </a:lnTo>
                    <a:lnTo>
                      <a:pt x="20" y="14"/>
                    </a:lnTo>
                    <a:lnTo>
                      <a:pt x="22" y="15"/>
                    </a:lnTo>
                    <a:lnTo>
                      <a:pt x="23" y="17"/>
                    </a:lnTo>
                    <a:lnTo>
                      <a:pt x="22" y="17"/>
                    </a:lnTo>
                    <a:lnTo>
                      <a:pt x="20" y="16"/>
                    </a:lnTo>
                    <a:lnTo>
                      <a:pt x="16" y="12"/>
                    </a:lnTo>
                    <a:lnTo>
                      <a:pt x="11" y="11"/>
                    </a:lnTo>
                    <a:lnTo>
                      <a:pt x="9"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9" name="Freeform 105">
                <a:extLst>
                  <a:ext uri="{FF2B5EF4-FFF2-40B4-BE49-F238E27FC236}">
                    <a16:creationId xmlns:a16="http://schemas.microsoft.com/office/drawing/2014/main" id="{D3749DB2-B6CB-4840-BCB6-C0BBFB0E4591}"/>
                  </a:ext>
                </a:extLst>
              </p:cNvPr>
              <p:cNvSpPr>
                <a:spLocks/>
              </p:cNvSpPr>
              <p:nvPr/>
            </p:nvSpPr>
            <p:spPr bwMode="auto">
              <a:xfrm>
                <a:off x="4131" y="2123"/>
                <a:ext cx="55" cy="31"/>
              </a:xfrm>
              <a:custGeom>
                <a:avLst/>
                <a:gdLst>
                  <a:gd name="T0" fmla="*/ 15 w 55"/>
                  <a:gd name="T1" fmla="*/ 3 h 31"/>
                  <a:gd name="T2" fmla="*/ 15 w 55"/>
                  <a:gd name="T3" fmla="*/ 2 h 31"/>
                  <a:gd name="T4" fmla="*/ 15 w 55"/>
                  <a:gd name="T5" fmla="*/ 2 h 31"/>
                  <a:gd name="T6" fmla="*/ 15 w 55"/>
                  <a:gd name="T7" fmla="*/ 0 h 31"/>
                  <a:gd name="T8" fmla="*/ 15 w 55"/>
                  <a:gd name="T9" fmla="*/ 0 h 31"/>
                  <a:gd name="T10" fmla="*/ 18 w 55"/>
                  <a:gd name="T11" fmla="*/ 3 h 31"/>
                  <a:gd name="T12" fmla="*/ 19 w 55"/>
                  <a:gd name="T13" fmla="*/ 3 h 31"/>
                  <a:gd name="T14" fmla="*/ 21 w 55"/>
                  <a:gd name="T15" fmla="*/ 6 h 31"/>
                  <a:gd name="T16" fmla="*/ 25 w 55"/>
                  <a:gd name="T17" fmla="*/ 5 h 31"/>
                  <a:gd name="T18" fmla="*/ 26 w 55"/>
                  <a:gd name="T19" fmla="*/ 6 h 31"/>
                  <a:gd name="T20" fmla="*/ 27 w 55"/>
                  <a:gd name="T21" fmla="*/ 5 h 31"/>
                  <a:gd name="T22" fmla="*/ 26 w 55"/>
                  <a:gd name="T23" fmla="*/ 8 h 31"/>
                  <a:gd name="T24" fmla="*/ 26 w 55"/>
                  <a:gd name="T25" fmla="*/ 8 h 31"/>
                  <a:gd name="T26" fmla="*/ 28 w 55"/>
                  <a:gd name="T27" fmla="*/ 7 h 31"/>
                  <a:gd name="T28" fmla="*/ 33 w 55"/>
                  <a:gd name="T29" fmla="*/ 11 h 31"/>
                  <a:gd name="T30" fmla="*/ 34 w 55"/>
                  <a:gd name="T31" fmla="*/ 14 h 31"/>
                  <a:gd name="T32" fmla="*/ 36 w 55"/>
                  <a:gd name="T33" fmla="*/ 16 h 31"/>
                  <a:gd name="T34" fmla="*/ 36 w 55"/>
                  <a:gd name="T35" fmla="*/ 14 h 31"/>
                  <a:gd name="T36" fmla="*/ 33 w 55"/>
                  <a:gd name="T37" fmla="*/ 11 h 31"/>
                  <a:gd name="T38" fmla="*/ 32 w 55"/>
                  <a:gd name="T39" fmla="*/ 9 h 31"/>
                  <a:gd name="T40" fmla="*/ 33 w 55"/>
                  <a:gd name="T41" fmla="*/ 9 h 31"/>
                  <a:gd name="T42" fmla="*/ 33 w 55"/>
                  <a:gd name="T43" fmla="*/ 8 h 31"/>
                  <a:gd name="T44" fmla="*/ 33 w 55"/>
                  <a:gd name="T45" fmla="*/ 9 h 31"/>
                  <a:gd name="T46" fmla="*/ 37 w 55"/>
                  <a:gd name="T47" fmla="*/ 15 h 31"/>
                  <a:gd name="T48" fmla="*/ 41 w 55"/>
                  <a:gd name="T49" fmla="*/ 16 h 31"/>
                  <a:gd name="T50" fmla="*/ 45 w 55"/>
                  <a:gd name="T51" fmla="*/ 15 h 31"/>
                  <a:gd name="T52" fmla="*/ 47 w 55"/>
                  <a:gd name="T53" fmla="*/ 15 h 31"/>
                  <a:gd name="T54" fmla="*/ 50 w 55"/>
                  <a:gd name="T55" fmla="*/ 14 h 31"/>
                  <a:gd name="T56" fmla="*/ 53 w 55"/>
                  <a:gd name="T57" fmla="*/ 14 h 31"/>
                  <a:gd name="T58" fmla="*/ 55 w 55"/>
                  <a:gd name="T59" fmla="*/ 15 h 31"/>
                  <a:gd name="T60" fmla="*/ 52 w 55"/>
                  <a:gd name="T61" fmla="*/ 19 h 31"/>
                  <a:gd name="T62" fmla="*/ 52 w 55"/>
                  <a:gd name="T63" fmla="*/ 21 h 31"/>
                  <a:gd name="T64" fmla="*/ 44 w 55"/>
                  <a:gd name="T65" fmla="*/ 22 h 31"/>
                  <a:gd name="T66" fmla="*/ 42 w 55"/>
                  <a:gd name="T67" fmla="*/ 20 h 31"/>
                  <a:gd name="T68" fmla="*/ 38 w 55"/>
                  <a:gd name="T69" fmla="*/ 20 h 31"/>
                  <a:gd name="T70" fmla="*/ 38 w 55"/>
                  <a:gd name="T71" fmla="*/ 22 h 31"/>
                  <a:gd name="T72" fmla="*/ 36 w 55"/>
                  <a:gd name="T73" fmla="*/ 23 h 31"/>
                  <a:gd name="T74" fmla="*/ 34 w 55"/>
                  <a:gd name="T75" fmla="*/ 25 h 31"/>
                  <a:gd name="T76" fmla="*/ 33 w 55"/>
                  <a:gd name="T77" fmla="*/ 24 h 31"/>
                  <a:gd name="T78" fmla="*/ 27 w 55"/>
                  <a:gd name="T79" fmla="*/ 25 h 31"/>
                  <a:gd name="T80" fmla="*/ 25 w 55"/>
                  <a:gd name="T81" fmla="*/ 28 h 31"/>
                  <a:gd name="T82" fmla="*/ 23 w 55"/>
                  <a:gd name="T83" fmla="*/ 30 h 31"/>
                  <a:gd name="T84" fmla="*/ 20 w 55"/>
                  <a:gd name="T85" fmla="*/ 31 h 31"/>
                  <a:gd name="T86" fmla="*/ 15 w 55"/>
                  <a:gd name="T87" fmla="*/ 31 h 31"/>
                  <a:gd name="T88" fmla="*/ 13 w 55"/>
                  <a:gd name="T89" fmla="*/ 30 h 31"/>
                  <a:gd name="T90" fmla="*/ 13 w 55"/>
                  <a:gd name="T91" fmla="*/ 30 h 31"/>
                  <a:gd name="T92" fmla="*/ 10 w 55"/>
                  <a:gd name="T93" fmla="*/ 29 h 31"/>
                  <a:gd name="T94" fmla="*/ 12 w 55"/>
                  <a:gd name="T95" fmla="*/ 28 h 31"/>
                  <a:gd name="T96" fmla="*/ 12 w 55"/>
                  <a:gd name="T97" fmla="*/ 25 h 31"/>
                  <a:gd name="T98" fmla="*/ 15 w 55"/>
                  <a:gd name="T99" fmla="*/ 22 h 31"/>
                  <a:gd name="T100" fmla="*/ 11 w 55"/>
                  <a:gd name="T101" fmla="*/ 19 h 31"/>
                  <a:gd name="T102" fmla="*/ 10 w 55"/>
                  <a:gd name="T103" fmla="*/ 19 h 31"/>
                  <a:gd name="T104" fmla="*/ 7 w 55"/>
                  <a:gd name="T105" fmla="*/ 17 h 31"/>
                  <a:gd name="T106" fmla="*/ 4 w 55"/>
                  <a:gd name="T107" fmla="*/ 15 h 31"/>
                  <a:gd name="T108" fmla="*/ 2 w 55"/>
                  <a:gd name="T109" fmla="*/ 15 h 31"/>
                  <a:gd name="T110" fmla="*/ 0 w 55"/>
                  <a:gd name="T111" fmla="*/ 16 h 31"/>
                  <a:gd name="T112" fmla="*/ 0 w 55"/>
                  <a:gd name="T113" fmla="*/ 13 h 31"/>
                  <a:gd name="T114" fmla="*/ 6 w 55"/>
                  <a:gd name="T115" fmla="*/ 11 h 31"/>
                  <a:gd name="T116" fmla="*/ 13 w 55"/>
                  <a:gd name="T117" fmla="*/ 7 h 31"/>
                  <a:gd name="T118" fmla="*/ 16 w 55"/>
                  <a:gd name="T119" fmla="*/ 6 h 31"/>
                  <a:gd name="T120" fmla="*/ 15 w 55"/>
                  <a:gd name="T121" fmla="*/ 3 h 31"/>
                  <a:gd name="T122" fmla="*/ 15 w 55"/>
                  <a:gd name="T123"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31">
                    <a:moveTo>
                      <a:pt x="15" y="3"/>
                    </a:moveTo>
                    <a:lnTo>
                      <a:pt x="15" y="2"/>
                    </a:lnTo>
                    <a:lnTo>
                      <a:pt x="15" y="2"/>
                    </a:lnTo>
                    <a:lnTo>
                      <a:pt x="15" y="0"/>
                    </a:lnTo>
                    <a:lnTo>
                      <a:pt x="15" y="0"/>
                    </a:lnTo>
                    <a:lnTo>
                      <a:pt x="18" y="3"/>
                    </a:lnTo>
                    <a:lnTo>
                      <a:pt x="19" y="3"/>
                    </a:lnTo>
                    <a:lnTo>
                      <a:pt x="21" y="6"/>
                    </a:lnTo>
                    <a:lnTo>
                      <a:pt x="25" y="5"/>
                    </a:lnTo>
                    <a:lnTo>
                      <a:pt x="26" y="6"/>
                    </a:lnTo>
                    <a:lnTo>
                      <a:pt x="27" y="5"/>
                    </a:lnTo>
                    <a:lnTo>
                      <a:pt x="26" y="8"/>
                    </a:lnTo>
                    <a:lnTo>
                      <a:pt x="26" y="8"/>
                    </a:lnTo>
                    <a:lnTo>
                      <a:pt x="28" y="7"/>
                    </a:lnTo>
                    <a:lnTo>
                      <a:pt x="33" y="11"/>
                    </a:lnTo>
                    <a:lnTo>
                      <a:pt x="34" y="14"/>
                    </a:lnTo>
                    <a:lnTo>
                      <a:pt x="36" y="16"/>
                    </a:lnTo>
                    <a:lnTo>
                      <a:pt x="36" y="14"/>
                    </a:lnTo>
                    <a:lnTo>
                      <a:pt x="33" y="11"/>
                    </a:lnTo>
                    <a:lnTo>
                      <a:pt x="32" y="9"/>
                    </a:lnTo>
                    <a:lnTo>
                      <a:pt x="33" y="9"/>
                    </a:lnTo>
                    <a:lnTo>
                      <a:pt x="33" y="8"/>
                    </a:lnTo>
                    <a:lnTo>
                      <a:pt x="33" y="9"/>
                    </a:lnTo>
                    <a:lnTo>
                      <a:pt x="37" y="15"/>
                    </a:lnTo>
                    <a:lnTo>
                      <a:pt x="41" y="16"/>
                    </a:lnTo>
                    <a:lnTo>
                      <a:pt x="45" y="15"/>
                    </a:lnTo>
                    <a:lnTo>
                      <a:pt x="47" y="15"/>
                    </a:lnTo>
                    <a:lnTo>
                      <a:pt x="50" y="14"/>
                    </a:lnTo>
                    <a:lnTo>
                      <a:pt x="53" y="14"/>
                    </a:lnTo>
                    <a:lnTo>
                      <a:pt x="55" y="15"/>
                    </a:lnTo>
                    <a:lnTo>
                      <a:pt x="52" y="19"/>
                    </a:lnTo>
                    <a:lnTo>
                      <a:pt x="52" y="21"/>
                    </a:lnTo>
                    <a:lnTo>
                      <a:pt x="44" y="22"/>
                    </a:lnTo>
                    <a:lnTo>
                      <a:pt x="42" y="20"/>
                    </a:lnTo>
                    <a:lnTo>
                      <a:pt x="38" y="20"/>
                    </a:lnTo>
                    <a:lnTo>
                      <a:pt x="38" y="22"/>
                    </a:lnTo>
                    <a:lnTo>
                      <a:pt x="36" y="23"/>
                    </a:lnTo>
                    <a:lnTo>
                      <a:pt x="34" y="25"/>
                    </a:lnTo>
                    <a:lnTo>
                      <a:pt x="33" y="24"/>
                    </a:lnTo>
                    <a:lnTo>
                      <a:pt x="27" y="25"/>
                    </a:lnTo>
                    <a:lnTo>
                      <a:pt x="25" y="28"/>
                    </a:lnTo>
                    <a:lnTo>
                      <a:pt x="23" y="30"/>
                    </a:lnTo>
                    <a:lnTo>
                      <a:pt x="20" y="31"/>
                    </a:lnTo>
                    <a:lnTo>
                      <a:pt x="15" y="31"/>
                    </a:lnTo>
                    <a:lnTo>
                      <a:pt x="13" y="30"/>
                    </a:lnTo>
                    <a:lnTo>
                      <a:pt x="13" y="30"/>
                    </a:lnTo>
                    <a:lnTo>
                      <a:pt x="10" y="29"/>
                    </a:lnTo>
                    <a:lnTo>
                      <a:pt x="12" y="28"/>
                    </a:lnTo>
                    <a:lnTo>
                      <a:pt x="12" y="25"/>
                    </a:lnTo>
                    <a:lnTo>
                      <a:pt x="15" y="22"/>
                    </a:lnTo>
                    <a:lnTo>
                      <a:pt x="11" y="19"/>
                    </a:lnTo>
                    <a:lnTo>
                      <a:pt x="10" y="19"/>
                    </a:lnTo>
                    <a:lnTo>
                      <a:pt x="7" y="17"/>
                    </a:lnTo>
                    <a:lnTo>
                      <a:pt x="4" y="15"/>
                    </a:lnTo>
                    <a:lnTo>
                      <a:pt x="2" y="15"/>
                    </a:lnTo>
                    <a:lnTo>
                      <a:pt x="0" y="16"/>
                    </a:lnTo>
                    <a:lnTo>
                      <a:pt x="0" y="13"/>
                    </a:lnTo>
                    <a:lnTo>
                      <a:pt x="6" y="11"/>
                    </a:lnTo>
                    <a:lnTo>
                      <a:pt x="13" y="7"/>
                    </a:lnTo>
                    <a:lnTo>
                      <a:pt x="16" y="6"/>
                    </a:lnTo>
                    <a:lnTo>
                      <a:pt x="15" y="3"/>
                    </a:lnTo>
                    <a:lnTo>
                      <a:pt x="1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0" name="Freeform 106">
                <a:extLst>
                  <a:ext uri="{FF2B5EF4-FFF2-40B4-BE49-F238E27FC236}">
                    <a16:creationId xmlns:a16="http://schemas.microsoft.com/office/drawing/2014/main" id="{48B48F5D-8AB8-4FCF-AC26-49936CB165AA}"/>
                  </a:ext>
                </a:extLst>
              </p:cNvPr>
              <p:cNvSpPr>
                <a:spLocks/>
              </p:cNvSpPr>
              <p:nvPr/>
            </p:nvSpPr>
            <p:spPr bwMode="auto">
              <a:xfrm>
                <a:off x="4277" y="2972"/>
                <a:ext cx="99" cy="192"/>
              </a:xfrm>
              <a:custGeom>
                <a:avLst/>
                <a:gdLst>
                  <a:gd name="T0" fmla="*/ 0 w 99"/>
                  <a:gd name="T1" fmla="*/ 146 h 192"/>
                  <a:gd name="T2" fmla="*/ 5 w 99"/>
                  <a:gd name="T3" fmla="*/ 156 h 192"/>
                  <a:gd name="T4" fmla="*/ 6 w 99"/>
                  <a:gd name="T5" fmla="*/ 164 h 192"/>
                  <a:gd name="T6" fmla="*/ 10 w 99"/>
                  <a:gd name="T7" fmla="*/ 181 h 192"/>
                  <a:gd name="T8" fmla="*/ 17 w 99"/>
                  <a:gd name="T9" fmla="*/ 188 h 192"/>
                  <a:gd name="T10" fmla="*/ 32 w 99"/>
                  <a:gd name="T11" fmla="*/ 191 h 192"/>
                  <a:gd name="T12" fmla="*/ 48 w 99"/>
                  <a:gd name="T13" fmla="*/ 185 h 192"/>
                  <a:gd name="T14" fmla="*/ 56 w 99"/>
                  <a:gd name="T15" fmla="*/ 176 h 192"/>
                  <a:gd name="T16" fmla="*/ 60 w 99"/>
                  <a:gd name="T17" fmla="*/ 163 h 192"/>
                  <a:gd name="T18" fmla="*/ 68 w 99"/>
                  <a:gd name="T19" fmla="*/ 134 h 192"/>
                  <a:gd name="T20" fmla="*/ 75 w 99"/>
                  <a:gd name="T21" fmla="*/ 111 h 192"/>
                  <a:gd name="T22" fmla="*/ 84 w 99"/>
                  <a:gd name="T23" fmla="*/ 89 h 192"/>
                  <a:gd name="T24" fmla="*/ 85 w 99"/>
                  <a:gd name="T25" fmla="*/ 82 h 192"/>
                  <a:gd name="T26" fmla="*/ 87 w 99"/>
                  <a:gd name="T27" fmla="*/ 68 h 192"/>
                  <a:gd name="T28" fmla="*/ 88 w 99"/>
                  <a:gd name="T29" fmla="*/ 55 h 192"/>
                  <a:gd name="T30" fmla="*/ 89 w 99"/>
                  <a:gd name="T31" fmla="*/ 46 h 192"/>
                  <a:gd name="T32" fmla="*/ 94 w 99"/>
                  <a:gd name="T33" fmla="*/ 54 h 192"/>
                  <a:gd name="T34" fmla="*/ 99 w 99"/>
                  <a:gd name="T35" fmla="*/ 47 h 192"/>
                  <a:gd name="T36" fmla="*/ 95 w 99"/>
                  <a:gd name="T37" fmla="*/ 37 h 192"/>
                  <a:gd name="T38" fmla="*/ 94 w 99"/>
                  <a:gd name="T39" fmla="*/ 28 h 192"/>
                  <a:gd name="T40" fmla="*/ 91 w 99"/>
                  <a:gd name="T41" fmla="*/ 12 h 192"/>
                  <a:gd name="T42" fmla="*/ 86 w 99"/>
                  <a:gd name="T43" fmla="*/ 5 h 192"/>
                  <a:gd name="T44" fmla="*/ 84 w 99"/>
                  <a:gd name="T45" fmla="*/ 0 h 192"/>
                  <a:gd name="T46" fmla="*/ 78 w 99"/>
                  <a:gd name="T47" fmla="*/ 5 h 192"/>
                  <a:gd name="T48" fmla="*/ 78 w 99"/>
                  <a:gd name="T49" fmla="*/ 10 h 192"/>
                  <a:gd name="T50" fmla="*/ 77 w 99"/>
                  <a:gd name="T51" fmla="*/ 17 h 192"/>
                  <a:gd name="T52" fmla="*/ 69 w 99"/>
                  <a:gd name="T53" fmla="*/ 22 h 192"/>
                  <a:gd name="T54" fmla="*/ 63 w 99"/>
                  <a:gd name="T55" fmla="*/ 23 h 192"/>
                  <a:gd name="T56" fmla="*/ 63 w 99"/>
                  <a:gd name="T57" fmla="*/ 30 h 192"/>
                  <a:gd name="T58" fmla="*/ 65 w 99"/>
                  <a:gd name="T59" fmla="*/ 35 h 192"/>
                  <a:gd name="T60" fmla="*/ 61 w 99"/>
                  <a:gd name="T61" fmla="*/ 37 h 192"/>
                  <a:gd name="T62" fmla="*/ 56 w 99"/>
                  <a:gd name="T63" fmla="*/ 38 h 192"/>
                  <a:gd name="T64" fmla="*/ 54 w 99"/>
                  <a:gd name="T65" fmla="*/ 46 h 192"/>
                  <a:gd name="T66" fmla="*/ 52 w 99"/>
                  <a:gd name="T67" fmla="*/ 47 h 192"/>
                  <a:gd name="T68" fmla="*/ 45 w 99"/>
                  <a:gd name="T69" fmla="*/ 47 h 192"/>
                  <a:gd name="T70" fmla="*/ 44 w 99"/>
                  <a:gd name="T71" fmla="*/ 54 h 192"/>
                  <a:gd name="T72" fmla="*/ 42 w 99"/>
                  <a:gd name="T73" fmla="*/ 53 h 192"/>
                  <a:gd name="T74" fmla="*/ 34 w 99"/>
                  <a:gd name="T75" fmla="*/ 52 h 192"/>
                  <a:gd name="T76" fmla="*/ 24 w 99"/>
                  <a:gd name="T77" fmla="*/ 57 h 192"/>
                  <a:gd name="T78" fmla="*/ 16 w 99"/>
                  <a:gd name="T79" fmla="*/ 57 h 192"/>
                  <a:gd name="T80" fmla="*/ 16 w 99"/>
                  <a:gd name="T81" fmla="*/ 65 h 192"/>
                  <a:gd name="T82" fmla="*/ 10 w 99"/>
                  <a:gd name="T83" fmla="*/ 80 h 192"/>
                  <a:gd name="T84" fmla="*/ 14 w 99"/>
                  <a:gd name="T85" fmla="*/ 94 h 192"/>
                  <a:gd name="T86" fmla="*/ 16 w 99"/>
                  <a:gd name="T87" fmla="*/ 102 h 192"/>
                  <a:gd name="T88" fmla="*/ 16 w 99"/>
                  <a:gd name="T89" fmla="*/ 106 h 192"/>
                  <a:gd name="T90" fmla="*/ 17 w 99"/>
                  <a:gd name="T91" fmla="*/ 111 h 192"/>
                  <a:gd name="T92" fmla="*/ 11 w 99"/>
                  <a:gd name="T93" fmla="*/ 121 h 192"/>
                  <a:gd name="T94" fmla="*/ 7 w 99"/>
                  <a:gd name="T95" fmla="*/ 130 h 192"/>
                  <a:gd name="T96" fmla="*/ 3 w 99"/>
                  <a:gd name="T97" fmla="*/ 133 h 192"/>
                  <a:gd name="T98" fmla="*/ 0 w 99"/>
                  <a:gd name="T99" fmla="*/ 14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 h="192">
                    <a:moveTo>
                      <a:pt x="0" y="141"/>
                    </a:moveTo>
                    <a:lnTo>
                      <a:pt x="0" y="142"/>
                    </a:lnTo>
                    <a:lnTo>
                      <a:pt x="0" y="146"/>
                    </a:lnTo>
                    <a:lnTo>
                      <a:pt x="1" y="150"/>
                    </a:lnTo>
                    <a:lnTo>
                      <a:pt x="2" y="154"/>
                    </a:lnTo>
                    <a:lnTo>
                      <a:pt x="5" y="156"/>
                    </a:lnTo>
                    <a:lnTo>
                      <a:pt x="5" y="158"/>
                    </a:lnTo>
                    <a:lnTo>
                      <a:pt x="7" y="163"/>
                    </a:lnTo>
                    <a:lnTo>
                      <a:pt x="6" y="164"/>
                    </a:lnTo>
                    <a:lnTo>
                      <a:pt x="6" y="173"/>
                    </a:lnTo>
                    <a:lnTo>
                      <a:pt x="9" y="177"/>
                    </a:lnTo>
                    <a:lnTo>
                      <a:pt x="10" y="181"/>
                    </a:lnTo>
                    <a:lnTo>
                      <a:pt x="11" y="184"/>
                    </a:lnTo>
                    <a:lnTo>
                      <a:pt x="14" y="185"/>
                    </a:lnTo>
                    <a:lnTo>
                      <a:pt x="17" y="188"/>
                    </a:lnTo>
                    <a:lnTo>
                      <a:pt x="20" y="188"/>
                    </a:lnTo>
                    <a:lnTo>
                      <a:pt x="26" y="192"/>
                    </a:lnTo>
                    <a:lnTo>
                      <a:pt x="32" y="191"/>
                    </a:lnTo>
                    <a:lnTo>
                      <a:pt x="35" y="189"/>
                    </a:lnTo>
                    <a:lnTo>
                      <a:pt x="41" y="186"/>
                    </a:lnTo>
                    <a:lnTo>
                      <a:pt x="48" y="185"/>
                    </a:lnTo>
                    <a:lnTo>
                      <a:pt x="51" y="184"/>
                    </a:lnTo>
                    <a:lnTo>
                      <a:pt x="53" y="181"/>
                    </a:lnTo>
                    <a:lnTo>
                      <a:pt x="56" y="176"/>
                    </a:lnTo>
                    <a:lnTo>
                      <a:pt x="56" y="173"/>
                    </a:lnTo>
                    <a:lnTo>
                      <a:pt x="59" y="166"/>
                    </a:lnTo>
                    <a:lnTo>
                      <a:pt x="60" y="163"/>
                    </a:lnTo>
                    <a:lnTo>
                      <a:pt x="61" y="157"/>
                    </a:lnTo>
                    <a:lnTo>
                      <a:pt x="65" y="145"/>
                    </a:lnTo>
                    <a:lnTo>
                      <a:pt x="68" y="134"/>
                    </a:lnTo>
                    <a:lnTo>
                      <a:pt x="74" y="116"/>
                    </a:lnTo>
                    <a:lnTo>
                      <a:pt x="76" y="111"/>
                    </a:lnTo>
                    <a:lnTo>
                      <a:pt x="75" y="111"/>
                    </a:lnTo>
                    <a:lnTo>
                      <a:pt x="76" y="111"/>
                    </a:lnTo>
                    <a:lnTo>
                      <a:pt x="79" y="99"/>
                    </a:lnTo>
                    <a:lnTo>
                      <a:pt x="84" y="89"/>
                    </a:lnTo>
                    <a:lnTo>
                      <a:pt x="84" y="86"/>
                    </a:lnTo>
                    <a:lnTo>
                      <a:pt x="85" y="85"/>
                    </a:lnTo>
                    <a:lnTo>
                      <a:pt x="85" y="82"/>
                    </a:lnTo>
                    <a:lnTo>
                      <a:pt x="86" y="80"/>
                    </a:lnTo>
                    <a:lnTo>
                      <a:pt x="85" y="72"/>
                    </a:lnTo>
                    <a:lnTo>
                      <a:pt x="87" y="68"/>
                    </a:lnTo>
                    <a:lnTo>
                      <a:pt x="91" y="62"/>
                    </a:lnTo>
                    <a:lnTo>
                      <a:pt x="91" y="60"/>
                    </a:lnTo>
                    <a:lnTo>
                      <a:pt x="88" y="55"/>
                    </a:lnTo>
                    <a:lnTo>
                      <a:pt x="88" y="52"/>
                    </a:lnTo>
                    <a:lnTo>
                      <a:pt x="87" y="49"/>
                    </a:lnTo>
                    <a:lnTo>
                      <a:pt x="89" y="46"/>
                    </a:lnTo>
                    <a:lnTo>
                      <a:pt x="91" y="48"/>
                    </a:lnTo>
                    <a:lnTo>
                      <a:pt x="93" y="51"/>
                    </a:lnTo>
                    <a:lnTo>
                      <a:pt x="94" y="54"/>
                    </a:lnTo>
                    <a:lnTo>
                      <a:pt x="96" y="53"/>
                    </a:lnTo>
                    <a:lnTo>
                      <a:pt x="97" y="49"/>
                    </a:lnTo>
                    <a:lnTo>
                      <a:pt x="99" y="47"/>
                    </a:lnTo>
                    <a:lnTo>
                      <a:pt x="99" y="44"/>
                    </a:lnTo>
                    <a:lnTo>
                      <a:pt x="96" y="39"/>
                    </a:lnTo>
                    <a:lnTo>
                      <a:pt x="95" y="37"/>
                    </a:lnTo>
                    <a:lnTo>
                      <a:pt x="95" y="34"/>
                    </a:lnTo>
                    <a:lnTo>
                      <a:pt x="95" y="31"/>
                    </a:lnTo>
                    <a:lnTo>
                      <a:pt x="94" y="28"/>
                    </a:lnTo>
                    <a:lnTo>
                      <a:pt x="94" y="23"/>
                    </a:lnTo>
                    <a:lnTo>
                      <a:pt x="92" y="15"/>
                    </a:lnTo>
                    <a:lnTo>
                      <a:pt x="91" y="12"/>
                    </a:lnTo>
                    <a:lnTo>
                      <a:pt x="89" y="10"/>
                    </a:lnTo>
                    <a:lnTo>
                      <a:pt x="87" y="8"/>
                    </a:lnTo>
                    <a:lnTo>
                      <a:pt x="86" y="5"/>
                    </a:lnTo>
                    <a:lnTo>
                      <a:pt x="84" y="2"/>
                    </a:lnTo>
                    <a:lnTo>
                      <a:pt x="82" y="3"/>
                    </a:lnTo>
                    <a:lnTo>
                      <a:pt x="84" y="0"/>
                    </a:lnTo>
                    <a:lnTo>
                      <a:pt x="80" y="0"/>
                    </a:lnTo>
                    <a:lnTo>
                      <a:pt x="80" y="2"/>
                    </a:lnTo>
                    <a:lnTo>
                      <a:pt x="78" y="5"/>
                    </a:lnTo>
                    <a:lnTo>
                      <a:pt x="76" y="4"/>
                    </a:lnTo>
                    <a:lnTo>
                      <a:pt x="77" y="6"/>
                    </a:lnTo>
                    <a:lnTo>
                      <a:pt x="78" y="10"/>
                    </a:lnTo>
                    <a:lnTo>
                      <a:pt x="77" y="12"/>
                    </a:lnTo>
                    <a:lnTo>
                      <a:pt x="77" y="13"/>
                    </a:lnTo>
                    <a:lnTo>
                      <a:pt x="77" y="17"/>
                    </a:lnTo>
                    <a:lnTo>
                      <a:pt x="74" y="19"/>
                    </a:lnTo>
                    <a:lnTo>
                      <a:pt x="71" y="20"/>
                    </a:lnTo>
                    <a:lnTo>
                      <a:pt x="69" y="22"/>
                    </a:lnTo>
                    <a:lnTo>
                      <a:pt x="67" y="21"/>
                    </a:lnTo>
                    <a:lnTo>
                      <a:pt x="63" y="21"/>
                    </a:lnTo>
                    <a:lnTo>
                      <a:pt x="63" y="23"/>
                    </a:lnTo>
                    <a:lnTo>
                      <a:pt x="65" y="26"/>
                    </a:lnTo>
                    <a:lnTo>
                      <a:pt x="66" y="28"/>
                    </a:lnTo>
                    <a:lnTo>
                      <a:pt x="63" y="30"/>
                    </a:lnTo>
                    <a:lnTo>
                      <a:pt x="61" y="31"/>
                    </a:lnTo>
                    <a:lnTo>
                      <a:pt x="62" y="35"/>
                    </a:lnTo>
                    <a:lnTo>
                      <a:pt x="65" y="35"/>
                    </a:lnTo>
                    <a:lnTo>
                      <a:pt x="65" y="37"/>
                    </a:lnTo>
                    <a:lnTo>
                      <a:pt x="63" y="36"/>
                    </a:lnTo>
                    <a:lnTo>
                      <a:pt x="61" y="37"/>
                    </a:lnTo>
                    <a:lnTo>
                      <a:pt x="57" y="42"/>
                    </a:lnTo>
                    <a:lnTo>
                      <a:pt x="58" y="37"/>
                    </a:lnTo>
                    <a:lnTo>
                      <a:pt x="56" y="38"/>
                    </a:lnTo>
                    <a:lnTo>
                      <a:pt x="54" y="42"/>
                    </a:lnTo>
                    <a:lnTo>
                      <a:pt x="52" y="44"/>
                    </a:lnTo>
                    <a:lnTo>
                      <a:pt x="54" y="46"/>
                    </a:lnTo>
                    <a:lnTo>
                      <a:pt x="54" y="47"/>
                    </a:lnTo>
                    <a:lnTo>
                      <a:pt x="53" y="47"/>
                    </a:lnTo>
                    <a:lnTo>
                      <a:pt x="52" y="47"/>
                    </a:lnTo>
                    <a:lnTo>
                      <a:pt x="51" y="46"/>
                    </a:lnTo>
                    <a:lnTo>
                      <a:pt x="51" y="44"/>
                    </a:lnTo>
                    <a:lnTo>
                      <a:pt x="45" y="47"/>
                    </a:lnTo>
                    <a:lnTo>
                      <a:pt x="42" y="49"/>
                    </a:lnTo>
                    <a:lnTo>
                      <a:pt x="42" y="52"/>
                    </a:lnTo>
                    <a:lnTo>
                      <a:pt x="44" y="54"/>
                    </a:lnTo>
                    <a:lnTo>
                      <a:pt x="43" y="54"/>
                    </a:lnTo>
                    <a:lnTo>
                      <a:pt x="42" y="54"/>
                    </a:lnTo>
                    <a:lnTo>
                      <a:pt x="42" y="53"/>
                    </a:lnTo>
                    <a:lnTo>
                      <a:pt x="41" y="51"/>
                    </a:lnTo>
                    <a:lnTo>
                      <a:pt x="37" y="53"/>
                    </a:lnTo>
                    <a:lnTo>
                      <a:pt x="34" y="52"/>
                    </a:lnTo>
                    <a:lnTo>
                      <a:pt x="28" y="56"/>
                    </a:lnTo>
                    <a:lnTo>
                      <a:pt x="26" y="54"/>
                    </a:lnTo>
                    <a:lnTo>
                      <a:pt x="24" y="57"/>
                    </a:lnTo>
                    <a:lnTo>
                      <a:pt x="22" y="57"/>
                    </a:lnTo>
                    <a:lnTo>
                      <a:pt x="19" y="57"/>
                    </a:lnTo>
                    <a:lnTo>
                      <a:pt x="16" y="57"/>
                    </a:lnTo>
                    <a:lnTo>
                      <a:pt x="16" y="60"/>
                    </a:lnTo>
                    <a:lnTo>
                      <a:pt x="16" y="63"/>
                    </a:lnTo>
                    <a:lnTo>
                      <a:pt x="16" y="65"/>
                    </a:lnTo>
                    <a:lnTo>
                      <a:pt x="12" y="70"/>
                    </a:lnTo>
                    <a:lnTo>
                      <a:pt x="9" y="75"/>
                    </a:lnTo>
                    <a:lnTo>
                      <a:pt x="10" y="80"/>
                    </a:lnTo>
                    <a:lnTo>
                      <a:pt x="10" y="82"/>
                    </a:lnTo>
                    <a:lnTo>
                      <a:pt x="11" y="88"/>
                    </a:lnTo>
                    <a:lnTo>
                      <a:pt x="14" y="94"/>
                    </a:lnTo>
                    <a:lnTo>
                      <a:pt x="14" y="96"/>
                    </a:lnTo>
                    <a:lnTo>
                      <a:pt x="14" y="99"/>
                    </a:lnTo>
                    <a:lnTo>
                      <a:pt x="16" y="102"/>
                    </a:lnTo>
                    <a:lnTo>
                      <a:pt x="16" y="102"/>
                    </a:lnTo>
                    <a:lnTo>
                      <a:pt x="17" y="105"/>
                    </a:lnTo>
                    <a:lnTo>
                      <a:pt x="16" y="106"/>
                    </a:lnTo>
                    <a:lnTo>
                      <a:pt x="16" y="108"/>
                    </a:lnTo>
                    <a:lnTo>
                      <a:pt x="16" y="109"/>
                    </a:lnTo>
                    <a:lnTo>
                      <a:pt x="17" y="111"/>
                    </a:lnTo>
                    <a:lnTo>
                      <a:pt x="16" y="112"/>
                    </a:lnTo>
                    <a:lnTo>
                      <a:pt x="14" y="115"/>
                    </a:lnTo>
                    <a:lnTo>
                      <a:pt x="11" y="121"/>
                    </a:lnTo>
                    <a:lnTo>
                      <a:pt x="9" y="124"/>
                    </a:lnTo>
                    <a:lnTo>
                      <a:pt x="8" y="126"/>
                    </a:lnTo>
                    <a:lnTo>
                      <a:pt x="7" y="130"/>
                    </a:lnTo>
                    <a:lnTo>
                      <a:pt x="5" y="129"/>
                    </a:lnTo>
                    <a:lnTo>
                      <a:pt x="3" y="131"/>
                    </a:lnTo>
                    <a:lnTo>
                      <a:pt x="3" y="133"/>
                    </a:lnTo>
                    <a:lnTo>
                      <a:pt x="1" y="137"/>
                    </a:lnTo>
                    <a:lnTo>
                      <a:pt x="0" y="141"/>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1" name="Freeform 107">
                <a:extLst>
                  <a:ext uri="{FF2B5EF4-FFF2-40B4-BE49-F238E27FC236}">
                    <a16:creationId xmlns:a16="http://schemas.microsoft.com/office/drawing/2014/main" id="{88F03789-D113-423D-9396-C173EA35EF63}"/>
                  </a:ext>
                </a:extLst>
              </p:cNvPr>
              <p:cNvSpPr>
                <a:spLocks/>
              </p:cNvSpPr>
              <p:nvPr/>
            </p:nvSpPr>
            <p:spPr bwMode="auto">
              <a:xfrm>
                <a:off x="4301" y="1341"/>
                <a:ext cx="51" cy="14"/>
              </a:xfrm>
              <a:custGeom>
                <a:avLst/>
                <a:gdLst>
                  <a:gd name="T0" fmla="*/ 0 w 51"/>
                  <a:gd name="T1" fmla="*/ 8 h 14"/>
                  <a:gd name="T2" fmla="*/ 0 w 51"/>
                  <a:gd name="T3" fmla="*/ 9 h 14"/>
                  <a:gd name="T4" fmla="*/ 3 w 51"/>
                  <a:gd name="T5" fmla="*/ 9 h 14"/>
                  <a:gd name="T6" fmla="*/ 9 w 51"/>
                  <a:gd name="T7" fmla="*/ 10 h 14"/>
                  <a:gd name="T8" fmla="*/ 11 w 51"/>
                  <a:gd name="T9" fmla="*/ 10 h 14"/>
                  <a:gd name="T10" fmla="*/ 15 w 51"/>
                  <a:gd name="T11" fmla="*/ 11 h 14"/>
                  <a:gd name="T12" fmla="*/ 15 w 51"/>
                  <a:gd name="T13" fmla="*/ 14 h 14"/>
                  <a:gd name="T14" fmla="*/ 18 w 51"/>
                  <a:gd name="T15" fmla="*/ 14 h 14"/>
                  <a:gd name="T16" fmla="*/ 22 w 51"/>
                  <a:gd name="T17" fmla="*/ 10 h 14"/>
                  <a:gd name="T18" fmla="*/ 26 w 51"/>
                  <a:gd name="T19" fmla="*/ 10 h 14"/>
                  <a:gd name="T20" fmla="*/ 32 w 51"/>
                  <a:gd name="T21" fmla="*/ 7 h 14"/>
                  <a:gd name="T22" fmla="*/ 34 w 51"/>
                  <a:gd name="T23" fmla="*/ 4 h 14"/>
                  <a:gd name="T24" fmla="*/ 37 w 51"/>
                  <a:gd name="T25" fmla="*/ 3 h 14"/>
                  <a:gd name="T26" fmla="*/ 43 w 51"/>
                  <a:gd name="T27" fmla="*/ 7 h 14"/>
                  <a:gd name="T28" fmla="*/ 51 w 51"/>
                  <a:gd name="T29" fmla="*/ 8 h 14"/>
                  <a:gd name="T30" fmla="*/ 50 w 51"/>
                  <a:gd name="T31" fmla="*/ 6 h 14"/>
                  <a:gd name="T32" fmla="*/ 48 w 51"/>
                  <a:gd name="T33" fmla="*/ 2 h 14"/>
                  <a:gd name="T34" fmla="*/ 46 w 51"/>
                  <a:gd name="T35" fmla="*/ 1 h 14"/>
                  <a:gd name="T36" fmla="*/ 39 w 51"/>
                  <a:gd name="T37" fmla="*/ 2 h 14"/>
                  <a:gd name="T38" fmla="*/ 34 w 51"/>
                  <a:gd name="T39" fmla="*/ 0 h 14"/>
                  <a:gd name="T40" fmla="*/ 32 w 51"/>
                  <a:gd name="T41" fmla="*/ 1 h 14"/>
                  <a:gd name="T42" fmla="*/ 28 w 51"/>
                  <a:gd name="T43" fmla="*/ 3 h 14"/>
                  <a:gd name="T44" fmla="*/ 26 w 51"/>
                  <a:gd name="T45" fmla="*/ 3 h 14"/>
                  <a:gd name="T46" fmla="*/ 22 w 51"/>
                  <a:gd name="T47" fmla="*/ 3 h 14"/>
                  <a:gd name="T48" fmla="*/ 17 w 51"/>
                  <a:gd name="T49" fmla="*/ 6 h 14"/>
                  <a:gd name="T50" fmla="*/ 0 w 51"/>
                  <a:gd name="T51" fmla="*/ 8 h 14"/>
                  <a:gd name="T52" fmla="*/ 0 w 51"/>
                  <a:gd name="T5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8"/>
                    </a:moveTo>
                    <a:lnTo>
                      <a:pt x="0" y="9"/>
                    </a:lnTo>
                    <a:lnTo>
                      <a:pt x="3" y="9"/>
                    </a:lnTo>
                    <a:lnTo>
                      <a:pt x="9" y="10"/>
                    </a:lnTo>
                    <a:lnTo>
                      <a:pt x="11" y="10"/>
                    </a:lnTo>
                    <a:lnTo>
                      <a:pt x="15" y="11"/>
                    </a:lnTo>
                    <a:lnTo>
                      <a:pt x="15" y="14"/>
                    </a:lnTo>
                    <a:lnTo>
                      <a:pt x="18" y="14"/>
                    </a:lnTo>
                    <a:lnTo>
                      <a:pt x="22" y="10"/>
                    </a:lnTo>
                    <a:lnTo>
                      <a:pt x="26" y="10"/>
                    </a:lnTo>
                    <a:lnTo>
                      <a:pt x="32" y="7"/>
                    </a:lnTo>
                    <a:lnTo>
                      <a:pt x="34" y="4"/>
                    </a:lnTo>
                    <a:lnTo>
                      <a:pt x="37" y="3"/>
                    </a:lnTo>
                    <a:lnTo>
                      <a:pt x="43" y="7"/>
                    </a:lnTo>
                    <a:lnTo>
                      <a:pt x="51" y="8"/>
                    </a:lnTo>
                    <a:lnTo>
                      <a:pt x="50" y="6"/>
                    </a:lnTo>
                    <a:lnTo>
                      <a:pt x="48" y="2"/>
                    </a:lnTo>
                    <a:lnTo>
                      <a:pt x="46" y="1"/>
                    </a:lnTo>
                    <a:lnTo>
                      <a:pt x="39" y="2"/>
                    </a:lnTo>
                    <a:lnTo>
                      <a:pt x="34" y="0"/>
                    </a:lnTo>
                    <a:lnTo>
                      <a:pt x="32" y="1"/>
                    </a:lnTo>
                    <a:lnTo>
                      <a:pt x="28" y="3"/>
                    </a:lnTo>
                    <a:lnTo>
                      <a:pt x="26" y="3"/>
                    </a:lnTo>
                    <a:lnTo>
                      <a:pt x="22" y="3"/>
                    </a:lnTo>
                    <a:lnTo>
                      <a:pt x="17" y="6"/>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2" name="Freeform 108">
                <a:extLst>
                  <a:ext uri="{FF2B5EF4-FFF2-40B4-BE49-F238E27FC236}">
                    <a16:creationId xmlns:a16="http://schemas.microsoft.com/office/drawing/2014/main" id="{1A92046C-A7DD-4066-8B97-E8BD4A240453}"/>
                  </a:ext>
                </a:extLst>
              </p:cNvPr>
              <p:cNvSpPr>
                <a:spLocks/>
              </p:cNvSpPr>
              <p:nvPr/>
            </p:nvSpPr>
            <p:spPr bwMode="auto">
              <a:xfrm>
                <a:off x="4325" y="1340"/>
                <a:ext cx="68" cy="26"/>
              </a:xfrm>
              <a:custGeom>
                <a:avLst/>
                <a:gdLst>
                  <a:gd name="T0" fmla="*/ 14 w 68"/>
                  <a:gd name="T1" fmla="*/ 26 h 26"/>
                  <a:gd name="T2" fmla="*/ 23 w 68"/>
                  <a:gd name="T3" fmla="*/ 25 h 26"/>
                  <a:gd name="T4" fmla="*/ 29 w 68"/>
                  <a:gd name="T5" fmla="*/ 24 h 26"/>
                  <a:gd name="T6" fmla="*/ 28 w 68"/>
                  <a:gd name="T7" fmla="*/ 19 h 26"/>
                  <a:gd name="T8" fmla="*/ 39 w 68"/>
                  <a:gd name="T9" fmla="*/ 17 h 26"/>
                  <a:gd name="T10" fmla="*/ 41 w 68"/>
                  <a:gd name="T11" fmla="*/ 13 h 26"/>
                  <a:gd name="T12" fmla="*/ 55 w 68"/>
                  <a:gd name="T13" fmla="*/ 11 h 26"/>
                  <a:gd name="T14" fmla="*/ 62 w 68"/>
                  <a:gd name="T15" fmla="*/ 9 h 26"/>
                  <a:gd name="T16" fmla="*/ 68 w 68"/>
                  <a:gd name="T17" fmla="*/ 8 h 26"/>
                  <a:gd name="T18" fmla="*/ 61 w 68"/>
                  <a:gd name="T19" fmla="*/ 3 h 26"/>
                  <a:gd name="T20" fmla="*/ 53 w 68"/>
                  <a:gd name="T21" fmla="*/ 4 h 26"/>
                  <a:gd name="T22" fmla="*/ 51 w 68"/>
                  <a:gd name="T23" fmla="*/ 3 h 26"/>
                  <a:gd name="T24" fmla="*/ 56 w 68"/>
                  <a:gd name="T25" fmla="*/ 0 h 26"/>
                  <a:gd name="T26" fmla="*/ 45 w 68"/>
                  <a:gd name="T27" fmla="*/ 1 h 26"/>
                  <a:gd name="T28" fmla="*/ 45 w 68"/>
                  <a:gd name="T29" fmla="*/ 0 h 26"/>
                  <a:gd name="T30" fmla="*/ 39 w 68"/>
                  <a:gd name="T31" fmla="*/ 1 h 26"/>
                  <a:gd name="T32" fmla="*/ 34 w 68"/>
                  <a:gd name="T33" fmla="*/ 5 h 26"/>
                  <a:gd name="T34" fmla="*/ 39 w 68"/>
                  <a:gd name="T35" fmla="*/ 5 h 26"/>
                  <a:gd name="T36" fmla="*/ 36 w 68"/>
                  <a:gd name="T37" fmla="*/ 8 h 26"/>
                  <a:gd name="T38" fmla="*/ 31 w 68"/>
                  <a:gd name="T39" fmla="*/ 12 h 26"/>
                  <a:gd name="T40" fmla="*/ 26 w 68"/>
                  <a:gd name="T41" fmla="*/ 12 h 26"/>
                  <a:gd name="T42" fmla="*/ 20 w 68"/>
                  <a:gd name="T43" fmla="*/ 11 h 26"/>
                  <a:gd name="T44" fmla="*/ 9 w 68"/>
                  <a:gd name="T45" fmla="*/ 15 h 26"/>
                  <a:gd name="T46" fmla="*/ 18 w 68"/>
                  <a:gd name="T47" fmla="*/ 13 h 26"/>
                  <a:gd name="T48" fmla="*/ 14 w 68"/>
                  <a:gd name="T49" fmla="*/ 16 h 26"/>
                  <a:gd name="T50" fmla="*/ 14 w 68"/>
                  <a:gd name="T51" fmla="*/ 19 h 26"/>
                  <a:gd name="T52" fmla="*/ 3 w 68"/>
                  <a:gd name="T53" fmla="*/ 17 h 26"/>
                  <a:gd name="T54" fmla="*/ 1 w 68"/>
                  <a:gd name="T55" fmla="*/ 20 h 26"/>
                  <a:gd name="T56" fmla="*/ 10 w 68"/>
                  <a:gd name="T57" fmla="*/ 21 h 26"/>
                  <a:gd name="T58" fmla="*/ 15 w 68"/>
                  <a:gd name="T59" fmla="*/ 20 h 26"/>
                  <a:gd name="T60" fmla="*/ 15 w 68"/>
                  <a:gd name="T61" fmla="*/ 22 h 26"/>
                  <a:gd name="T62" fmla="*/ 12 w 68"/>
                  <a:gd name="T63"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26">
                    <a:moveTo>
                      <a:pt x="12" y="25"/>
                    </a:moveTo>
                    <a:lnTo>
                      <a:pt x="14" y="26"/>
                    </a:lnTo>
                    <a:lnTo>
                      <a:pt x="20" y="25"/>
                    </a:lnTo>
                    <a:lnTo>
                      <a:pt x="23" y="25"/>
                    </a:lnTo>
                    <a:lnTo>
                      <a:pt x="23" y="22"/>
                    </a:lnTo>
                    <a:lnTo>
                      <a:pt x="29" y="24"/>
                    </a:lnTo>
                    <a:lnTo>
                      <a:pt x="31" y="21"/>
                    </a:lnTo>
                    <a:lnTo>
                      <a:pt x="28" y="19"/>
                    </a:lnTo>
                    <a:lnTo>
                      <a:pt x="28" y="17"/>
                    </a:lnTo>
                    <a:lnTo>
                      <a:pt x="39" y="17"/>
                    </a:lnTo>
                    <a:lnTo>
                      <a:pt x="43" y="16"/>
                    </a:lnTo>
                    <a:lnTo>
                      <a:pt x="41" y="13"/>
                    </a:lnTo>
                    <a:lnTo>
                      <a:pt x="46" y="12"/>
                    </a:lnTo>
                    <a:lnTo>
                      <a:pt x="55" y="11"/>
                    </a:lnTo>
                    <a:lnTo>
                      <a:pt x="58" y="11"/>
                    </a:lnTo>
                    <a:lnTo>
                      <a:pt x="62" y="9"/>
                    </a:lnTo>
                    <a:lnTo>
                      <a:pt x="64" y="9"/>
                    </a:lnTo>
                    <a:lnTo>
                      <a:pt x="68" y="8"/>
                    </a:lnTo>
                    <a:lnTo>
                      <a:pt x="64" y="5"/>
                    </a:lnTo>
                    <a:lnTo>
                      <a:pt x="61" y="3"/>
                    </a:lnTo>
                    <a:lnTo>
                      <a:pt x="55" y="4"/>
                    </a:lnTo>
                    <a:lnTo>
                      <a:pt x="53" y="4"/>
                    </a:lnTo>
                    <a:lnTo>
                      <a:pt x="49" y="5"/>
                    </a:lnTo>
                    <a:lnTo>
                      <a:pt x="51" y="3"/>
                    </a:lnTo>
                    <a:lnTo>
                      <a:pt x="57" y="2"/>
                    </a:lnTo>
                    <a:lnTo>
                      <a:pt x="56" y="0"/>
                    </a:lnTo>
                    <a:lnTo>
                      <a:pt x="47" y="1"/>
                    </a:lnTo>
                    <a:lnTo>
                      <a:pt x="45" y="1"/>
                    </a:lnTo>
                    <a:lnTo>
                      <a:pt x="48" y="0"/>
                    </a:lnTo>
                    <a:lnTo>
                      <a:pt x="45" y="0"/>
                    </a:lnTo>
                    <a:lnTo>
                      <a:pt x="43" y="0"/>
                    </a:lnTo>
                    <a:lnTo>
                      <a:pt x="39" y="1"/>
                    </a:lnTo>
                    <a:lnTo>
                      <a:pt x="31" y="3"/>
                    </a:lnTo>
                    <a:lnTo>
                      <a:pt x="34" y="5"/>
                    </a:lnTo>
                    <a:lnTo>
                      <a:pt x="37" y="5"/>
                    </a:lnTo>
                    <a:lnTo>
                      <a:pt x="39" y="5"/>
                    </a:lnTo>
                    <a:lnTo>
                      <a:pt x="39" y="8"/>
                    </a:lnTo>
                    <a:lnTo>
                      <a:pt x="36" y="8"/>
                    </a:lnTo>
                    <a:lnTo>
                      <a:pt x="34" y="10"/>
                    </a:lnTo>
                    <a:lnTo>
                      <a:pt x="31" y="12"/>
                    </a:lnTo>
                    <a:lnTo>
                      <a:pt x="28" y="12"/>
                    </a:lnTo>
                    <a:lnTo>
                      <a:pt x="26" y="12"/>
                    </a:lnTo>
                    <a:lnTo>
                      <a:pt x="22" y="10"/>
                    </a:lnTo>
                    <a:lnTo>
                      <a:pt x="20" y="11"/>
                    </a:lnTo>
                    <a:lnTo>
                      <a:pt x="17" y="11"/>
                    </a:lnTo>
                    <a:lnTo>
                      <a:pt x="9" y="15"/>
                    </a:lnTo>
                    <a:lnTo>
                      <a:pt x="14" y="13"/>
                    </a:lnTo>
                    <a:lnTo>
                      <a:pt x="18" y="13"/>
                    </a:lnTo>
                    <a:lnTo>
                      <a:pt x="20" y="15"/>
                    </a:lnTo>
                    <a:lnTo>
                      <a:pt x="14" y="16"/>
                    </a:lnTo>
                    <a:lnTo>
                      <a:pt x="17" y="17"/>
                    </a:lnTo>
                    <a:lnTo>
                      <a:pt x="14" y="19"/>
                    </a:lnTo>
                    <a:lnTo>
                      <a:pt x="6" y="19"/>
                    </a:lnTo>
                    <a:lnTo>
                      <a:pt x="3" y="17"/>
                    </a:lnTo>
                    <a:lnTo>
                      <a:pt x="0" y="18"/>
                    </a:lnTo>
                    <a:lnTo>
                      <a:pt x="1" y="20"/>
                    </a:lnTo>
                    <a:lnTo>
                      <a:pt x="4" y="22"/>
                    </a:lnTo>
                    <a:lnTo>
                      <a:pt x="10" y="21"/>
                    </a:lnTo>
                    <a:lnTo>
                      <a:pt x="12" y="20"/>
                    </a:lnTo>
                    <a:lnTo>
                      <a:pt x="15" y="20"/>
                    </a:lnTo>
                    <a:lnTo>
                      <a:pt x="18" y="22"/>
                    </a:lnTo>
                    <a:lnTo>
                      <a:pt x="15" y="22"/>
                    </a:lnTo>
                    <a:lnTo>
                      <a:pt x="12" y="25"/>
                    </a:lnTo>
                    <a:lnTo>
                      <a:pt x="12" y="25"/>
                    </a:lnTo>
                    <a:lnTo>
                      <a:pt x="1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3" name="Freeform 109">
                <a:extLst>
                  <a:ext uri="{FF2B5EF4-FFF2-40B4-BE49-F238E27FC236}">
                    <a16:creationId xmlns:a16="http://schemas.microsoft.com/office/drawing/2014/main" id="{B979AC05-9150-4342-BBF3-93C8120C5BA4}"/>
                  </a:ext>
                </a:extLst>
              </p:cNvPr>
              <p:cNvSpPr>
                <a:spLocks/>
              </p:cNvSpPr>
              <p:nvPr/>
            </p:nvSpPr>
            <p:spPr bwMode="auto">
              <a:xfrm>
                <a:off x="4365" y="1361"/>
                <a:ext cx="7" cy="6"/>
              </a:xfrm>
              <a:custGeom>
                <a:avLst/>
                <a:gdLst>
                  <a:gd name="T0" fmla="*/ 3 w 7"/>
                  <a:gd name="T1" fmla="*/ 5 h 6"/>
                  <a:gd name="T2" fmla="*/ 3 w 7"/>
                  <a:gd name="T3" fmla="*/ 6 h 6"/>
                  <a:gd name="T4" fmla="*/ 6 w 7"/>
                  <a:gd name="T5" fmla="*/ 4 h 6"/>
                  <a:gd name="T6" fmla="*/ 7 w 7"/>
                  <a:gd name="T7" fmla="*/ 0 h 6"/>
                  <a:gd name="T8" fmla="*/ 5 w 7"/>
                  <a:gd name="T9" fmla="*/ 0 h 6"/>
                  <a:gd name="T10" fmla="*/ 1 w 7"/>
                  <a:gd name="T11" fmla="*/ 0 h 6"/>
                  <a:gd name="T12" fmla="*/ 0 w 7"/>
                  <a:gd name="T13" fmla="*/ 4 h 6"/>
                  <a:gd name="T14" fmla="*/ 3 w 7"/>
                  <a:gd name="T15" fmla="*/ 5 h 6"/>
                  <a:gd name="T16" fmla="*/ 3 w 7"/>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5"/>
                    </a:moveTo>
                    <a:lnTo>
                      <a:pt x="3" y="6"/>
                    </a:lnTo>
                    <a:lnTo>
                      <a:pt x="6" y="4"/>
                    </a:lnTo>
                    <a:lnTo>
                      <a:pt x="7" y="0"/>
                    </a:lnTo>
                    <a:lnTo>
                      <a:pt x="5" y="0"/>
                    </a:lnTo>
                    <a:lnTo>
                      <a:pt x="1" y="0"/>
                    </a:lnTo>
                    <a:lnTo>
                      <a:pt x="0" y="4"/>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4" name="Freeform 110">
                <a:extLst>
                  <a:ext uri="{FF2B5EF4-FFF2-40B4-BE49-F238E27FC236}">
                    <a16:creationId xmlns:a16="http://schemas.microsoft.com/office/drawing/2014/main" id="{99600106-7BC6-49C7-B50E-5975D0B6046F}"/>
                  </a:ext>
                </a:extLst>
              </p:cNvPr>
              <p:cNvSpPr>
                <a:spLocks/>
              </p:cNvSpPr>
              <p:nvPr/>
            </p:nvSpPr>
            <p:spPr bwMode="auto">
              <a:xfrm>
                <a:off x="4371" y="1365"/>
                <a:ext cx="18" cy="5"/>
              </a:xfrm>
              <a:custGeom>
                <a:avLst/>
                <a:gdLst>
                  <a:gd name="T0" fmla="*/ 7 w 18"/>
                  <a:gd name="T1" fmla="*/ 3 h 5"/>
                  <a:gd name="T2" fmla="*/ 6 w 18"/>
                  <a:gd name="T3" fmla="*/ 4 h 5"/>
                  <a:gd name="T4" fmla="*/ 2 w 18"/>
                  <a:gd name="T5" fmla="*/ 3 h 5"/>
                  <a:gd name="T6" fmla="*/ 0 w 18"/>
                  <a:gd name="T7" fmla="*/ 4 h 5"/>
                  <a:gd name="T8" fmla="*/ 3 w 18"/>
                  <a:gd name="T9" fmla="*/ 5 h 5"/>
                  <a:gd name="T10" fmla="*/ 15 w 18"/>
                  <a:gd name="T11" fmla="*/ 5 h 5"/>
                  <a:gd name="T12" fmla="*/ 18 w 18"/>
                  <a:gd name="T13" fmla="*/ 5 h 5"/>
                  <a:gd name="T14" fmla="*/ 15 w 18"/>
                  <a:gd name="T15" fmla="*/ 3 h 5"/>
                  <a:gd name="T16" fmla="*/ 15 w 18"/>
                  <a:gd name="T17" fmla="*/ 2 h 5"/>
                  <a:gd name="T18" fmla="*/ 12 w 18"/>
                  <a:gd name="T19" fmla="*/ 0 h 5"/>
                  <a:gd name="T20" fmla="*/ 9 w 18"/>
                  <a:gd name="T21" fmla="*/ 2 h 5"/>
                  <a:gd name="T22" fmla="*/ 7 w 18"/>
                  <a:gd name="T23" fmla="*/ 3 h 5"/>
                  <a:gd name="T24" fmla="*/ 7 w 18"/>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5">
                    <a:moveTo>
                      <a:pt x="7" y="3"/>
                    </a:moveTo>
                    <a:lnTo>
                      <a:pt x="6" y="4"/>
                    </a:lnTo>
                    <a:lnTo>
                      <a:pt x="2" y="3"/>
                    </a:lnTo>
                    <a:lnTo>
                      <a:pt x="0" y="4"/>
                    </a:lnTo>
                    <a:lnTo>
                      <a:pt x="3" y="5"/>
                    </a:lnTo>
                    <a:lnTo>
                      <a:pt x="15" y="5"/>
                    </a:lnTo>
                    <a:lnTo>
                      <a:pt x="18" y="5"/>
                    </a:lnTo>
                    <a:lnTo>
                      <a:pt x="15" y="3"/>
                    </a:lnTo>
                    <a:lnTo>
                      <a:pt x="15" y="2"/>
                    </a:lnTo>
                    <a:lnTo>
                      <a:pt x="12" y="0"/>
                    </a:lnTo>
                    <a:lnTo>
                      <a:pt x="9" y="2"/>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5" name="Freeform 111">
                <a:extLst>
                  <a:ext uri="{FF2B5EF4-FFF2-40B4-BE49-F238E27FC236}">
                    <a16:creationId xmlns:a16="http://schemas.microsoft.com/office/drawing/2014/main" id="{ABEA6274-FBB3-4F3E-A4B9-534662087E9E}"/>
                  </a:ext>
                </a:extLst>
              </p:cNvPr>
              <p:cNvSpPr>
                <a:spLocks/>
              </p:cNvSpPr>
              <p:nvPr/>
            </p:nvSpPr>
            <p:spPr bwMode="auto">
              <a:xfrm>
                <a:off x="4374" y="1332"/>
                <a:ext cx="8" cy="4"/>
              </a:xfrm>
              <a:custGeom>
                <a:avLst/>
                <a:gdLst>
                  <a:gd name="T0" fmla="*/ 2 w 8"/>
                  <a:gd name="T1" fmla="*/ 3 h 4"/>
                  <a:gd name="T2" fmla="*/ 0 w 8"/>
                  <a:gd name="T3" fmla="*/ 4 h 4"/>
                  <a:gd name="T4" fmla="*/ 6 w 8"/>
                  <a:gd name="T5" fmla="*/ 2 h 4"/>
                  <a:gd name="T6" fmla="*/ 8 w 8"/>
                  <a:gd name="T7" fmla="*/ 1 h 4"/>
                  <a:gd name="T8" fmla="*/ 6 w 8"/>
                  <a:gd name="T9" fmla="*/ 0 h 4"/>
                  <a:gd name="T10" fmla="*/ 4 w 8"/>
                  <a:gd name="T11" fmla="*/ 0 h 4"/>
                  <a:gd name="T12" fmla="*/ 0 w 8"/>
                  <a:gd name="T13" fmla="*/ 1 h 4"/>
                  <a:gd name="T14" fmla="*/ 2 w 8"/>
                  <a:gd name="T15" fmla="*/ 3 h 4"/>
                  <a:gd name="T16" fmla="*/ 2 w 8"/>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2" y="3"/>
                    </a:moveTo>
                    <a:lnTo>
                      <a:pt x="0" y="4"/>
                    </a:lnTo>
                    <a:lnTo>
                      <a:pt x="6" y="2"/>
                    </a:lnTo>
                    <a:lnTo>
                      <a:pt x="8" y="1"/>
                    </a:lnTo>
                    <a:lnTo>
                      <a:pt x="6" y="0"/>
                    </a:lnTo>
                    <a:lnTo>
                      <a:pt x="4" y="0"/>
                    </a:lnTo>
                    <a:lnTo>
                      <a:pt x="0" y="1"/>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6" name="Freeform 112">
                <a:extLst>
                  <a:ext uri="{FF2B5EF4-FFF2-40B4-BE49-F238E27FC236}">
                    <a16:creationId xmlns:a16="http://schemas.microsoft.com/office/drawing/2014/main" id="{C7E71EBB-725C-4D5A-A786-F3F55B274BB8}"/>
                  </a:ext>
                </a:extLst>
              </p:cNvPr>
              <p:cNvSpPr>
                <a:spLocks/>
              </p:cNvSpPr>
              <p:nvPr/>
            </p:nvSpPr>
            <p:spPr bwMode="auto">
              <a:xfrm>
                <a:off x="4389" y="1458"/>
                <a:ext cx="239" cy="172"/>
              </a:xfrm>
              <a:custGeom>
                <a:avLst/>
                <a:gdLst>
                  <a:gd name="T0" fmla="*/ 24 w 239"/>
                  <a:gd name="T1" fmla="*/ 111 h 172"/>
                  <a:gd name="T2" fmla="*/ 14 w 239"/>
                  <a:gd name="T3" fmla="*/ 117 h 172"/>
                  <a:gd name="T4" fmla="*/ 23 w 239"/>
                  <a:gd name="T5" fmla="*/ 121 h 172"/>
                  <a:gd name="T6" fmla="*/ 14 w 239"/>
                  <a:gd name="T7" fmla="*/ 131 h 172"/>
                  <a:gd name="T8" fmla="*/ 2 w 239"/>
                  <a:gd name="T9" fmla="*/ 134 h 172"/>
                  <a:gd name="T10" fmla="*/ 5 w 239"/>
                  <a:gd name="T11" fmla="*/ 149 h 172"/>
                  <a:gd name="T12" fmla="*/ 21 w 239"/>
                  <a:gd name="T13" fmla="*/ 150 h 172"/>
                  <a:gd name="T14" fmla="*/ 33 w 239"/>
                  <a:gd name="T15" fmla="*/ 150 h 172"/>
                  <a:gd name="T16" fmla="*/ 38 w 239"/>
                  <a:gd name="T17" fmla="*/ 158 h 172"/>
                  <a:gd name="T18" fmla="*/ 26 w 239"/>
                  <a:gd name="T19" fmla="*/ 165 h 172"/>
                  <a:gd name="T20" fmla="*/ 40 w 239"/>
                  <a:gd name="T21" fmla="*/ 167 h 172"/>
                  <a:gd name="T22" fmla="*/ 52 w 239"/>
                  <a:gd name="T23" fmla="*/ 172 h 172"/>
                  <a:gd name="T24" fmla="*/ 60 w 239"/>
                  <a:gd name="T25" fmla="*/ 168 h 172"/>
                  <a:gd name="T26" fmla="*/ 69 w 239"/>
                  <a:gd name="T27" fmla="*/ 167 h 172"/>
                  <a:gd name="T28" fmla="*/ 77 w 239"/>
                  <a:gd name="T29" fmla="*/ 169 h 172"/>
                  <a:gd name="T30" fmla="*/ 65 w 239"/>
                  <a:gd name="T31" fmla="*/ 155 h 172"/>
                  <a:gd name="T32" fmla="*/ 55 w 239"/>
                  <a:gd name="T33" fmla="*/ 135 h 172"/>
                  <a:gd name="T34" fmla="*/ 51 w 239"/>
                  <a:gd name="T35" fmla="*/ 124 h 172"/>
                  <a:gd name="T36" fmla="*/ 60 w 239"/>
                  <a:gd name="T37" fmla="*/ 116 h 172"/>
                  <a:gd name="T38" fmla="*/ 65 w 239"/>
                  <a:gd name="T39" fmla="*/ 111 h 172"/>
                  <a:gd name="T40" fmla="*/ 61 w 239"/>
                  <a:gd name="T41" fmla="*/ 108 h 172"/>
                  <a:gd name="T42" fmla="*/ 59 w 239"/>
                  <a:gd name="T43" fmla="*/ 101 h 172"/>
                  <a:gd name="T44" fmla="*/ 47 w 239"/>
                  <a:gd name="T45" fmla="*/ 98 h 172"/>
                  <a:gd name="T46" fmla="*/ 64 w 239"/>
                  <a:gd name="T47" fmla="*/ 99 h 172"/>
                  <a:gd name="T48" fmla="*/ 78 w 239"/>
                  <a:gd name="T49" fmla="*/ 99 h 172"/>
                  <a:gd name="T50" fmla="*/ 79 w 239"/>
                  <a:gd name="T51" fmla="*/ 95 h 172"/>
                  <a:gd name="T52" fmla="*/ 70 w 239"/>
                  <a:gd name="T53" fmla="*/ 87 h 172"/>
                  <a:gd name="T54" fmla="*/ 87 w 239"/>
                  <a:gd name="T55" fmla="*/ 84 h 172"/>
                  <a:gd name="T56" fmla="*/ 88 w 239"/>
                  <a:gd name="T57" fmla="*/ 83 h 172"/>
                  <a:gd name="T58" fmla="*/ 100 w 239"/>
                  <a:gd name="T59" fmla="*/ 77 h 172"/>
                  <a:gd name="T60" fmla="*/ 105 w 239"/>
                  <a:gd name="T61" fmla="*/ 70 h 172"/>
                  <a:gd name="T62" fmla="*/ 115 w 239"/>
                  <a:gd name="T63" fmla="*/ 64 h 172"/>
                  <a:gd name="T64" fmla="*/ 122 w 239"/>
                  <a:gd name="T65" fmla="*/ 61 h 172"/>
                  <a:gd name="T66" fmla="*/ 117 w 239"/>
                  <a:gd name="T67" fmla="*/ 56 h 172"/>
                  <a:gd name="T68" fmla="*/ 136 w 239"/>
                  <a:gd name="T69" fmla="*/ 49 h 172"/>
                  <a:gd name="T70" fmla="*/ 155 w 239"/>
                  <a:gd name="T71" fmla="*/ 41 h 172"/>
                  <a:gd name="T72" fmla="*/ 170 w 239"/>
                  <a:gd name="T73" fmla="*/ 38 h 172"/>
                  <a:gd name="T74" fmla="*/ 201 w 239"/>
                  <a:gd name="T75" fmla="*/ 30 h 172"/>
                  <a:gd name="T76" fmla="*/ 220 w 239"/>
                  <a:gd name="T77" fmla="*/ 23 h 172"/>
                  <a:gd name="T78" fmla="*/ 237 w 239"/>
                  <a:gd name="T79" fmla="*/ 14 h 172"/>
                  <a:gd name="T80" fmla="*/ 232 w 239"/>
                  <a:gd name="T81" fmla="*/ 2 h 172"/>
                  <a:gd name="T82" fmla="*/ 209 w 239"/>
                  <a:gd name="T83" fmla="*/ 3 h 172"/>
                  <a:gd name="T84" fmla="*/ 190 w 239"/>
                  <a:gd name="T85" fmla="*/ 14 h 172"/>
                  <a:gd name="T86" fmla="*/ 168 w 239"/>
                  <a:gd name="T87" fmla="*/ 19 h 172"/>
                  <a:gd name="T88" fmla="*/ 149 w 239"/>
                  <a:gd name="T89" fmla="*/ 21 h 172"/>
                  <a:gd name="T90" fmla="*/ 132 w 239"/>
                  <a:gd name="T91" fmla="*/ 27 h 172"/>
                  <a:gd name="T92" fmla="*/ 120 w 239"/>
                  <a:gd name="T93" fmla="*/ 29 h 172"/>
                  <a:gd name="T94" fmla="*/ 103 w 239"/>
                  <a:gd name="T95" fmla="*/ 32 h 172"/>
                  <a:gd name="T96" fmla="*/ 85 w 239"/>
                  <a:gd name="T97" fmla="*/ 41 h 172"/>
                  <a:gd name="T98" fmla="*/ 74 w 239"/>
                  <a:gd name="T99" fmla="*/ 47 h 172"/>
                  <a:gd name="T100" fmla="*/ 61 w 239"/>
                  <a:gd name="T101" fmla="*/ 52 h 172"/>
                  <a:gd name="T102" fmla="*/ 72 w 239"/>
                  <a:gd name="T103" fmla="*/ 57 h 172"/>
                  <a:gd name="T104" fmla="*/ 72 w 239"/>
                  <a:gd name="T105" fmla="*/ 65 h 172"/>
                  <a:gd name="T106" fmla="*/ 56 w 239"/>
                  <a:gd name="T107" fmla="*/ 69 h 172"/>
                  <a:gd name="T108" fmla="*/ 52 w 239"/>
                  <a:gd name="T109" fmla="*/ 74 h 172"/>
                  <a:gd name="T110" fmla="*/ 56 w 239"/>
                  <a:gd name="T111" fmla="*/ 78 h 172"/>
                  <a:gd name="T112" fmla="*/ 42 w 239"/>
                  <a:gd name="T113" fmla="*/ 84 h 172"/>
                  <a:gd name="T114" fmla="*/ 33 w 239"/>
                  <a:gd name="T115" fmla="*/ 92 h 172"/>
                  <a:gd name="T116" fmla="*/ 48 w 239"/>
                  <a:gd name="T117" fmla="*/ 91 h 172"/>
                  <a:gd name="T118" fmla="*/ 39 w 239"/>
                  <a:gd name="T119" fmla="*/ 101 h 172"/>
                  <a:gd name="T120" fmla="*/ 28 w 239"/>
                  <a:gd name="T121" fmla="*/ 10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172">
                    <a:moveTo>
                      <a:pt x="26" y="104"/>
                    </a:moveTo>
                    <a:lnTo>
                      <a:pt x="25" y="105"/>
                    </a:lnTo>
                    <a:lnTo>
                      <a:pt x="24" y="108"/>
                    </a:lnTo>
                    <a:lnTo>
                      <a:pt x="26" y="109"/>
                    </a:lnTo>
                    <a:lnTo>
                      <a:pt x="24" y="111"/>
                    </a:lnTo>
                    <a:lnTo>
                      <a:pt x="26" y="113"/>
                    </a:lnTo>
                    <a:lnTo>
                      <a:pt x="21" y="112"/>
                    </a:lnTo>
                    <a:lnTo>
                      <a:pt x="17" y="113"/>
                    </a:lnTo>
                    <a:lnTo>
                      <a:pt x="15" y="115"/>
                    </a:lnTo>
                    <a:lnTo>
                      <a:pt x="14" y="117"/>
                    </a:lnTo>
                    <a:lnTo>
                      <a:pt x="17" y="118"/>
                    </a:lnTo>
                    <a:lnTo>
                      <a:pt x="19" y="118"/>
                    </a:lnTo>
                    <a:lnTo>
                      <a:pt x="23" y="118"/>
                    </a:lnTo>
                    <a:lnTo>
                      <a:pt x="19" y="121"/>
                    </a:lnTo>
                    <a:lnTo>
                      <a:pt x="23" y="121"/>
                    </a:lnTo>
                    <a:lnTo>
                      <a:pt x="17" y="124"/>
                    </a:lnTo>
                    <a:lnTo>
                      <a:pt x="19" y="126"/>
                    </a:lnTo>
                    <a:lnTo>
                      <a:pt x="16" y="128"/>
                    </a:lnTo>
                    <a:lnTo>
                      <a:pt x="14" y="129"/>
                    </a:lnTo>
                    <a:lnTo>
                      <a:pt x="14" y="131"/>
                    </a:lnTo>
                    <a:lnTo>
                      <a:pt x="13" y="134"/>
                    </a:lnTo>
                    <a:lnTo>
                      <a:pt x="10" y="132"/>
                    </a:lnTo>
                    <a:lnTo>
                      <a:pt x="7" y="133"/>
                    </a:lnTo>
                    <a:lnTo>
                      <a:pt x="5" y="132"/>
                    </a:lnTo>
                    <a:lnTo>
                      <a:pt x="2" y="134"/>
                    </a:lnTo>
                    <a:lnTo>
                      <a:pt x="0" y="137"/>
                    </a:lnTo>
                    <a:lnTo>
                      <a:pt x="0" y="139"/>
                    </a:lnTo>
                    <a:lnTo>
                      <a:pt x="0" y="142"/>
                    </a:lnTo>
                    <a:lnTo>
                      <a:pt x="2" y="148"/>
                    </a:lnTo>
                    <a:lnTo>
                      <a:pt x="5" y="149"/>
                    </a:lnTo>
                    <a:lnTo>
                      <a:pt x="8" y="149"/>
                    </a:lnTo>
                    <a:lnTo>
                      <a:pt x="10" y="147"/>
                    </a:lnTo>
                    <a:lnTo>
                      <a:pt x="17" y="147"/>
                    </a:lnTo>
                    <a:lnTo>
                      <a:pt x="18" y="150"/>
                    </a:lnTo>
                    <a:lnTo>
                      <a:pt x="21" y="150"/>
                    </a:lnTo>
                    <a:lnTo>
                      <a:pt x="26" y="148"/>
                    </a:lnTo>
                    <a:lnTo>
                      <a:pt x="26" y="151"/>
                    </a:lnTo>
                    <a:lnTo>
                      <a:pt x="28" y="154"/>
                    </a:lnTo>
                    <a:lnTo>
                      <a:pt x="31" y="151"/>
                    </a:lnTo>
                    <a:lnTo>
                      <a:pt x="33" y="150"/>
                    </a:lnTo>
                    <a:lnTo>
                      <a:pt x="31" y="152"/>
                    </a:lnTo>
                    <a:lnTo>
                      <a:pt x="27" y="155"/>
                    </a:lnTo>
                    <a:lnTo>
                      <a:pt x="31" y="156"/>
                    </a:lnTo>
                    <a:lnTo>
                      <a:pt x="36" y="156"/>
                    </a:lnTo>
                    <a:lnTo>
                      <a:pt x="38" y="158"/>
                    </a:lnTo>
                    <a:lnTo>
                      <a:pt x="34" y="157"/>
                    </a:lnTo>
                    <a:lnTo>
                      <a:pt x="28" y="160"/>
                    </a:lnTo>
                    <a:lnTo>
                      <a:pt x="32" y="163"/>
                    </a:lnTo>
                    <a:lnTo>
                      <a:pt x="28" y="164"/>
                    </a:lnTo>
                    <a:lnTo>
                      <a:pt x="26" y="165"/>
                    </a:lnTo>
                    <a:lnTo>
                      <a:pt x="28" y="165"/>
                    </a:lnTo>
                    <a:lnTo>
                      <a:pt x="32" y="166"/>
                    </a:lnTo>
                    <a:lnTo>
                      <a:pt x="34" y="166"/>
                    </a:lnTo>
                    <a:lnTo>
                      <a:pt x="38" y="167"/>
                    </a:lnTo>
                    <a:lnTo>
                      <a:pt x="40" y="167"/>
                    </a:lnTo>
                    <a:lnTo>
                      <a:pt x="43" y="169"/>
                    </a:lnTo>
                    <a:lnTo>
                      <a:pt x="45" y="169"/>
                    </a:lnTo>
                    <a:lnTo>
                      <a:pt x="43" y="166"/>
                    </a:lnTo>
                    <a:lnTo>
                      <a:pt x="47" y="169"/>
                    </a:lnTo>
                    <a:lnTo>
                      <a:pt x="52" y="172"/>
                    </a:lnTo>
                    <a:lnTo>
                      <a:pt x="52" y="169"/>
                    </a:lnTo>
                    <a:lnTo>
                      <a:pt x="56" y="167"/>
                    </a:lnTo>
                    <a:lnTo>
                      <a:pt x="58" y="171"/>
                    </a:lnTo>
                    <a:lnTo>
                      <a:pt x="64" y="172"/>
                    </a:lnTo>
                    <a:lnTo>
                      <a:pt x="60" y="168"/>
                    </a:lnTo>
                    <a:lnTo>
                      <a:pt x="66" y="171"/>
                    </a:lnTo>
                    <a:lnTo>
                      <a:pt x="69" y="172"/>
                    </a:lnTo>
                    <a:lnTo>
                      <a:pt x="72" y="171"/>
                    </a:lnTo>
                    <a:lnTo>
                      <a:pt x="66" y="167"/>
                    </a:lnTo>
                    <a:lnTo>
                      <a:pt x="69" y="167"/>
                    </a:lnTo>
                    <a:lnTo>
                      <a:pt x="72" y="169"/>
                    </a:lnTo>
                    <a:lnTo>
                      <a:pt x="74" y="171"/>
                    </a:lnTo>
                    <a:lnTo>
                      <a:pt x="79" y="172"/>
                    </a:lnTo>
                    <a:lnTo>
                      <a:pt x="74" y="169"/>
                    </a:lnTo>
                    <a:lnTo>
                      <a:pt x="77" y="169"/>
                    </a:lnTo>
                    <a:lnTo>
                      <a:pt x="81" y="171"/>
                    </a:lnTo>
                    <a:lnTo>
                      <a:pt x="83" y="169"/>
                    </a:lnTo>
                    <a:lnTo>
                      <a:pt x="84" y="167"/>
                    </a:lnTo>
                    <a:lnTo>
                      <a:pt x="75" y="164"/>
                    </a:lnTo>
                    <a:lnTo>
                      <a:pt x="65" y="155"/>
                    </a:lnTo>
                    <a:lnTo>
                      <a:pt x="62" y="152"/>
                    </a:lnTo>
                    <a:lnTo>
                      <a:pt x="59" y="147"/>
                    </a:lnTo>
                    <a:lnTo>
                      <a:pt x="56" y="141"/>
                    </a:lnTo>
                    <a:lnTo>
                      <a:pt x="56" y="138"/>
                    </a:lnTo>
                    <a:lnTo>
                      <a:pt x="55" y="135"/>
                    </a:lnTo>
                    <a:lnTo>
                      <a:pt x="55" y="133"/>
                    </a:lnTo>
                    <a:lnTo>
                      <a:pt x="57" y="130"/>
                    </a:lnTo>
                    <a:lnTo>
                      <a:pt x="55" y="128"/>
                    </a:lnTo>
                    <a:lnTo>
                      <a:pt x="53" y="124"/>
                    </a:lnTo>
                    <a:lnTo>
                      <a:pt x="51" y="124"/>
                    </a:lnTo>
                    <a:lnTo>
                      <a:pt x="57" y="123"/>
                    </a:lnTo>
                    <a:lnTo>
                      <a:pt x="55" y="121"/>
                    </a:lnTo>
                    <a:lnTo>
                      <a:pt x="58" y="121"/>
                    </a:lnTo>
                    <a:lnTo>
                      <a:pt x="58" y="117"/>
                    </a:lnTo>
                    <a:lnTo>
                      <a:pt x="60" y="116"/>
                    </a:lnTo>
                    <a:lnTo>
                      <a:pt x="55" y="115"/>
                    </a:lnTo>
                    <a:lnTo>
                      <a:pt x="60" y="115"/>
                    </a:lnTo>
                    <a:lnTo>
                      <a:pt x="62" y="116"/>
                    </a:lnTo>
                    <a:lnTo>
                      <a:pt x="66" y="114"/>
                    </a:lnTo>
                    <a:lnTo>
                      <a:pt x="65" y="111"/>
                    </a:lnTo>
                    <a:lnTo>
                      <a:pt x="62" y="112"/>
                    </a:lnTo>
                    <a:lnTo>
                      <a:pt x="59" y="111"/>
                    </a:lnTo>
                    <a:lnTo>
                      <a:pt x="65" y="109"/>
                    </a:lnTo>
                    <a:lnTo>
                      <a:pt x="67" y="108"/>
                    </a:lnTo>
                    <a:lnTo>
                      <a:pt x="61" y="108"/>
                    </a:lnTo>
                    <a:lnTo>
                      <a:pt x="67" y="107"/>
                    </a:lnTo>
                    <a:lnTo>
                      <a:pt x="70" y="106"/>
                    </a:lnTo>
                    <a:lnTo>
                      <a:pt x="67" y="104"/>
                    </a:lnTo>
                    <a:lnTo>
                      <a:pt x="62" y="103"/>
                    </a:lnTo>
                    <a:lnTo>
                      <a:pt x="59" y="101"/>
                    </a:lnTo>
                    <a:lnTo>
                      <a:pt x="53" y="101"/>
                    </a:lnTo>
                    <a:lnTo>
                      <a:pt x="51" y="99"/>
                    </a:lnTo>
                    <a:lnTo>
                      <a:pt x="48" y="99"/>
                    </a:lnTo>
                    <a:lnTo>
                      <a:pt x="43" y="100"/>
                    </a:lnTo>
                    <a:lnTo>
                      <a:pt x="47" y="98"/>
                    </a:lnTo>
                    <a:lnTo>
                      <a:pt x="49" y="98"/>
                    </a:lnTo>
                    <a:lnTo>
                      <a:pt x="55" y="100"/>
                    </a:lnTo>
                    <a:lnTo>
                      <a:pt x="58" y="100"/>
                    </a:lnTo>
                    <a:lnTo>
                      <a:pt x="60" y="101"/>
                    </a:lnTo>
                    <a:lnTo>
                      <a:pt x="64" y="99"/>
                    </a:lnTo>
                    <a:lnTo>
                      <a:pt x="65" y="103"/>
                    </a:lnTo>
                    <a:lnTo>
                      <a:pt x="73" y="103"/>
                    </a:lnTo>
                    <a:lnTo>
                      <a:pt x="73" y="100"/>
                    </a:lnTo>
                    <a:lnTo>
                      <a:pt x="76" y="100"/>
                    </a:lnTo>
                    <a:lnTo>
                      <a:pt x="78" y="99"/>
                    </a:lnTo>
                    <a:lnTo>
                      <a:pt x="78" y="96"/>
                    </a:lnTo>
                    <a:lnTo>
                      <a:pt x="76" y="95"/>
                    </a:lnTo>
                    <a:lnTo>
                      <a:pt x="74" y="92"/>
                    </a:lnTo>
                    <a:lnTo>
                      <a:pt x="76" y="95"/>
                    </a:lnTo>
                    <a:lnTo>
                      <a:pt x="79" y="95"/>
                    </a:lnTo>
                    <a:lnTo>
                      <a:pt x="82" y="95"/>
                    </a:lnTo>
                    <a:lnTo>
                      <a:pt x="85" y="92"/>
                    </a:lnTo>
                    <a:lnTo>
                      <a:pt x="83" y="89"/>
                    </a:lnTo>
                    <a:lnTo>
                      <a:pt x="79" y="88"/>
                    </a:lnTo>
                    <a:lnTo>
                      <a:pt x="70" y="87"/>
                    </a:lnTo>
                    <a:lnTo>
                      <a:pt x="82" y="88"/>
                    </a:lnTo>
                    <a:lnTo>
                      <a:pt x="85" y="90"/>
                    </a:lnTo>
                    <a:lnTo>
                      <a:pt x="87" y="90"/>
                    </a:lnTo>
                    <a:lnTo>
                      <a:pt x="88" y="87"/>
                    </a:lnTo>
                    <a:lnTo>
                      <a:pt x="87" y="84"/>
                    </a:lnTo>
                    <a:lnTo>
                      <a:pt x="84" y="82"/>
                    </a:lnTo>
                    <a:lnTo>
                      <a:pt x="82" y="81"/>
                    </a:lnTo>
                    <a:lnTo>
                      <a:pt x="84" y="79"/>
                    </a:lnTo>
                    <a:lnTo>
                      <a:pt x="86" y="82"/>
                    </a:lnTo>
                    <a:lnTo>
                      <a:pt x="88" y="83"/>
                    </a:lnTo>
                    <a:lnTo>
                      <a:pt x="92" y="81"/>
                    </a:lnTo>
                    <a:lnTo>
                      <a:pt x="94" y="81"/>
                    </a:lnTo>
                    <a:lnTo>
                      <a:pt x="96" y="80"/>
                    </a:lnTo>
                    <a:lnTo>
                      <a:pt x="94" y="79"/>
                    </a:lnTo>
                    <a:lnTo>
                      <a:pt x="100" y="77"/>
                    </a:lnTo>
                    <a:lnTo>
                      <a:pt x="96" y="71"/>
                    </a:lnTo>
                    <a:lnTo>
                      <a:pt x="94" y="69"/>
                    </a:lnTo>
                    <a:lnTo>
                      <a:pt x="100" y="70"/>
                    </a:lnTo>
                    <a:lnTo>
                      <a:pt x="103" y="71"/>
                    </a:lnTo>
                    <a:lnTo>
                      <a:pt x="105" y="70"/>
                    </a:lnTo>
                    <a:lnTo>
                      <a:pt x="107" y="66"/>
                    </a:lnTo>
                    <a:lnTo>
                      <a:pt x="107" y="64"/>
                    </a:lnTo>
                    <a:lnTo>
                      <a:pt x="112" y="68"/>
                    </a:lnTo>
                    <a:lnTo>
                      <a:pt x="115" y="66"/>
                    </a:lnTo>
                    <a:lnTo>
                      <a:pt x="115" y="64"/>
                    </a:lnTo>
                    <a:lnTo>
                      <a:pt x="111" y="62"/>
                    </a:lnTo>
                    <a:lnTo>
                      <a:pt x="115" y="63"/>
                    </a:lnTo>
                    <a:lnTo>
                      <a:pt x="117" y="64"/>
                    </a:lnTo>
                    <a:lnTo>
                      <a:pt x="121" y="63"/>
                    </a:lnTo>
                    <a:lnTo>
                      <a:pt x="122" y="61"/>
                    </a:lnTo>
                    <a:lnTo>
                      <a:pt x="125" y="60"/>
                    </a:lnTo>
                    <a:lnTo>
                      <a:pt x="126" y="57"/>
                    </a:lnTo>
                    <a:lnTo>
                      <a:pt x="120" y="57"/>
                    </a:lnTo>
                    <a:lnTo>
                      <a:pt x="117" y="57"/>
                    </a:lnTo>
                    <a:lnTo>
                      <a:pt x="117" y="56"/>
                    </a:lnTo>
                    <a:lnTo>
                      <a:pt x="122" y="56"/>
                    </a:lnTo>
                    <a:lnTo>
                      <a:pt x="126" y="55"/>
                    </a:lnTo>
                    <a:lnTo>
                      <a:pt x="134" y="51"/>
                    </a:lnTo>
                    <a:lnTo>
                      <a:pt x="136" y="47"/>
                    </a:lnTo>
                    <a:lnTo>
                      <a:pt x="136" y="49"/>
                    </a:lnTo>
                    <a:lnTo>
                      <a:pt x="139" y="48"/>
                    </a:lnTo>
                    <a:lnTo>
                      <a:pt x="145" y="45"/>
                    </a:lnTo>
                    <a:lnTo>
                      <a:pt x="147" y="44"/>
                    </a:lnTo>
                    <a:lnTo>
                      <a:pt x="153" y="43"/>
                    </a:lnTo>
                    <a:lnTo>
                      <a:pt x="155" y="41"/>
                    </a:lnTo>
                    <a:lnTo>
                      <a:pt x="159" y="40"/>
                    </a:lnTo>
                    <a:lnTo>
                      <a:pt x="161" y="40"/>
                    </a:lnTo>
                    <a:lnTo>
                      <a:pt x="164" y="39"/>
                    </a:lnTo>
                    <a:lnTo>
                      <a:pt x="167" y="37"/>
                    </a:lnTo>
                    <a:lnTo>
                      <a:pt x="170" y="38"/>
                    </a:lnTo>
                    <a:lnTo>
                      <a:pt x="175" y="36"/>
                    </a:lnTo>
                    <a:lnTo>
                      <a:pt x="186" y="35"/>
                    </a:lnTo>
                    <a:lnTo>
                      <a:pt x="192" y="31"/>
                    </a:lnTo>
                    <a:lnTo>
                      <a:pt x="197" y="30"/>
                    </a:lnTo>
                    <a:lnTo>
                      <a:pt x="201" y="30"/>
                    </a:lnTo>
                    <a:lnTo>
                      <a:pt x="203" y="29"/>
                    </a:lnTo>
                    <a:lnTo>
                      <a:pt x="205" y="29"/>
                    </a:lnTo>
                    <a:lnTo>
                      <a:pt x="209" y="27"/>
                    </a:lnTo>
                    <a:lnTo>
                      <a:pt x="214" y="26"/>
                    </a:lnTo>
                    <a:lnTo>
                      <a:pt x="220" y="23"/>
                    </a:lnTo>
                    <a:lnTo>
                      <a:pt x="226" y="21"/>
                    </a:lnTo>
                    <a:lnTo>
                      <a:pt x="229" y="21"/>
                    </a:lnTo>
                    <a:lnTo>
                      <a:pt x="231" y="19"/>
                    </a:lnTo>
                    <a:lnTo>
                      <a:pt x="233" y="17"/>
                    </a:lnTo>
                    <a:lnTo>
                      <a:pt x="237" y="14"/>
                    </a:lnTo>
                    <a:lnTo>
                      <a:pt x="238" y="12"/>
                    </a:lnTo>
                    <a:lnTo>
                      <a:pt x="239" y="10"/>
                    </a:lnTo>
                    <a:lnTo>
                      <a:pt x="239" y="6"/>
                    </a:lnTo>
                    <a:lnTo>
                      <a:pt x="238" y="4"/>
                    </a:lnTo>
                    <a:lnTo>
                      <a:pt x="232" y="2"/>
                    </a:lnTo>
                    <a:lnTo>
                      <a:pt x="229" y="1"/>
                    </a:lnTo>
                    <a:lnTo>
                      <a:pt x="227" y="0"/>
                    </a:lnTo>
                    <a:lnTo>
                      <a:pt x="220" y="0"/>
                    </a:lnTo>
                    <a:lnTo>
                      <a:pt x="214" y="2"/>
                    </a:lnTo>
                    <a:lnTo>
                      <a:pt x="209" y="3"/>
                    </a:lnTo>
                    <a:lnTo>
                      <a:pt x="201" y="7"/>
                    </a:lnTo>
                    <a:lnTo>
                      <a:pt x="197" y="9"/>
                    </a:lnTo>
                    <a:lnTo>
                      <a:pt x="198" y="14"/>
                    </a:lnTo>
                    <a:lnTo>
                      <a:pt x="194" y="12"/>
                    </a:lnTo>
                    <a:lnTo>
                      <a:pt x="190" y="14"/>
                    </a:lnTo>
                    <a:lnTo>
                      <a:pt x="187" y="15"/>
                    </a:lnTo>
                    <a:lnTo>
                      <a:pt x="185" y="14"/>
                    </a:lnTo>
                    <a:lnTo>
                      <a:pt x="173" y="20"/>
                    </a:lnTo>
                    <a:lnTo>
                      <a:pt x="171" y="19"/>
                    </a:lnTo>
                    <a:lnTo>
                      <a:pt x="168" y="19"/>
                    </a:lnTo>
                    <a:lnTo>
                      <a:pt x="166" y="20"/>
                    </a:lnTo>
                    <a:lnTo>
                      <a:pt x="160" y="22"/>
                    </a:lnTo>
                    <a:lnTo>
                      <a:pt x="154" y="22"/>
                    </a:lnTo>
                    <a:lnTo>
                      <a:pt x="151" y="23"/>
                    </a:lnTo>
                    <a:lnTo>
                      <a:pt x="149" y="21"/>
                    </a:lnTo>
                    <a:lnTo>
                      <a:pt x="145" y="21"/>
                    </a:lnTo>
                    <a:lnTo>
                      <a:pt x="139" y="20"/>
                    </a:lnTo>
                    <a:lnTo>
                      <a:pt x="132" y="21"/>
                    </a:lnTo>
                    <a:lnTo>
                      <a:pt x="130" y="23"/>
                    </a:lnTo>
                    <a:lnTo>
                      <a:pt x="132" y="27"/>
                    </a:lnTo>
                    <a:lnTo>
                      <a:pt x="126" y="27"/>
                    </a:lnTo>
                    <a:lnTo>
                      <a:pt x="128" y="26"/>
                    </a:lnTo>
                    <a:lnTo>
                      <a:pt x="122" y="26"/>
                    </a:lnTo>
                    <a:lnTo>
                      <a:pt x="120" y="26"/>
                    </a:lnTo>
                    <a:lnTo>
                      <a:pt x="120" y="29"/>
                    </a:lnTo>
                    <a:lnTo>
                      <a:pt x="117" y="29"/>
                    </a:lnTo>
                    <a:lnTo>
                      <a:pt x="115" y="30"/>
                    </a:lnTo>
                    <a:lnTo>
                      <a:pt x="111" y="30"/>
                    </a:lnTo>
                    <a:lnTo>
                      <a:pt x="105" y="32"/>
                    </a:lnTo>
                    <a:lnTo>
                      <a:pt x="103" y="32"/>
                    </a:lnTo>
                    <a:lnTo>
                      <a:pt x="100" y="34"/>
                    </a:lnTo>
                    <a:lnTo>
                      <a:pt x="98" y="36"/>
                    </a:lnTo>
                    <a:lnTo>
                      <a:pt x="90" y="38"/>
                    </a:lnTo>
                    <a:lnTo>
                      <a:pt x="91" y="40"/>
                    </a:lnTo>
                    <a:lnTo>
                      <a:pt x="85" y="41"/>
                    </a:lnTo>
                    <a:lnTo>
                      <a:pt x="85" y="45"/>
                    </a:lnTo>
                    <a:lnTo>
                      <a:pt x="84" y="47"/>
                    </a:lnTo>
                    <a:lnTo>
                      <a:pt x="82" y="46"/>
                    </a:lnTo>
                    <a:lnTo>
                      <a:pt x="76" y="46"/>
                    </a:lnTo>
                    <a:lnTo>
                      <a:pt x="74" y="47"/>
                    </a:lnTo>
                    <a:lnTo>
                      <a:pt x="75" y="51"/>
                    </a:lnTo>
                    <a:lnTo>
                      <a:pt x="69" y="54"/>
                    </a:lnTo>
                    <a:lnTo>
                      <a:pt x="67" y="52"/>
                    </a:lnTo>
                    <a:lnTo>
                      <a:pt x="64" y="51"/>
                    </a:lnTo>
                    <a:lnTo>
                      <a:pt x="61" y="52"/>
                    </a:lnTo>
                    <a:lnTo>
                      <a:pt x="60" y="54"/>
                    </a:lnTo>
                    <a:lnTo>
                      <a:pt x="62" y="56"/>
                    </a:lnTo>
                    <a:lnTo>
                      <a:pt x="66" y="56"/>
                    </a:lnTo>
                    <a:lnTo>
                      <a:pt x="68" y="57"/>
                    </a:lnTo>
                    <a:lnTo>
                      <a:pt x="72" y="57"/>
                    </a:lnTo>
                    <a:lnTo>
                      <a:pt x="62" y="61"/>
                    </a:lnTo>
                    <a:lnTo>
                      <a:pt x="60" y="62"/>
                    </a:lnTo>
                    <a:lnTo>
                      <a:pt x="64" y="62"/>
                    </a:lnTo>
                    <a:lnTo>
                      <a:pt x="66" y="62"/>
                    </a:lnTo>
                    <a:lnTo>
                      <a:pt x="72" y="65"/>
                    </a:lnTo>
                    <a:lnTo>
                      <a:pt x="74" y="65"/>
                    </a:lnTo>
                    <a:lnTo>
                      <a:pt x="72" y="65"/>
                    </a:lnTo>
                    <a:lnTo>
                      <a:pt x="66" y="64"/>
                    </a:lnTo>
                    <a:lnTo>
                      <a:pt x="57" y="65"/>
                    </a:lnTo>
                    <a:lnTo>
                      <a:pt x="56" y="69"/>
                    </a:lnTo>
                    <a:lnTo>
                      <a:pt x="58" y="70"/>
                    </a:lnTo>
                    <a:lnTo>
                      <a:pt x="61" y="69"/>
                    </a:lnTo>
                    <a:lnTo>
                      <a:pt x="65" y="71"/>
                    </a:lnTo>
                    <a:lnTo>
                      <a:pt x="56" y="72"/>
                    </a:lnTo>
                    <a:lnTo>
                      <a:pt x="52" y="74"/>
                    </a:lnTo>
                    <a:lnTo>
                      <a:pt x="56" y="74"/>
                    </a:lnTo>
                    <a:lnTo>
                      <a:pt x="58" y="77"/>
                    </a:lnTo>
                    <a:lnTo>
                      <a:pt x="56" y="75"/>
                    </a:lnTo>
                    <a:lnTo>
                      <a:pt x="50" y="77"/>
                    </a:lnTo>
                    <a:lnTo>
                      <a:pt x="56" y="78"/>
                    </a:lnTo>
                    <a:lnTo>
                      <a:pt x="58" y="80"/>
                    </a:lnTo>
                    <a:lnTo>
                      <a:pt x="50" y="79"/>
                    </a:lnTo>
                    <a:lnTo>
                      <a:pt x="44" y="82"/>
                    </a:lnTo>
                    <a:lnTo>
                      <a:pt x="44" y="84"/>
                    </a:lnTo>
                    <a:lnTo>
                      <a:pt x="42" y="84"/>
                    </a:lnTo>
                    <a:lnTo>
                      <a:pt x="39" y="86"/>
                    </a:lnTo>
                    <a:lnTo>
                      <a:pt x="36" y="88"/>
                    </a:lnTo>
                    <a:lnTo>
                      <a:pt x="33" y="89"/>
                    </a:lnTo>
                    <a:lnTo>
                      <a:pt x="31" y="90"/>
                    </a:lnTo>
                    <a:lnTo>
                      <a:pt x="33" y="92"/>
                    </a:lnTo>
                    <a:lnTo>
                      <a:pt x="36" y="94"/>
                    </a:lnTo>
                    <a:lnTo>
                      <a:pt x="39" y="94"/>
                    </a:lnTo>
                    <a:lnTo>
                      <a:pt x="42" y="91"/>
                    </a:lnTo>
                    <a:lnTo>
                      <a:pt x="44" y="91"/>
                    </a:lnTo>
                    <a:lnTo>
                      <a:pt x="48" y="91"/>
                    </a:lnTo>
                    <a:lnTo>
                      <a:pt x="50" y="91"/>
                    </a:lnTo>
                    <a:lnTo>
                      <a:pt x="42" y="94"/>
                    </a:lnTo>
                    <a:lnTo>
                      <a:pt x="40" y="96"/>
                    </a:lnTo>
                    <a:lnTo>
                      <a:pt x="39" y="98"/>
                    </a:lnTo>
                    <a:lnTo>
                      <a:pt x="39" y="101"/>
                    </a:lnTo>
                    <a:lnTo>
                      <a:pt x="43" y="100"/>
                    </a:lnTo>
                    <a:lnTo>
                      <a:pt x="40" y="101"/>
                    </a:lnTo>
                    <a:lnTo>
                      <a:pt x="38" y="103"/>
                    </a:lnTo>
                    <a:lnTo>
                      <a:pt x="32" y="101"/>
                    </a:lnTo>
                    <a:lnTo>
                      <a:pt x="28" y="104"/>
                    </a:lnTo>
                    <a:lnTo>
                      <a:pt x="26"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7" name="Freeform 113">
                <a:extLst>
                  <a:ext uri="{FF2B5EF4-FFF2-40B4-BE49-F238E27FC236}">
                    <a16:creationId xmlns:a16="http://schemas.microsoft.com/office/drawing/2014/main" id="{85528C43-0005-431A-AB4E-0F28F26A438D}"/>
                  </a:ext>
                </a:extLst>
              </p:cNvPr>
              <p:cNvSpPr>
                <a:spLocks/>
              </p:cNvSpPr>
              <p:nvPr/>
            </p:nvSpPr>
            <p:spPr bwMode="auto">
              <a:xfrm>
                <a:off x="4402" y="1356"/>
                <a:ext cx="18" cy="6"/>
              </a:xfrm>
              <a:custGeom>
                <a:avLst/>
                <a:gdLst>
                  <a:gd name="T0" fmla="*/ 0 w 18"/>
                  <a:gd name="T1" fmla="*/ 5 h 6"/>
                  <a:gd name="T2" fmla="*/ 4 w 18"/>
                  <a:gd name="T3" fmla="*/ 6 h 6"/>
                  <a:gd name="T4" fmla="*/ 13 w 18"/>
                  <a:gd name="T5" fmla="*/ 6 h 6"/>
                  <a:gd name="T6" fmla="*/ 15 w 18"/>
                  <a:gd name="T7" fmla="*/ 6 h 6"/>
                  <a:gd name="T8" fmla="*/ 18 w 18"/>
                  <a:gd name="T9" fmla="*/ 3 h 6"/>
                  <a:gd name="T10" fmla="*/ 15 w 18"/>
                  <a:gd name="T11" fmla="*/ 2 h 6"/>
                  <a:gd name="T12" fmla="*/ 12 w 18"/>
                  <a:gd name="T13" fmla="*/ 0 h 6"/>
                  <a:gd name="T14" fmla="*/ 6 w 18"/>
                  <a:gd name="T15" fmla="*/ 0 h 6"/>
                  <a:gd name="T16" fmla="*/ 4 w 18"/>
                  <a:gd name="T17" fmla="*/ 2 h 6"/>
                  <a:gd name="T18" fmla="*/ 2 w 18"/>
                  <a:gd name="T19" fmla="*/ 3 h 6"/>
                  <a:gd name="T20" fmla="*/ 0 w 18"/>
                  <a:gd name="T21" fmla="*/ 5 h 6"/>
                  <a:gd name="T22" fmla="*/ 0 w 18"/>
                  <a:gd name="T2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6">
                    <a:moveTo>
                      <a:pt x="0" y="5"/>
                    </a:moveTo>
                    <a:lnTo>
                      <a:pt x="4" y="6"/>
                    </a:lnTo>
                    <a:lnTo>
                      <a:pt x="13" y="6"/>
                    </a:lnTo>
                    <a:lnTo>
                      <a:pt x="15" y="6"/>
                    </a:lnTo>
                    <a:lnTo>
                      <a:pt x="18" y="3"/>
                    </a:lnTo>
                    <a:lnTo>
                      <a:pt x="15" y="2"/>
                    </a:lnTo>
                    <a:lnTo>
                      <a:pt x="12" y="0"/>
                    </a:lnTo>
                    <a:lnTo>
                      <a:pt x="6" y="0"/>
                    </a:lnTo>
                    <a:lnTo>
                      <a:pt x="4" y="2"/>
                    </a:lnTo>
                    <a:lnTo>
                      <a:pt x="2" y="3"/>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8" name="Freeform 114">
                <a:extLst>
                  <a:ext uri="{FF2B5EF4-FFF2-40B4-BE49-F238E27FC236}">
                    <a16:creationId xmlns:a16="http://schemas.microsoft.com/office/drawing/2014/main" id="{EFF2A363-285C-497E-898A-64E3E6C78C5E}"/>
                  </a:ext>
                </a:extLst>
              </p:cNvPr>
              <p:cNvSpPr>
                <a:spLocks/>
              </p:cNvSpPr>
              <p:nvPr/>
            </p:nvSpPr>
            <p:spPr bwMode="auto">
              <a:xfrm>
                <a:off x="4422" y="1350"/>
                <a:ext cx="8" cy="5"/>
              </a:xfrm>
              <a:custGeom>
                <a:avLst/>
                <a:gdLst>
                  <a:gd name="T0" fmla="*/ 0 w 8"/>
                  <a:gd name="T1" fmla="*/ 2 h 5"/>
                  <a:gd name="T2" fmla="*/ 1 w 8"/>
                  <a:gd name="T3" fmla="*/ 3 h 5"/>
                  <a:gd name="T4" fmla="*/ 6 w 8"/>
                  <a:gd name="T5" fmla="*/ 5 h 5"/>
                  <a:gd name="T6" fmla="*/ 8 w 8"/>
                  <a:gd name="T7" fmla="*/ 2 h 5"/>
                  <a:gd name="T8" fmla="*/ 6 w 8"/>
                  <a:gd name="T9" fmla="*/ 0 h 5"/>
                  <a:gd name="T10" fmla="*/ 2 w 8"/>
                  <a:gd name="T11" fmla="*/ 0 h 5"/>
                  <a:gd name="T12" fmla="*/ 0 w 8"/>
                  <a:gd name="T13" fmla="*/ 0 h 5"/>
                  <a:gd name="T14" fmla="*/ 0 w 8"/>
                  <a:gd name="T15" fmla="*/ 2 h 5"/>
                  <a:gd name="T16" fmla="*/ 0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0" y="2"/>
                    </a:moveTo>
                    <a:lnTo>
                      <a:pt x="1" y="3"/>
                    </a:lnTo>
                    <a:lnTo>
                      <a:pt x="6" y="5"/>
                    </a:lnTo>
                    <a:lnTo>
                      <a:pt x="8" y="2"/>
                    </a:lnTo>
                    <a:lnTo>
                      <a:pt x="6" y="0"/>
                    </a:lnTo>
                    <a:lnTo>
                      <a:pt x="2"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9" name="Freeform 115">
                <a:extLst>
                  <a:ext uri="{FF2B5EF4-FFF2-40B4-BE49-F238E27FC236}">
                    <a16:creationId xmlns:a16="http://schemas.microsoft.com/office/drawing/2014/main" id="{5DCAC0DB-BCB9-4495-BE5E-2C8A836FD58C}"/>
                  </a:ext>
                </a:extLst>
              </p:cNvPr>
              <p:cNvSpPr>
                <a:spLocks/>
              </p:cNvSpPr>
              <p:nvPr/>
            </p:nvSpPr>
            <p:spPr bwMode="auto">
              <a:xfrm>
                <a:off x="4424" y="1340"/>
                <a:ext cx="27" cy="5"/>
              </a:xfrm>
              <a:custGeom>
                <a:avLst/>
                <a:gdLst>
                  <a:gd name="T0" fmla="*/ 0 w 27"/>
                  <a:gd name="T1" fmla="*/ 2 h 5"/>
                  <a:gd name="T2" fmla="*/ 1 w 27"/>
                  <a:gd name="T3" fmla="*/ 3 h 5"/>
                  <a:gd name="T4" fmla="*/ 7 w 27"/>
                  <a:gd name="T5" fmla="*/ 3 h 5"/>
                  <a:gd name="T6" fmla="*/ 10 w 27"/>
                  <a:gd name="T7" fmla="*/ 5 h 5"/>
                  <a:gd name="T8" fmla="*/ 13 w 27"/>
                  <a:gd name="T9" fmla="*/ 5 h 5"/>
                  <a:gd name="T10" fmla="*/ 18 w 27"/>
                  <a:gd name="T11" fmla="*/ 4 h 5"/>
                  <a:gd name="T12" fmla="*/ 24 w 27"/>
                  <a:gd name="T13" fmla="*/ 3 h 5"/>
                  <a:gd name="T14" fmla="*/ 27 w 27"/>
                  <a:gd name="T15" fmla="*/ 3 h 5"/>
                  <a:gd name="T16" fmla="*/ 15 w 27"/>
                  <a:gd name="T17" fmla="*/ 0 h 5"/>
                  <a:gd name="T18" fmla="*/ 13 w 27"/>
                  <a:gd name="T19" fmla="*/ 2 h 5"/>
                  <a:gd name="T20" fmla="*/ 9 w 27"/>
                  <a:gd name="T21" fmla="*/ 1 h 5"/>
                  <a:gd name="T22" fmla="*/ 7 w 27"/>
                  <a:gd name="T23" fmla="*/ 1 h 5"/>
                  <a:gd name="T24" fmla="*/ 4 w 27"/>
                  <a:gd name="T25" fmla="*/ 1 h 5"/>
                  <a:gd name="T26" fmla="*/ 0 w 27"/>
                  <a:gd name="T27" fmla="*/ 2 h 5"/>
                  <a:gd name="T28" fmla="*/ 0 w 27"/>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
                    <a:moveTo>
                      <a:pt x="0" y="2"/>
                    </a:moveTo>
                    <a:lnTo>
                      <a:pt x="1" y="3"/>
                    </a:lnTo>
                    <a:lnTo>
                      <a:pt x="7" y="3"/>
                    </a:lnTo>
                    <a:lnTo>
                      <a:pt x="10" y="5"/>
                    </a:lnTo>
                    <a:lnTo>
                      <a:pt x="13" y="5"/>
                    </a:lnTo>
                    <a:lnTo>
                      <a:pt x="18" y="4"/>
                    </a:lnTo>
                    <a:lnTo>
                      <a:pt x="24" y="3"/>
                    </a:lnTo>
                    <a:lnTo>
                      <a:pt x="27" y="3"/>
                    </a:lnTo>
                    <a:lnTo>
                      <a:pt x="15" y="0"/>
                    </a:lnTo>
                    <a:lnTo>
                      <a:pt x="13" y="2"/>
                    </a:lnTo>
                    <a:lnTo>
                      <a:pt x="9" y="1"/>
                    </a:lnTo>
                    <a:lnTo>
                      <a:pt x="7" y="1"/>
                    </a:lnTo>
                    <a:lnTo>
                      <a:pt x="4"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0" name="Freeform 116">
                <a:extLst>
                  <a:ext uri="{FF2B5EF4-FFF2-40B4-BE49-F238E27FC236}">
                    <a16:creationId xmlns:a16="http://schemas.microsoft.com/office/drawing/2014/main" id="{D7C91335-D64E-4F2D-8FEE-AC057332EE2C}"/>
                  </a:ext>
                </a:extLst>
              </p:cNvPr>
              <p:cNvSpPr>
                <a:spLocks/>
              </p:cNvSpPr>
              <p:nvPr/>
            </p:nvSpPr>
            <p:spPr bwMode="auto">
              <a:xfrm>
                <a:off x="4430" y="1333"/>
                <a:ext cx="43" cy="14"/>
              </a:xfrm>
              <a:custGeom>
                <a:avLst/>
                <a:gdLst>
                  <a:gd name="T0" fmla="*/ 0 w 43"/>
                  <a:gd name="T1" fmla="*/ 3 h 14"/>
                  <a:gd name="T2" fmla="*/ 0 w 43"/>
                  <a:gd name="T3" fmla="*/ 3 h 14"/>
                  <a:gd name="T4" fmla="*/ 9 w 43"/>
                  <a:gd name="T5" fmla="*/ 5 h 14"/>
                  <a:gd name="T6" fmla="*/ 11 w 43"/>
                  <a:gd name="T7" fmla="*/ 5 h 14"/>
                  <a:gd name="T8" fmla="*/ 15 w 43"/>
                  <a:gd name="T9" fmla="*/ 7 h 14"/>
                  <a:gd name="T10" fmla="*/ 17 w 43"/>
                  <a:gd name="T11" fmla="*/ 7 h 14"/>
                  <a:gd name="T12" fmla="*/ 20 w 43"/>
                  <a:gd name="T13" fmla="*/ 8 h 14"/>
                  <a:gd name="T14" fmla="*/ 28 w 43"/>
                  <a:gd name="T15" fmla="*/ 9 h 14"/>
                  <a:gd name="T16" fmla="*/ 37 w 43"/>
                  <a:gd name="T17" fmla="*/ 14 h 14"/>
                  <a:gd name="T18" fmla="*/ 43 w 43"/>
                  <a:gd name="T19" fmla="*/ 12 h 14"/>
                  <a:gd name="T20" fmla="*/ 43 w 43"/>
                  <a:gd name="T21" fmla="*/ 9 h 14"/>
                  <a:gd name="T22" fmla="*/ 33 w 43"/>
                  <a:gd name="T23" fmla="*/ 7 h 14"/>
                  <a:gd name="T24" fmla="*/ 29 w 43"/>
                  <a:gd name="T25" fmla="*/ 5 h 14"/>
                  <a:gd name="T26" fmla="*/ 24 w 43"/>
                  <a:gd name="T27" fmla="*/ 2 h 14"/>
                  <a:gd name="T28" fmla="*/ 17 w 43"/>
                  <a:gd name="T29" fmla="*/ 3 h 14"/>
                  <a:gd name="T30" fmla="*/ 15 w 43"/>
                  <a:gd name="T31" fmla="*/ 3 h 14"/>
                  <a:gd name="T32" fmla="*/ 11 w 43"/>
                  <a:gd name="T33" fmla="*/ 2 h 14"/>
                  <a:gd name="T34" fmla="*/ 2 w 43"/>
                  <a:gd name="T35" fmla="*/ 0 h 14"/>
                  <a:gd name="T36" fmla="*/ 0 w 43"/>
                  <a:gd name="T37" fmla="*/ 3 h 14"/>
                  <a:gd name="T38" fmla="*/ 0 w 43"/>
                  <a:gd name="T3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14">
                    <a:moveTo>
                      <a:pt x="0" y="3"/>
                    </a:moveTo>
                    <a:lnTo>
                      <a:pt x="0" y="3"/>
                    </a:lnTo>
                    <a:lnTo>
                      <a:pt x="9" y="5"/>
                    </a:lnTo>
                    <a:lnTo>
                      <a:pt x="11" y="5"/>
                    </a:lnTo>
                    <a:lnTo>
                      <a:pt x="15" y="7"/>
                    </a:lnTo>
                    <a:lnTo>
                      <a:pt x="17" y="7"/>
                    </a:lnTo>
                    <a:lnTo>
                      <a:pt x="20" y="8"/>
                    </a:lnTo>
                    <a:lnTo>
                      <a:pt x="28" y="9"/>
                    </a:lnTo>
                    <a:lnTo>
                      <a:pt x="37" y="14"/>
                    </a:lnTo>
                    <a:lnTo>
                      <a:pt x="43" y="12"/>
                    </a:lnTo>
                    <a:lnTo>
                      <a:pt x="43" y="9"/>
                    </a:lnTo>
                    <a:lnTo>
                      <a:pt x="33" y="7"/>
                    </a:lnTo>
                    <a:lnTo>
                      <a:pt x="29" y="5"/>
                    </a:lnTo>
                    <a:lnTo>
                      <a:pt x="24" y="2"/>
                    </a:lnTo>
                    <a:lnTo>
                      <a:pt x="17" y="3"/>
                    </a:lnTo>
                    <a:lnTo>
                      <a:pt x="15" y="3"/>
                    </a:lnTo>
                    <a:lnTo>
                      <a:pt x="11" y="2"/>
                    </a:lnTo>
                    <a:lnTo>
                      <a:pt x="2"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1" name="Freeform 117">
                <a:extLst>
                  <a:ext uri="{FF2B5EF4-FFF2-40B4-BE49-F238E27FC236}">
                    <a16:creationId xmlns:a16="http://schemas.microsoft.com/office/drawing/2014/main" id="{972FDF78-1932-4974-8D3E-3CFF12E77B86}"/>
                  </a:ext>
                </a:extLst>
              </p:cNvPr>
              <p:cNvSpPr>
                <a:spLocks/>
              </p:cNvSpPr>
              <p:nvPr/>
            </p:nvSpPr>
            <p:spPr bwMode="auto">
              <a:xfrm>
                <a:off x="4445" y="1343"/>
                <a:ext cx="19" cy="6"/>
              </a:xfrm>
              <a:custGeom>
                <a:avLst/>
                <a:gdLst>
                  <a:gd name="T0" fmla="*/ 0 w 19"/>
                  <a:gd name="T1" fmla="*/ 2 h 6"/>
                  <a:gd name="T2" fmla="*/ 1 w 19"/>
                  <a:gd name="T3" fmla="*/ 5 h 6"/>
                  <a:gd name="T4" fmla="*/ 4 w 19"/>
                  <a:gd name="T5" fmla="*/ 6 h 6"/>
                  <a:gd name="T6" fmla="*/ 8 w 19"/>
                  <a:gd name="T7" fmla="*/ 6 h 6"/>
                  <a:gd name="T8" fmla="*/ 10 w 19"/>
                  <a:gd name="T9" fmla="*/ 5 h 6"/>
                  <a:gd name="T10" fmla="*/ 17 w 19"/>
                  <a:gd name="T11" fmla="*/ 6 h 6"/>
                  <a:gd name="T12" fmla="*/ 19 w 19"/>
                  <a:gd name="T13" fmla="*/ 5 h 6"/>
                  <a:gd name="T14" fmla="*/ 17 w 19"/>
                  <a:gd name="T15" fmla="*/ 2 h 6"/>
                  <a:gd name="T16" fmla="*/ 14 w 19"/>
                  <a:gd name="T17" fmla="*/ 0 h 6"/>
                  <a:gd name="T18" fmla="*/ 5 w 19"/>
                  <a:gd name="T19" fmla="*/ 1 h 6"/>
                  <a:gd name="T20" fmla="*/ 2 w 19"/>
                  <a:gd name="T21" fmla="*/ 2 h 6"/>
                  <a:gd name="T22" fmla="*/ 0 w 19"/>
                  <a:gd name="T23" fmla="*/ 2 h 6"/>
                  <a:gd name="T24" fmla="*/ 0 w 19"/>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
                    <a:moveTo>
                      <a:pt x="0" y="2"/>
                    </a:moveTo>
                    <a:lnTo>
                      <a:pt x="1" y="5"/>
                    </a:lnTo>
                    <a:lnTo>
                      <a:pt x="4" y="6"/>
                    </a:lnTo>
                    <a:lnTo>
                      <a:pt x="8" y="6"/>
                    </a:lnTo>
                    <a:lnTo>
                      <a:pt x="10" y="5"/>
                    </a:lnTo>
                    <a:lnTo>
                      <a:pt x="17" y="6"/>
                    </a:lnTo>
                    <a:lnTo>
                      <a:pt x="19" y="5"/>
                    </a:lnTo>
                    <a:lnTo>
                      <a:pt x="17" y="2"/>
                    </a:lnTo>
                    <a:lnTo>
                      <a:pt x="14" y="0"/>
                    </a:lnTo>
                    <a:lnTo>
                      <a:pt x="5" y="1"/>
                    </a:lnTo>
                    <a:lnTo>
                      <a:pt x="2"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2" name="Freeform 118">
                <a:extLst>
                  <a:ext uri="{FF2B5EF4-FFF2-40B4-BE49-F238E27FC236}">
                    <a16:creationId xmlns:a16="http://schemas.microsoft.com/office/drawing/2014/main" id="{AD3FF816-A54E-4701-BB7F-E7ACAEA0587C}"/>
                  </a:ext>
                </a:extLst>
              </p:cNvPr>
              <p:cNvSpPr>
                <a:spLocks/>
              </p:cNvSpPr>
              <p:nvPr/>
            </p:nvSpPr>
            <p:spPr bwMode="auto">
              <a:xfrm>
                <a:off x="4445" y="1324"/>
                <a:ext cx="32" cy="7"/>
              </a:xfrm>
              <a:custGeom>
                <a:avLst/>
                <a:gdLst>
                  <a:gd name="T0" fmla="*/ 1 w 32"/>
                  <a:gd name="T1" fmla="*/ 6 h 7"/>
                  <a:gd name="T2" fmla="*/ 1 w 32"/>
                  <a:gd name="T3" fmla="*/ 6 h 7"/>
                  <a:gd name="T4" fmla="*/ 6 w 32"/>
                  <a:gd name="T5" fmla="*/ 7 h 7"/>
                  <a:gd name="T6" fmla="*/ 9 w 32"/>
                  <a:gd name="T7" fmla="*/ 6 h 7"/>
                  <a:gd name="T8" fmla="*/ 12 w 32"/>
                  <a:gd name="T9" fmla="*/ 7 h 7"/>
                  <a:gd name="T10" fmla="*/ 27 w 32"/>
                  <a:gd name="T11" fmla="*/ 3 h 7"/>
                  <a:gd name="T12" fmla="*/ 29 w 32"/>
                  <a:gd name="T13" fmla="*/ 3 h 7"/>
                  <a:gd name="T14" fmla="*/ 32 w 32"/>
                  <a:gd name="T15" fmla="*/ 3 h 7"/>
                  <a:gd name="T16" fmla="*/ 30 w 32"/>
                  <a:gd name="T17" fmla="*/ 2 h 7"/>
                  <a:gd name="T18" fmla="*/ 27 w 32"/>
                  <a:gd name="T19" fmla="*/ 2 h 7"/>
                  <a:gd name="T20" fmla="*/ 21 w 32"/>
                  <a:gd name="T21" fmla="*/ 0 h 7"/>
                  <a:gd name="T22" fmla="*/ 18 w 32"/>
                  <a:gd name="T23" fmla="*/ 0 h 7"/>
                  <a:gd name="T24" fmla="*/ 16 w 32"/>
                  <a:gd name="T25" fmla="*/ 0 h 7"/>
                  <a:gd name="T26" fmla="*/ 12 w 32"/>
                  <a:gd name="T27" fmla="*/ 1 h 7"/>
                  <a:gd name="T28" fmla="*/ 13 w 32"/>
                  <a:gd name="T29" fmla="*/ 4 h 7"/>
                  <a:gd name="T30" fmla="*/ 5 w 32"/>
                  <a:gd name="T31" fmla="*/ 2 h 7"/>
                  <a:gd name="T32" fmla="*/ 3 w 32"/>
                  <a:gd name="T33" fmla="*/ 2 h 7"/>
                  <a:gd name="T34" fmla="*/ 0 w 32"/>
                  <a:gd name="T35" fmla="*/ 2 h 7"/>
                  <a:gd name="T36" fmla="*/ 1 w 32"/>
                  <a:gd name="T37" fmla="*/ 6 h 7"/>
                  <a:gd name="T38" fmla="*/ 1 w 32"/>
                  <a:gd name="T3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7">
                    <a:moveTo>
                      <a:pt x="1" y="6"/>
                    </a:moveTo>
                    <a:lnTo>
                      <a:pt x="1" y="6"/>
                    </a:lnTo>
                    <a:lnTo>
                      <a:pt x="6" y="7"/>
                    </a:lnTo>
                    <a:lnTo>
                      <a:pt x="9" y="6"/>
                    </a:lnTo>
                    <a:lnTo>
                      <a:pt x="12" y="7"/>
                    </a:lnTo>
                    <a:lnTo>
                      <a:pt x="27" y="3"/>
                    </a:lnTo>
                    <a:lnTo>
                      <a:pt x="29" y="3"/>
                    </a:lnTo>
                    <a:lnTo>
                      <a:pt x="32" y="3"/>
                    </a:lnTo>
                    <a:lnTo>
                      <a:pt x="30" y="2"/>
                    </a:lnTo>
                    <a:lnTo>
                      <a:pt x="27" y="2"/>
                    </a:lnTo>
                    <a:lnTo>
                      <a:pt x="21" y="0"/>
                    </a:lnTo>
                    <a:lnTo>
                      <a:pt x="18" y="0"/>
                    </a:lnTo>
                    <a:lnTo>
                      <a:pt x="16" y="0"/>
                    </a:lnTo>
                    <a:lnTo>
                      <a:pt x="12" y="1"/>
                    </a:lnTo>
                    <a:lnTo>
                      <a:pt x="13" y="4"/>
                    </a:lnTo>
                    <a:lnTo>
                      <a:pt x="5" y="2"/>
                    </a:lnTo>
                    <a:lnTo>
                      <a:pt x="3" y="2"/>
                    </a:lnTo>
                    <a:lnTo>
                      <a:pt x="0" y="2"/>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3" name="Freeform 119">
                <a:extLst>
                  <a:ext uri="{FF2B5EF4-FFF2-40B4-BE49-F238E27FC236}">
                    <a16:creationId xmlns:a16="http://schemas.microsoft.com/office/drawing/2014/main" id="{963387CE-EE25-4F0A-AD82-D6987E1ABF47}"/>
                  </a:ext>
                </a:extLst>
              </p:cNvPr>
              <p:cNvSpPr>
                <a:spLocks/>
              </p:cNvSpPr>
              <p:nvPr/>
            </p:nvSpPr>
            <p:spPr bwMode="auto">
              <a:xfrm>
                <a:off x="4449" y="1357"/>
                <a:ext cx="18" cy="9"/>
              </a:xfrm>
              <a:custGeom>
                <a:avLst/>
                <a:gdLst>
                  <a:gd name="T0" fmla="*/ 0 w 18"/>
                  <a:gd name="T1" fmla="*/ 8 h 9"/>
                  <a:gd name="T2" fmla="*/ 0 w 18"/>
                  <a:gd name="T3" fmla="*/ 9 h 9"/>
                  <a:gd name="T4" fmla="*/ 4 w 18"/>
                  <a:gd name="T5" fmla="*/ 9 h 9"/>
                  <a:gd name="T6" fmla="*/ 15 w 18"/>
                  <a:gd name="T7" fmla="*/ 9 h 9"/>
                  <a:gd name="T8" fmla="*/ 17 w 18"/>
                  <a:gd name="T9" fmla="*/ 9 h 9"/>
                  <a:gd name="T10" fmla="*/ 18 w 18"/>
                  <a:gd name="T11" fmla="*/ 5 h 9"/>
                  <a:gd name="T12" fmla="*/ 17 w 18"/>
                  <a:gd name="T13" fmla="*/ 0 h 9"/>
                  <a:gd name="T14" fmla="*/ 14 w 18"/>
                  <a:gd name="T15" fmla="*/ 0 h 9"/>
                  <a:gd name="T16" fmla="*/ 10 w 18"/>
                  <a:gd name="T17" fmla="*/ 1 h 9"/>
                  <a:gd name="T18" fmla="*/ 5 w 18"/>
                  <a:gd name="T19" fmla="*/ 1 h 9"/>
                  <a:gd name="T20" fmla="*/ 2 w 18"/>
                  <a:gd name="T21" fmla="*/ 3 h 9"/>
                  <a:gd name="T22" fmla="*/ 2 w 18"/>
                  <a:gd name="T23" fmla="*/ 5 h 9"/>
                  <a:gd name="T24" fmla="*/ 0 w 18"/>
                  <a:gd name="T25" fmla="*/ 8 h 9"/>
                  <a:gd name="T26" fmla="*/ 0 w 18"/>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9">
                    <a:moveTo>
                      <a:pt x="0" y="8"/>
                    </a:moveTo>
                    <a:lnTo>
                      <a:pt x="0" y="9"/>
                    </a:lnTo>
                    <a:lnTo>
                      <a:pt x="4" y="9"/>
                    </a:lnTo>
                    <a:lnTo>
                      <a:pt x="15" y="9"/>
                    </a:lnTo>
                    <a:lnTo>
                      <a:pt x="17" y="9"/>
                    </a:lnTo>
                    <a:lnTo>
                      <a:pt x="18" y="5"/>
                    </a:lnTo>
                    <a:lnTo>
                      <a:pt x="17" y="0"/>
                    </a:lnTo>
                    <a:lnTo>
                      <a:pt x="14" y="0"/>
                    </a:lnTo>
                    <a:lnTo>
                      <a:pt x="10" y="1"/>
                    </a:lnTo>
                    <a:lnTo>
                      <a:pt x="5" y="1"/>
                    </a:lnTo>
                    <a:lnTo>
                      <a:pt x="2" y="3"/>
                    </a:lnTo>
                    <a:lnTo>
                      <a:pt x="2" y="5"/>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4" name="Freeform 120">
                <a:extLst>
                  <a:ext uri="{FF2B5EF4-FFF2-40B4-BE49-F238E27FC236}">
                    <a16:creationId xmlns:a16="http://schemas.microsoft.com/office/drawing/2014/main" id="{53DE4096-8B28-4BAF-8322-52100EF773EB}"/>
                  </a:ext>
                </a:extLst>
              </p:cNvPr>
              <p:cNvSpPr>
                <a:spLocks/>
              </p:cNvSpPr>
              <p:nvPr/>
            </p:nvSpPr>
            <p:spPr bwMode="auto">
              <a:xfrm>
                <a:off x="4453" y="1333"/>
                <a:ext cx="29" cy="8"/>
              </a:xfrm>
              <a:custGeom>
                <a:avLst/>
                <a:gdLst>
                  <a:gd name="T0" fmla="*/ 0 w 29"/>
                  <a:gd name="T1" fmla="*/ 0 h 8"/>
                  <a:gd name="T2" fmla="*/ 2 w 29"/>
                  <a:gd name="T3" fmla="*/ 1 h 8"/>
                  <a:gd name="T4" fmla="*/ 9 w 29"/>
                  <a:gd name="T5" fmla="*/ 2 h 8"/>
                  <a:gd name="T6" fmla="*/ 11 w 29"/>
                  <a:gd name="T7" fmla="*/ 5 h 8"/>
                  <a:gd name="T8" fmla="*/ 14 w 29"/>
                  <a:gd name="T9" fmla="*/ 5 h 8"/>
                  <a:gd name="T10" fmla="*/ 18 w 29"/>
                  <a:gd name="T11" fmla="*/ 8 h 8"/>
                  <a:gd name="T12" fmla="*/ 23 w 29"/>
                  <a:gd name="T13" fmla="*/ 8 h 8"/>
                  <a:gd name="T14" fmla="*/ 29 w 29"/>
                  <a:gd name="T15" fmla="*/ 6 h 8"/>
                  <a:gd name="T16" fmla="*/ 23 w 29"/>
                  <a:gd name="T17" fmla="*/ 5 h 8"/>
                  <a:gd name="T18" fmla="*/ 20 w 29"/>
                  <a:gd name="T19" fmla="*/ 2 h 8"/>
                  <a:gd name="T20" fmla="*/ 14 w 29"/>
                  <a:gd name="T21" fmla="*/ 2 h 8"/>
                  <a:gd name="T22" fmla="*/ 9 w 29"/>
                  <a:gd name="T23" fmla="*/ 0 h 8"/>
                  <a:gd name="T24" fmla="*/ 0 w 29"/>
                  <a:gd name="T25" fmla="*/ 0 h 8"/>
                  <a:gd name="T26" fmla="*/ 0 w 2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8">
                    <a:moveTo>
                      <a:pt x="0" y="0"/>
                    </a:moveTo>
                    <a:lnTo>
                      <a:pt x="2" y="1"/>
                    </a:lnTo>
                    <a:lnTo>
                      <a:pt x="9" y="2"/>
                    </a:lnTo>
                    <a:lnTo>
                      <a:pt x="11" y="5"/>
                    </a:lnTo>
                    <a:lnTo>
                      <a:pt x="14" y="5"/>
                    </a:lnTo>
                    <a:lnTo>
                      <a:pt x="18" y="8"/>
                    </a:lnTo>
                    <a:lnTo>
                      <a:pt x="23" y="8"/>
                    </a:lnTo>
                    <a:lnTo>
                      <a:pt x="29" y="6"/>
                    </a:lnTo>
                    <a:lnTo>
                      <a:pt x="23" y="5"/>
                    </a:lnTo>
                    <a:lnTo>
                      <a:pt x="20" y="2"/>
                    </a:lnTo>
                    <a:lnTo>
                      <a:pt x="14" y="2"/>
                    </a:lnTo>
                    <a:lnTo>
                      <a:pt x="9"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5" name="Freeform 121">
                <a:extLst>
                  <a:ext uri="{FF2B5EF4-FFF2-40B4-BE49-F238E27FC236}">
                    <a16:creationId xmlns:a16="http://schemas.microsoft.com/office/drawing/2014/main" id="{121147A3-DB3A-4B8F-9C92-37AD4EA86DD4}"/>
                  </a:ext>
                </a:extLst>
              </p:cNvPr>
              <p:cNvSpPr>
                <a:spLocks/>
              </p:cNvSpPr>
              <p:nvPr/>
            </p:nvSpPr>
            <p:spPr bwMode="auto">
              <a:xfrm>
                <a:off x="4463" y="1318"/>
                <a:ext cx="22" cy="7"/>
              </a:xfrm>
              <a:custGeom>
                <a:avLst/>
                <a:gdLst>
                  <a:gd name="T0" fmla="*/ 17 w 22"/>
                  <a:gd name="T1" fmla="*/ 7 h 7"/>
                  <a:gd name="T2" fmla="*/ 19 w 22"/>
                  <a:gd name="T3" fmla="*/ 6 h 7"/>
                  <a:gd name="T4" fmla="*/ 22 w 22"/>
                  <a:gd name="T5" fmla="*/ 5 h 7"/>
                  <a:gd name="T6" fmla="*/ 20 w 22"/>
                  <a:gd name="T7" fmla="*/ 4 h 7"/>
                  <a:gd name="T8" fmla="*/ 17 w 22"/>
                  <a:gd name="T9" fmla="*/ 3 h 7"/>
                  <a:gd name="T10" fmla="*/ 13 w 22"/>
                  <a:gd name="T11" fmla="*/ 1 h 7"/>
                  <a:gd name="T12" fmla="*/ 11 w 22"/>
                  <a:gd name="T13" fmla="*/ 0 h 7"/>
                  <a:gd name="T14" fmla="*/ 8 w 22"/>
                  <a:gd name="T15" fmla="*/ 1 h 7"/>
                  <a:gd name="T16" fmla="*/ 5 w 22"/>
                  <a:gd name="T17" fmla="*/ 1 h 7"/>
                  <a:gd name="T18" fmla="*/ 2 w 22"/>
                  <a:gd name="T19" fmla="*/ 3 h 7"/>
                  <a:gd name="T20" fmla="*/ 0 w 22"/>
                  <a:gd name="T21" fmla="*/ 5 h 7"/>
                  <a:gd name="T22" fmla="*/ 5 w 22"/>
                  <a:gd name="T23" fmla="*/ 5 h 7"/>
                  <a:gd name="T24" fmla="*/ 9 w 22"/>
                  <a:gd name="T25" fmla="*/ 5 h 7"/>
                  <a:gd name="T26" fmla="*/ 11 w 22"/>
                  <a:gd name="T27" fmla="*/ 6 h 7"/>
                  <a:gd name="T28" fmla="*/ 17 w 22"/>
                  <a:gd name="T29" fmla="*/ 7 h 7"/>
                  <a:gd name="T30" fmla="*/ 17 w 2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17" y="7"/>
                    </a:moveTo>
                    <a:lnTo>
                      <a:pt x="19" y="6"/>
                    </a:lnTo>
                    <a:lnTo>
                      <a:pt x="22" y="5"/>
                    </a:lnTo>
                    <a:lnTo>
                      <a:pt x="20" y="4"/>
                    </a:lnTo>
                    <a:lnTo>
                      <a:pt x="17" y="3"/>
                    </a:lnTo>
                    <a:lnTo>
                      <a:pt x="13" y="1"/>
                    </a:lnTo>
                    <a:lnTo>
                      <a:pt x="11" y="0"/>
                    </a:lnTo>
                    <a:lnTo>
                      <a:pt x="8" y="1"/>
                    </a:lnTo>
                    <a:lnTo>
                      <a:pt x="5" y="1"/>
                    </a:lnTo>
                    <a:lnTo>
                      <a:pt x="2" y="3"/>
                    </a:lnTo>
                    <a:lnTo>
                      <a:pt x="0" y="5"/>
                    </a:lnTo>
                    <a:lnTo>
                      <a:pt x="5" y="5"/>
                    </a:lnTo>
                    <a:lnTo>
                      <a:pt x="9" y="5"/>
                    </a:lnTo>
                    <a:lnTo>
                      <a:pt x="11" y="6"/>
                    </a:lnTo>
                    <a:lnTo>
                      <a:pt x="17" y="7"/>
                    </a:lnTo>
                    <a:lnTo>
                      <a:pt x="1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6" name="Freeform 122">
                <a:extLst>
                  <a:ext uri="{FF2B5EF4-FFF2-40B4-BE49-F238E27FC236}">
                    <a16:creationId xmlns:a16="http://schemas.microsoft.com/office/drawing/2014/main" id="{B826EF85-EB83-42AE-90A9-E7E59614D412}"/>
                  </a:ext>
                </a:extLst>
              </p:cNvPr>
              <p:cNvSpPr>
                <a:spLocks/>
              </p:cNvSpPr>
              <p:nvPr/>
            </p:nvSpPr>
            <p:spPr bwMode="auto">
              <a:xfrm>
                <a:off x="4466" y="1353"/>
                <a:ext cx="28" cy="12"/>
              </a:xfrm>
              <a:custGeom>
                <a:avLst/>
                <a:gdLst>
                  <a:gd name="T0" fmla="*/ 8 w 28"/>
                  <a:gd name="T1" fmla="*/ 12 h 12"/>
                  <a:gd name="T2" fmla="*/ 13 w 28"/>
                  <a:gd name="T3" fmla="*/ 12 h 12"/>
                  <a:gd name="T4" fmla="*/ 13 w 28"/>
                  <a:gd name="T5" fmla="*/ 9 h 12"/>
                  <a:gd name="T6" fmla="*/ 15 w 28"/>
                  <a:gd name="T7" fmla="*/ 9 h 12"/>
                  <a:gd name="T8" fmla="*/ 17 w 28"/>
                  <a:gd name="T9" fmla="*/ 8 h 12"/>
                  <a:gd name="T10" fmla="*/ 15 w 28"/>
                  <a:gd name="T11" fmla="*/ 6 h 12"/>
                  <a:gd name="T12" fmla="*/ 18 w 28"/>
                  <a:gd name="T13" fmla="*/ 6 h 12"/>
                  <a:gd name="T14" fmla="*/ 21 w 28"/>
                  <a:gd name="T15" fmla="*/ 6 h 12"/>
                  <a:gd name="T16" fmla="*/ 23 w 28"/>
                  <a:gd name="T17" fmla="*/ 5 h 12"/>
                  <a:gd name="T18" fmla="*/ 26 w 28"/>
                  <a:gd name="T19" fmla="*/ 5 h 12"/>
                  <a:gd name="T20" fmla="*/ 28 w 28"/>
                  <a:gd name="T21" fmla="*/ 4 h 12"/>
                  <a:gd name="T22" fmla="*/ 18 w 28"/>
                  <a:gd name="T23" fmla="*/ 0 h 12"/>
                  <a:gd name="T24" fmla="*/ 11 w 28"/>
                  <a:gd name="T25" fmla="*/ 0 h 12"/>
                  <a:gd name="T26" fmla="*/ 4 w 28"/>
                  <a:gd name="T27" fmla="*/ 0 h 12"/>
                  <a:gd name="T28" fmla="*/ 0 w 28"/>
                  <a:gd name="T29" fmla="*/ 2 h 12"/>
                  <a:gd name="T30" fmla="*/ 2 w 28"/>
                  <a:gd name="T31" fmla="*/ 3 h 12"/>
                  <a:gd name="T32" fmla="*/ 2 w 28"/>
                  <a:gd name="T33" fmla="*/ 6 h 12"/>
                  <a:gd name="T34" fmla="*/ 4 w 28"/>
                  <a:gd name="T35" fmla="*/ 8 h 12"/>
                  <a:gd name="T36" fmla="*/ 6 w 28"/>
                  <a:gd name="T37" fmla="*/ 12 h 12"/>
                  <a:gd name="T38" fmla="*/ 8 w 28"/>
                  <a:gd name="T39" fmla="*/ 12 h 12"/>
                  <a:gd name="T40" fmla="*/ 8 w 28"/>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2">
                    <a:moveTo>
                      <a:pt x="8" y="12"/>
                    </a:moveTo>
                    <a:lnTo>
                      <a:pt x="13" y="12"/>
                    </a:lnTo>
                    <a:lnTo>
                      <a:pt x="13" y="9"/>
                    </a:lnTo>
                    <a:lnTo>
                      <a:pt x="15" y="9"/>
                    </a:lnTo>
                    <a:lnTo>
                      <a:pt x="17" y="8"/>
                    </a:lnTo>
                    <a:lnTo>
                      <a:pt x="15" y="6"/>
                    </a:lnTo>
                    <a:lnTo>
                      <a:pt x="18" y="6"/>
                    </a:lnTo>
                    <a:lnTo>
                      <a:pt x="21" y="6"/>
                    </a:lnTo>
                    <a:lnTo>
                      <a:pt x="23" y="5"/>
                    </a:lnTo>
                    <a:lnTo>
                      <a:pt x="26" y="5"/>
                    </a:lnTo>
                    <a:lnTo>
                      <a:pt x="28" y="4"/>
                    </a:lnTo>
                    <a:lnTo>
                      <a:pt x="18" y="0"/>
                    </a:lnTo>
                    <a:lnTo>
                      <a:pt x="11" y="0"/>
                    </a:lnTo>
                    <a:lnTo>
                      <a:pt x="4" y="0"/>
                    </a:lnTo>
                    <a:lnTo>
                      <a:pt x="0" y="2"/>
                    </a:lnTo>
                    <a:lnTo>
                      <a:pt x="2" y="3"/>
                    </a:lnTo>
                    <a:lnTo>
                      <a:pt x="2" y="6"/>
                    </a:lnTo>
                    <a:lnTo>
                      <a:pt x="4" y="8"/>
                    </a:lnTo>
                    <a:lnTo>
                      <a:pt x="6" y="12"/>
                    </a:lnTo>
                    <a:lnTo>
                      <a:pt x="8" y="12"/>
                    </a:lnTo>
                    <a:lnTo>
                      <a:pt x="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7" name="Freeform 123">
                <a:extLst>
                  <a:ext uri="{FF2B5EF4-FFF2-40B4-BE49-F238E27FC236}">
                    <a16:creationId xmlns:a16="http://schemas.microsoft.com/office/drawing/2014/main" id="{BC242B0D-6421-4A53-ACCB-365C079AE7DA}"/>
                  </a:ext>
                </a:extLst>
              </p:cNvPr>
              <p:cNvSpPr>
                <a:spLocks/>
              </p:cNvSpPr>
              <p:nvPr/>
            </p:nvSpPr>
            <p:spPr bwMode="auto">
              <a:xfrm>
                <a:off x="4466" y="1328"/>
                <a:ext cx="11" cy="4"/>
              </a:xfrm>
              <a:custGeom>
                <a:avLst/>
                <a:gdLst>
                  <a:gd name="T0" fmla="*/ 0 w 11"/>
                  <a:gd name="T1" fmla="*/ 3 h 4"/>
                  <a:gd name="T2" fmla="*/ 1 w 11"/>
                  <a:gd name="T3" fmla="*/ 4 h 4"/>
                  <a:gd name="T4" fmla="*/ 7 w 11"/>
                  <a:gd name="T5" fmla="*/ 4 h 4"/>
                  <a:gd name="T6" fmla="*/ 10 w 11"/>
                  <a:gd name="T7" fmla="*/ 4 h 4"/>
                  <a:gd name="T8" fmla="*/ 11 w 11"/>
                  <a:gd name="T9" fmla="*/ 0 h 4"/>
                  <a:gd name="T10" fmla="*/ 6 w 11"/>
                  <a:gd name="T11" fmla="*/ 2 h 4"/>
                  <a:gd name="T12" fmla="*/ 0 w 11"/>
                  <a:gd name="T13" fmla="*/ 3 h 4"/>
                  <a:gd name="T14" fmla="*/ 0 w 11"/>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3"/>
                    </a:moveTo>
                    <a:lnTo>
                      <a:pt x="1" y="4"/>
                    </a:lnTo>
                    <a:lnTo>
                      <a:pt x="7" y="4"/>
                    </a:lnTo>
                    <a:lnTo>
                      <a:pt x="10" y="4"/>
                    </a:lnTo>
                    <a:lnTo>
                      <a:pt x="11" y="0"/>
                    </a:lnTo>
                    <a:lnTo>
                      <a:pt x="6"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8" name="Freeform 124">
                <a:extLst>
                  <a:ext uri="{FF2B5EF4-FFF2-40B4-BE49-F238E27FC236}">
                    <a16:creationId xmlns:a16="http://schemas.microsoft.com/office/drawing/2014/main" id="{BCF302FE-6C23-45A7-841C-1760AD1C3356}"/>
                  </a:ext>
                </a:extLst>
              </p:cNvPr>
              <p:cNvSpPr>
                <a:spLocks/>
              </p:cNvSpPr>
              <p:nvPr/>
            </p:nvSpPr>
            <p:spPr bwMode="auto">
              <a:xfrm>
                <a:off x="4476" y="1333"/>
                <a:ext cx="12" cy="6"/>
              </a:xfrm>
              <a:custGeom>
                <a:avLst/>
                <a:gdLst>
                  <a:gd name="T0" fmla="*/ 0 w 12"/>
                  <a:gd name="T1" fmla="*/ 2 h 6"/>
                  <a:gd name="T2" fmla="*/ 8 w 12"/>
                  <a:gd name="T3" fmla="*/ 6 h 6"/>
                  <a:gd name="T4" fmla="*/ 11 w 12"/>
                  <a:gd name="T5" fmla="*/ 5 h 6"/>
                  <a:gd name="T6" fmla="*/ 12 w 12"/>
                  <a:gd name="T7" fmla="*/ 2 h 6"/>
                  <a:gd name="T8" fmla="*/ 6 w 12"/>
                  <a:gd name="T9" fmla="*/ 0 h 6"/>
                  <a:gd name="T10" fmla="*/ 4 w 12"/>
                  <a:gd name="T11" fmla="*/ 0 h 6"/>
                  <a:gd name="T12" fmla="*/ 0 w 12"/>
                  <a:gd name="T13" fmla="*/ 2 h 6"/>
                  <a:gd name="T14" fmla="*/ 0 w 1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0" y="2"/>
                    </a:moveTo>
                    <a:lnTo>
                      <a:pt x="8" y="6"/>
                    </a:lnTo>
                    <a:lnTo>
                      <a:pt x="11" y="5"/>
                    </a:lnTo>
                    <a:lnTo>
                      <a:pt x="12" y="2"/>
                    </a:lnTo>
                    <a:lnTo>
                      <a:pt x="6" y="0"/>
                    </a:lnTo>
                    <a:lnTo>
                      <a:pt x="4"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9" name="Freeform 125">
                <a:extLst>
                  <a:ext uri="{FF2B5EF4-FFF2-40B4-BE49-F238E27FC236}">
                    <a16:creationId xmlns:a16="http://schemas.microsoft.com/office/drawing/2014/main" id="{6D93FB4C-6453-4CA9-85AE-6BBEE1C32B04}"/>
                  </a:ext>
                </a:extLst>
              </p:cNvPr>
              <p:cNvSpPr>
                <a:spLocks/>
              </p:cNvSpPr>
              <p:nvPr/>
            </p:nvSpPr>
            <p:spPr bwMode="auto">
              <a:xfrm>
                <a:off x="4477" y="1340"/>
                <a:ext cx="15" cy="4"/>
              </a:xfrm>
              <a:custGeom>
                <a:avLst/>
                <a:gdLst>
                  <a:gd name="T0" fmla="*/ 2 w 15"/>
                  <a:gd name="T1" fmla="*/ 2 h 4"/>
                  <a:gd name="T2" fmla="*/ 0 w 15"/>
                  <a:gd name="T3" fmla="*/ 3 h 4"/>
                  <a:gd name="T4" fmla="*/ 10 w 15"/>
                  <a:gd name="T5" fmla="*/ 4 h 4"/>
                  <a:gd name="T6" fmla="*/ 12 w 15"/>
                  <a:gd name="T7" fmla="*/ 3 h 4"/>
                  <a:gd name="T8" fmla="*/ 15 w 15"/>
                  <a:gd name="T9" fmla="*/ 3 h 4"/>
                  <a:gd name="T10" fmla="*/ 15 w 15"/>
                  <a:gd name="T11" fmla="*/ 1 h 4"/>
                  <a:gd name="T12" fmla="*/ 12 w 15"/>
                  <a:gd name="T13" fmla="*/ 0 h 4"/>
                  <a:gd name="T14" fmla="*/ 7 w 15"/>
                  <a:gd name="T15" fmla="*/ 1 h 4"/>
                  <a:gd name="T16" fmla="*/ 2 w 15"/>
                  <a:gd name="T17" fmla="*/ 2 h 4"/>
                  <a:gd name="T18" fmla="*/ 2 w 15"/>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
                    <a:moveTo>
                      <a:pt x="2" y="2"/>
                    </a:moveTo>
                    <a:lnTo>
                      <a:pt x="0" y="3"/>
                    </a:lnTo>
                    <a:lnTo>
                      <a:pt x="10" y="4"/>
                    </a:lnTo>
                    <a:lnTo>
                      <a:pt x="12" y="3"/>
                    </a:lnTo>
                    <a:lnTo>
                      <a:pt x="15" y="3"/>
                    </a:lnTo>
                    <a:lnTo>
                      <a:pt x="15" y="1"/>
                    </a:lnTo>
                    <a:lnTo>
                      <a:pt x="12" y="0"/>
                    </a:lnTo>
                    <a:lnTo>
                      <a:pt x="7" y="1"/>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0" name="Freeform 126">
                <a:extLst>
                  <a:ext uri="{FF2B5EF4-FFF2-40B4-BE49-F238E27FC236}">
                    <a16:creationId xmlns:a16="http://schemas.microsoft.com/office/drawing/2014/main" id="{D4216DD6-1999-466D-AC78-71874BBD187C}"/>
                  </a:ext>
                </a:extLst>
              </p:cNvPr>
              <p:cNvSpPr>
                <a:spLocks/>
              </p:cNvSpPr>
              <p:nvPr/>
            </p:nvSpPr>
            <p:spPr bwMode="auto">
              <a:xfrm>
                <a:off x="4479" y="1309"/>
                <a:ext cx="19" cy="5"/>
              </a:xfrm>
              <a:custGeom>
                <a:avLst/>
                <a:gdLst>
                  <a:gd name="T0" fmla="*/ 1 w 19"/>
                  <a:gd name="T1" fmla="*/ 5 h 5"/>
                  <a:gd name="T2" fmla="*/ 9 w 19"/>
                  <a:gd name="T3" fmla="*/ 4 h 5"/>
                  <a:gd name="T4" fmla="*/ 18 w 19"/>
                  <a:gd name="T5" fmla="*/ 4 h 5"/>
                  <a:gd name="T6" fmla="*/ 19 w 19"/>
                  <a:gd name="T7" fmla="*/ 0 h 5"/>
                  <a:gd name="T8" fmla="*/ 17 w 19"/>
                  <a:gd name="T9" fmla="*/ 0 h 5"/>
                  <a:gd name="T10" fmla="*/ 2 w 19"/>
                  <a:gd name="T11" fmla="*/ 1 h 5"/>
                  <a:gd name="T12" fmla="*/ 0 w 19"/>
                  <a:gd name="T13" fmla="*/ 1 h 5"/>
                  <a:gd name="T14" fmla="*/ 2 w 19"/>
                  <a:gd name="T15" fmla="*/ 2 h 5"/>
                  <a:gd name="T16" fmla="*/ 1 w 19"/>
                  <a:gd name="T17" fmla="*/ 5 h 5"/>
                  <a:gd name="T18" fmla="*/ 1 w 19"/>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
                    <a:moveTo>
                      <a:pt x="1" y="5"/>
                    </a:moveTo>
                    <a:lnTo>
                      <a:pt x="9" y="4"/>
                    </a:lnTo>
                    <a:lnTo>
                      <a:pt x="18" y="4"/>
                    </a:lnTo>
                    <a:lnTo>
                      <a:pt x="19" y="0"/>
                    </a:lnTo>
                    <a:lnTo>
                      <a:pt x="17" y="0"/>
                    </a:lnTo>
                    <a:lnTo>
                      <a:pt x="2" y="1"/>
                    </a:lnTo>
                    <a:lnTo>
                      <a:pt x="0" y="1"/>
                    </a:lnTo>
                    <a:lnTo>
                      <a:pt x="2" y="2"/>
                    </a:lnTo>
                    <a:lnTo>
                      <a:pt x="1" y="5"/>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1" name="Freeform 127">
                <a:extLst>
                  <a:ext uri="{FF2B5EF4-FFF2-40B4-BE49-F238E27FC236}">
                    <a16:creationId xmlns:a16="http://schemas.microsoft.com/office/drawing/2014/main" id="{FBDD778E-B921-48FA-9A21-718A23992A89}"/>
                  </a:ext>
                </a:extLst>
              </p:cNvPr>
              <p:cNvSpPr>
                <a:spLocks/>
              </p:cNvSpPr>
              <p:nvPr/>
            </p:nvSpPr>
            <p:spPr bwMode="auto">
              <a:xfrm>
                <a:off x="4485" y="1324"/>
                <a:ext cx="12" cy="3"/>
              </a:xfrm>
              <a:custGeom>
                <a:avLst/>
                <a:gdLst>
                  <a:gd name="T0" fmla="*/ 0 w 12"/>
                  <a:gd name="T1" fmla="*/ 1 h 3"/>
                  <a:gd name="T2" fmla="*/ 0 w 12"/>
                  <a:gd name="T3" fmla="*/ 2 h 3"/>
                  <a:gd name="T4" fmla="*/ 4 w 12"/>
                  <a:gd name="T5" fmla="*/ 3 h 3"/>
                  <a:gd name="T6" fmla="*/ 8 w 12"/>
                  <a:gd name="T7" fmla="*/ 3 h 3"/>
                  <a:gd name="T8" fmla="*/ 12 w 12"/>
                  <a:gd name="T9" fmla="*/ 1 h 3"/>
                  <a:gd name="T10" fmla="*/ 8 w 12"/>
                  <a:gd name="T11" fmla="*/ 0 h 3"/>
                  <a:gd name="T12" fmla="*/ 6 w 12"/>
                  <a:gd name="T13" fmla="*/ 0 h 3"/>
                  <a:gd name="T14" fmla="*/ 0 w 12"/>
                  <a:gd name="T15" fmla="*/ 1 h 3"/>
                  <a:gd name="T16" fmla="*/ 0 w 12"/>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0" y="1"/>
                    </a:moveTo>
                    <a:lnTo>
                      <a:pt x="0" y="2"/>
                    </a:lnTo>
                    <a:lnTo>
                      <a:pt x="4" y="3"/>
                    </a:lnTo>
                    <a:lnTo>
                      <a:pt x="8" y="3"/>
                    </a:lnTo>
                    <a:lnTo>
                      <a:pt x="12" y="1"/>
                    </a:lnTo>
                    <a:lnTo>
                      <a:pt x="8" y="0"/>
                    </a:lnTo>
                    <a:lnTo>
                      <a:pt x="6"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2" name="Freeform 128">
                <a:extLst>
                  <a:ext uri="{FF2B5EF4-FFF2-40B4-BE49-F238E27FC236}">
                    <a16:creationId xmlns:a16="http://schemas.microsoft.com/office/drawing/2014/main" id="{45C72761-2C4E-42C5-A2F2-16F849EFEB5B}"/>
                  </a:ext>
                </a:extLst>
              </p:cNvPr>
              <p:cNvSpPr>
                <a:spLocks/>
              </p:cNvSpPr>
              <p:nvPr/>
            </p:nvSpPr>
            <p:spPr bwMode="auto">
              <a:xfrm>
                <a:off x="4490" y="1487"/>
                <a:ext cx="6" cy="2"/>
              </a:xfrm>
              <a:custGeom>
                <a:avLst/>
                <a:gdLst>
                  <a:gd name="T0" fmla="*/ 0 w 6"/>
                  <a:gd name="T1" fmla="*/ 2 h 2"/>
                  <a:gd name="T2" fmla="*/ 0 w 6"/>
                  <a:gd name="T3" fmla="*/ 2 h 2"/>
                  <a:gd name="T4" fmla="*/ 2 w 6"/>
                  <a:gd name="T5" fmla="*/ 2 h 2"/>
                  <a:gd name="T6" fmla="*/ 6 w 6"/>
                  <a:gd name="T7" fmla="*/ 0 h 2"/>
                  <a:gd name="T8" fmla="*/ 0 w 6"/>
                  <a:gd name="T9" fmla="*/ 2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2" y="2"/>
                    </a:lnTo>
                    <a:lnTo>
                      <a:pt x="6"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3" name="Freeform 129">
                <a:extLst>
                  <a:ext uri="{FF2B5EF4-FFF2-40B4-BE49-F238E27FC236}">
                    <a16:creationId xmlns:a16="http://schemas.microsoft.com/office/drawing/2014/main" id="{EF73262A-4275-4498-BA8F-1411BC100CBC}"/>
                  </a:ext>
                </a:extLst>
              </p:cNvPr>
              <p:cNvSpPr>
                <a:spLocks/>
              </p:cNvSpPr>
              <p:nvPr/>
            </p:nvSpPr>
            <p:spPr bwMode="auto">
              <a:xfrm>
                <a:off x="4490" y="1365"/>
                <a:ext cx="15" cy="5"/>
              </a:xfrm>
              <a:custGeom>
                <a:avLst/>
                <a:gdLst>
                  <a:gd name="T0" fmla="*/ 0 w 15"/>
                  <a:gd name="T1" fmla="*/ 3 h 5"/>
                  <a:gd name="T2" fmla="*/ 3 w 15"/>
                  <a:gd name="T3" fmla="*/ 4 h 5"/>
                  <a:gd name="T4" fmla="*/ 6 w 15"/>
                  <a:gd name="T5" fmla="*/ 5 h 5"/>
                  <a:gd name="T6" fmla="*/ 12 w 15"/>
                  <a:gd name="T7" fmla="*/ 5 h 5"/>
                  <a:gd name="T8" fmla="*/ 15 w 15"/>
                  <a:gd name="T9" fmla="*/ 3 h 5"/>
                  <a:gd name="T10" fmla="*/ 14 w 15"/>
                  <a:gd name="T11" fmla="*/ 3 h 5"/>
                  <a:gd name="T12" fmla="*/ 12 w 15"/>
                  <a:gd name="T13" fmla="*/ 0 h 5"/>
                  <a:gd name="T14" fmla="*/ 9 w 15"/>
                  <a:gd name="T15" fmla="*/ 0 h 5"/>
                  <a:gd name="T16" fmla="*/ 3 w 15"/>
                  <a:gd name="T17" fmla="*/ 1 h 5"/>
                  <a:gd name="T18" fmla="*/ 0 w 15"/>
                  <a:gd name="T19" fmla="*/ 3 h 5"/>
                  <a:gd name="T20" fmla="*/ 0 w 15"/>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
                    <a:moveTo>
                      <a:pt x="0" y="3"/>
                    </a:moveTo>
                    <a:lnTo>
                      <a:pt x="3" y="4"/>
                    </a:lnTo>
                    <a:lnTo>
                      <a:pt x="6" y="5"/>
                    </a:lnTo>
                    <a:lnTo>
                      <a:pt x="12" y="5"/>
                    </a:lnTo>
                    <a:lnTo>
                      <a:pt x="15" y="3"/>
                    </a:lnTo>
                    <a:lnTo>
                      <a:pt x="14" y="3"/>
                    </a:lnTo>
                    <a:lnTo>
                      <a:pt x="12" y="0"/>
                    </a:lnTo>
                    <a:lnTo>
                      <a:pt x="9" y="0"/>
                    </a:lnTo>
                    <a:lnTo>
                      <a:pt x="3"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4" name="Freeform 130">
                <a:extLst>
                  <a:ext uri="{FF2B5EF4-FFF2-40B4-BE49-F238E27FC236}">
                    <a16:creationId xmlns:a16="http://schemas.microsoft.com/office/drawing/2014/main" id="{C0F86A52-8FD0-41A6-B500-9820C5C2FA5E}"/>
                  </a:ext>
                </a:extLst>
              </p:cNvPr>
              <p:cNvSpPr>
                <a:spLocks/>
              </p:cNvSpPr>
              <p:nvPr/>
            </p:nvSpPr>
            <p:spPr bwMode="auto">
              <a:xfrm>
                <a:off x="4497" y="1340"/>
                <a:ext cx="41" cy="16"/>
              </a:xfrm>
              <a:custGeom>
                <a:avLst/>
                <a:gdLst>
                  <a:gd name="T0" fmla="*/ 0 w 41"/>
                  <a:gd name="T1" fmla="*/ 11 h 16"/>
                  <a:gd name="T2" fmla="*/ 0 w 41"/>
                  <a:gd name="T3" fmla="*/ 12 h 16"/>
                  <a:gd name="T4" fmla="*/ 5 w 41"/>
                  <a:gd name="T5" fmla="*/ 15 h 16"/>
                  <a:gd name="T6" fmla="*/ 8 w 41"/>
                  <a:gd name="T7" fmla="*/ 15 h 16"/>
                  <a:gd name="T8" fmla="*/ 13 w 41"/>
                  <a:gd name="T9" fmla="*/ 13 h 16"/>
                  <a:gd name="T10" fmla="*/ 22 w 41"/>
                  <a:gd name="T11" fmla="*/ 16 h 16"/>
                  <a:gd name="T12" fmla="*/ 25 w 41"/>
                  <a:gd name="T13" fmla="*/ 15 h 16"/>
                  <a:gd name="T14" fmla="*/ 27 w 41"/>
                  <a:gd name="T15" fmla="*/ 12 h 16"/>
                  <a:gd name="T16" fmla="*/ 30 w 41"/>
                  <a:gd name="T17" fmla="*/ 12 h 16"/>
                  <a:gd name="T18" fmla="*/ 34 w 41"/>
                  <a:gd name="T19" fmla="*/ 10 h 16"/>
                  <a:gd name="T20" fmla="*/ 36 w 41"/>
                  <a:gd name="T21" fmla="*/ 9 h 16"/>
                  <a:gd name="T22" fmla="*/ 41 w 41"/>
                  <a:gd name="T23" fmla="*/ 4 h 16"/>
                  <a:gd name="T24" fmla="*/ 38 w 41"/>
                  <a:gd name="T25" fmla="*/ 1 h 16"/>
                  <a:gd name="T26" fmla="*/ 36 w 41"/>
                  <a:gd name="T27" fmla="*/ 1 h 16"/>
                  <a:gd name="T28" fmla="*/ 33 w 41"/>
                  <a:gd name="T29" fmla="*/ 0 h 16"/>
                  <a:gd name="T30" fmla="*/ 24 w 41"/>
                  <a:gd name="T31" fmla="*/ 2 h 16"/>
                  <a:gd name="T32" fmla="*/ 14 w 41"/>
                  <a:gd name="T33" fmla="*/ 3 h 16"/>
                  <a:gd name="T34" fmla="*/ 9 w 41"/>
                  <a:gd name="T35" fmla="*/ 2 h 16"/>
                  <a:gd name="T36" fmla="*/ 12 w 41"/>
                  <a:gd name="T37" fmla="*/ 1 h 16"/>
                  <a:gd name="T38" fmla="*/ 9 w 41"/>
                  <a:gd name="T39" fmla="*/ 1 h 16"/>
                  <a:gd name="T40" fmla="*/ 7 w 41"/>
                  <a:gd name="T41" fmla="*/ 2 h 16"/>
                  <a:gd name="T42" fmla="*/ 1 w 41"/>
                  <a:gd name="T43" fmla="*/ 5 h 16"/>
                  <a:gd name="T44" fmla="*/ 0 w 41"/>
                  <a:gd name="T45" fmla="*/ 9 h 16"/>
                  <a:gd name="T46" fmla="*/ 0 w 41"/>
                  <a:gd name="T47" fmla="*/ 11 h 16"/>
                  <a:gd name="T48" fmla="*/ 0 w 41"/>
                  <a:gd name="T49"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6">
                    <a:moveTo>
                      <a:pt x="0" y="11"/>
                    </a:moveTo>
                    <a:lnTo>
                      <a:pt x="0" y="12"/>
                    </a:lnTo>
                    <a:lnTo>
                      <a:pt x="5" y="15"/>
                    </a:lnTo>
                    <a:lnTo>
                      <a:pt x="8" y="15"/>
                    </a:lnTo>
                    <a:lnTo>
                      <a:pt x="13" y="13"/>
                    </a:lnTo>
                    <a:lnTo>
                      <a:pt x="22" y="16"/>
                    </a:lnTo>
                    <a:lnTo>
                      <a:pt x="25" y="15"/>
                    </a:lnTo>
                    <a:lnTo>
                      <a:pt x="27" y="12"/>
                    </a:lnTo>
                    <a:lnTo>
                      <a:pt x="30" y="12"/>
                    </a:lnTo>
                    <a:lnTo>
                      <a:pt x="34" y="10"/>
                    </a:lnTo>
                    <a:lnTo>
                      <a:pt x="36" y="9"/>
                    </a:lnTo>
                    <a:lnTo>
                      <a:pt x="41" y="4"/>
                    </a:lnTo>
                    <a:lnTo>
                      <a:pt x="38" y="1"/>
                    </a:lnTo>
                    <a:lnTo>
                      <a:pt x="36" y="1"/>
                    </a:lnTo>
                    <a:lnTo>
                      <a:pt x="33" y="0"/>
                    </a:lnTo>
                    <a:lnTo>
                      <a:pt x="24" y="2"/>
                    </a:lnTo>
                    <a:lnTo>
                      <a:pt x="14" y="3"/>
                    </a:lnTo>
                    <a:lnTo>
                      <a:pt x="9" y="2"/>
                    </a:lnTo>
                    <a:lnTo>
                      <a:pt x="12" y="1"/>
                    </a:lnTo>
                    <a:lnTo>
                      <a:pt x="9" y="1"/>
                    </a:lnTo>
                    <a:lnTo>
                      <a:pt x="7" y="2"/>
                    </a:lnTo>
                    <a:lnTo>
                      <a:pt x="1" y="5"/>
                    </a:lnTo>
                    <a:lnTo>
                      <a:pt x="0" y="9"/>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5" name="Freeform 131">
                <a:extLst>
                  <a:ext uri="{FF2B5EF4-FFF2-40B4-BE49-F238E27FC236}">
                    <a16:creationId xmlns:a16="http://schemas.microsoft.com/office/drawing/2014/main" id="{7C440F68-1C94-4A8F-A0F5-9B1081EE8079}"/>
                  </a:ext>
                </a:extLst>
              </p:cNvPr>
              <p:cNvSpPr>
                <a:spLocks/>
              </p:cNvSpPr>
              <p:nvPr/>
            </p:nvSpPr>
            <p:spPr bwMode="auto">
              <a:xfrm>
                <a:off x="4508" y="1333"/>
                <a:ext cx="20" cy="7"/>
              </a:xfrm>
              <a:custGeom>
                <a:avLst/>
                <a:gdLst>
                  <a:gd name="T0" fmla="*/ 0 w 20"/>
                  <a:gd name="T1" fmla="*/ 3 h 7"/>
                  <a:gd name="T2" fmla="*/ 0 w 20"/>
                  <a:gd name="T3" fmla="*/ 5 h 7"/>
                  <a:gd name="T4" fmla="*/ 3 w 20"/>
                  <a:gd name="T5" fmla="*/ 6 h 7"/>
                  <a:gd name="T6" fmla="*/ 11 w 20"/>
                  <a:gd name="T7" fmla="*/ 7 h 7"/>
                  <a:gd name="T8" fmla="*/ 15 w 20"/>
                  <a:gd name="T9" fmla="*/ 6 h 7"/>
                  <a:gd name="T10" fmla="*/ 20 w 20"/>
                  <a:gd name="T11" fmla="*/ 2 h 7"/>
                  <a:gd name="T12" fmla="*/ 20 w 20"/>
                  <a:gd name="T13" fmla="*/ 0 h 7"/>
                  <a:gd name="T14" fmla="*/ 14 w 20"/>
                  <a:gd name="T15" fmla="*/ 0 h 7"/>
                  <a:gd name="T16" fmla="*/ 8 w 20"/>
                  <a:gd name="T17" fmla="*/ 0 h 7"/>
                  <a:gd name="T18" fmla="*/ 2 w 20"/>
                  <a:gd name="T19" fmla="*/ 2 h 7"/>
                  <a:gd name="T20" fmla="*/ 0 w 20"/>
                  <a:gd name="T21" fmla="*/ 3 h 7"/>
                  <a:gd name="T22" fmla="*/ 0 w 20"/>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7">
                    <a:moveTo>
                      <a:pt x="0" y="3"/>
                    </a:moveTo>
                    <a:lnTo>
                      <a:pt x="0" y="5"/>
                    </a:lnTo>
                    <a:lnTo>
                      <a:pt x="3" y="6"/>
                    </a:lnTo>
                    <a:lnTo>
                      <a:pt x="11" y="7"/>
                    </a:lnTo>
                    <a:lnTo>
                      <a:pt x="15" y="6"/>
                    </a:lnTo>
                    <a:lnTo>
                      <a:pt x="20" y="2"/>
                    </a:lnTo>
                    <a:lnTo>
                      <a:pt x="20" y="0"/>
                    </a:lnTo>
                    <a:lnTo>
                      <a:pt x="14" y="0"/>
                    </a:lnTo>
                    <a:lnTo>
                      <a:pt x="8" y="0"/>
                    </a:lnTo>
                    <a:lnTo>
                      <a:pt x="2"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6" name="Freeform 132">
                <a:extLst>
                  <a:ext uri="{FF2B5EF4-FFF2-40B4-BE49-F238E27FC236}">
                    <a16:creationId xmlns:a16="http://schemas.microsoft.com/office/drawing/2014/main" id="{7193F032-EC90-46B2-BE6F-008DC2AA7857}"/>
                  </a:ext>
                </a:extLst>
              </p:cNvPr>
              <p:cNvSpPr>
                <a:spLocks/>
              </p:cNvSpPr>
              <p:nvPr/>
            </p:nvSpPr>
            <p:spPr bwMode="auto">
              <a:xfrm>
                <a:off x="4531" y="1317"/>
                <a:ext cx="5" cy="2"/>
              </a:xfrm>
              <a:custGeom>
                <a:avLst/>
                <a:gdLst>
                  <a:gd name="T0" fmla="*/ 0 w 5"/>
                  <a:gd name="T1" fmla="*/ 0 h 2"/>
                  <a:gd name="T2" fmla="*/ 0 w 5"/>
                  <a:gd name="T3" fmla="*/ 1 h 2"/>
                  <a:gd name="T4" fmla="*/ 2 w 5"/>
                  <a:gd name="T5" fmla="*/ 2 h 2"/>
                  <a:gd name="T6" fmla="*/ 5 w 5"/>
                  <a:gd name="T7" fmla="*/ 1 h 2"/>
                  <a:gd name="T8" fmla="*/ 0 w 5"/>
                  <a:gd name="T9" fmla="*/ 0 h 2"/>
                  <a:gd name="T10" fmla="*/ 0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0" y="0"/>
                    </a:moveTo>
                    <a:lnTo>
                      <a:pt x="0" y="1"/>
                    </a:lnTo>
                    <a:lnTo>
                      <a:pt x="2" y="2"/>
                    </a:lnTo>
                    <a:lnTo>
                      <a:pt x="5"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7" name="Freeform 133">
                <a:extLst>
                  <a:ext uri="{FF2B5EF4-FFF2-40B4-BE49-F238E27FC236}">
                    <a16:creationId xmlns:a16="http://schemas.microsoft.com/office/drawing/2014/main" id="{72030EA3-AA67-4786-BE26-BA5E33D443E8}"/>
                  </a:ext>
                </a:extLst>
              </p:cNvPr>
              <p:cNvSpPr>
                <a:spLocks/>
              </p:cNvSpPr>
              <p:nvPr/>
            </p:nvSpPr>
            <p:spPr bwMode="auto">
              <a:xfrm>
                <a:off x="4536" y="1313"/>
                <a:ext cx="21" cy="4"/>
              </a:xfrm>
              <a:custGeom>
                <a:avLst/>
                <a:gdLst>
                  <a:gd name="T0" fmla="*/ 0 w 21"/>
                  <a:gd name="T1" fmla="*/ 2 h 4"/>
                  <a:gd name="T2" fmla="*/ 0 w 21"/>
                  <a:gd name="T3" fmla="*/ 2 h 4"/>
                  <a:gd name="T4" fmla="*/ 4 w 21"/>
                  <a:gd name="T5" fmla="*/ 2 h 4"/>
                  <a:gd name="T6" fmla="*/ 6 w 21"/>
                  <a:gd name="T7" fmla="*/ 3 h 4"/>
                  <a:gd name="T8" fmla="*/ 12 w 21"/>
                  <a:gd name="T9" fmla="*/ 4 h 4"/>
                  <a:gd name="T10" fmla="*/ 19 w 21"/>
                  <a:gd name="T11" fmla="*/ 4 h 4"/>
                  <a:gd name="T12" fmla="*/ 21 w 21"/>
                  <a:gd name="T13" fmla="*/ 4 h 4"/>
                  <a:gd name="T14" fmla="*/ 21 w 21"/>
                  <a:gd name="T15" fmla="*/ 1 h 4"/>
                  <a:gd name="T16" fmla="*/ 17 w 21"/>
                  <a:gd name="T17" fmla="*/ 1 h 4"/>
                  <a:gd name="T18" fmla="*/ 15 w 21"/>
                  <a:gd name="T19" fmla="*/ 0 h 4"/>
                  <a:gd name="T20" fmla="*/ 9 w 21"/>
                  <a:gd name="T21" fmla="*/ 1 h 4"/>
                  <a:gd name="T22" fmla="*/ 6 w 21"/>
                  <a:gd name="T23" fmla="*/ 1 h 4"/>
                  <a:gd name="T24" fmla="*/ 0 w 21"/>
                  <a:gd name="T25" fmla="*/ 2 h 4"/>
                  <a:gd name="T26" fmla="*/ 0 w 21"/>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4">
                    <a:moveTo>
                      <a:pt x="0" y="2"/>
                    </a:moveTo>
                    <a:lnTo>
                      <a:pt x="0" y="2"/>
                    </a:lnTo>
                    <a:lnTo>
                      <a:pt x="4" y="2"/>
                    </a:lnTo>
                    <a:lnTo>
                      <a:pt x="6" y="3"/>
                    </a:lnTo>
                    <a:lnTo>
                      <a:pt x="12" y="4"/>
                    </a:lnTo>
                    <a:lnTo>
                      <a:pt x="19" y="4"/>
                    </a:lnTo>
                    <a:lnTo>
                      <a:pt x="21" y="4"/>
                    </a:lnTo>
                    <a:lnTo>
                      <a:pt x="21" y="1"/>
                    </a:lnTo>
                    <a:lnTo>
                      <a:pt x="17" y="1"/>
                    </a:lnTo>
                    <a:lnTo>
                      <a:pt x="15" y="0"/>
                    </a:lnTo>
                    <a:lnTo>
                      <a:pt x="9" y="1"/>
                    </a:lnTo>
                    <a:lnTo>
                      <a:pt x="6"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8" name="Freeform 134">
                <a:extLst>
                  <a:ext uri="{FF2B5EF4-FFF2-40B4-BE49-F238E27FC236}">
                    <a16:creationId xmlns:a16="http://schemas.microsoft.com/office/drawing/2014/main" id="{93D084AE-4A45-4D89-8689-E9BD68925B1E}"/>
                  </a:ext>
                </a:extLst>
              </p:cNvPr>
              <p:cNvSpPr>
                <a:spLocks/>
              </p:cNvSpPr>
              <p:nvPr/>
            </p:nvSpPr>
            <p:spPr bwMode="auto">
              <a:xfrm>
                <a:off x="4541" y="1331"/>
                <a:ext cx="40" cy="16"/>
              </a:xfrm>
              <a:custGeom>
                <a:avLst/>
                <a:gdLst>
                  <a:gd name="T0" fmla="*/ 0 w 40"/>
                  <a:gd name="T1" fmla="*/ 10 h 16"/>
                  <a:gd name="T2" fmla="*/ 0 w 40"/>
                  <a:gd name="T3" fmla="*/ 12 h 16"/>
                  <a:gd name="T4" fmla="*/ 9 w 40"/>
                  <a:gd name="T5" fmla="*/ 16 h 16"/>
                  <a:gd name="T6" fmla="*/ 14 w 40"/>
                  <a:gd name="T7" fmla="*/ 14 h 16"/>
                  <a:gd name="T8" fmla="*/ 26 w 40"/>
                  <a:gd name="T9" fmla="*/ 14 h 16"/>
                  <a:gd name="T10" fmla="*/ 28 w 40"/>
                  <a:gd name="T11" fmla="*/ 13 h 16"/>
                  <a:gd name="T12" fmla="*/ 34 w 40"/>
                  <a:gd name="T13" fmla="*/ 11 h 16"/>
                  <a:gd name="T14" fmla="*/ 37 w 40"/>
                  <a:gd name="T15" fmla="*/ 10 h 16"/>
                  <a:gd name="T16" fmla="*/ 40 w 40"/>
                  <a:gd name="T17" fmla="*/ 7 h 16"/>
                  <a:gd name="T18" fmla="*/ 40 w 40"/>
                  <a:gd name="T19" fmla="*/ 4 h 16"/>
                  <a:gd name="T20" fmla="*/ 37 w 40"/>
                  <a:gd name="T21" fmla="*/ 2 h 16"/>
                  <a:gd name="T22" fmla="*/ 35 w 40"/>
                  <a:gd name="T23" fmla="*/ 1 h 16"/>
                  <a:gd name="T24" fmla="*/ 32 w 40"/>
                  <a:gd name="T25" fmla="*/ 0 h 16"/>
                  <a:gd name="T26" fmla="*/ 26 w 40"/>
                  <a:gd name="T27" fmla="*/ 0 h 16"/>
                  <a:gd name="T28" fmla="*/ 24 w 40"/>
                  <a:gd name="T29" fmla="*/ 1 h 16"/>
                  <a:gd name="T30" fmla="*/ 23 w 40"/>
                  <a:gd name="T31" fmla="*/ 3 h 16"/>
                  <a:gd name="T32" fmla="*/ 21 w 40"/>
                  <a:gd name="T33" fmla="*/ 5 h 16"/>
                  <a:gd name="T34" fmla="*/ 9 w 40"/>
                  <a:gd name="T35" fmla="*/ 7 h 16"/>
                  <a:gd name="T36" fmla="*/ 6 w 40"/>
                  <a:gd name="T37" fmla="*/ 9 h 16"/>
                  <a:gd name="T38" fmla="*/ 0 w 40"/>
                  <a:gd name="T39" fmla="*/ 10 h 16"/>
                  <a:gd name="T40" fmla="*/ 0 w 40"/>
                  <a:gd name="T4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6">
                    <a:moveTo>
                      <a:pt x="0" y="10"/>
                    </a:moveTo>
                    <a:lnTo>
                      <a:pt x="0" y="12"/>
                    </a:lnTo>
                    <a:lnTo>
                      <a:pt x="9" y="16"/>
                    </a:lnTo>
                    <a:lnTo>
                      <a:pt x="14" y="14"/>
                    </a:lnTo>
                    <a:lnTo>
                      <a:pt x="26" y="14"/>
                    </a:lnTo>
                    <a:lnTo>
                      <a:pt x="28" y="13"/>
                    </a:lnTo>
                    <a:lnTo>
                      <a:pt x="34" y="11"/>
                    </a:lnTo>
                    <a:lnTo>
                      <a:pt x="37" y="10"/>
                    </a:lnTo>
                    <a:lnTo>
                      <a:pt x="40" y="7"/>
                    </a:lnTo>
                    <a:lnTo>
                      <a:pt x="40" y="4"/>
                    </a:lnTo>
                    <a:lnTo>
                      <a:pt x="37" y="2"/>
                    </a:lnTo>
                    <a:lnTo>
                      <a:pt x="35" y="1"/>
                    </a:lnTo>
                    <a:lnTo>
                      <a:pt x="32" y="0"/>
                    </a:lnTo>
                    <a:lnTo>
                      <a:pt x="26" y="0"/>
                    </a:lnTo>
                    <a:lnTo>
                      <a:pt x="24" y="1"/>
                    </a:lnTo>
                    <a:lnTo>
                      <a:pt x="23" y="3"/>
                    </a:lnTo>
                    <a:lnTo>
                      <a:pt x="21" y="5"/>
                    </a:lnTo>
                    <a:lnTo>
                      <a:pt x="9" y="7"/>
                    </a:lnTo>
                    <a:lnTo>
                      <a:pt x="6" y="9"/>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9" name="Freeform 135">
                <a:extLst>
                  <a:ext uri="{FF2B5EF4-FFF2-40B4-BE49-F238E27FC236}">
                    <a16:creationId xmlns:a16="http://schemas.microsoft.com/office/drawing/2014/main" id="{8C42EBB8-D488-47A6-9F08-1A82567F91F6}"/>
                  </a:ext>
                </a:extLst>
              </p:cNvPr>
              <p:cNvSpPr>
                <a:spLocks/>
              </p:cNvSpPr>
              <p:nvPr/>
            </p:nvSpPr>
            <p:spPr bwMode="auto">
              <a:xfrm>
                <a:off x="4389" y="1557"/>
                <a:ext cx="84" cy="73"/>
              </a:xfrm>
              <a:custGeom>
                <a:avLst/>
                <a:gdLst>
                  <a:gd name="T0" fmla="*/ 28 w 84"/>
                  <a:gd name="T1" fmla="*/ 5 h 73"/>
                  <a:gd name="T2" fmla="*/ 38 w 84"/>
                  <a:gd name="T3" fmla="*/ 4 h 73"/>
                  <a:gd name="T4" fmla="*/ 43 w 84"/>
                  <a:gd name="T5" fmla="*/ 1 h 73"/>
                  <a:gd name="T6" fmla="*/ 51 w 84"/>
                  <a:gd name="T7" fmla="*/ 0 h 73"/>
                  <a:gd name="T8" fmla="*/ 59 w 84"/>
                  <a:gd name="T9" fmla="*/ 2 h 73"/>
                  <a:gd name="T10" fmla="*/ 67 w 84"/>
                  <a:gd name="T11" fmla="*/ 5 h 73"/>
                  <a:gd name="T12" fmla="*/ 67 w 84"/>
                  <a:gd name="T13" fmla="*/ 8 h 73"/>
                  <a:gd name="T14" fmla="*/ 67 w 84"/>
                  <a:gd name="T15" fmla="*/ 9 h 73"/>
                  <a:gd name="T16" fmla="*/ 59 w 84"/>
                  <a:gd name="T17" fmla="*/ 12 h 73"/>
                  <a:gd name="T18" fmla="*/ 65 w 84"/>
                  <a:gd name="T19" fmla="*/ 12 h 73"/>
                  <a:gd name="T20" fmla="*/ 62 w 84"/>
                  <a:gd name="T21" fmla="*/ 17 h 73"/>
                  <a:gd name="T22" fmla="*/ 55 w 84"/>
                  <a:gd name="T23" fmla="*/ 16 h 73"/>
                  <a:gd name="T24" fmla="*/ 58 w 84"/>
                  <a:gd name="T25" fmla="*/ 18 h 73"/>
                  <a:gd name="T26" fmla="*/ 55 w 84"/>
                  <a:gd name="T27" fmla="*/ 22 h 73"/>
                  <a:gd name="T28" fmla="*/ 51 w 84"/>
                  <a:gd name="T29" fmla="*/ 25 h 73"/>
                  <a:gd name="T30" fmla="*/ 55 w 84"/>
                  <a:gd name="T31" fmla="*/ 29 h 73"/>
                  <a:gd name="T32" fmla="*/ 55 w 84"/>
                  <a:gd name="T33" fmla="*/ 34 h 73"/>
                  <a:gd name="T34" fmla="*/ 56 w 84"/>
                  <a:gd name="T35" fmla="*/ 39 h 73"/>
                  <a:gd name="T36" fmla="*/ 59 w 84"/>
                  <a:gd name="T37" fmla="*/ 48 h 73"/>
                  <a:gd name="T38" fmla="*/ 65 w 84"/>
                  <a:gd name="T39" fmla="*/ 56 h 73"/>
                  <a:gd name="T40" fmla="*/ 84 w 84"/>
                  <a:gd name="T41" fmla="*/ 68 h 73"/>
                  <a:gd name="T42" fmla="*/ 81 w 84"/>
                  <a:gd name="T43" fmla="*/ 72 h 73"/>
                  <a:gd name="T44" fmla="*/ 74 w 84"/>
                  <a:gd name="T45" fmla="*/ 70 h 73"/>
                  <a:gd name="T46" fmla="*/ 74 w 84"/>
                  <a:gd name="T47" fmla="*/ 72 h 73"/>
                  <a:gd name="T48" fmla="*/ 69 w 84"/>
                  <a:gd name="T49" fmla="*/ 68 h 73"/>
                  <a:gd name="T50" fmla="*/ 72 w 84"/>
                  <a:gd name="T51" fmla="*/ 72 h 73"/>
                  <a:gd name="T52" fmla="*/ 66 w 84"/>
                  <a:gd name="T53" fmla="*/ 72 h 73"/>
                  <a:gd name="T54" fmla="*/ 64 w 84"/>
                  <a:gd name="T55" fmla="*/ 73 h 73"/>
                  <a:gd name="T56" fmla="*/ 56 w 84"/>
                  <a:gd name="T57" fmla="*/ 68 h 73"/>
                  <a:gd name="T58" fmla="*/ 52 w 84"/>
                  <a:gd name="T59" fmla="*/ 73 h 73"/>
                  <a:gd name="T60" fmla="*/ 43 w 84"/>
                  <a:gd name="T61" fmla="*/ 67 h 73"/>
                  <a:gd name="T62" fmla="*/ 43 w 84"/>
                  <a:gd name="T63" fmla="*/ 70 h 73"/>
                  <a:gd name="T64" fmla="*/ 38 w 84"/>
                  <a:gd name="T65" fmla="*/ 68 h 73"/>
                  <a:gd name="T66" fmla="*/ 32 w 84"/>
                  <a:gd name="T67" fmla="*/ 67 h 73"/>
                  <a:gd name="T68" fmla="*/ 26 w 84"/>
                  <a:gd name="T69" fmla="*/ 66 h 73"/>
                  <a:gd name="T70" fmla="*/ 32 w 84"/>
                  <a:gd name="T71" fmla="*/ 64 h 73"/>
                  <a:gd name="T72" fmla="*/ 34 w 84"/>
                  <a:gd name="T73" fmla="*/ 58 h 73"/>
                  <a:gd name="T74" fmla="*/ 36 w 84"/>
                  <a:gd name="T75" fmla="*/ 57 h 73"/>
                  <a:gd name="T76" fmla="*/ 27 w 84"/>
                  <a:gd name="T77" fmla="*/ 56 h 73"/>
                  <a:gd name="T78" fmla="*/ 33 w 84"/>
                  <a:gd name="T79" fmla="*/ 51 h 73"/>
                  <a:gd name="T80" fmla="*/ 28 w 84"/>
                  <a:gd name="T81" fmla="*/ 55 h 73"/>
                  <a:gd name="T82" fmla="*/ 26 w 84"/>
                  <a:gd name="T83" fmla="*/ 49 h 73"/>
                  <a:gd name="T84" fmla="*/ 18 w 84"/>
                  <a:gd name="T85" fmla="*/ 51 h 73"/>
                  <a:gd name="T86" fmla="*/ 10 w 84"/>
                  <a:gd name="T87" fmla="*/ 48 h 73"/>
                  <a:gd name="T88" fmla="*/ 5 w 84"/>
                  <a:gd name="T89" fmla="*/ 50 h 73"/>
                  <a:gd name="T90" fmla="*/ 0 w 84"/>
                  <a:gd name="T91" fmla="*/ 43 h 73"/>
                  <a:gd name="T92" fmla="*/ 0 w 84"/>
                  <a:gd name="T93" fmla="*/ 38 h 73"/>
                  <a:gd name="T94" fmla="*/ 5 w 84"/>
                  <a:gd name="T95" fmla="*/ 33 h 73"/>
                  <a:gd name="T96" fmla="*/ 10 w 84"/>
                  <a:gd name="T97" fmla="*/ 33 h 73"/>
                  <a:gd name="T98" fmla="*/ 14 w 84"/>
                  <a:gd name="T99" fmla="*/ 32 h 73"/>
                  <a:gd name="T100" fmla="*/ 16 w 84"/>
                  <a:gd name="T101" fmla="*/ 29 h 73"/>
                  <a:gd name="T102" fmla="*/ 17 w 84"/>
                  <a:gd name="T103" fmla="*/ 25 h 73"/>
                  <a:gd name="T104" fmla="*/ 19 w 84"/>
                  <a:gd name="T105" fmla="*/ 22 h 73"/>
                  <a:gd name="T106" fmla="*/ 19 w 84"/>
                  <a:gd name="T107" fmla="*/ 19 h 73"/>
                  <a:gd name="T108" fmla="*/ 14 w 84"/>
                  <a:gd name="T109" fmla="*/ 18 h 73"/>
                  <a:gd name="T110" fmla="*/ 17 w 84"/>
                  <a:gd name="T111" fmla="*/ 14 h 73"/>
                  <a:gd name="T112" fmla="*/ 26 w 84"/>
                  <a:gd name="T113" fmla="*/ 14 h 73"/>
                  <a:gd name="T114" fmla="*/ 26 w 84"/>
                  <a:gd name="T115" fmla="*/ 10 h 73"/>
                  <a:gd name="T116" fmla="*/ 25 w 84"/>
                  <a:gd name="T117" fmla="*/ 6 h 73"/>
                  <a:gd name="T118" fmla="*/ 26 w 84"/>
                  <a:gd name="T119"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73">
                    <a:moveTo>
                      <a:pt x="26" y="5"/>
                    </a:moveTo>
                    <a:lnTo>
                      <a:pt x="28" y="5"/>
                    </a:lnTo>
                    <a:lnTo>
                      <a:pt x="32" y="2"/>
                    </a:lnTo>
                    <a:lnTo>
                      <a:pt x="38" y="4"/>
                    </a:lnTo>
                    <a:lnTo>
                      <a:pt x="40" y="2"/>
                    </a:lnTo>
                    <a:lnTo>
                      <a:pt x="43" y="1"/>
                    </a:lnTo>
                    <a:lnTo>
                      <a:pt x="48" y="0"/>
                    </a:lnTo>
                    <a:lnTo>
                      <a:pt x="51" y="0"/>
                    </a:lnTo>
                    <a:lnTo>
                      <a:pt x="53" y="2"/>
                    </a:lnTo>
                    <a:lnTo>
                      <a:pt x="59" y="2"/>
                    </a:lnTo>
                    <a:lnTo>
                      <a:pt x="62" y="4"/>
                    </a:lnTo>
                    <a:lnTo>
                      <a:pt x="67" y="5"/>
                    </a:lnTo>
                    <a:lnTo>
                      <a:pt x="70" y="7"/>
                    </a:lnTo>
                    <a:lnTo>
                      <a:pt x="67" y="8"/>
                    </a:lnTo>
                    <a:lnTo>
                      <a:pt x="61" y="9"/>
                    </a:lnTo>
                    <a:lnTo>
                      <a:pt x="67" y="9"/>
                    </a:lnTo>
                    <a:lnTo>
                      <a:pt x="65" y="10"/>
                    </a:lnTo>
                    <a:lnTo>
                      <a:pt x="59" y="12"/>
                    </a:lnTo>
                    <a:lnTo>
                      <a:pt x="62" y="13"/>
                    </a:lnTo>
                    <a:lnTo>
                      <a:pt x="65" y="12"/>
                    </a:lnTo>
                    <a:lnTo>
                      <a:pt x="66" y="15"/>
                    </a:lnTo>
                    <a:lnTo>
                      <a:pt x="62" y="17"/>
                    </a:lnTo>
                    <a:lnTo>
                      <a:pt x="60" y="16"/>
                    </a:lnTo>
                    <a:lnTo>
                      <a:pt x="55" y="16"/>
                    </a:lnTo>
                    <a:lnTo>
                      <a:pt x="60" y="17"/>
                    </a:lnTo>
                    <a:lnTo>
                      <a:pt x="58" y="18"/>
                    </a:lnTo>
                    <a:lnTo>
                      <a:pt x="58" y="22"/>
                    </a:lnTo>
                    <a:lnTo>
                      <a:pt x="55" y="22"/>
                    </a:lnTo>
                    <a:lnTo>
                      <a:pt x="57" y="24"/>
                    </a:lnTo>
                    <a:lnTo>
                      <a:pt x="51" y="25"/>
                    </a:lnTo>
                    <a:lnTo>
                      <a:pt x="53" y="25"/>
                    </a:lnTo>
                    <a:lnTo>
                      <a:pt x="55" y="29"/>
                    </a:lnTo>
                    <a:lnTo>
                      <a:pt x="57" y="31"/>
                    </a:lnTo>
                    <a:lnTo>
                      <a:pt x="55" y="34"/>
                    </a:lnTo>
                    <a:lnTo>
                      <a:pt x="55" y="36"/>
                    </a:lnTo>
                    <a:lnTo>
                      <a:pt x="56" y="39"/>
                    </a:lnTo>
                    <a:lnTo>
                      <a:pt x="56" y="42"/>
                    </a:lnTo>
                    <a:lnTo>
                      <a:pt x="59" y="48"/>
                    </a:lnTo>
                    <a:lnTo>
                      <a:pt x="62" y="53"/>
                    </a:lnTo>
                    <a:lnTo>
                      <a:pt x="65" y="56"/>
                    </a:lnTo>
                    <a:lnTo>
                      <a:pt x="75" y="65"/>
                    </a:lnTo>
                    <a:lnTo>
                      <a:pt x="84" y="68"/>
                    </a:lnTo>
                    <a:lnTo>
                      <a:pt x="83" y="70"/>
                    </a:lnTo>
                    <a:lnTo>
                      <a:pt x="81" y="72"/>
                    </a:lnTo>
                    <a:lnTo>
                      <a:pt x="77" y="70"/>
                    </a:lnTo>
                    <a:lnTo>
                      <a:pt x="74" y="70"/>
                    </a:lnTo>
                    <a:lnTo>
                      <a:pt x="79" y="73"/>
                    </a:lnTo>
                    <a:lnTo>
                      <a:pt x="74" y="72"/>
                    </a:lnTo>
                    <a:lnTo>
                      <a:pt x="72" y="70"/>
                    </a:lnTo>
                    <a:lnTo>
                      <a:pt x="69" y="68"/>
                    </a:lnTo>
                    <a:lnTo>
                      <a:pt x="66" y="68"/>
                    </a:lnTo>
                    <a:lnTo>
                      <a:pt x="72" y="72"/>
                    </a:lnTo>
                    <a:lnTo>
                      <a:pt x="69" y="73"/>
                    </a:lnTo>
                    <a:lnTo>
                      <a:pt x="66" y="72"/>
                    </a:lnTo>
                    <a:lnTo>
                      <a:pt x="60" y="69"/>
                    </a:lnTo>
                    <a:lnTo>
                      <a:pt x="64" y="73"/>
                    </a:lnTo>
                    <a:lnTo>
                      <a:pt x="58" y="72"/>
                    </a:lnTo>
                    <a:lnTo>
                      <a:pt x="56" y="68"/>
                    </a:lnTo>
                    <a:lnTo>
                      <a:pt x="52" y="70"/>
                    </a:lnTo>
                    <a:lnTo>
                      <a:pt x="52" y="73"/>
                    </a:lnTo>
                    <a:lnTo>
                      <a:pt x="47" y="70"/>
                    </a:lnTo>
                    <a:lnTo>
                      <a:pt x="43" y="67"/>
                    </a:lnTo>
                    <a:lnTo>
                      <a:pt x="45" y="70"/>
                    </a:lnTo>
                    <a:lnTo>
                      <a:pt x="43" y="70"/>
                    </a:lnTo>
                    <a:lnTo>
                      <a:pt x="40" y="68"/>
                    </a:lnTo>
                    <a:lnTo>
                      <a:pt x="38" y="68"/>
                    </a:lnTo>
                    <a:lnTo>
                      <a:pt x="34" y="67"/>
                    </a:lnTo>
                    <a:lnTo>
                      <a:pt x="32" y="67"/>
                    </a:lnTo>
                    <a:lnTo>
                      <a:pt x="28" y="66"/>
                    </a:lnTo>
                    <a:lnTo>
                      <a:pt x="26" y="66"/>
                    </a:lnTo>
                    <a:lnTo>
                      <a:pt x="28" y="65"/>
                    </a:lnTo>
                    <a:lnTo>
                      <a:pt x="32" y="64"/>
                    </a:lnTo>
                    <a:lnTo>
                      <a:pt x="28" y="61"/>
                    </a:lnTo>
                    <a:lnTo>
                      <a:pt x="34" y="58"/>
                    </a:lnTo>
                    <a:lnTo>
                      <a:pt x="38" y="59"/>
                    </a:lnTo>
                    <a:lnTo>
                      <a:pt x="36" y="57"/>
                    </a:lnTo>
                    <a:lnTo>
                      <a:pt x="31" y="57"/>
                    </a:lnTo>
                    <a:lnTo>
                      <a:pt x="27" y="56"/>
                    </a:lnTo>
                    <a:lnTo>
                      <a:pt x="31" y="53"/>
                    </a:lnTo>
                    <a:lnTo>
                      <a:pt x="33" y="51"/>
                    </a:lnTo>
                    <a:lnTo>
                      <a:pt x="31" y="52"/>
                    </a:lnTo>
                    <a:lnTo>
                      <a:pt x="28" y="55"/>
                    </a:lnTo>
                    <a:lnTo>
                      <a:pt x="26" y="52"/>
                    </a:lnTo>
                    <a:lnTo>
                      <a:pt x="26" y="49"/>
                    </a:lnTo>
                    <a:lnTo>
                      <a:pt x="21" y="51"/>
                    </a:lnTo>
                    <a:lnTo>
                      <a:pt x="18" y="51"/>
                    </a:lnTo>
                    <a:lnTo>
                      <a:pt x="17" y="48"/>
                    </a:lnTo>
                    <a:lnTo>
                      <a:pt x="10" y="48"/>
                    </a:lnTo>
                    <a:lnTo>
                      <a:pt x="8" y="50"/>
                    </a:lnTo>
                    <a:lnTo>
                      <a:pt x="5" y="50"/>
                    </a:lnTo>
                    <a:lnTo>
                      <a:pt x="2" y="49"/>
                    </a:lnTo>
                    <a:lnTo>
                      <a:pt x="0" y="43"/>
                    </a:lnTo>
                    <a:lnTo>
                      <a:pt x="0" y="40"/>
                    </a:lnTo>
                    <a:lnTo>
                      <a:pt x="0" y="38"/>
                    </a:lnTo>
                    <a:lnTo>
                      <a:pt x="2" y="35"/>
                    </a:lnTo>
                    <a:lnTo>
                      <a:pt x="5" y="33"/>
                    </a:lnTo>
                    <a:lnTo>
                      <a:pt x="7" y="34"/>
                    </a:lnTo>
                    <a:lnTo>
                      <a:pt x="10" y="33"/>
                    </a:lnTo>
                    <a:lnTo>
                      <a:pt x="13" y="35"/>
                    </a:lnTo>
                    <a:lnTo>
                      <a:pt x="14" y="32"/>
                    </a:lnTo>
                    <a:lnTo>
                      <a:pt x="14" y="30"/>
                    </a:lnTo>
                    <a:lnTo>
                      <a:pt x="16" y="29"/>
                    </a:lnTo>
                    <a:lnTo>
                      <a:pt x="19" y="27"/>
                    </a:lnTo>
                    <a:lnTo>
                      <a:pt x="17" y="25"/>
                    </a:lnTo>
                    <a:lnTo>
                      <a:pt x="23" y="22"/>
                    </a:lnTo>
                    <a:lnTo>
                      <a:pt x="19" y="22"/>
                    </a:lnTo>
                    <a:lnTo>
                      <a:pt x="23" y="19"/>
                    </a:lnTo>
                    <a:lnTo>
                      <a:pt x="19" y="19"/>
                    </a:lnTo>
                    <a:lnTo>
                      <a:pt x="17" y="19"/>
                    </a:lnTo>
                    <a:lnTo>
                      <a:pt x="14" y="18"/>
                    </a:lnTo>
                    <a:lnTo>
                      <a:pt x="15" y="16"/>
                    </a:lnTo>
                    <a:lnTo>
                      <a:pt x="17" y="14"/>
                    </a:lnTo>
                    <a:lnTo>
                      <a:pt x="21" y="13"/>
                    </a:lnTo>
                    <a:lnTo>
                      <a:pt x="26" y="14"/>
                    </a:lnTo>
                    <a:lnTo>
                      <a:pt x="24" y="12"/>
                    </a:lnTo>
                    <a:lnTo>
                      <a:pt x="26" y="10"/>
                    </a:lnTo>
                    <a:lnTo>
                      <a:pt x="24" y="9"/>
                    </a:lnTo>
                    <a:lnTo>
                      <a:pt x="25" y="6"/>
                    </a:lnTo>
                    <a:lnTo>
                      <a:pt x="26" y="5"/>
                    </a:lnTo>
                    <a:lnTo>
                      <a:pt x="2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0" name="Freeform 136">
                <a:extLst>
                  <a:ext uri="{FF2B5EF4-FFF2-40B4-BE49-F238E27FC236}">
                    <a16:creationId xmlns:a16="http://schemas.microsoft.com/office/drawing/2014/main" id="{230F2860-F0D4-4E9E-AE0E-EAFA78566CD7}"/>
                  </a:ext>
                </a:extLst>
              </p:cNvPr>
              <p:cNvSpPr>
                <a:spLocks/>
              </p:cNvSpPr>
              <p:nvPr/>
            </p:nvSpPr>
            <p:spPr bwMode="auto">
              <a:xfrm>
                <a:off x="4420" y="1458"/>
                <a:ext cx="208" cy="103"/>
              </a:xfrm>
              <a:custGeom>
                <a:avLst/>
                <a:gdLst>
                  <a:gd name="T0" fmla="*/ 8 w 208"/>
                  <a:gd name="T1" fmla="*/ 98 h 103"/>
                  <a:gd name="T2" fmla="*/ 19 w 208"/>
                  <a:gd name="T3" fmla="*/ 91 h 103"/>
                  <a:gd name="T4" fmla="*/ 11 w 208"/>
                  <a:gd name="T5" fmla="*/ 91 h 103"/>
                  <a:gd name="T6" fmla="*/ 2 w 208"/>
                  <a:gd name="T7" fmla="*/ 92 h 103"/>
                  <a:gd name="T8" fmla="*/ 5 w 208"/>
                  <a:gd name="T9" fmla="*/ 88 h 103"/>
                  <a:gd name="T10" fmla="*/ 13 w 208"/>
                  <a:gd name="T11" fmla="*/ 84 h 103"/>
                  <a:gd name="T12" fmla="*/ 27 w 208"/>
                  <a:gd name="T13" fmla="*/ 80 h 103"/>
                  <a:gd name="T14" fmla="*/ 25 w 208"/>
                  <a:gd name="T15" fmla="*/ 75 h 103"/>
                  <a:gd name="T16" fmla="*/ 21 w 208"/>
                  <a:gd name="T17" fmla="*/ 74 h 103"/>
                  <a:gd name="T18" fmla="*/ 30 w 208"/>
                  <a:gd name="T19" fmla="*/ 69 h 103"/>
                  <a:gd name="T20" fmla="*/ 26 w 208"/>
                  <a:gd name="T21" fmla="*/ 65 h 103"/>
                  <a:gd name="T22" fmla="*/ 43 w 208"/>
                  <a:gd name="T23" fmla="*/ 65 h 103"/>
                  <a:gd name="T24" fmla="*/ 33 w 208"/>
                  <a:gd name="T25" fmla="*/ 62 h 103"/>
                  <a:gd name="T26" fmla="*/ 41 w 208"/>
                  <a:gd name="T27" fmla="*/ 57 h 103"/>
                  <a:gd name="T28" fmla="*/ 31 w 208"/>
                  <a:gd name="T29" fmla="*/ 56 h 103"/>
                  <a:gd name="T30" fmla="*/ 33 w 208"/>
                  <a:gd name="T31" fmla="*/ 51 h 103"/>
                  <a:gd name="T32" fmla="*/ 44 w 208"/>
                  <a:gd name="T33" fmla="*/ 51 h 103"/>
                  <a:gd name="T34" fmla="*/ 51 w 208"/>
                  <a:gd name="T35" fmla="*/ 46 h 103"/>
                  <a:gd name="T36" fmla="*/ 54 w 208"/>
                  <a:gd name="T37" fmla="*/ 41 h 103"/>
                  <a:gd name="T38" fmla="*/ 67 w 208"/>
                  <a:gd name="T39" fmla="*/ 36 h 103"/>
                  <a:gd name="T40" fmla="*/ 74 w 208"/>
                  <a:gd name="T41" fmla="*/ 32 h 103"/>
                  <a:gd name="T42" fmla="*/ 86 w 208"/>
                  <a:gd name="T43" fmla="*/ 29 h 103"/>
                  <a:gd name="T44" fmla="*/ 91 w 208"/>
                  <a:gd name="T45" fmla="*/ 26 h 103"/>
                  <a:gd name="T46" fmla="*/ 101 w 208"/>
                  <a:gd name="T47" fmla="*/ 27 h 103"/>
                  <a:gd name="T48" fmla="*/ 108 w 208"/>
                  <a:gd name="T49" fmla="*/ 20 h 103"/>
                  <a:gd name="T50" fmla="*/ 120 w 208"/>
                  <a:gd name="T51" fmla="*/ 23 h 103"/>
                  <a:gd name="T52" fmla="*/ 135 w 208"/>
                  <a:gd name="T53" fmla="*/ 20 h 103"/>
                  <a:gd name="T54" fmla="*/ 142 w 208"/>
                  <a:gd name="T55" fmla="*/ 20 h 103"/>
                  <a:gd name="T56" fmla="*/ 159 w 208"/>
                  <a:gd name="T57" fmla="*/ 14 h 103"/>
                  <a:gd name="T58" fmla="*/ 166 w 208"/>
                  <a:gd name="T59" fmla="*/ 9 h 103"/>
                  <a:gd name="T60" fmla="*/ 183 w 208"/>
                  <a:gd name="T61" fmla="*/ 2 h 103"/>
                  <a:gd name="T62" fmla="*/ 198 w 208"/>
                  <a:gd name="T63" fmla="*/ 1 h 103"/>
                  <a:gd name="T64" fmla="*/ 208 w 208"/>
                  <a:gd name="T65" fmla="*/ 6 h 103"/>
                  <a:gd name="T66" fmla="*/ 206 w 208"/>
                  <a:gd name="T67" fmla="*/ 14 h 103"/>
                  <a:gd name="T68" fmla="*/ 198 w 208"/>
                  <a:gd name="T69" fmla="*/ 21 h 103"/>
                  <a:gd name="T70" fmla="*/ 183 w 208"/>
                  <a:gd name="T71" fmla="*/ 26 h 103"/>
                  <a:gd name="T72" fmla="*/ 172 w 208"/>
                  <a:gd name="T73" fmla="*/ 29 h 103"/>
                  <a:gd name="T74" fmla="*/ 161 w 208"/>
                  <a:gd name="T75" fmla="*/ 31 h 103"/>
                  <a:gd name="T76" fmla="*/ 139 w 208"/>
                  <a:gd name="T77" fmla="*/ 38 h 103"/>
                  <a:gd name="T78" fmla="*/ 130 w 208"/>
                  <a:gd name="T79" fmla="*/ 40 h 103"/>
                  <a:gd name="T80" fmla="*/ 122 w 208"/>
                  <a:gd name="T81" fmla="*/ 43 h 103"/>
                  <a:gd name="T82" fmla="*/ 108 w 208"/>
                  <a:gd name="T83" fmla="*/ 48 h 103"/>
                  <a:gd name="T84" fmla="*/ 103 w 208"/>
                  <a:gd name="T85" fmla="*/ 51 h 103"/>
                  <a:gd name="T86" fmla="*/ 86 w 208"/>
                  <a:gd name="T87" fmla="*/ 56 h 103"/>
                  <a:gd name="T88" fmla="*/ 95 w 208"/>
                  <a:gd name="T89" fmla="*/ 57 h 103"/>
                  <a:gd name="T90" fmla="*/ 90 w 208"/>
                  <a:gd name="T91" fmla="*/ 63 h 103"/>
                  <a:gd name="T92" fmla="*/ 80 w 208"/>
                  <a:gd name="T93" fmla="*/ 62 h 103"/>
                  <a:gd name="T94" fmla="*/ 81 w 208"/>
                  <a:gd name="T95" fmla="*/ 68 h 103"/>
                  <a:gd name="T96" fmla="*/ 74 w 208"/>
                  <a:gd name="T97" fmla="*/ 70 h 103"/>
                  <a:gd name="T98" fmla="*/ 63 w 208"/>
                  <a:gd name="T99" fmla="*/ 69 h 103"/>
                  <a:gd name="T100" fmla="*/ 63 w 208"/>
                  <a:gd name="T101" fmla="*/ 79 h 103"/>
                  <a:gd name="T102" fmla="*/ 61 w 208"/>
                  <a:gd name="T103" fmla="*/ 81 h 103"/>
                  <a:gd name="T104" fmla="*/ 53 w 208"/>
                  <a:gd name="T105" fmla="*/ 79 h 103"/>
                  <a:gd name="T106" fmla="*/ 56 w 208"/>
                  <a:gd name="T107" fmla="*/ 84 h 103"/>
                  <a:gd name="T108" fmla="*/ 54 w 208"/>
                  <a:gd name="T109" fmla="*/ 90 h 103"/>
                  <a:gd name="T110" fmla="*/ 48 w 208"/>
                  <a:gd name="T111" fmla="*/ 88 h 103"/>
                  <a:gd name="T112" fmla="*/ 51 w 208"/>
                  <a:gd name="T113" fmla="*/ 95 h 103"/>
                  <a:gd name="T114" fmla="*/ 43 w 208"/>
                  <a:gd name="T115" fmla="*/ 92 h 103"/>
                  <a:gd name="T116" fmla="*/ 47 w 208"/>
                  <a:gd name="T117" fmla="*/ 99 h 103"/>
                  <a:gd name="T118" fmla="*/ 42 w 208"/>
                  <a:gd name="T119" fmla="*/ 103 h 103"/>
                  <a:gd name="T120" fmla="*/ 29 w 208"/>
                  <a:gd name="T121" fmla="*/ 101 h 103"/>
                  <a:gd name="T122" fmla="*/ 18 w 208"/>
                  <a:gd name="T123" fmla="*/ 98 h 103"/>
                  <a:gd name="T124" fmla="*/ 12 w 208"/>
                  <a:gd name="T125"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03">
                    <a:moveTo>
                      <a:pt x="12" y="100"/>
                    </a:moveTo>
                    <a:lnTo>
                      <a:pt x="8" y="101"/>
                    </a:lnTo>
                    <a:lnTo>
                      <a:pt x="8" y="98"/>
                    </a:lnTo>
                    <a:lnTo>
                      <a:pt x="9" y="96"/>
                    </a:lnTo>
                    <a:lnTo>
                      <a:pt x="11" y="94"/>
                    </a:lnTo>
                    <a:lnTo>
                      <a:pt x="19" y="91"/>
                    </a:lnTo>
                    <a:lnTo>
                      <a:pt x="17" y="91"/>
                    </a:lnTo>
                    <a:lnTo>
                      <a:pt x="13" y="91"/>
                    </a:lnTo>
                    <a:lnTo>
                      <a:pt x="11" y="91"/>
                    </a:lnTo>
                    <a:lnTo>
                      <a:pt x="8" y="94"/>
                    </a:lnTo>
                    <a:lnTo>
                      <a:pt x="5" y="94"/>
                    </a:lnTo>
                    <a:lnTo>
                      <a:pt x="2" y="92"/>
                    </a:lnTo>
                    <a:lnTo>
                      <a:pt x="0" y="90"/>
                    </a:lnTo>
                    <a:lnTo>
                      <a:pt x="2" y="89"/>
                    </a:lnTo>
                    <a:lnTo>
                      <a:pt x="5" y="88"/>
                    </a:lnTo>
                    <a:lnTo>
                      <a:pt x="8" y="86"/>
                    </a:lnTo>
                    <a:lnTo>
                      <a:pt x="11" y="84"/>
                    </a:lnTo>
                    <a:lnTo>
                      <a:pt x="13" y="84"/>
                    </a:lnTo>
                    <a:lnTo>
                      <a:pt x="13" y="82"/>
                    </a:lnTo>
                    <a:lnTo>
                      <a:pt x="19" y="79"/>
                    </a:lnTo>
                    <a:lnTo>
                      <a:pt x="27" y="80"/>
                    </a:lnTo>
                    <a:lnTo>
                      <a:pt x="25" y="78"/>
                    </a:lnTo>
                    <a:lnTo>
                      <a:pt x="19" y="77"/>
                    </a:lnTo>
                    <a:lnTo>
                      <a:pt x="25" y="75"/>
                    </a:lnTo>
                    <a:lnTo>
                      <a:pt x="27" y="77"/>
                    </a:lnTo>
                    <a:lnTo>
                      <a:pt x="25" y="74"/>
                    </a:lnTo>
                    <a:lnTo>
                      <a:pt x="21" y="74"/>
                    </a:lnTo>
                    <a:lnTo>
                      <a:pt x="25" y="72"/>
                    </a:lnTo>
                    <a:lnTo>
                      <a:pt x="34" y="71"/>
                    </a:lnTo>
                    <a:lnTo>
                      <a:pt x="30" y="69"/>
                    </a:lnTo>
                    <a:lnTo>
                      <a:pt x="27" y="70"/>
                    </a:lnTo>
                    <a:lnTo>
                      <a:pt x="25" y="69"/>
                    </a:lnTo>
                    <a:lnTo>
                      <a:pt x="26" y="65"/>
                    </a:lnTo>
                    <a:lnTo>
                      <a:pt x="35" y="64"/>
                    </a:lnTo>
                    <a:lnTo>
                      <a:pt x="41" y="65"/>
                    </a:lnTo>
                    <a:lnTo>
                      <a:pt x="43" y="65"/>
                    </a:lnTo>
                    <a:lnTo>
                      <a:pt x="41" y="65"/>
                    </a:lnTo>
                    <a:lnTo>
                      <a:pt x="35" y="62"/>
                    </a:lnTo>
                    <a:lnTo>
                      <a:pt x="33" y="62"/>
                    </a:lnTo>
                    <a:lnTo>
                      <a:pt x="29" y="62"/>
                    </a:lnTo>
                    <a:lnTo>
                      <a:pt x="31" y="61"/>
                    </a:lnTo>
                    <a:lnTo>
                      <a:pt x="41" y="57"/>
                    </a:lnTo>
                    <a:lnTo>
                      <a:pt x="37" y="57"/>
                    </a:lnTo>
                    <a:lnTo>
                      <a:pt x="35" y="56"/>
                    </a:lnTo>
                    <a:lnTo>
                      <a:pt x="31" y="56"/>
                    </a:lnTo>
                    <a:lnTo>
                      <a:pt x="29" y="54"/>
                    </a:lnTo>
                    <a:lnTo>
                      <a:pt x="30" y="52"/>
                    </a:lnTo>
                    <a:lnTo>
                      <a:pt x="33" y="51"/>
                    </a:lnTo>
                    <a:lnTo>
                      <a:pt x="36" y="52"/>
                    </a:lnTo>
                    <a:lnTo>
                      <a:pt x="38" y="54"/>
                    </a:lnTo>
                    <a:lnTo>
                      <a:pt x="44" y="51"/>
                    </a:lnTo>
                    <a:lnTo>
                      <a:pt x="43" y="47"/>
                    </a:lnTo>
                    <a:lnTo>
                      <a:pt x="45" y="46"/>
                    </a:lnTo>
                    <a:lnTo>
                      <a:pt x="51" y="46"/>
                    </a:lnTo>
                    <a:lnTo>
                      <a:pt x="53" y="47"/>
                    </a:lnTo>
                    <a:lnTo>
                      <a:pt x="54" y="45"/>
                    </a:lnTo>
                    <a:lnTo>
                      <a:pt x="54" y="41"/>
                    </a:lnTo>
                    <a:lnTo>
                      <a:pt x="60" y="40"/>
                    </a:lnTo>
                    <a:lnTo>
                      <a:pt x="59" y="38"/>
                    </a:lnTo>
                    <a:lnTo>
                      <a:pt x="67" y="36"/>
                    </a:lnTo>
                    <a:lnTo>
                      <a:pt x="69" y="34"/>
                    </a:lnTo>
                    <a:lnTo>
                      <a:pt x="72" y="32"/>
                    </a:lnTo>
                    <a:lnTo>
                      <a:pt x="74" y="32"/>
                    </a:lnTo>
                    <a:lnTo>
                      <a:pt x="80" y="30"/>
                    </a:lnTo>
                    <a:lnTo>
                      <a:pt x="84" y="30"/>
                    </a:lnTo>
                    <a:lnTo>
                      <a:pt x="86" y="29"/>
                    </a:lnTo>
                    <a:lnTo>
                      <a:pt x="89" y="29"/>
                    </a:lnTo>
                    <a:lnTo>
                      <a:pt x="89" y="26"/>
                    </a:lnTo>
                    <a:lnTo>
                      <a:pt x="91" y="26"/>
                    </a:lnTo>
                    <a:lnTo>
                      <a:pt x="97" y="26"/>
                    </a:lnTo>
                    <a:lnTo>
                      <a:pt x="95" y="27"/>
                    </a:lnTo>
                    <a:lnTo>
                      <a:pt x="101" y="27"/>
                    </a:lnTo>
                    <a:lnTo>
                      <a:pt x="99" y="23"/>
                    </a:lnTo>
                    <a:lnTo>
                      <a:pt x="101" y="21"/>
                    </a:lnTo>
                    <a:lnTo>
                      <a:pt x="108" y="20"/>
                    </a:lnTo>
                    <a:lnTo>
                      <a:pt x="114" y="21"/>
                    </a:lnTo>
                    <a:lnTo>
                      <a:pt x="118" y="21"/>
                    </a:lnTo>
                    <a:lnTo>
                      <a:pt x="120" y="23"/>
                    </a:lnTo>
                    <a:lnTo>
                      <a:pt x="123" y="22"/>
                    </a:lnTo>
                    <a:lnTo>
                      <a:pt x="129" y="22"/>
                    </a:lnTo>
                    <a:lnTo>
                      <a:pt x="135" y="20"/>
                    </a:lnTo>
                    <a:lnTo>
                      <a:pt x="137" y="19"/>
                    </a:lnTo>
                    <a:lnTo>
                      <a:pt x="140" y="19"/>
                    </a:lnTo>
                    <a:lnTo>
                      <a:pt x="142" y="20"/>
                    </a:lnTo>
                    <a:lnTo>
                      <a:pt x="154" y="14"/>
                    </a:lnTo>
                    <a:lnTo>
                      <a:pt x="156" y="15"/>
                    </a:lnTo>
                    <a:lnTo>
                      <a:pt x="159" y="14"/>
                    </a:lnTo>
                    <a:lnTo>
                      <a:pt x="163" y="12"/>
                    </a:lnTo>
                    <a:lnTo>
                      <a:pt x="167" y="14"/>
                    </a:lnTo>
                    <a:lnTo>
                      <a:pt x="166" y="9"/>
                    </a:lnTo>
                    <a:lnTo>
                      <a:pt x="170" y="7"/>
                    </a:lnTo>
                    <a:lnTo>
                      <a:pt x="178" y="3"/>
                    </a:lnTo>
                    <a:lnTo>
                      <a:pt x="183" y="2"/>
                    </a:lnTo>
                    <a:lnTo>
                      <a:pt x="189" y="0"/>
                    </a:lnTo>
                    <a:lnTo>
                      <a:pt x="196" y="0"/>
                    </a:lnTo>
                    <a:lnTo>
                      <a:pt x="198" y="1"/>
                    </a:lnTo>
                    <a:lnTo>
                      <a:pt x="201" y="2"/>
                    </a:lnTo>
                    <a:lnTo>
                      <a:pt x="207" y="4"/>
                    </a:lnTo>
                    <a:lnTo>
                      <a:pt x="208" y="6"/>
                    </a:lnTo>
                    <a:lnTo>
                      <a:pt x="208" y="10"/>
                    </a:lnTo>
                    <a:lnTo>
                      <a:pt x="207" y="12"/>
                    </a:lnTo>
                    <a:lnTo>
                      <a:pt x="206" y="14"/>
                    </a:lnTo>
                    <a:lnTo>
                      <a:pt x="202" y="17"/>
                    </a:lnTo>
                    <a:lnTo>
                      <a:pt x="200" y="19"/>
                    </a:lnTo>
                    <a:lnTo>
                      <a:pt x="198" y="21"/>
                    </a:lnTo>
                    <a:lnTo>
                      <a:pt x="195" y="21"/>
                    </a:lnTo>
                    <a:lnTo>
                      <a:pt x="189" y="23"/>
                    </a:lnTo>
                    <a:lnTo>
                      <a:pt x="183" y="26"/>
                    </a:lnTo>
                    <a:lnTo>
                      <a:pt x="178" y="27"/>
                    </a:lnTo>
                    <a:lnTo>
                      <a:pt x="174" y="29"/>
                    </a:lnTo>
                    <a:lnTo>
                      <a:pt x="172" y="29"/>
                    </a:lnTo>
                    <a:lnTo>
                      <a:pt x="170" y="30"/>
                    </a:lnTo>
                    <a:lnTo>
                      <a:pt x="166" y="30"/>
                    </a:lnTo>
                    <a:lnTo>
                      <a:pt x="161" y="31"/>
                    </a:lnTo>
                    <a:lnTo>
                      <a:pt x="155" y="35"/>
                    </a:lnTo>
                    <a:lnTo>
                      <a:pt x="144" y="36"/>
                    </a:lnTo>
                    <a:lnTo>
                      <a:pt x="139" y="38"/>
                    </a:lnTo>
                    <a:lnTo>
                      <a:pt x="136" y="37"/>
                    </a:lnTo>
                    <a:lnTo>
                      <a:pt x="133" y="39"/>
                    </a:lnTo>
                    <a:lnTo>
                      <a:pt x="130" y="40"/>
                    </a:lnTo>
                    <a:lnTo>
                      <a:pt x="128" y="40"/>
                    </a:lnTo>
                    <a:lnTo>
                      <a:pt x="124" y="41"/>
                    </a:lnTo>
                    <a:lnTo>
                      <a:pt x="122" y="43"/>
                    </a:lnTo>
                    <a:lnTo>
                      <a:pt x="116" y="44"/>
                    </a:lnTo>
                    <a:lnTo>
                      <a:pt x="114" y="45"/>
                    </a:lnTo>
                    <a:lnTo>
                      <a:pt x="108" y="48"/>
                    </a:lnTo>
                    <a:lnTo>
                      <a:pt x="105" y="49"/>
                    </a:lnTo>
                    <a:lnTo>
                      <a:pt x="105" y="47"/>
                    </a:lnTo>
                    <a:lnTo>
                      <a:pt x="103" y="51"/>
                    </a:lnTo>
                    <a:lnTo>
                      <a:pt x="95" y="55"/>
                    </a:lnTo>
                    <a:lnTo>
                      <a:pt x="91" y="56"/>
                    </a:lnTo>
                    <a:lnTo>
                      <a:pt x="86" y="56"/>
                    </a:lnTo>
                    <a:lnTo>
                      <a:pt x="86" y="57"/>
                    </a:lnTo>
                    <a:lnTo>
                      <a:pt x="89" y="57"/>
                    </a:lnTo>
                    <a:lnTo>
                      <a:pt x="95" y="57"/>
                    </a:lnTo>
                    <a:lnTo>
                      <a:pt x="94" y="60"/>
                    </a:lnTo>
                    <a:lnTo>
                      <a:pt x="91" y="61"/>
                    </a:lnTo>
                    <a:lnTo>
                      <a:pt x="90" y="63"/>
                    </a:lnTo>
                    <a:lnTo>
                      <a:pt x="86" y="64"/>
                    </a:lnTo>
                    <a:lnTo>
                      <a:pt x="84" y="63"/>
                    </a:lnTo>
                    <a:lnTo>
                      <a:pt x="80" y="62"/>
                    </a:lnTo>
                    <a:lnTo>
                      <a:pt x="84" y="64"/>
                    </a:lnTo>
                    <a:lnTo>
                      <a:pt x="84" y="66"/>
                    </a:lnTo>
                    <a:lnTo>
                      <a:pt x="81" y="68"/>
                    </a:lnTo>
                    <a:lnTo>
                      <a:pt x="76" y="64"/>
                    </a:lnTo>
                    <a:lnTo>
                      <a:pt x="76" y="66"/>
                    </a:lnTo>
                    <a:lnTo>
                      <a:pt x="74" y="70"/>
                    </a:lnTo>
                    <a:lnTo>
                      <a:pt x="72" y="71"/>
                    </a:lnTo>
                    <a:lnTo>
                      <a:pt x="69" y="70"/>
                    </a:lnTo>
                    <a:lnTo>
                      <a:pt x="63" y="69"/>
                    </a:lnTo>
                    <a:lnTo>
                      <a:pt x="65" y="71"/>
                    </a:lnTo>
                    <a:lnTo>
                      <a:pt x="69" y="77"/>
                    </a:lnTo>
                    <a:lnTo>
                      <a:pt x="63" y="79"/>
                    </a:lnTo>
                    <a:lnTo>
                      <a:pt x="65" y="80"/>
                    </a:lnTo>
                    <a:lnTo>
                      <a:pt x="63" y="81"/>
                    </a:lnTo>
                    <a:lnTo>
                      <a:pt x="61" y="81"/>
                    </a:lnTo>
                    <a:lnTo>
                      <a:pt x="57" y="83"/>
                    </a:lnTo>
                    <a:lnTo>
                      <a:pt x="55" y="82"/>
                    </a:lnTo>
                    <a:lnTo>
                      <a:pt x="53" y="79"/>
                    </a:lnTo>
                    <a:lnTo>
                      <a:pt x="51" y="81"/>
                    </a:lnTo>
                    <a:lnTo>
                      <a:pt x="53" y="82"/>
                    </a:lnTo>
                    <a:lnTo>
                      <a:pt x="56" y="84"/>
                    </a:lnTo>
                    <a:lnTo>
                      <a:pt x="57" y="87"/>
                    </a:lnTo>
                    <a:lnTo>
                      <a:pt x="56" y="90"/>
                    </a:lnTo>
                    <a:lnTo>
                      <a:pt x="54" y="90"/>
                    </a:lnTo>
                    <a:lnTo>
                      <a:pt x="51" y="88"/>
                    </a:lnTo>
                    <a:lnTo>
                      <a:pt x="39" y="87"/>
                    </a:lnTo>
                    <a:lnTo>
                      <a:pt x="48" y="88"/>
                    </a:lnTo>
                    <a:lnTo>
                      <a:pt x="52" y="89"/>
                    </a:lnTo>
                    <a:lnTo>
                      <a:pt x="54" y="92"/>
                    </a:lnTo>
                    <a:lnTo>
                      <a:pt x="51" y="95"/>
                    </a:lnTo>
                    <a:lnTo>
                      <a:pt x="48" y="95"/>
                    </a:lnTo>
                    <a:lnTo>
                      <a:pt x="45" y="95"/>
                    </a:lnTo>
                    <a:lnTo>
                      <a:pt x="43" y="92"/>
                    </a:lnTo>
                    <a:lnTo>
                      <a:pt x="45" y="95"/>
                    </a:lnTo>
                    <a:lnTo>
                      <a:pt x="47" y="96"/>
                    </a:lnTo>
                    <a:lnTo>
                      <a:pt x="47" y="99"/>
                    </a:lnTo>
                    <a:lnTo>
                      <a:pt x="45" y="100"/>
                    </a:lnTo>
                    <a:lnTo>
                      <a:pt x="42" y="100"/>
                    </a:lnTo>
                    <a:lnTo>
                      <a:pt x="42" y="103"/>
                    </a:lnTo>
                    <a:lnTo>
                      <a:pt x="34" y="103"/>
                    </a:lnTo>
                    <a:lnTo>
                      <a:pt x="33" y="99"/>
                    </a:lnTo>
                    <a:lnTo>
                      <a:pt x="29" y="101"/>
                    </a:lnTo>
                    <a:lnTo>
                      <a:pt x="27" y="100"/>
                    </a:lnTo>
                    <a:lnTo>
                      <a:pt x="24" y="100"/>
                    </a:lnTo>
                    <a:lnTo>
                      <a:pt x="18" y="98"/>
                    </a:lnTo>
                    <a:lnTo>
                      <a:pt x="16" y="98"/>
                    </a:lnTo>
                    <a:lnTo>
                      <a:pt x="12" y="100"/>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1" name="Freeform 137">
                <a:extLst>
                  <a:ext uri="{FF2B5EF4-FFF2-40B4-BE49-F238E27FC236}">
                    <a16:creationId xmlns:a16="http://schemas.microsoft.com/office/drawing/2014/main" id="{FB049A10-1E0B-4850-BB28-8F19DB298C96}"/>
                  </a:ext>
                </a:extLst>
              </p:cNvPr>
              <p:cNvSpPr>
                <a:spLocks noEditPoints="1"/>
              </p:cNvSpPr>
              <p:nvPr/>
            </p:nvSpPr>
            <p:spPr bwMode="auto">
              <a:xfrm>
                <a:off x="4940" y="1327"/>
                <a:ext cx="114" cy="78"/>
              </a:xfrm>
              <a:custGeom>
                <a:avLst/>
                <a:gdLst>
                  <a:gd name="T0" fmla="*/ 29 w 114"/>
                  <a:gd name="T1" fmla="*/ 41 h 78"/>
                  <a:gd name="T2" fmla="*/ 38 w 114"/>
                  <a:gd name="T3" fmla="*/ 38 h 78"/>
                  <a:gd name="T4" fmla="*/ 55 w 114"/>
                  <a:gd name="T5" fmla="*/ 35 h 78"/>
                  <a:gd name="T6" fmla="*/ 76 w 114"/>
                  <a:gd name="T7" fmla="*/ 33 h 78"/>
                  <a:gd name="T8" fmla="*/ 73 w 114"/>
                  <a:gd name="T9" fmla="*/ 23 h 78"/>
                  <a:gd name="T10" fmla="*/ 80 w 114"/>
                  <a:gd name="T11" fmla="*/ 20 h 78"/>
                  <a:gd name="T12" fmla="*/ 85 w 114"/>
                  <a:gd name="T13" fmla="*/ 16 h 78"/>
                  <a:gd name="T14" fmla="*/ 70 w 114"/>
                  <a:gd name="T15" fmla="*/ 12 h 78"/>
                  <a:gd name="T16" fmla="*/ 59 w 114"/>
                  <a:gd name="T17" fmla="*/ 1 h 78"/>
                  <a:gd name="T18" fmla="*/ 46 w 114"/>
                  <a:gd name="T19" fmla="*/ 1 h 78"/>
                  <a:gd name="T20" fmla="*/ 43 w 114"/>
                  <a:gd name="T21" fmla="*/ 6 h 78"/>
                  <a:gd name="T22" fmla="*/ 20 w 114"/>
                  <a:gd name="T23" fmla="*/ 9 h 78"/>
                  <a:gd name="T24" fmla="*/ 14 w 114"/>
                  <a:gd name="T25" fmla="*/ 15 h 78"/>
                  <a:gd name="T26" fmla="*/ 22 w 114"/>
                  <a:gd name="T27" fmla="*/ 16 h 78"/>
                  <a:gd name="T28" fmla="*/ 16 w 114"/>
                  <a:gd name="T29" fmla="*/ 23 h 78"/>
                  <a:gd name="T30" fmla="*/ 3 w 114"/>
                  <a:gd name="T31" fmla="*/ 28 h 78"/>
                  <a:gd name="T32" fmla="*/ 1 w 114"/>
                  <a:gd name="T33" fmla="*/ 30 h 78"/>
                  <a:gd name="T34" fmla="*/ 10 w 114"/>
                  <a:gd name="T35" fmla="*/ 32 h 78"/>
                  <a:gd name="T36" fmla="*/ 22 w 114"/>
                  <a:gd name="T37" fmla="*/ 33 h 78"/>
                  <a:gd name="T38" fmla="*/ 10 w 114"/>
                  <a:gd name="T39" fmla="*/ 34 h 78"/>
                  <a:gd name="T40" fmla="*/ 12 w 114"/>
                  <a:gd name="T41" fmla="*/ 35 h 78"/>
                  <a:gd name="T42" fmla="*/ 12 w 114"/>
                  <a:gd name="T43" fmla="*/ 37 h 78"/>
                  <a:gd name="T44" fmla="*/ 110 w 114"/>
                  <a:gd name="T45" fmla="*/ 63 h 78"/>
                  <a:gd name="T46" fmla="*/ 114 w 114"/>
                  <a:gd name="T47" fmla="*/ 49 h 78"/>
                  <a:gd name="T48" fmla="*/ 108 w 114"/>
                  <a:gd name="T49" fmla="*/ 43 h 78"/>
                  <a:gd name="T50" fmla="*/ 96 w 114"/>
                  <a:gd name="T51" fmla="*/ 40 h 78"/>
                  <a:gd name="T52" fmla="*/ 91 w 114"/>
                  <a:gd name="T53" fmla="*/ 46 h 78"/>
                  <a:gd name="T54" fmla="*/ 80 w 114"/>
                  <a:gd name="T55" fmla="*/ 49 h 78"/>
                  <a:gd name="T56" fmla="*/ 81 w 114"/>
                  <a:gd name="T57" fmla="*/ 46 h 78"/>
                  <a:gd name="T58" fmla="*/ 86 w 114"/>
                  <a:gd name="T59" fmla="*/ 39 h 78"/>
                  <a:gd name="T60" fmla="*/ 76 w 114"/>
                  <a:gd name="T61" fmla="*/ 35 h 78"/>
                  <a:gd name="T62" fmla="*/ 53 w 114"/>
                  <a:gd name="T63" fmla="*/ 38 h 78"/>
                  <a:gd name="T64" fmla="*/ 44 w 114"/>
                  <a:gd name="T65" fmla="*/ 40 h 78"/>
                  <a:gd name="T66" fmla="*/ 36 w 114"/>
                  <a:gd name="T67" fmla="*/ 44 h 78"/>
                  <a:gd name="T68" fmla="*/ 30 w 114"/>
                  <a:gd name="T69" fmla="*/ 50 h 78"/>
                  <a:gd name="T70" fmla="*/ 17 w 114"/>
                  <a:gd name="T71" fmla="*/ 55 h 78"/>
                  <a:gd name="T72" fmla="*/ 25 w 114"/>
                  <a:gd name="T73" fmla="*/ 56 h 78"/>
                  <a:gd name="T74" fmla="*/ 28 w 114"/>
                  <a:gd name="T75" fmla="*/ 58 h 78"/>
                  <a:gd name="T76" fmla="*/ 36 w 114"/>
                  <a:gd name="T77" fmla="*/ 59 h 78"/>
                  <a:gd name="T78" fmla="*/ 40 w 114"/>
                  <a:gd name="T79" fmla="*/ 66 h 78"/>
                  <a:gd name="T80" fmla="*/ 47 w 114"/>
                  <a:gd name="T81" fmla="*/ 71 h 78"/>
                  <a:gd name="T82" fmla="*/ 54 w 114"/>
                  <a:gd name="T83" fmla="*/ 72 h 78"/>
                  <a:gd name="T84" fmla="*/ 69 w 114"/>
                  <a:gd name="T85" fmla="*/ 72 h 78"/>
                  <a:gd name="T86" fmla="*/ 93 w 114"/>
                  <a:gd name="T87" fmla="*/ 78 h 78"/>
                  <a:gd name="T88" fmla="*/ 112 w 114"/>
                  <a:gd name="T89" fmla="*/ 74 h 78"/>
                  <a:gd name="T90" fmla="*/ 107 w 114"/>
                  <a:gd name="T91" fmla="*/ 66 h 78"/>
                  <a:gd name="T92" fmla="*/ 107 w 114"/>
                  <a:gd name="T93"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78">
                    <a:moveTo>
                      <a:pt x="23" y="40"/>
                    </a:moveTo>
                    <a:lnTo>
                      <a:pt x="27" y="41"/>
                    </a:lnTo>
                    <a:lnTo>
                      <a:pt x="29" y="41"/>
                    </a:lnTo>
                    <a:lnTo>
                      <a:pt x="32" y="40"/>
                    </a:lnTo>
                    <a:lnTo>
                      <a:pt x="36" y="40"/>
                    </a:lnTo>
                    <a:lnTo>
                      <a:pt x="38" y="38"/>
                    </a:lnTo>
                    <a:lnTo>
                      <a:pt x="44" y="37"/>
                    </a:lnTo>
                    <a:lnTo>
                      <a:pt x="47" y="37"/>
                    </a:lnTo>
                    <a:lnTo>
                      <a:pt x="55" y="35"/>
                    </a:lnTo>
                    <a:lnTo>
                      <a:pt x="61" y="34"/>
                    </a:lnTo>
                    <a:lnTo>
                      <a:pt x="73" y="34"/>
                    </a:lnTo>
                    <a:lnTo>
                      <a:pt x="76" y="33"/>
                    </a:lnTo>
                    <a:lnTo>
                      <a:pt x="79" y="31"/>
                    </a:lnTo>
                    <a:lnTo>
                      <a:pt x="76" y="29"/>
                    </a:lnTo>
                    <a:lnTo>
                      <a:pt x="73" y="23"/>
                    </a:lnTo>
                    <a:lnTo>
                      <a:pt x="74" y="21"/>
                    </a:lnTo>
                    <a:lnTo>
                      <a:pt x="78" y="21"/>
                    </a:lnTo>
                    <a:lnTo>
                      <a:pt x="80" y="20"/>
                    </a:lnTo>
                    <a:lnTo>
                      <a:pt x="83" y="21"/>
                    </a:lnTo>
                    <a:lnTo>
                      <a:pt x="86" y="20"/>
                    </a:lnTo>
                    <a:lnTo>
                      <a:pt x="85" y="16"/>
                    </a:lnTo>
                    <a:lnTo>
                      <a:pt x="81" y="15"/>
                    </a:lnTo>
                    <a:lnTo>
                      <a:pt x="76" y="14"/>
                    </a:lnTo>
                    <a:lnTo>
                      <a:pt x="70" y="12"/>
                    </a:lnTo>
                    <a:lnTo>
                      <a:pt x="68" y="9"/>
                    </a:lnTo>
                    <a:lnTo>
                      <a:pt x="65" y="6"/>
                    </a:lnTo>
                    <a:lnTo>
                      <a:pt x="59" y="1"/>
                    </a:lnTo>
                    <a:lnTo>
                      <a:pt x="54" y="0"/>
                    </a:lnTo>
                    <a:lnTo>
                      <a:pt x="48" y="0"/>
                    </a:lnTo>
                    <a:lnTo>
                      <a:pt x="46" y="1"/>
                    </a:lnTo>
                    <a:lnTo>
                      <a:pt x="52" y="3"/>
                    </a:lnTo>
                    <a:lnTo>
                      <a:pt x="49" y="3"/>
                    </a:lnTo>
                    <a:lnTo>
                      <a:pt x="43" y="6"/>
                    </a:lnTo>
                    <a:lnTo>
                      <a:pt x="35" y="6"/>
                    </a:lnTo>
                    <a:lnTo>
                      <a:pt x="31" y="7"/>
                    </a:lnTo>
                    <a:lnTo>
                      <a:pt x="20" y="9"/>
                    </a:lnTo>
                    <a:lnTo>
                      <a:pt x="19" y="12"/>
                    </a:lnTo>
                    <a:lnTo>
                      <a:pt x="17" y="13"/>
                    </a:lnTo>
                    <a:lnTo>
                      <a:pt x="14" y="15"/>
                    </a:lnTo>
                    <a:lnTo>
                      <a:pt x="13" y="17"/>
                    </a:lnTo>
                    <a:lnTo>
                      <a:pt x="19" y="17"/>
                    </a:lnTo>
                    <a:lnTo>
                      <a:pt x="22" y="16"/>
                    </a:lnTo>
                    <a:lnTo>
                      <a:pt x="20" y="18"/>
                    </a:lnTo>
                    <a:lnTo>
                      <a:pt x="17" y="20"/>
                    </a:lnTo>
                    <a:lnTo>
                      <a:pt x="16" y="23"/>
                    </a:lnTo>
                    <a:lnTo>
                      <a:pt x="14" y="25"/>
                    </a:lnTo>
                    <a:lnTo>
                      <a:pt x="9" y="25"/>
                    </a:lnTo>
                    <a:lnTo>
                      <a:pt x="3" y="28"/>
                    </a:lnTo>
                    <a:lnTo>
                      <a:pt x="12" y="29"/>
                    </a:lnTo>
                    <a:lnTo>
                      <a:pt x="3" y="29"/>
                    </a:lnTo>
                    <a:lnTo>
                      <a:pt x="1" y="30"/>
                    </a:lnTo>
                    <a:lnTo>
                      <a:pt x="0" y="32"/>
                    </a:lnTo>
                    <a:lnTo>
                      <a:pt x="4" y="32"/>
                    </a:lnTo>
                    <a:lnTo>
                      <a:pt x="10" y="32"/>
                    </a:lnTo>
                    <a:lnTo>
                      <a:pt x="17" y="31"/>
                    </a:lnTo>
                    <a:lnTo>
                      <a:pt x="19" y="32"/>
                    </a:lnTo>
                    <a:lnTo>
                      <a:pt x="22" y="33"/>
                    </a:lnTo>
                    <a:lnTo>
                      <a:pt x="17" y="32"/>
                    </a:lnTo>
                    <a:lnTo>
                      <a:pt x="6" y="33"/>
                    </a:lnTo>
                    <a:lnTo>
                      <a:pt x="10" y="34"/>
                    </a:lnTo>
                    <a:lnTo>
                      <a:pt x="12" y="35"/>
                    </a:lnTo>
                    <a:lnTo>
                      <a:pt x="14" y="37"/>
                    </a:lnTo>
                    <a:lnTo>
                      <a:pt x="12" y="35"/>
                    </a:lnTo>
                    <a:lnTo>
                      <a:pt x="9" y="35"/>
                    </a:lnTo>
                    <a:lnTo>
                      <a:pt x="6" y="35"/>
                    </a:lnTo>
                    <a:lnTo>
                      <a:pt x="12" y="37"/>
                    </a:lnTo>
                    <a:lnTo>
                      <a:pt x="18" y="38"/>
                    </a:lnTo>
                    <a:lnTo>
                      <a:pt x="23" y="40"/>
                    </a:lnTo>
                    <a:close/>
                    <a:moveTo>
                      <a:pt x="110" y="63"/>
                    </a:moveTo>
                    <a:lnTo>
                      <a:pt x="111" y="55"/>
                    </a:lnTo>
                    <a:lnTo>
                      <a:pt x="112" y="51"/>
                    </a:lnTo>
                    <a:lnTo>
                      <a:pt x="114" y="49"/>
                    </a:lnTo>
                    <a:lnTo>
                      <a:pt x="114" y="47"/>
                    </a:lnTo>
                    <a:lnTo>
                      <a:pt x="112" y="44"/>
                    </a:lnTo>
                    <a:lnTo>
                      <a:pt x="108" y="43"/>
                    </a:lnTo>
                    <a:lnTo>
                      <a:pt x="106" y="41"/>
                    </a:lnTo>
                    <a:lnTo>
                      <a:pt x="102" y="40"/>
                    </a:lnTo>
                    <a:lnTo>
                      <a:pt x="96" y="40"/>
                    </a:lnTo>
                    <a:lnTo>
                      <a:pt x="93" y="41"/>
                    </a:lnTo>
                    <a:lnTo>
                      <a:pt x="94" y="42"/>
                    </a:lnTo>
                    <a:lnTo>
                      <a:pt x="91" y="46"/>
                    </a:lnTo>
                    <a:lnTo>
                      <a:pt x="86" y="44"/>
                    </a:lnTo>
                    <a:lnTo>
                      <a:pt x="83" y="47"/>
                    </a:lnTo>
                    <a:lnTo>
                      <a:pt x="80" y="49"/>
                    </a:lnTo>
                    <a:lnTo>
                      <a:pt x="78" y="49"/>
                    </a:lnTo>
                    <a:lnTo>
                      <a:pt x="81" y="49"/>
                    </a:lnTo>
                    <a:lnTo>
                      <a:pt x="81" y="46"/>
                    </a:lnTo>
                    <a:lnTo>
                      <a:pt x="85" y="44"/>
                    </a:lnTo>
                    <a:lnTo>
                      <a:pt x="86" y="41"/>
                    </a:lnTo>
                    <a:lnTo>
                      <a:pt x="86" y="39"/>
                    </a:lnTo>
                    <a:lnTo>
                      <a:pt x="83" y="37"/>
                    </a:lnTo>
                    <a:lnTo>
                      <a:pt x="80" y="35"/>
                    </a:lnTo>
                    <a:lnTo>
                      <a:pt x="76" y="35"/>
                    </a:lnTo>
                    <a:lnTo>
                      <a:pt x="72" y="37"/>
                    </a:lnTo>
                    <a:lnTo>
                      <a:pt x="66" y="38"/>
                    </a:lnTo>
                    <a:lnTo>
                      <a:pt x="53" y="38"/>
                    </a:lnTo>
                    <a:lnTo>
                      <a:pt x="49" y="40"/>
                    </a:lnTo>
                    <a:lnTo>
                      <a:pt x="47" y="39"/>
                    </a:lnTo>
                    <a:lnTo>
                      <a:pt x="44" y="40"/>
                    </a:lnTo>
                    <a:lnTo>
                      <a:pt x="42" y="41"/>
                    </a:lnTo>
                    <a:lnTo>
                      <a:pt x="38" y="42"/>
                    </a:lnTo>
                    <a:lnTo>
                      <a:pt x="36" y="44"/>
                    </a:lnTo>
                    <a:lnTo>
                      <a:pt x="42" y="47"/>
                    </a:lnTo>
                    <a:lnTo>
                      <a:pt x="32" y="49"/>
                    </a:lnTo>
                    <a:lnTo>
                      <a:pt x="30" y="50"/>
                    </a:lnTo>
                    <a:lnTo>
                      <a:pt x="28" y="52"/>
                    </a:lnTo>
                    <a:lnTo>
                      <a:pt x="22" y="56"/>
                    </a:lnTo>
                    <a:lnTo>
                      <a:pt x="17" y="55"/>
                    </a:lnTo>
                    <a:lnTo>
                      <a:pt x="19" y="56"/>
                    </a:lnTo>
                    <a:lnTo>
                      <a:pt x="22" y="58"/>
                    </a:lnTo>
                    <a:lnTo>
                      <a:pt x="25" y="56"/>
                    </a:lnTo>
                    <a:lnTo>
                      <a:pt x="28" y="56"/>
                    </a:lnTo>
                    <a:lnTo>
                      <a:pt x="30" y="58"/>
                    </a:lnTo>
                    <a:lnTo>
                      <a:pt x="28" y="58"/>
                    </a:lnTo>
                    <a:lnTo>
                      <a:pt x="31" y="59"/>
                    </a:lnTo>
                    <a:lnTo>
                      <a:pt x="34" y="58"/>
                    </a:lnTo>
                    <a:lnTo>
                      <a:pt x="36" y="59"/>
                    </a:lnTo>
                    <a:lnTo>
                      <a:pt x="37" y="63"/>
                    </a:lnTo>
                    <a:lnTo>
                      <a:pt x="38" y="65"/>
                    </a:lnTo>
                    <a:lnTo>
                      <a:pt x="40" y="66"/>
                    </a:lnTo>
                    <a:lnTo>
                      <a:pt x="42" y="69"/>
                    </a:lnTo>
                    <a:lnTo>
                      <a:pt x="45" y="71"/>
                    </a:lnTo>
                    <a:lnTo>
                      <a:pt x="47" y="71"/>
                    </a:lnTo>
                    <a:lnTo>
                      <a:pt x="51" y="69"/>
                    </a:lnTo>
                    <a:lnTo>
                      <a:pt x="54" y="69"/>
                    </a:lnTo>
                    <a:lnTo>
                      <a:pt x="54" y="72"/>
                    </a:lnTo>
                    <a:lnTo>
                      <a:pt x="61" y="72"/>
                    </a:lnTo>
                    <a:lnTo>
                      <a:pt x="66" y="73"/>
                    </a:lnTo>
                    <a:lnTo>
                      <a:pt x="69" y="72"/>
                    </a:lnTo>
                    <a:lnTo>
                      <a:pt x="76" y="76"/>
                    </a:lnTo>
                    <a:lnTo>
                      <a:pt x="80" y="77"/>
                    </a:lnTo>
                    <a:lnTo>
                      <a:pt x="93" y="78"/>
                    </a:lnTo>
                    <a:lnTo>
                      <a:pt x="95" y="77"/>
                    </a:lnTo>
                    <a:lnTo>
                      <a:pt x="107" y="77"/>
                    </a:lnTo>
                    <a:lnTo>
                      <a:pt x="112" y="74"/>
                    </a:lnTo>
                    <a:lnTo>
                      <a:pt x="112" y="72"/>
                    </a:lnTo>
                    <a:lnTo>
                      <a:pt x="111" y="68"/>
                    </a:lnTo>
                    <a:lnTo>
                      <a:pt x="107" y="66"/>
                    </a:lnTo>
                    <a:lnTo>
                      <a:pt x="104" y="65"/>
                    </a:lnTo>
                    <a:lnTo>
                      <a:pt x="102" y="63"/>
                    </a:lnTo>
                    <a:lnTo>
                      <a:pt x="107" y="64"/>
                    </a:lnTo>
                    <a:lnTo>
                      <a:pt x="11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2" name="Freeform 138">
                <a:extLst>
                  <a:ext uri="{FF2B5EF4-FFF2-40B4-BE49-F238E27FC236}">
                    <a16:creationId xmlns:a16="http://schemas.microsoft.com/office/drawing/2014/main" id="{1538E19E-14B2-4956-B748-8AFA5C2EFE39}"/>
                  </a:ext>
                </a:extLst>
              </p:cNvPr>
              <p:cNvSpPr>
                <a:spLocks/>
              </p:cNvSpPr>
              <p:nvPr/>
            </p:nvSpPr>
            <p:spPr bwMode="auto">
              <a:xfrm>
                <a:off x="5046" y="1386"/>
                <a:ext cx="84" cy="44"/>
              </a:xfrm>
              <a:custGeom>
                <a:avLst/>
                <a:gdLst>
                  <a:gd name="T0" fmla="*/ 35 w 84"/>
                  <a:gd name="T1" fmla="*/ 5 h 44"/>
                  <a:gd name="T2" fmla="*/ 35 w 84"/>
                  <a:gd name="T3" fmla="*/ 4 h 44"/>
                  <a:gd name="T4" fmla="*/ 32 w 84"/>
                  <a:gd name="T5" fmla="*/ 2 h 44"/>
                  <a:gd name="T6" fmla="*/ 30 w 84"/>
                  <a:gd name="T7" fmla="*/ 4 h 44"/>
                  <a:gd name="T8" fmla="*/ 28 w 84"/>
                  <a:gd name="T9" fmla="*/ 6 h 44"/>
                  <a:gd name="T10" fmla="*/ 25 w 84"/>
                  <a:gd name="T11" fmla="*/ 6 h 44"/>
                  <a:gd name="T12" fmla="*/ 23 w 84"/>
                  <a:gd name="T13" fmla="*/ 9 h 44"/>
                  <a:gd name="T14" fmla="*/ 23 w 84"/>
                  <a:gd name="T15" fmla="*/ 12 h 44"/>
                  <a:gd name="T16" fmla="*/ 28 w 84"/>
                  <a:gd name="T17" fmla="*/ 14 h 44"/>
                  <a:gd name="T18" fmla="*/ 23 w 84"/>
                  <a:gd name="T19" fmla="*/ 12 h 44"/>
                  <a:gd name="T20" fmla="*/ 21 w 84"/>
                  <a:gd name="T21" fmla="*/ 14 h 44"/>
                  <a:gd name="T22" fmla="*/ 18 w 84"/>
                  <a:gd name="T23" fmla="*/ 16 h 44"/>
                  <a:gd name="T24" fmla="*/ 22 w 84"/>
                  <a:gd name="T25" fmla="*/ 19 h 44"/>
                  <a:gd name="T26" fmla="*/ 24 w 84"/>
                  <a:gd name="T27" fmla="*/ 21 h 44"/>
                  <a:gd name="T28" fmla="*/ 16 w 84"/>
                  <a:gd name="T29" fmla="*/ 19 h 44"/>
                  <a:gd name="T30" fmla="*/ 13 w 84"/>
                  <a:gd name="T31" fmla="*/ 22 h 44"/>
                  <a:gd name="T32" fmla="*/ 10 w 84"/>
                  <a:gd name="T33" fmla="*/ 27 h 44"/>
                  <a:gd name="T34" fmla="*/ 8 w 84"/>
                  <a:gd name="T35" fmla="*/ 30 h 44"/>
                  <a:gd name="T36" fmla="*/ 8 w 84"/>
                  <a:gd name="T37" fmla="*/ 33 h 44"/>
                  <a:gd name="T38" fmla="*/ 2 w 84"/>
                  <a:gd name="T39" fmla="*/ 39 h 44"/>
                  <a:gd name="T40" fmla="*/ 0 w 84"/>
                  <a:gd name="T41" fmla="*/ 42 h 44"/>
                  <a:gd name="T42" fmla="*/ 2 w 84"/>
                  <a:gd name="T43" fmla="*/ 44 h 44"/>
                  <a:gd name="T44" fmla="*/ 5 w 84"/>
                  <a:gd name="T45" fmla="*/ 44 h 44"/>
                  <a:gd name="T46" fmla="*/ 8 w 84"/>
                  <a:gd name="T47" fmla="*/ 44 h 44"/>
                  <a:gd name="T48" fmla="*/ 22 w 84"/>
                  <a:gd name="T49" fmla="*/ 40 h 44"/>
                  <a:gd name="T50" fmla="*/ 24 w 84"/>
                  <a:gd name="T51" fmla="*/ 38 h 44"/>
                  <a:gd name="T52" fmla="*/ 41 w 84"/>
                  <a:gd name="T53" fmla="*/ 36 h 44"/>
                  <a:gd name="T54" fmla="*/ 44 w 84"/>
                  <a:gd name="T55" fmla="*/ 36 h 44"/>
                  <a:gd name="T56" fmla="*/ 47 w 84"/>
                  <a:gd name="T57" fmla="*/ 38 h 44"/>
                  <a:gd name="T58" fmla="*/ 49 w 84"/>
                  <a:gd name="T59" fmla="*/ 35 h 44"/>
                  <a:gd name="T60" fmla="*/ 52 w 84"/>
                  <a:gd name="T61" fmla="*/ 36 h 44"/>
                  <a:gd name="T62" fmla="*/ 61 w 84"/>
                  <a:gd name="T63" fmla="*/ 35 h 44"/>
                  <a:gd name="T64" fmla="*/ 69 w 84"/>
                  <a:gd name="T65" fmla="*/ 33 h 44"/>
                  <a:gd name="T66" fmla="*/ 73 w 84"/>
                  <a:gd name="T67" fmla="*/ 33 h 44"/>
                  <a:gd name="T68" fmla="*/ 75 w 84"/>
                  <a:gd name="T69" fmla="*/ 33 h 44"/>
                  <a:gd name="T70" fmla="*/ 83 w 84"/>
                  <a:gd name="T71" fmla="*/ 27 h 44"/>
                  <a:gd name="T72" fmla="*/ 84 w 84"/>
                  <a:gd name="T73" fmla="*/ 25 h 44"/>
                  <a:gd name="T74" fmla="*/ 82 w 84"/>
                  <a:gd name="T75" fmla="*/ 19 h 44"/>
                  <a:gd name="T76" fmla="*/ 78 w 84"/>
                  <a:gd name="T77" fmla="*/ 17 h 44"/>
                  <a:gd name="T78" fmla="*/ 76 w 84"/>
                  <a:gd name="T79" fmla="*/ 17 h 44"/>
                  <a:gd name="T80" fmla="*/ 74 w 84"/>
                  <a:gd name="T81" fmla="*/ 19 h 44"/>
                  <a:gd name="T82" fmla="*/ 70 w 84"/>
                  <a:gd name="T83" fmla="*/ 14 h 44"/>
                  <a:gd name="T84" fmla="*/ 65 w 84"/>
                  <a:gd name="T85" fmla="*/ 12 h 44"/>
                  <a:gd name="T86" fmla="*/ 62 w 84"/>
                  <a:gd name="T87" fmla="*/ 9 h 44"/>
                  <a:gd name="T88" fmla="*/ 60 w 84"/>
                  <a:gd name="T89" fmla="*/ 8 h 44"/>
                  <a:gd name="T90" fmla="*/ 54 w 84"/>
                  <a:gd name="T91" fmla="*/ 9 h 44"/>
                  <a:gd name="T92" fmla="*/ 52 w 84"/>
                  <a:gd name="T93" fmla="*/ 12 h 44"/>
                  <a:gd name="T94" fmla="*/ 49 w 84"/>
                  <a:gd name="T95" fmla="*/ 12 h 44"/>
                  <a:gd name="T96" fmla="*/ 44 w 84"/>
                  <a:gd name="T97" fmla="*/ 16 h 44"/>
                  <a:gd name="T98" fmla="*/ 42 w 84"/>
                  <a:gd name="T99" fmla="*/ 16 h 44"/>
                  <a:gd name="T100" fmla="*/ 44 w 84"/>
                  <a:gd name="T101" fmla="*/ 14 h 44"/>
                  <a:gd name="T102" fmla="*/ 48 w 84"/>
                  <a:gd name="T103" fmla="*/ 6 h 44"/>
                  <a:gd name="T104" fmla="*/ 50 w 84"/>
                  <a:gd name="T105" fmla="*/ 4 h 44"/>
                  <a:gd name="T106" fmla="*/ 48 w 84"/>
                  <a:gd name="T107" fmla="*/ 1 h 44"/>
                  <a:gd name="T108" fmla="*/ 42 w 84"/>
                  <a:gd name="T109" fmla="*/ 0 h 44"/>
                  <a:gd name="T110" fmla="*/ 39 w 84"/>
                  <a:gd name="T111" fmla="*/ 0 h 44"/>
                  <a:gd name="T112" fmla="*/ 38 w 84"/>
                  <a:gd name="T113" fmla="*/ 4 h 44"/>
                  <a:gd name="T114" fmla="*/ 39 w 84"/>
                  <a:gd name="T115" fmla="*/ 6 h 44"/>
                  <a:gd name="T116" fmla="*/ 35 w 84"/>
                  <a:gd name="T117" fmla="*/ 5 h 44"/>
                  <a:gd name="T118" fmla="*/ 35 w 84"/>
                  <a:gd name="T11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44">
                    <a:moveTo>
                      <a:pt x="35" y="5"/>
                    </a:moveTo>
                    <a:lnTo>
                      <a:pt x="35" y="4"/>
                    </a:lnTo>
                    <a:lnTo>
                      <a:pt x="32" y="2"/>
                    </a:lnTo>
                    <a:lnTo>
                      <a:pt x="30" y="4"/>
                    </a:lnTo>
                    <a:lnTo>
                      <a:pt x="28" y="6"/>
                    </a:lnTo>
                    <a:lnTo>
                      <a:pt x="25" y="6"/>
                    </a:lnTo>
                    <a:lnTo>
                      <a:pt x="23" y="9"/>
                    </a:lnTo>
                    <a:lnTo>
                      <a:pt x="23" y="12"/>
                    </a:lnTo>
                    <a:lnTo>
                      <a:pt x="28" y="14"/>
                    </a:lnTo>
                    <a:lnTo>
                      <a:pt x="23" y="12"/>
                    </a:lnTo>
                    <a:lnTo>
                      <a:pt x="21" y="14"/>
                    </a:lnTo>
                    <a:lnTo>
                      <a:pt x="18" y="16"/>
                    </a:lnTo>
                    <a:lnTo>
                      <a:pt x="22" y="19"/>
                    </a:lnTo>
                    <a:lnTo>
                      <a:pt x="24" y="21"/>
                    </a:lnTo>
                    <a:lnTo>
                      <a:pt x="16" y="19"/>
                    </a:lnTo>
                    <a:lnTo>
                      <a:pt x="13" y="22"/>
                    </a:lnTo>
                    <a:lnTo>
                      <a:pt x="10" y="27"/>
                    </a:lnTo>
                    <a:lnTo>
                      <a:pt x="8" y="30"/>
                    </a:lnTo>
                    <a:lnTo>
                      <a:pt x="8" y="33"/>
                    </a:lnTo>
                    <a:lnTo>
                      <a:pt x="2" y="39"/>
                    </a:lnTo>
                    <a:lnTo>
                      <a:pt x="0" y="42"/>
                    </a:lnTo>
                    <a:lnTo>
                      <a:pt x="2" y="44"/>
                    </a:lnTo>
                    <a:lnTo>
                      <a:pt x="5" y="44"/>
                    </a:lnTo>
                    <a:lnTo>
                      <a:pt x="8" y="44"/>
                    </a:lnTo>
                    <a:lnTo>
                      <a:pt x="22" y="40"/>
                    </a:lnTo>
                    <a:lnTo>
                      <a:pt x="24" y="38"/>
                    </a:lnTo>
                    <a:lnTo>
                      <a:pt x="41" y="36"/>
                    </a:lnTo>
                    <a:lnTo>
                      <a:pt x="44" y="36"/>
                    </a:lnTo>
                    <a:lnTo>
                      <a:pt x="47" y="38"/>
                    </a:lnTo>
                    <a:lnTo>
                      <a:pt x="49" y="35"/>
                    </a:lnTo>
                    <a:lnTo>
                      <a:pt x="52" y="36"/>
                    </a:lnTo>
                    <a:lnTo>
                      <a:pt x="61" y="35"/>
                    </a:lnTo>
                    <a:lnTo>
                      <a:pt x="69" y="33"/>
                    </a:lnTo>
                    <a:lnTo>
                      <a:pt x="73" y="33"/>
                    </a:lnTo>
                    <a:lnTo>
                      <a:pt x="75" y="33"/>
                    </a:lnTo>
                    <a:lnTo>
                      <a:pt x="83" y="27"/>
                    </a:lnTo>
                    <a:lnTo>
                      <a:pt x="84" y="25"/>
                    </a:lnTo>
                    <a:lnTo>
                      <a:pt x="82" y="19"/>
                    </a:lnTo>
                    <a:lnTo>
                      <a:pt x="78" y="17"/>
                    </a:lnTo>
                    <a:lnTo>
                      <a:pt x="76" y="17"/>
                    </a:lnTo>
                    <a:lnTo>
                      <a:pt x="74" y="19"/>
                    </a:lnTo>
                    <a:lnTo>
                      <a:pt x="70" y="14"/>
                    </a:lnTo>
                    <a:lnTo>
                      <a:pt x="65" y="12"/>
                    </a:lnTo>
                    <a:lnTo>
                      <a:pt x="62" y="9"/>
                    </a:lnTo>
                    <a:lnTo>
                      <a:pt x="60" y="8"/>
                    </a:lnTo>
                    <a:lnTo>
                      <a:pt x="54" y="9"/>
                    </a:lnTo>
                    <a:lnTo>
                      <a:pt x="52" y="12"/>
                    </a:lnTo>
                    <a:lnTo>
                      <a:pt x="49" y="12"/>
                    </a:lnTo>
                    <a:lnTo>
                      <a:pt x="44" y="16"/>
                    </a:lnTo>
                    <a:lnTo>
                      <a:pt x="42" y="16"/>
                    </a:lnTo>
                    <a:lnTo>
                      <a:pt x="44" y="14"/>
                    </a:lnTo>
                    <a:lnTo>
                      <a:pt x="48" y="6"/>
                    </a:lnTo>
                    <a:lnTo>
                      <a:pt x="50" y="4"/>
                    </a:lnTo>
                    <a:lnTo>
                      <a:pt x="48" y="1"/>
                    </a:lnTo>
                    <a:lnTo>
                      <a:pt x="42" y="0"/>
                    </a:lnTo>
                    <a:lnTo>
                      <a:pt x="39" y="0"/>
                    </a:lnTo>
                    <a:lnTo>
                      <a:pt x="38" y="4"/>
                    </a:lnTo>
                    <a:lnTo>
                      <a:pt x="39" y="6"/>
                    </a:lnTo>
                    <a:lnTo>
                      <a:pt x="35" y="5"/>
                    </a:lnTo>
                    <a:lnTo>
                      <a:pt x="3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3" name="Freeform 139">
                <a:extLst>
                  <a:ext uri="{FF2B5EF4-FFF2-40B4-BE49-F238E27FC236}">
                    <a16:creationId xmlns:a16="http://schemas.microsoft.com/office/drawing/2014/main" id="{A6E02C0F-1C34-4001-AFF8-70EFE98A1061}"/>
                  </a:ext>
                </a:extLst>
              </p:cNvPr>
              <p:cNvSpPr>
                <a:spLocks/>
              </p:cNvSpPr>
              <p:nvPr/>
            </p:nvSpPr>
            <p:spPr bwMode="auto">
              <a:xfrm>
                <a:off x="5113" y="2811"/>
                <a:ext cx="3" cy="2"/>
              </a:xfrm>
              <a:custGeom>
                <a:avLst/>
                <a:gdLst>
                  <a:gd name="T0" fmla="*/ 2 w 3"/>
                  <a:gd name="T1" fmla="*/ 0 h 2"/>
                  <a:gd name="T2" fmla="*/ 0 w 3"/>
                  <a:gd name="T3" fmla="*/ 0 h 2"/>
                  <a:gd name="T4" fmla="*/ 0 w 3"/>
                  <a:gd name="T5" fmla="*/ 2 h 2"/>
                  <a:gd name="T6" fmla="*/ 3 w 3"/>
                  <a:gd name="T7" fmla="*/ 2 h 2"/>
                  <a:gd name="T8" fmla="*/ 2 w 3"/>
                  <a:gd name="T9" fmla="*/ 0 h 2"/>
                  <a:gd name="T10" fmla="*/ 2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0"/>
                    </a:moveTo>
                    <a:lnTo>
                      <a:pt x="0" y="0"/>
                    </a:lnTo>
                    <a:lnTo>
                      <a:pt x="0" y="2"/>
                    </a:lnTo>
                    <a:lnTo>
                      <a:pt x="3"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4" name="Freeform 140">
                <a:extLst>
                  <a:ext uri="{FF2B5EF4-FFF2-40B4-BE49-F238E27FC236}">
                    <a16:creationId xmlns:a16="http://schemas.microsoft.com/office/drawing/2014/main" id="{1BEA7AFA-77BC-40AA-A4C4-9486CB5B1AA2}"/>
                  </a:ext>
                </a:extLst>
              </p:cNvPr>
              <p:cNvSpPr>
                <a:spLocks/>
              </p:cNvSpPr>
              <p:nvPr/>
            </p:nvSpPr>
            <p:spPr bwMode="auto">
              <a:xfrm>
                <a:off x="5115" y="2805"/>
                <a:ext cx="8" cy="5"/>
              </a:xfrm>
              <a:custGeom>
                <a:avLst/>
                <a:gdLst>
                  <a:gd name="T0" fmla="*/ 2 w 8"/>
                  <a:gd name="T1" fmla="*/ 0 h 5"/>
                  <a:gd name="T2" fmla="*/ 1 w 8"/>
                  <a:gd name="T3" fmla="*/ 0 h 5"/>
                  <a:gd name="T4" fmla="*/ 0 w 8"/>
                  <a:gd name="T5" fmla="*/ 4 h 5"/>
                  <a:gd name="T6" fmla="*/ 5 w 8"/>
                  <a:gd name="T7" fmla="*/ 5 h 5"/>
                  <a:gd name="T8" fmla="*/ 8 w 8"/>
                  <a:gd name="T9" fmla="*/ 5 h 5"/>
                  <a:gd name="T10" fmla="*/ 5 w 8"/>
                  <a:gd name="T11" fmla="*/ 4 h 5"/>
                  <a:gd name="T12" fmla="*/ 2 w 8"/>
                  <a:gd name="T13" fmla="*/ 0 h 5"/>
                  <a:gd name="T14" fmla="*/ 2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0"/>
                    </a:moveTo>
                    <a:lnTo>
                      <a:pt x="1" y="0"/>
                    </a:lnTo>
                    <a:lnTo>
                      <a:pt x="0" y="4"/>
                    </a:lnTo>
                    <a:lnTo>
                      <a:pt x="5" y="5"/>
                    </a:lnTo>
                    <a:lnTo>
                      <a:pt x="8" y="5"/>
                    </a:lnTo>
                    <a:lnTo>
                      <a:pt x="5" y="4"/>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5" name="Freeform 141">
                <a:extLst>
                  <a:ext uri="{FF2B5EF4-FFF2-40B4-BE49-F238E27FC236}">
                    <a16:creationId xmlns:a16="http://schemas.microsoft.com/office/drawing/2014/main" id="{C528BFC6-02B1-4708-B289-A9DC700DA3FA}"/>
                  </a:ext>
                </a:extLst>
              </p:cNvPr>
              <p:cNvSpPr>
                <a:spLocks/>
              </p:cNvSpPr>
              <p:nvPr/>
            </p:nvSpPr>
            <p:spPr bwMode="auto">
              <a:xfrm>
                <a:off x="5125" y="2827"/>
                <a:ext cx="21" cy="21"/>
              </a:xfrm>
              <a:custGeom>
                <a:avLst/>
                <a:gdLst>
                  <a:gd name="T0" fmla="*/ 3 w 21"/>
                  <a:gd name="T1" fmla="*/ 2 h 21"/>
                  <a:gd name="T2" fmla="*/ 0 w 21"/>
                  <a:gd name="T3" fmla="*/ 5 h 21"/>
                  <a:gd name="T4" fmla="*/ 2 w 21"/>
                  <a:gd name="T5" fmla="*/ 8 h 21"/>
                  <a:gd name="T6" fmla="*/ 7 w 21"/>
                  <a:gd name="T7" fmla="*/ 8 h 21"/>
                  <a:gd name="T8" fmla="*/ 11 w 21"/>
                  <a:gd name="T9" fmla="*/ 13 h 21"/>
                  <a:gd name="T10" fmla="*/ 11 w 21"/>
                  <a:gd name="T11" fmla="*/ 16 h 21"/>
                  <a:gd name="T12" fmla="*/ 13 w 21"/>
                  <a:gd name="T13" fmla="*/ 18 h 21"/>
                  <a:gd name="T14" fmla="*/ 19 w 21"/>
                  <a:gd name="T15" fmla="*/ 20 h 21"/>
                  <a:gd name="T16" fmla="*/ 21 w 21"/>
                  <a:gd name="T17" fmla="*/ 21 h 21"/>
                  <a:gd name="T18" fmla="*/ 20 w 21"/>
                  <a:gd name="T19" fmla="*/ 18 h 21"/>
                  <a:gd name="T20" fmla="*/ 21 w 21"/>
                  <a:gd name="T21" fmla="*/ 16 h 21"/>
                  <a:gd name="T22" fmla="*/ 19 w 21"/>
                  <a:gd name="T23" fmla="*/ 13 h 21"/>
                  <a:gd name="T24" fmla="*/ 15 w 21"/>
                  <a:gd name="T25" fmla="*/ 12 h 21"/>
                  <a:gd name="T26" fmla="*/ 14 w 21"/>
                  <a:gd name="T27" fmla="*/ 9 h 21"/>
                  <a:gd name="T28" fmla="*/ 13 w 21"/>
                  <a:gd name="T29" fmla="*/ 4 h 21"/>
                  <a:gd name="T30" fmla="*/ 12 w 21"/>
                  <a:gd name="T31" fmla="*/ 1 h 21"/>
                  <a:gd name="T32" fmla="*/ 8 w 21"/>
                  <a:gd name="T33" fmla="*/ 0 h 21"/>
                  <a:gd name="T34" fmla="*/ 8 w 21"/>
                  <a:gd name="T35" fmla="*/ 2 h 21"/>
                  <a:gd name="T36" fmla="*/ 5 w 21"/>
                  <a:gd name="T37" fmla="*/ 0 h 21"/>
                  <a:gd name="T38" fmla="*/ 3 w 21"/>
                  <a:gd name="T39" fmla="*/ 1 h 21"/>
                  <a:gd name="T40" fmla="*/ 3 w 21"/>
                  <a:gd name="T41" fmla="*/ 2 h 21"/>
                  <a:gd name="T42" fmla="*/ 3 w 21"/>
                  <a:gd name="T4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3" y="2"/>
                    </a:moveTo>
                    <a:lnTo>
                      <a:pt x="0" y="5"/>
                    </a:lnTo>
                    <a:lnTo>
                      <a:pt x="2" y="8"/>
                    </a:lnTo>
                    <a:lnTo>
                      <a:pt x="7" y="8"/>
                    </a:lnTo>
                    <a:lnTo>
                      <a:pt x="11" y="13"/>
                    </a:lnTo>
                    <a:lnTo>
                      <a:pt x="11" y="16"/>
                    </a:lnTo>
                    <a:lnTo>
                      <a:pt x="13" y="18"/>
                    </a:lnTo>
                    <a:lnTo>
                      <a:pt x="19" y="20"/>
                    </a:lnTo>
                    <a:lnTo>
                      <a:pt x="21" y="21"/>
                    </a:lnTo>
                    <a:lnTo>
                      <a:pt x="20" y="18"/>
                    </a:lnTo>
                    <a:lnTo>
                      <a:pt x="21" y="16"/>
                    </a:lnTo>
                    <a:lnTo>
                      <a:pt x="19" y="13"/>
                    </a:lnTo>
                    <a:lnTo>
                      <a:pt x="15" y="12"/>
                    </a:lnTo>
                    <a:lnTo>
                      <a:pt x="14" y="9"/>
                    </a:lnTo>
                    <a:lnTo>
                      <a:pt x="13" y="4"/>
                    </a:lnTo>
                    <a:lnTo>
                      <a:pt x="12" y="1"/>
                    </a:lnTo>
                    <a:lnTo>
                      <a:pt x="8" y="0"/>
                    </a:lnTo>
                    <a:lnTo>
                      <a:pt x="8" y="2"/>
                    </a:lnTo>
                    <a:lnTo>
                      <a:pt x="5" y="0"/>
                    </a:lnTo>
                    <a:lnTo>
                      <a:pt x="3" y="1"/>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6" name="Freeform 142">
                <a:extLst>
                  <a:ext uri="{FF2B5EF4-FFF2-40B4-BE49-F238E27FC236}">
                    <a16:creationId xmlns:a16="http://schemas.microsoft.com/office/drawing/2014/main" id="{BB365291-F54E-447B-8C38-2FA1ABAA07D3}"/>
                  </a:ext>
                </a:extLst>
              </p:cNvPr>
              <p:cNvSpPr>
                <a:spLocks/>
              </p:cNvSpPr>
              <p:nvPr/>
            </p:nvSpPr>
            <p:spPr bwMode="auto">
              <a:xfrm>
                <a:off x="5128" y="2887"/>
                <a:ext cx="125" cy="39"/>
              </a:xfrm>
              <a:custGeom>
                <a:avLst/>
                <a:gdLst>
                  <a:gd name="T0" fmla="*/ 47 w 125"/>
                  <a:gd name="T1" fmla="*/ 25 h 39"/>
                  <a:gd name="T2" fmla="*/ 47 w 125"/>
                  <a:gd name="T3" fmla="*/ 25 h 39"/>
                  <a:gd name="T4" fmla="*/ 52 w 125"/>
                  <a:gd name="T5" fmla="*/ 25 h 39"/>
                  <a:gd name="T6" fmla="*/ 69 w 125"/>
                  <a:gd name="T7" fmla="*/ 30 h 39"/>
                  <a:gd name="T8" fmla="*/ 81 w 125"/>
                  <a:gd name="T9" fmla="*/ 33 h 39"/>
                  <a:gd name="T10" fmla="*/ 87 w 125"/>
                  <a:gd name="T11" fmla="*/ 33 h 39"/>
                  <a:gd name="T12" fmla="*/ 100 w 125"/>
                  <a:gd name="T13" fmla="*/ 35 h 39"/>
                  <a:gd name="T14" fmla="*/ 105 w 125"/>
                  <a:gd name="T15" fmla="*/ 33 h 39"/>
                  <a:gd name="T16" fmla="*/ 111 w 125"/>
                  <a:gd name="T17" fmla="*/ 35 h 39"/>
                  <a:gd name="T18" fmla="*/ 119 w 125"/>
                  <a:gd name="T19" fmla="*/ 37 h 39"/>
                  <a:gd name="T20" fmla="*/ 123 w 125"/>
                  <a:gd name="T21" fmla="*/ 39 h 39"/>
                  <a:gd name="T22" fmla="*/ 123 w 125"/>
                  <a:gd name="T23" fmla="*/ 36 h 39"/>
                  <a:gd name="T24" fmla="*/ 124 w 125"/>
                  <a:gd name="T25" fmla="*/ 26 h 39"/>
                  <a:gd name="T26" fmla="*/ 113 w 125"/>
                  <a:gd name="T27" fmla="*/ 25 h 39"/>
                  <a:gd name="T28" fmla="*/ 108 w 125"/>
                  <a:gd name="T29" fmla="*/ 26 h 39"/>
                  <a:gd name="T30" fmla="*/ 102 w 125"/>
                  <a:gd name="T31" fmla="*/ 19 h 39"/>
                  <a:gd name="T32" fmla="*/ 99 w 125"/>
                  <a:gd name="T33" fmla="*/ 16 h 39"/>
                  <a:gd name="T34" fmla="*/ 94 w 125"/>
                  <a:gd name="T35" fmla="*/ 13 h 39"/>
                  <a:gd name="T36" fmla="*/ 84 w 125"/>
                  <a:gd name="T37" fmla="*/ 10 h 39"/>
                  <a:gd name="T38" fmla="*/ 79 w 125"/>
                  <a:gd name="T39" fmla="*/ 10 h 39"/>
                  <a:gd name="T40" fmla="*/ 74 w 125"/>
                  <a:gd name="T41" fmla="*/ 6 h 39"/>
                  <a:gd name="T42" fmla="*/ 71 w 125"/>
                  <a:gd name="T43" fmla="*/ 12 h 39"/>
                  <a:gd name="T44" fmla="*/ 65 w 125"/>
                  <a:gd name="T45" fmla="*/ 13 h 39"/>
                  <a:gd name="T46" fmla="*/ 57 w 125"/>
                  <a:gd name="T47" fmla="*/ 12 h 39"/>
                  <a:gd name="T48" fmla="*/ 50 w 125"/>
                  <a:gd name="T49" fmla="*/ 12 h 39"/>
                  <a:gd name="T50" fmla="*/ 45 w 125"/>
                  <a:gd name="T51" fmla="*/ 12 h 39"/>
                  <a:gd name="T52" fmla="*/ 39 w 125"/>
                  <a:gd name="T53" fmla="*/ 4 h 39"/>
                  <a:gd name="T54" fmla="*/ 34 w 125"/>
                  <a:gd name="T55" fmla="*/ 4 h 39"/>
                  <a:gd name="T56" fmla="*/ 28 w 125"/>
                  <a:gd name="T57" fmla="*/ 3 h 39"/>
                  <a:gd name="T58" fmla="*/ 22 w 125"/>
                  <a:gd name="T59" fmla="*/ 0 h 39"/>
                  <a:gd name="T60" fmla="*/ 19 w 125"/>
                  <a:gd name="T61" fmla="*/ 2 h 39"/>
                  <a:gd name="T62" fmla="*/ 8 w 125"/>
                  <a:gd name="T63" fmla="*/ 1 h 39"/>
                  <a:gd name="T64" fmla="*/ 5 w 125"/>
                  <a:gd name="T65" fmla="*/ 6 h 39"/>
                  <a:gd name="T66" fmla="*/ 2 w 125"/>
                  <a:gd name="T67" fmla="*/ 10 h 39"/>
                  <a:gd name="T68" fmla="*/ 2 w 125"/>
                  <a:gd name="T69" fmla="*/ 13 h 39"/>
                  <a:gd name="T70" fmla="*/ 10 w 125"/>
                  <a:gd name="T71" fmla="*/ 13 h 39"/>
                  <a:gd name="T72" fmla="*/ 16 w 125"/>
                  <a:gd name="T73" fmla="*/ 14 h 39"/>
                  <a:gd name="T74" fmla="*/ 27 w 125"/>
                  <a:gd name="T75" fmla="*/ 21 h 39"/>
                  <a:gd name="T76" fmla="*/ 34 w 125"/>
                  <a:gd name="T77" fmla="*/ 25 h 39"/>
                  <a:gd name="T78" fmla="*/ 43 w 125"/>
                  <a:gd name="T79" fmla="*/ 26 h 39"/>
                  <a:gd name="T80" fmla="*/ 47 w 125"/>
                  <a:gd name="T81"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39">
                    <a:moveTo>
                      <a:pt x="47" y="25"/>
                    </a:moveTo>
                    <a:lnTo>
                      <a:pt x="47" y="25"/>
                    </a:lnTo>
                    <a:lnTo>
                      <a:pt x="50" y="26"/>
                    </a:lnTo>
                    <a:lnTo>
                      <a:pt x="47" y="25"/>
                    </a:lnTo>
                    <a:lnTo>
                      <a:pt x="50" y="25"/>
                    </a:lnTo>
                    <a:lnTo>
                      <a:pt x="52" y="25"/>
                    </a:lnTo>
                    <a:lnTo>
                      <a:pt x="63" y="27"/>
                    </a:lnTo>
                    <a:lnTo>
                      <a:pt x="69" y="30"/>
                    </a:lnTo>
                    <a:lnTo>
                      <a:pt x="74" y="31"/>
                    </a:lnTo>
                    <a:lnTo>
                      <a:pt x="81" y="33"/>
                    </a:lnTo>
                    <a:lnTo>
                      <a:pt x="84" y="33"/>
                    </a:lnTo>
                    <a:lnTo>
                      <a:pt x="87" y="33"/>
                    </a:lnTo>
                    <a:lnTo>
                      <a:pt x="93" y="33"/>
                    </a:lnTo>
                    <a:lnTo>
                      <a:pt x="100" y="35"/>
                    </a:lnTo>
                    <a:lnTo>
                      <a:pt x="103" y="34"/>
                    </a:lnTo>
                    <a:lnTo>
                      <a:pt x="105" y="33"/>
                    </a:lnTo>
                    <a:lnTo>
                      <a:pt x="108" y="33"/>
                    </a:lnTo>
                    <a:lnTo>
                      <a:pt x="111" y="35"/>
                    </a:lnTo>
                    <a:lnTo>
                      <a:pt x="116" y="36"/>
                    </a:lnTo>
                    <a:lnTo>
                      <a:pt x="119" y="37"/>
                    </a:lnTo>
                    <a:lnTo>
                      <a:pt x="122" y="37"/>
                    </a:lnTo>
                    <a:lnTo>
                      <a:pt x="123" y="39"/>
                    </a:lnTo>
                    <a:lnTo>
                      <a:pt x="125" y="39"/>
                    </a:lnTo>
                    <a:lnTo>
                      <a:pt x="123" y="36"/>
                    </a:lnTo>
                    <a:lnTo>
                      <a:pt x="123" y="34"/>
                    </a:lnTo>
                    <a:lnTo>
                      <a:pt x="124" y="26"/>
                    </a:lnTo>
                    <a:lnTo>
                      <a:pt x="119" y="23"/>
                    </a:lnTo>
                    <a:lnTo>
                      <a:pt x="113" y="25"/>
                    </a:lnTo>
                    <a:lnTo>
                      <a:pt x="111" y="25"/>
                    </a:lnTo>
                    <a:lnTo>
                      <a:pt x="108" y="26"/>
                    </a:lnTo>
                    <a:lnTo>
                      <a:pt x="100" y="22"/>
                    </a:lnTo>
                    <a:lnTo>
                      <a:pt x="102" y="19"/>
                    </a:lnTo>
                    <a:lnTo>
                      <a:pt x="99" y="18"/>
                    </a:lnTo>
                    <a:lnTo>
                      <a:pt x="99" y="16"/>
                    </a:lnTo>
                    <a:lnTo>
                      <a:pt x="96" y="13"/>
                    </a:lnTo>
                    <a:lnTo>
                      <a:pt x="94" y="13"/>
                    </a:lnTo>
                    <a:lnTo>
                      <a:pt x="88" y="12"/>
                    </a:lnTo>
                    <a:lnTo>
                      <a:pt x="84" y="10"/>
                    </a:lnTo>
                    <a:lnTo>
                      <a:pt x="80" y="11"/>
                    </a:lnTo>
                    <a:lnTo>
                      <a:pt x="79" y="10"/>
                    </a:lnTo>
                    <a:lnTo>
                      <a:pt x="78" y="8"/>
                    </a:lnTo>
                    <a:lnTo>
                      <a:pt x="74" y="6"/>
                    </a:lnTo>
                    <a:lnTo>
                      <a:pt x="72" y="8"/>
                    </a:lnTo>
                    <a:lnTo>
                      <a:pt x="71" y="12"/>
                    </a:lnTo>
                    <a:lnTo>
                      <a:pt x="69" y="14"/>
                    </a:lnTo>
                    <a:lnTo>
                      <a:pt x="65" y="13"/>
                    </a:lnTo>
                    <a:lnTo>
                      <a:pt x="63" y="13"/>
                    </a:lnTo>
                    <a:lnTo>
                      <a:pt x="57" y="12"/>
                    </a:lnTo>
                    <a:lnTo>
                      <a:pt x="52" y="13"/>
                    </a:lnTo>
                    <a:lnTo>
                      <a:pt x="50" y="12"/>
                    </a:lnTo>
                    <a:lnTo>
                      <a:pt x="48" y="12"/>
                    </a:lnTo>
                    <a:lnTo>
                      <a:pt x="45" y="12"/>
                    </a:lnTo>
                    <a:lnTo>
                      <a:pt x="42" y="6"/>
                    </a:lnTo>
                    <a:lnTo>
                      <a:pt x="39" y="4"/>
                    </a:lnTo>
                    <a:lnTo>
                      <a:pt x="36" y="5"/>
                    </a:lnTo>
                    <a:lnTo>
                      <a:pt x="34" y="4"/>
                    </a:lnTo>
                    <a:lnTo>
                      <a:pt x="31" y="4"/>
                    </a:lnTo>
                    <a:lnTo>
                      <a:pt x="28" y="3"/>
                    </a:lnTo>
                    <a:lnTo>
                      <a:pt x="26" y="0"/>
                    </a:lnTo>
                    <a:lnTo>
                      <a:pt x="22" y="0"/>
                    </a:lnTo>
                    <a:lnTo>
                      <a:pt x="22" y="2"/>
                    </a:lnTo>
                    <a:lnTo>
                      <a:pt x="19" y="2"/>
                    </a:lnTo>
                    <a:lnTo>
                      <a:pt x="13" y="1"/>
                    </a:lnTo>
                    <a:lnTo>
                      <a:pt x="8" y="1"/>
                    </a:lnTo>
                    <a:lnTo>
                      <a:pt x="5" y="4"/>
                    </a:lnTo>
                    <a:lnTo>
                      <a:pt x="5" y="6"/>
                    </a:lnTo>
                    <a:lnTo>
                      <a:pt x="3" y="8"/>
                    </a:lnTo>
                    <a:lnTo>
                      <a:pt x="2" y="10"/>
                    </a:lnTo>
                    <a:lnTo>
                      <a:pt x="0" y="10"/>
                    </a:lnTo>
                    <a:lnTo>
                      <a:pt x="2" y="13"/>
                    </a:lnTo>
                    <a:lnTo>
                      <a:pt x="8" y="12"/>
                    </a:lnTo>
                    <a:lnTo>
                      <a:pt x="10" y="13"/>
                    </a:lnTo>
                    <a:lnTo>
                      <a:pt x="13" y="14"/>
                    </a:lnTo>
                    <a:lnTo>
                      <a:pt x="16" y="14"/>
                    </a:lnTo>
                    <a:lnTo>
                      <a:pt x="14" y="20"/>
                    </a:lnTo>
                    <a:lnTo>
                      <a:pt x="27" y="21"/>
                    </a:lnTo>
                    <a:lnTo>
                      <a:pt x="30" y="22"/>
                    </a:lnTo>
                    <a:lnTo>
                      <a:pt x="34" y="25"/>
                    </a:lnTo>
                    <a:lnTo>
                      <a:pt x="37" y="26"/>
                    </a:lnTo>
                    <a:lnTo>
                      <a:pt x="43" y="26"/>
                    </a:lnTo>
                    <a:lnTo>
                      <a:pt x="45" y="23"/>
                    </a:lnTo>
                    <a:lnTo>
                      <a:pt x="47" y="25"/>
                    </a:lnTo>
                    <a:lnTo>
                      <a:pt x="4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7" name="Freeform 143">
                <a:extLst>
                  <a:ext uri="{FF2B5EF4-FFF2-40B4-BE49-F238E27FC236}">
                    <a16:creationId xmlns:a16="http://schemas.microsoft.com/office/drawing/2014/main" id="{A638923E-6B0A-40C1-9D35-A05BB33EB78C}"/>
                  </a:ext>
                </a:extLst>
              </p:cNvPr>
              <p:cNvSpPr>
                <a:spLocks/>
              </p:cNvSpPr>
              <p:nvPr/>
            </p:nvSpPr>
            <p:spPr bwMode="auto">
              <a:xfrm>
                <a:off x="5158" y="2840"/>
                <a:ext cx="9" cy="10"/>
              </a:xfrm>
              <a:custGeom>
                <a:avLst/>
                <a:gdLst>
                  <a:gd name="T0" fmla="*/ 1 w 9"/>
                  <a:gd name="T1" fmla="*/ 0 h 10"/>
                  <a:gd name="T2" fmla="*/ 0 w 9"/>
                  <a:gd name="T3" fmla="*/ 4 h 10"/>
                  <a:gd name="T4" fmla="*/ 0 w 9"/>
                  <a:gd name="T5" fmla="*/ 8 h 10"/>
                  <a:gd name="T6" fmla="*/ 4 w 9"/>
                  <a:gd name="T7" fmla="*/ 9 h 10"/>
                  <a:gd name="T8" fmla="*/ 6 w 9"/>
                  <a:gd name="T9" fmla="*/ 10 h 10"/>
                  <a:gd name="T10" fmla="*/ 8 w 9"/>
                  <a:gd name="T11" fmla="*/ 7 h 10"/>
                  <a:gd name="T12" fmla="*/ 9 w 9"/>
                  <a:gd name="T13" fmla="*/ 5 h 10"/>
                  <a:gd name="T14" fmla="*/ 7 w 9"/>
                  <a:gd name="T15" fmla="*/ 1 h 10"/>
                  <a:gd name="T16" fmla="*/ 3 w 9"/>
                  <a:gd name="T17" fmla="*/ 0 h 10"/>
                  <a:gd name="T18" fmla="*/ 1 w 9"/>
                  <a:gd name="T19" fmla="*/ 0 h 10"/>
                  <a:gd name="T20" fmla="*/ 1 w 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1" y="0"/>
                    </a:moveTo>
                    <a:lnTo>
                      <a:pt x="0" y="4"/>
                    </a:lnTo>
                    <a:lnTo>
                      <a:pt x="0" y="8"/>
                    </a:lnTo>
                    <a:lnTo>
                      <a:pt x="4" y="9"/>
                    </a:lnTo>
                    <a:lnTo>
                      <a:pt x="6" y="10"/>
                    </a:lnTo>
                    <a:lnTo>
                      <a:pt x="8" y="7"/>
                    </a:lnTo>
                    <a:lnTo>
                      <a:pt x="9" y="5"/>
                    </a:lnTo>
                    <a:lnTo>
                      <a:pt x="7" y="1"/>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8" name="Freeform 144">
                <a:extLst>
                  <a:ext uri="{FF2B5EF4-FFF2-40B4-BE49-F238E27FC236}">
                    <a16:creationId xmlns:a16="http://schemas.microsoft.com/office/drawing/2014/main" id="{090B5FD0-6E8B-4E3F-9C67-334CD9E3FD74}"/>
                  </a:ext>
                </a:extLst>
              </p:cNvPr>
              <p:cNvSpPr>
                <a:spLocks/>
              </p:cNvSpPr>
              <p:nvPr/>
            </p:nvSpPr>
            <p:spPr bwMode="auto">
              <a:xfrm>
                <a:off x="5172" y="2528"/>
                <a:ext cx="33" cy="26"/>
              </a:xfrm>
              <a:custGeom>
                <a:avLst/>
                <a:gdLst>
                  <a:gd name="T0" fmla="*/ 21 w 33"/>
                  <a:gd name="T1" fmla="*/ 0 h 26"/>
                  <a:gd name="T2" fmla="*/ 21 w 33"/>
                  <a:gd name="T3" fmla="*/ 1 h 26"/>
                  <a:gd name="T4" fmla="*/ 19 w 33"/>
                  <a:gd name="T5" fmla="*/ 2 h 26"/>
                  <a:gd name="T6" fmla="*/ 18 w 33"/>
                  <a:gd name="T7" fmla="*/ 1 h 26"/>
                  <a:gd name="T8" fmla="*/ 15 w 33"/>
                  <a:gd name="T9" fmla="*/ 0 h 26"/>
                  <a:gd name="T10" fmla="*/ 12 w 33"/>
                  <a:gd name="T11" fmla="*/ 2 h 26"/>
                  <a:gd name="T12" fmla="*/ 9 w 33"/>
                  <a:gd name="T13" fmla="*/ 2 h 26"/>
                  <a:gd name="T14" fmla="*/ 9 w 33"/>
                  <a:gd name="T15" fmla="*/ 4 h 26"/>
                  <a:gd name="T16" fmla="*/ 6 w 33"/>
                  <a:gd name="T17" fmla="*/ 5 h 26"/>
                  <a:gd name="T18" fmla="*/ 0 w 33"/>
                  <a:gd name="T19" fmla="*/ 11 h 26"/>
                  <a:gd name="T20" fmla="*/ 0 w 33"/>
                  <a:gd name="T21" fmla="*/ 16 h 26"/>
                  <a:gd name="T22" fmla="*/ 1 w 33"/>
                  <a:gd name="T23" fmla="*/ 19 h 26"/>
                  <a:gd name="T24" fmla="*/ 1 w 33"/>
                  <a:gd name="T25" fmla="*/ 21 h 26"/>
                  <a:gd name="T26" fmla="*/ 2 w 33"/>
                  <a:gd name="T27" fmla="*/ 21 h 26"/>
                  <a:gd name="T28" fmla="*/ 6 w 33"/>
                  <a:gd name="T29" fmla="*/ 23 h 26"/>
                  <a:gd name="T30" fmla="*/ 7 w 33"/>
                  <a:gd name="T31" fmla="*/ 23 h 26"/>
                  <a:gd name="T32" fmla="*/ 12 w 33"/>
                  <a:gd name="T33" fmla="*/ 25 h 26"/>
                  <a:gd name="T34" fmla="*/ 12 w 33"/>
                  <a:gd name="T35" fmla="*/ 26 h 26"/>
                  <a:gd name="T36" fmla="*/ 15 w 33"/>
                  <a:gd name="T37" fmla="*/ 26 h 26"/>
                  <a:gd name="T38" fmla="*/ 16 w 33"/>
                  <a:gd name="T39" fmla="*/ 23 h 26"/>
                  <a:gd name="T40" fmla="*/ 19 w 33"/>
                  <a:gd name="T41" fmla="*/ 22 h 26"/>
                  <a:gd name="T42" fmla="*/ 19 w 33"/>
                  <a:gd name="T43" fmla="*/ 23 h 26"/>
                  <a:gd name="T44" fmla="*/ 21 w 33"/>
                  <a:gd name="T45" fmla="*/ 20 h 26"/>
                  <a:gd name="T46" fmla="*/ 26 w 33"/>
                  <a:gd name="T47" fmla="*/ 18 h 26"/>
                  <a:gd name="T48" fmla="*/ 26 w 33"/>
                  <a:gd name="T49" fmla="*/ 12 h 26"/>
                  <a:gd name="T50" fmla="*/ 27 w 33"/>
                  <a:gd name="T51" fmla="*/ 12 h 26"/>
                  <a:gd name="T52" fmla="*/ 28 w 33"/>
                  <a:gd name="T53" fmla="*/ 9 h 26"/>
                  <a:gd name="T54" fmla="*/ 30 w 33"/>
                  <a:gd name="T55" fmla="*/ 6 h 26"/>
                  <a:gd name="T56" fmla="*/ 33 w 33"/>
                  <a:gd name="T57" fmla="*/ 5 h 26"/>
                  <a:gd name="T58" fmla="*/ 33 w 33"/>
                  <a:gd name="T59" fmla="*/ 3 h 26"/>
                  <a:gd name="T60" fmla="*/ 32 w 33"/>
                  <a:gd name="T61" fmla="*/ 0 h 26"/>
                  <a:gd name="T62" fmla="*/ 25 w 33"/>
                  <a:gd name="T63" fmla="*/ 0 h 26"/>
                  <a:gd name="T64" fmla="*/ 25 w 33"/>
                  <a:gd name="T65" fmla="*/ 2 h 26"/>
                  <a:gd name="T66" fmla="*/ 24 w 33"/>
                  <a:gd name="T67" fmla="*/ 0 h 26"/>
                  <a:gd name="T68" fmla="*/ 23 w 33"/>
                  <a:gd name="T69" fmla="*/ 0 h 26"/>
                  <a:gd name="T70" fmla="*/ 21 w 33"/>
                  <a:gd name="T71" fmla="*/ 0 h 26"/>
                  <a:gd name="T72" fmla="*/ 21 w 33"/>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26">
                    <a:moveTo>
                      <a:pt x="21" y="0"/>
                    </a:moveTo>
                    <a:lnTo>
                      <a:pt x="21" y="1"/>
                    </a:lnTo>
                    <a:lnTo>
                      <a:pt x="19" y="2"/>
                    </a:lnTo>
                    <a:lnTo>
                      <a:pt x="18" y="1"/>
                    </a:lnTo>
                    <a:lnTo>
                      <a:pt x="15" y="0"/>
                    </a:lnTo>
                    <a:lnTo>
                      <a:pt x="12" y="2"/>
                    </a:lnTo>
                    <a:lnTo>
                      <a:pt x="9" y="2"/>
                    </a:lnTo>
                    <a:lnTo>
                      <a:pt x="9" y="4"/>
                    </a:lnTo>
                    <a:lnTo>
                      <a:pt x="6" y="5"/>
                    </a:lnTo>
                    <a:lnTo>
                      <a:pt x="0" y="11"/>
                    </a:lnTo>
                    <a:lnTo>
                      <a:pt x="0" y="16"/>
                    </a:lnTo>
                    <a:lnTo>
                      <a:pt x="1" y="19"/>
                    </a:lnTo>
                    <a:lnTo>
                      <a:pt x="1" y="21"/>
                    </a:lnTo>
                    <a:lnTo>
                      <a:pt x="2" y="21"/>
                    </a:lnTo>
                    <a:lnTo>
                      <a:pt x="6" y="23"/>
                    </a:lnTo>
                    <a:lnTo>
                      <a:pt x="7" y="23"/>
                    </a:lnTo>
                    <a:lnTo>
                      <a:pt x="12" y="25"/>
                    </a:lnTo>
                    <a:lnTo>
                      <a:pt x="12" y="26"/>
                    </a:lnTo>
                    <a:lnTo>
                      <a:pt x="15" y="26"/>
                    </a:lnTo>
                    <a:lnTo>
                      <a:pt x="16" y="23"/>
                    </a:lnTo>
                    <a:lnTo>
                      <a:pt x="19" y="22"/>
                    </a:lnTo>
                    <a:lnTo>
                      <a:pt x="19" y="23"/>
                    </a:lnTo>
                    <a:lnTo>
                      <a:pt x="21" y="20"/>
                    </a:lnTo>
                    <a:lnTo>
                      <a:pt x="26" y="18"/>
                    </a:lnTo>
                    <a:lnTo>
                      <a:pt x="26" y="12"/>
                    </a:lnTo>
                    <a:lnTo>
                      <a:pt x="27" y="12"/>
                    </a:lnTo>
                    <a:lnTo>
                      <a:pt x="28" y="9"/>
                    </a:lnTo>
                    <a:lnTo>
                      <a:pt x="30" y="6"/>
                    </a:lnTo>
                    <a:lnTo>
                      <a:pt x="33" y="5"/>
                    </a:lnTo>
                    <a:lnTo>
                      <a:pt x="33" y="3"/>
                    </a:lnTo>
                    <a:lnTo>
                      <a:pt x="32" y="0"/>
                    </a:lnTo>
                    <a:lnTo>
                      <a:pt x="25" y="0"/>
                    </a:lnTo>
                    <a:lnTo>
                      <a:pt x="25" y="2"/>
                    </a:lnTo>
                    <a:lnTo>
                      <a:pt x="24" y="0"/>
                    </a:lnTo>
                    <a:lnTo>
                      <a:pt x="23" y="0"/>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9" name="Freeform 145">
                <a:extLst>
                  <a:ext uri="{FF2B5EF4-FFF2-40B4-BE49-F238E27FC236}">
                    <a16:creationId xmlns:a16="http://schemas.microsoft.com/office/drawing/2014/main" id="{DD8B2CA6-5104-430C-AB4C-BF5D80B81E3E}"/>
                  </a:ext>
                </a:extLst>
              </p:cNvPr>
              <p:cNvSpPr>
                <a:spLocks/>
              </p:cNvSpPr>
              <p:nvPr/>
            </p:nvSpPr>
            <p:spPr bwMode="auto">
              <a:xfrm>
                <a:off x="5231" y="3164"/>
                <a:ext cx="4" cy="8"/>
              </a:xfrm>
              <a:custGeom>
                <a:avLst/>
                <a:gdLst>
                  <a:gd name="T0" fmla="*/ 4 w 4"/>
                  <a:gd name="T1" fmla="*/ 8 h 8"/>
                  <a:gd name="T2" fmla="*/ 2 w 4"/>
                  <a:gd name="T3" fmla="*/ 2 h 8"/>
                  <a:gd name="T4" fmla="*/ 0 w 4"/>
                  <a:gd name="T5" fmla="*/ 0 h 8"/>
                  <a:gd name="T6" fmla="*/ 1 w 4"/>
                  <a:gd name="T7" fmla="*/ 2 h 8"/>
                  <a:gd name="T8" fmla="*/ 4 w 4"/>
                  <a:gd name="T9" fmla="*/ 8 h 8"/>
                  <a:gd name="T10" fmla="*/ 4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4" y="8"/>
                    </a:moveTo>
                    <a:lnTo>
                      <a:pt x="2" y="2"/>
                    </a:lnTo>
                    <a:lnTo>
                      <a:pt x="0" y="0"/>
                    </a:lnTo>
                    <a:lnTo>
                      <a:pt x="1" y="2"/>
                    </a:lnTo>
                    <a:lnTo>
                      <a:pt x="4" y="8"/>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0" name="Freeform 146">
                <a:extLst>
                  <a:ext uri="{FF2B5EF4-FFF2-40B4-BE49-F238E27FC236}">
                    <a16:creationId xmlns:a16="http://schemas.microsoft.com/office/drawing/2014/main" id="{AF530607-F41F-43FE-AA33-0D68E0815B98}"/>
                  </a:ext>
                </a:extLst>
              </p:cNvPr>
              <p:cNvSpPr>
                <a:spLocks/>
              </p:cNvSpPr>
              <p:nvPr/>
            </p:nvSpPr>
            <p:spPr bwMode="auto">
              <a:xfrm>
                <a:off x="5252" y="2916"/>
                <a:ext cx="17" cy="11"/>
              </a:xfrm>
              <a:custGeom>
                <a:avLst/>
                <a:gdLst>
                  <a:gd name="T0" fmla="*/ 0 w 17"/>
                  <a:gd name="T1" fmla="*/ 1 h 11"/>
                  <a:gd name="T2" fmla="*/ 0 w 17"/>
                  <a:gd name="T3" fmla="*/ 4 h 11"/>
                  <a:gd name="T4" fmla="*/ 6 w 17"/>
                  <a:gd name="T5" fmla="*/ 6 h 11"/>
                  <a:gd name="T6" fmla="*/ 8 w 17"/>
                  <a:gd name="T7" fmla="*/ 8 h 11"/>
                  <a:gd name="T8" fmla="*/ 9 w 17"/>
                  <a:gd name="T9" fmla="*/ 11 h 11"/>
                  <a:gd name="T10" fmla="*/ 10 w 17"/>
                  <a:gd name="T11" fmla="*/ 11 h 11"/>
                  <a:gd name="T12" fmla="*/ 12 w 17"/>
                  <a:gd name="T13" fmla="*/ 8 h 11"/>
                  <a:gd name="T14" fmla="*/ 17 w 17"/>
                  <a:gd name="T15" fmla="*/ 6 h 11"/>
                  <a:gd name="T16" fmla="*/ 15 w 17"/>
                  <a:gd name="T17" fmla="*/ 2 h 11"/>
                  <a:gd name="T18" fmla="*/ 13 w 17"/>
                  <a:gd name="T19" fmla="*/ 1 h 11"/>
                  <a:gd name="T20" fmla="*/ 10 w 17"/>
                  <a:gd name="T21" fmla="*/ 0 h 11"/>
                  <a:gd name="T22" fmla="*/ 7 w 17"/>
                  <a:gd name="T23" fmla="*/ 2 h 11"/>
                  <a:gd name="T24" fmla="*/ 0 w 17"/>
                  <a:gd name="T25" fmla="*/ 1 h 11"/>
                  <a:gd name="T26" fmla="*/ 0 w 17"/>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1">
                    <a:moveTo>
                      <a:pt x="0" y="1"/>
                    </a:moveTo>
                    <a:lnTo>
                      <a:pt x="0" y="4"/>
                    </a:lnTo>
                    <a:lnTo>
                      <a:pt x="6" y="6"/>
                    </a:lnTo>
                    <a:lnTo>
                      <a:pt x="8" y="8"/>
                    </a:lnTo>
                    <a:lnTo>
                      <a:pt x="9" y="11"/>
                    </a:lnTo>
                    <a:lnTo>
                      <a:pt x="10" y="11"/>
                    </a:lnTo>
                    <a:lnTo>
                      <a:pt x="12" y="8"/>
                    </a:lnTo>
                    <a:lnTo>
                      <a:pt x="17" y="6"/>
                    </a:lnTo>
                    <a:lnTo>
                      <a:pt x="15" y="2"/>
                    </a:lnTo>
                    <a:lnTo>
                      <a:pt x="13" y="1"/>
                    </a:lnTo>
                    <a:lnTo>
                      <a:pt x="10" y="0"/>
                    </a:lnTo>
                    <a:lnTo>
                      <a:pt x="7" y="2"/>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1" name="Freeform 147">
                <a:extLst>
                  <a:ext uri="{FF2B5EF4-FFF2-40B4-BE49-F238E27FC236}">
                    <a16:creationId xmlns:a16="http://schemas.microsoft.com/office/drawing/2014/main" id="{568E6465-FE16-457D-A86A-2CC5FE74F6F2}"/>
                  </a:ext>
                </a:extLst>
              </p:cNvPr>
              <p:cNvSpPr>
                <a:spLocks/>
              </p:cNvSpPr>
              <p:nvPr/>
            </p:nvSpPr>
            <p:spPr bwMode="auto">
              <a:xfrm>
                <a:off x="5272" y="2918"/>
                <a:ext cx="11" cy="9"/>
              </a:xfrm>
              <a:custGeom>
                <a:avLst/>
                <a:gdLst>
                  <a:gd name="T0" fmla="*/ 5 w 11"/>
                  <a:gd name="T1" fmla="*/ 0 h 9"/>
                  <a:gd name="T2" fmla="*/ 3 w 11"/>
                  <a:gd name="T3" fmla="*/ 3 h 9"/>
                  <a:gd name="T4" fmla="*/ 2 w 11"/>
                  <a:gd name="T5" fmla="*/ 5 h 9"/>
                  <a:gd name="T6" fmla="*/ 2 w 11"/>
                  <a:gd name="T7" fmla="*/ 8 h 9"/>
                  <a:gd name="T8" fmla="*/ 0 w 11"/>
                  <a:gd name="T9" fmla="*/ 7 h 9"/>
                  <a:gd name="T10" fmla="*/ 2 w 11"/>
                  <a:gd name="T11" fmla="*/ 9 h 9"/>
                  <a:gd name="T12" fmla="*/ 5 w 11"/>
                  <a:gd name="T13" fmla="*/ 9 h 9"/>
                  <a:gd name="T14" fmla="*/ 7 w 11"/>
                  <a:gd name="T15" fmla="*/ 8 h 9"/>
                  <a:gd name="T16" fmla="*/ 10 w 11"/>
                  <a:gd name="T17" fmla="*/ 6 h 9"/>
                  <a:gd name="T18" fmla="*/ 11 w 11"/>
                  <a:gd name="T19" fmla="*/ 4 h 9"/>
                  <a:gd name="T20" fmla="*/ 9 w 11"/>
                  <a:gd name="T21" fmla="*/ 0 h 9"/>
                  <a:gd name="T22" fmla="*/ 5 w 11"/>
                  <a:gd name="T23" fmla="*/ 0 h 9"/>
                  <a:gd name="T24" fmla="*/ 5 w 11"/>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5" y="0"/>
                    </a:moveTo>
                    <a:lnTo>
                      <a:pt x="3" y="3"/>
                    </a:lnTo>
                    <a:lnTo>
                      <a:pt x="2" y="5"/>
                    </a:lnTo>
                    <a:lnTo>
                      <a:pt x="2" y="8"/>
                    </a:lnTo>
                    <a:lnTo>
                      <a:pt x="0" y="7"/>
                    </a:lnTo>
                    <a:lnTo>
                      <a:pt x="2" y="9"/>
                    </a:lnTo>
                    <a:lnTo>
                      <a:pt x="5" y="9"/>
                    </a:lnTo>
                    <a:lnTo>
                      <a:pt x="7" y="8"/>
                    </a:lnTo>
                    <a:lnTo>
                      <a:pt x="10" y="6"/>
                    </a:lnTo>
                    <a:lnTo>
                      <a:pt x="11" y="4"/>
                    </a:lnTo>
                    <a:lnTo>
                      <a:pt x="9"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2" name="Freeform 148">
                <a:extLst>
                  <a:ext uri="{FF2B5EF4-FFF2-40B4-BE49-F238E27FC236}">
                    <a16:creationId xmlns:a16="http://schemas.microsoft.com/office/drawing/2014/main" id="{6E6DC5FE-FE8E-42AF-A128-4E436798DC7A}"/>
                  </a:ext>
                </a:extLst>
              </p:cNvPr>
              <p:cNvSpPr>
                <a:spLocks/>
              </p:cNvSpPr>
              <p:nvPr/>
            </p:nvSpPr>
            <p:spPr bwMode="auto">
              <a:xfrm>
                <a:off x="5284" y="2917"/>
                <a:ext cx="32" cy="14"/>
              </a:xfrm>
              <a:custGeom>
                <a:avLst/>
                <a:gdLst>
                  <a:gd name="T0" fmla="*/ 15 w 32"/>
                  <a:gd name="T1" fmla="*/ 12 h 14"/>
                  <a:gd name="T2" fmla="*/ 20 w 32"/>
                  <a:gd name="T3" fmla="*/ 8 h 14"/>
                  <a:gd name="T4" fmla="*/ 24 w 32"/>
                  <a:gd name="T5" fmla="*/ 10 h 14"/>
                  <a:gd name="T6" fmla="*/ 26 w 32"/>
                  <a:gd name="T7" fmla="*/ 9 h 14"/>
                  <a:gd name="T8" fmla="*/ 28 w 32"/>
                  <a:gd name="T9" fmla="*/ 10 h 14"/>
                  <a:gd name="T10" fmla="*/ 32 w 32"/>
                  <a:gd name="T11" fmla="*/ 9 h 14"/>
                  <a:gd name="T12" fmla="*/ 31 w 32"/>
                  <a:gd name="T13" fmla="*/ 4 h 14"/>
                  <a:gd name="T14" fmla="*/ 27 w 32"/>
                  <a:gd name="T15" fmla="*/ 3 h 14"/>
                  <a:gd name="T16" fmla="*/ 26 w 32"/>
                  <a:gd name="T17" fmla="*/ 5 h 14"/>
                  <a:gd name="T18" fmla="*/ 26 w 32"/>
                  <a:gd name="T19" fmla="*/ 3 h 14"/>
                  <a:gd name="T20" fmla="*/ 23 w 32"/>
                  <a:gd name="T21" fmla="*/ 1 h 14"/>
                  <a:gd name="T22" fmla="*/ 20 w 32"/>
                  <a:gd name="T23" fmla="*/ 4 h 14"/>
                  <a:gd name="T24" fmla="*/ 19 w 32"/>
                  <a:gd name="T25" fmla="*/ 0 h 14"/>
                  <a:gd name="T26" fmla="*/ 16 w 32"/>
                  <a:gd name="T27" fmla="*/ 0 h 14"/>
                  <a:gd name="T28" fmla="*/ 14 w 32"/>
                  <a:gd name="T29" fmla="*/ 0 h 14"/>
                  <a:gd name="T30" fmla="*/ 14 w 32"/>
                  <a:gd name="T31" fmla="*/ 4 h 14"/>
                  <a:gd name="T32" fmla="*/ 19 w 32"/>
                  <a:gd name="T33" fmla="*/ 6 h 14"/>
                  <a:gd name="T34" fmla="*/ 17 w 32"/>
                  <a:gd name="T35" fmla="*/ 8 h 14"/>
                  <a:gd name="T36" fmla="*/ 14 w 32"/>
                  <a:gd name="T37" fmla="*/ 8 h 14"/>
                  <a:gd name="T38" fmla="*/ 11 w 32"/>
                  <a:gd name="T39" fmla="*/ 6 h 14"/>
                  <a:gd name="T40" fmla="*/ 6 w 32"/>
                  <a:gd name="T41" fmla="*/ 4 h 14"/>
                  <a:gd name="T42" fmla="*/ 1 w 32"/>
                  <a:gd name="T43" fmla="*/ 6 h 14"/>
                  <a:gd name="T44" fmla="*/ 0 w 32"/>
                  <a:gd name="T45" fmla="*/ 10 h 14"/>
                  <a:gd name="T46" fmla="*/ 2 w 32"/>
                  <a:gd name="T47" fmla="*/ 13 h 14"/>
                  <a:gd name="T48" fmla="*/ 5 w 32"/>
                  <a:gd name="T49" fmla="*/ 14 h 14"/>
                  <a:gd name="T50" fmla="*/ 10 w 32"/>
                  <a:gd name="T51" fmla="*/ 13 h 14"/>
                  <a:gd name="T52" fmla="*/ 12 w 32"/>
                  <a:gd name="T53" fmla="*/ 12 h 14"/>
                  <a:gd name="T54" fmla="*/ 15 w 32"/>
                  <a:gd name="T55" fmla="*/ 12 h 14"/>
                  <a:gd name="T56" fmla="*/ 15 w 32"/>
                  <a:gd name="T5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14">
                    <a:moveTo>
                      <a:pt x="15" y="12"/>
                    </a:moveTo>
                    <a:lnTo>
                      <a:pt x="20" y="8"/>
                    </a:lnTo>
                    <a:lnTo>
                      <a:pt x="24" y="10"/>
                    </a:lnTo>
                    <a:lnTo>
                      <a:pt x="26" y="9"/>
                    </a:lnTo>
                    <a:lnTo>
                      <a:pt x="28" y="10"/>
                    </a:lnTo>
                    <a:lnTo>
                      <a:pt x="32" y="9"/>
                    </a:lnTo>
                    <a:lnTo>
                      <a:pt x="31" y="4"/>
                    </a:lnTo>
                    <a:lnTo>
                      <a:pt x="27" y="3"/>
                    </a:lnTo>
                    <a:lnTo>
                      <a:pt x="26" y="5"/>
                    </a:lnTo>
                    <a:lnTo>
                      <a:pt x="26" y="3"/>
                    </a:lnTo>
                    <a:lnTo>
                      <a:pt x="23" y="1"/>
                    </a:lnTo>
                    <a:lnTo>
                      <a:pt x="20" y="4"/>
                    </a:lnTo>
                    <a:lnTo>
                      <a:pt x="19" y="0"/>
                    </a:lnTo>
                    <a:lnTo>
                      <a:pt x="16" y="0"/>
                    </a:lnTo>
                    <a:lnTo>
                      <a:pt x="14" y="0"/>
                    </a:lnTo>
                    <a:lnTo>
                      <a:pt x="14" y="4"/>
                    </a:lnTo>
                    <a:lnTo>
                      <a:pt x="19" y="6"/>
                    </a:lnTo>
                    <a:lnTo>
                      <a:pt x="17" y="8"/>
                    </a:lnTo>
                    <a:lnTo>
                      <a:pt x="14" y="8"/>
                    </a:lnTo>
                    <a:lnTo>
                      <a:pt x="11" y="6"/>
                    </a:lnTo>
                    <a:lnTo>
                      <a:pt x="6" y="4"/>
                    </a:lnTo>
                    <a:lnTo>
                      <a:pt x="1" y="6"/>
                    </a:lnTo>
                    <a:lnTo>
                      <a:pt x="0" y="10"/>
                    </a:lnTo>
                    <a:lnTo>
                      <a:pt x="2" y="13"/>
                    </a:lnTo>
                    <a:lnTo>
                      <a:pt x="5" y="14"/>
                    </a:lnTo>
                    <a:lnTo>
                      <a:pt x="10" y="13"/>
                    </a:lnTo>
                    <a:lnTo>
                      <a:pt x="12" y="12"/>
                    </a:lnTo>
                    <a:lnTo>
                      <a:pt x="15" y="12"/>
                    </a:ln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3" name="Freeform 149">
                <a:extLst>
                  <a:ext uri="{FF2B5EF4-FFF2-40B4-BE49-F238E27FC236}">
                    <a16:creationId xmlns:a16="http://schemas.microsoft.com/office/drawing/2014/main" id="{93FE7876-F7CB-42E4-AF9E-224107ED4C1C}"/>
                  </a:ext>
                </a:extLst>
              </p:cNvPr>
              <p:cNvSpPr>
                <a:spLocks/>
              </p:cNvSpPr>
              <p:nvPr/>
            </p:nvSpPr>
            <p:spPr bwMode="auto">
              <a:xfrm>
                <a:off x="5290" y="2650"/>
                <a:ext cx="34" cy="41"/>
              </a:xfrm>
              <a:custGeom>
                <a:avLst/>
                <a:gdLst>
                  <a:gd name="T0" fmla="*/ 21 w 34"/>
                  <a:gd name="T1" fmla="*/ 23 h 41"/>
                  <a:gd name="T2" fmla="*/ 21 w 34"/>
                  <a:gd name="T3" fmla="*/ 19 h 41"/>
                  <a:gd name="T4" fmla="*/ 22 w 34"/>
                  <a:gd name="T5" fmla="*/ 18 h 41"/>
                  <a:gd name="T6" fmla="*/ 26 w 34"/>
                  <a:gd name="T7" fmla="*/ 18 h 41"/>
                  <a:gd name="T8" fmla="*/ 28 w 34"/>
                  <a:gd name="T9" fmla="*/ 15 h 41"/>
                  <a:gd name="T10" fmla="*/ 30 w 34"/>
                  <a:gd name="T11" fmla="*/ 14 h 41"/>
                  <a:gd name="T12" fmla="*/ 31 w 34"/>
                  <a:gd name="T13" fmla="*/ 14 h 41"/>
                  <a:gd name="T14" fmla="*/ 34 w 34"/>
                  <a:gd name="T15" fmla="*/ 10 h 41"/>
                  <a:gd name="T16" fmla="*/ 31 w 34"/>
                  <a:gd name="T17" fmla="*/ 6 h 41"/>
                  <a:gd name="T18" fmla="*/ 31 w 34"/>
                  <a:gd name="T19" fmla="*/ 0 h 41"/>
                  <a:gd name="T20" fmla="*/ 29 w 34"/>
                  <a:gd name="T21" fmla="*/ 6 h 41"/>
                  <a:gd name="T22" fmla="*/ 30 w 34"/>
                  <a:gd name="T23" fmla="*/ 8 h 41"/>
                  <a:gd name="T24" fmla="*/ 28 w 34"/>
                  <a:gd name="T25" fmla="*/ 6 h 41"/>
                  <a:gd name="T26" fmla="*/ 29 w 34"/>
                  <a:gd name="T27" fmla="*/ 8 h 41"/>
                  <a:gd name="T28" fmla="*/ 28 w 34"/>
                  <a:gd name="T29" fmla="*/ 10 h 41"/>
                  <a:gd name="T30" fmla="*/ 26 w 34"/>
                  <a:gd name="T31" fmla="*/ 11 h 41"/>
                  <a:gd name="T32" fmla="*/ 23 w 34"/>
                  <a:gd name="T33" fmla="*/ 15 h 41"/>
                  <a:gd name="T34" fmla="*/ 21 w 34"/>
                  <a:gd name="T35" fmla="*/ 16 h 41"/>
                  <a:gd name="T36" fmla="*/ 19 w 34"/>
                  <a:gd name="T37" fmla="*/ 18 h 41"/>
                  <a:gd name="T38" fmla="*/ 18 w 34"/>
                  <a:gd name="T39" fmla="*/ 20 h 41"/>
                  <a:gd name="T40" fmla="*/ 16 w 34"/>
                  <a:gd name="T41" fmla="*/ 23 h 41"/>
                  <a:gd name="T42" fmla="*/ 11 w 34"/>
                  <a:gd name="T43" fmla="*/ 28 h 41"/>
                  <a:gd name="T44" fmla="*/ 9 w 34"/>
                  <a:gd name="T45" fmla="*/ 29 h 41"/>
                  <a:gd name="T46" fmla="*/ 5 w 34"/>
                  <a:gd name="T47" fmla="*/ 31 h 41"/>
                  <a:gd name="T48" fmla="*/ 1 w 34"/>
                  <a:gd name="T49" fmla="*/ 37 h 41"/>
                  <a:gd name="T50" fmla="*/ 0 w 34"/>
                  <a:gd name="T51" fmla="*/ 41 h 41"/>
                  <a:gd name="T52" fmla="*/ 2 w 34"/>
                  <a:gd name="T53" fmla="*/ 40 h 41"/>
                  <a:gd name="T54" fmla="*/ 5 w 34"/>
                  <a:gd name="T55" fmla="*/ 36 h 41"/>
                  <a:gd name="T56" fmla="*/ 8 w 34"/>
                  <a:gd name="T57" fmla="*/ 36 h 41"/>
                  <a:gd name="T58" fmla="*/ 10 w 34"/>
                  <a:gd name="T59" fmla="*/ 34 h 41"/>
                  <a:gd name="T60" fmla="*/ 12 w 34"/>
                  <a:gd name="T61" fmla="*/ 32 h 41"/>
                  <a:gd name="T62" fmla="*/ 18 w 34"/>
                  <a:gd name="T63" fmla="*/ 28 h 41"/>
                  <a:gd name="T64" fmla="*/ 21 w 34"/>
                  <a:gd name="T65" fmla="*/ 23 h 41"/>
                  <a:gd name="T66" fmla="*/ 21 w 34"/>
                  <a:gd name="T67"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1">
                    <a:moveTo>
                      <a:pt x="21" y="23"/>
                    </a:moveTo>
                    <a:lnTo>
                      <a:pt x="21" y="19"/>
                    </a:lnTo>
                    <a:lnTo>
                      <a:pt x="22" y="18"/>
                    </a:lnTo>
                    <a:lnTo>
                      <a:pt x="26" y="18"/>
                    </a:lnTo>
                    <a:lnTo>
                      <a:pt x="28" y="15"/>
                    </a:lnTo>
                    <a:lnTo>
                      <a:pt x="30" y="14"/>
                    </a:lnTo>
                    <a:lnTo>
                      <a:pt x="31" y="14"/>
                    </a:lnTo>
                    <a:lnTo>
                      <a:pt x="34" y="10"/>
                    </a:lnTo>
                    <a:lnTo>
                      <a:pt x="31" y="6"/>
                    </a:lnTo>
                    <a:lnTo>
                      <a:pt x="31" y="0"/>
                    </a:lnTo>
                    <a:lnTo>
                      <a:pt x="29" y="6"/>
                    </a:lnTo>
                    <a:lnTo>
                      <a:pt x="30" y="8"/>
                    </a:lnTo>
                    <a:lnTo>
                      <a:pt x="28" y="6"/>
                    </a:lnTo>
                    <a:lnTo>
                      <a:pt x="29" y="8"/>
                    </a:lnTo>
                    <a:lnTo>
                      <a:pt x="28" y="10"/>
                    </a:lnTo>
                    <a:lnTo>
                      <a:pt x="26" y="11"/>
                    </a:lnTo>
                    <a:lnTo>
                      <a:pt x="23" y="15"/>
                    </a:lnTo>
                    <a:lnTo>
                      <a:pt x="21" y="16"/>
                    </a:lnTo>
                    <a:lnTo>
                      <a:pt x="19" y="18"/>
                    </a:lnTo>
                    <a:lnTo>
                      <a:pt x="18" y="20"/>
                    </a:lnTo>
                    <a:lnTo>
                      <a:pt x="16" y="23"/>
                    </a:lnTo>
                    <a:lnTo>
                      <a:pt x="11" y="28"/>
                    </a:lnTo>
                    <a:lnTo>
                      <a:pt x="9" y="29"/>
                    </a:lnTo>
                    <a:lnTo>
                      <a:pt x="5" y="31"/>
                    </a:lnTo>
                    <a:lnTo>
                      <a:pt x="1" y="37"/>
                    </a:lnTo>
                    <a:lnTo>
                      <a:pt x="0" y="41"/>
                    </a:lnTo>
                    <a:lnTo>
                      <a:pt x="2" y="40"/>
                    </a:lnTo>
                    <a:lnTo>
                      <a:pt x="5" y="36"/>
                    </a:lnTo>
                    <a:lnTo>
                      <a:pt x="8" y="36"/>
                    </a:lnTo>
                    <a:lnTo>
                      <a:pt x="10" y="34"/>
                    </a:lnTo>
                    <a:lnTo>
                      <a:pt x="12" y="32"/>
                    </a:lnTo>
                    <a:lnTo>
                      <a:pt x="18" y="28"/>
                    </a:lnTo>
                    <a:lnTo>
                      <a:pt x="21" y="23"/>
                    </a:lnTo>
                    <a:lnTo>
                      <a:pt x="2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4" name="Freeform 150">
                <a:extLst>
                  <a:ext uri="{FF2B5EF4-FFF2-40B4-BE49-F238E27FC236}">
                    <a16:creationId xmlns:a16="http://schemas.microsoft.com/office/drawing/2014/main" id="{10950628-92F2-4600-A116-47C575274654}"/>
                  </a:ext>
                </a:extLst>
              </p:cNvPr>
              <p:cNvSpPr>
                <a:spLocks/>
              </p:cNvSpPr>
              <p:nvPr/>
            </p:nvSpPr>
            <p:spPr bwMode="auto">
              <a:xfrm>
                <a:off x="5293" y="2917"/>
                <a:ext cx="3" cy="4"/>
              </a:xfrm>
              <a:custGeom>
                <a:avLst/>
                <a:gdLst>
                  <a:gd name="T0" fmla="*/ 1 w 3"/>
                  <a:gd name="T1" fmla="*/ 4 h 4"/>
                  <a:gd name="T2" fmla="*/ 3 w 3"/>
                  <a:gd name="T3" fmla="*/ 0 h 4"/>
                  <a:gd name="T4" fmla="*/ 0 w 3"/>
                  <a:gd name="T5" fmla="*/ 1 h 4"/>
                  <a:gd name="T6" fmla="*/ 1 w 3"/>
                  <a:gd name="T7" fmla="*/ 4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lnTo>
                      <a:pt x="3"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5" name="Freeform 151">
                <a:extLst>
                  <a:ext uri="{FF2B5EF4-FFF2-40B4-BE49-F238E27FC236}">
                    <a16:creationId xmlns:a16="http://schemas.microsoft.com/office/drawing/2014/main" id="{04127390-DD53-4660-A02A-077FF384557A}"/>
                  </a:ext>
                </a:extLst>
              </p:cNvPr>
              <p:cNvSpPr>
                <a:spLocks/>
              </p:cNvSpPr>
              <p:nvPr/>
            </p:nvSpPr>
            <p:spPr bwMode="auto">
              <a:xfrm>
                <a:off x="5311" y="2782"/>
                <a:ext cx="89" cy="101"/>
              </a:xfrm>
              <a:custGeom>
                <a:avLst/>
                <a:gdLst>
                  <a:gd name="T0" fmla="*/ 29 w 89"/>
                  <a:gd name="T1" fmla="*/ 61 h 101"/>
                  <a:gd name="T2" fmla="*/ 31 w 89"/>
                  <a:gd name="T3" fmla="*/ 68 h 101"/>
                  <a:gd name="T4" fmla="*/ 36 w 89"/>
                  <a:gd name="T5" fmla="*/ 79 h 101"/>
                  <a:gd name="T6" fmla="*/ 38 w 89"/>
                  <a:gd name="T7" fmla="*/ 87 h 101"/>
                  <a:gd name="T8" fmla="*/ 44 w 89"/>
                  <a:gd name="T9" fmla="*/ 88 h 101"/>
                  <a:gd name="T10" fmla="*/ 55 w 89"/>
                  <a:gd name="T11" fmla="*/ 84 h 101"/>
                  <a:gd name="T12" fmla="*/ 56 w 89"/>
                  <a:gd name="T13" fmla="*/ 80 h 101"/>
                  <a:gd name="T14" fmla="*/ 49 w 89"/>
                  <a:gd name="T15" fmla="*/ 74 h 101"/>
                  <a:gd name="T16" fmla="*/ 50 w 89"/>
                  <a:gd name="T17" fmla="*/ 71 h 101"/>
                  <a:gd name="T18" fmla="*/ 49 w 89"/>
                  <a:gd name="T19" fmla="*/ 65 h 101"/>
                  <a:gd name="T20" fmla="*/ 35 w 89"/>
                  <a:gd name="T21" fmla="*/ 51 h 101"/>
                  <a:gd name="T22" fmla="*/ 41 w 89"/>
                  <a:gd name="T23" fmla="*/ 49 h 101"/>
                  <a:gd name="T24" fmla="*/ 51 w 89"/>
                  <a:gd name="T25" fmla="*/ 42 h 101"/>
                  <a:gd name="T26" fmla="*/ 62 w 89"/>
                  <a:gd name="T27" fmla="*/ 38 h 101"/>
                  <a:gd name="T28" fmla="*/ 60 w 89"/>
                  <a:gd name="T29" fmla="*/ 31 h 101"/>
                  <a:gd name="T30" fmla="*/ 47 w 89"/>
                  <a:gd name="T31" fmla="*/ 34 h 101"/>
                  <a:gd name="T32" fmla="*/ 39 w 89"/>
                  <a:gd name="T33" fmla="*/ 34 h 101"/>
                  <a:gd name="T34" fmla="*/ 32 w 89"/>
                  <a:gd name="T35" fmla="*/ 44 h 101"/>
                  <a:gd name="T36" fmla="*/ 25 w 89"/>
                  <a:gd name="T37" fmla="*/ 39 h 101"/>
                  <a:gd name="T38" fmla="*/ 18 w 89"/>
                  <a:gd name="T39" fmla="*/ 32 h 101"/>
                  <a:gd name="T40" fmla="*/ 22 w 89"/>
                  <a:gd name="T41" fmla="*/ 17 h 101"/>
                  <a:gd name="T42" fmla="*/ 30 w 89"/>
                  <a:gd name="T43" fmla="*/ 17 h 101"/>
                  <a:gd name="T44" fmla="*/ 35 w 89"/>
                  <a:gd name="T45" fmla="*/ 17 h 101"/>
                  <a:gd name="T46" fmla="*/ 43 w 89"/>
                  <a:gd name="T47" fmla="*/ 17 h 101"/>
                  <a:gd name="T48" fmla="*/ 61 w 89"/>
                  <a:gd name="T49" fmla="*/ 20 h 101"/>
                  <a:gd name="T50" fmla="*/ 78 w 89"/>
                  <a:gd name="T51" fmla="*/ 16 h 101"/>
                  <a:gd name="T52" fmla="*/ 86 w 89"/>
                  <a:gd name="T53" fmla="*/ 6 h 101"/>
                  <a:gd name="T54" fmla="*/ 84 w 89"/>
                  <a:gd name="T55" fmla="*/ 0 h 101"/>
                  <a:gd name="T56" fmla="*/ 79 w 89"/>
                  <a:gd name="T57" fmla="*/ 7 h 101"/>
                  <a:gd name="T58" fmla="*/ 68 w 89"/>
                  <a:gd name="T59" fmla="*/ 12 h 101"/>
                  <a:gd name="T60" fmla="*/ 58 w 89"/>
                  <a:gd name="T61" fmla="*/ 11 h 101"/>
                  <a:gd name="T62" fmla="*/ 43 w 89"/>
                  <a:gd name="T63" fmla="*/ 8 h 101"/>
                  <a:gd name="T64" fmla="*/ 34 w 89"/>
                  <a:gd name="T65" fmla="*/ 6 h 101"/>
                  <a:gd name="T66" fmla="*/ 27 w 89"/>
                  <a:gd name="T67" fmla="*/ 10 h 101"/>
                  <a:gd name="T68" fmla="*/ 17 w 89"/>
                  <a:gd name="T69" fmla="*/ 14 h 101"/>
                  <a:gd name="T70" fmla="*/ 14 w 89"/>
                  <a:gd name="T71" fmla="*/ 21 h 101"/>
                  <a:gd name="T72" fmla="*/ 14 w 89"/>
                  <a:gd name="T73" fmla="*/ 28 h 101"/>
                  <a:gd name="T74" fmla="*/ 15 w 89"/>
                  <a:gd name="T75" fmla="*/ 36 h 101"/>
                  <a:gd name="T76" fmla="*/ 7 w 89"/>
                  <a:gd name="T77" fmla="*/ 44 h 101"/>
                  <a:gd name="T78" fmla="*/ 5 w 89"/>
                  <a:gd name="T79" fmla="*/ 54 h 101"/>
                  <a:gd name="T80" fmla="*/ 0 w 89"/>
                  <a:gd name="T81" fmla="*/ 62 h 101"/>
                  <a:gd name="T82" fmla="*/ 1 w 89"/>
                  <a:gd name="T83" fmla="*/ 72 h 101"/>
                  <a:gd name="T84" fmla="*/ 10 w 89"/>
                  <a:gd name="T85" fmla="*/ 72 h 101"/>
                  <a:gd name="T86" fmla="*/ 12 w 89"/>
                  <a:gd name="T87" fmla="*/ 84 h 101"/>
                  <a:gd name="T88" fmla="*/ 8 w 89"/>
                  <a:gd name="T89" fmla="*/ 94 h 101"/>
                  <a:gd name="T90" fmla="*/ 12 w 89"/>
                  <a:gd name="T91" fmla="*/ 100 h 101"/>
                  <a:gd name="T92" fmla="*/ 23 w 89"/>
                  <a:gd name="T93" fmla="*/ 99 h 101"/>
                  <a:gd name="T94" fmla="*/ 22 w 89"/>
                  <a:gd name="T95" fmla="*/ 91 h 101"/>
                  <a:gd name="T96" fmla="*/ 23 w 89"/>
                  <a:gd name="T97" fmla="*/ 74 h 101"/>
                  <a:gd name="T98" fmla="*/ 21 w 89"/>
                  <a:gd name="T99" fmla="*/ 6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01">
                    <a:moveTo>
                      <a:pt x="21" y="64"/>
                    </a:moveTo>
                    <a:lnTo>
                      <a:pt x="26" y="61"/>
                    </a:lnTo>
                    <a:lnTo>
                      <a:pt x="29" y="61"/>
                    </a:lnTo>
                    <a:lnTo>
                      <a:pt x="31" y="61"/>
                    </a:lnTo>
                    <a:lnTo>
                      <a:pt x="32" y="64"/>
                    </a:lnTo>
                    <a:lnTo>
                      <a:pt x="31" y="68"/>
                    </a:lnTo>
                    <a:lnTo>
                      <a:pt x="29" y="71"/>
                    </a:lnTo>
                    <a:lnTo>
                      <a:pt x="31" y="74"/>
                    </a:lnTo>
                    <a:lnTo>
                      <a:pt x="36" y="79"/>
                    </a:lnTo>
                    <a:lnTo>
                      <a:pt x="39" y="79"/>
                    </a:lnTo>
                    <a:lnTo>
                      <a:pt x="39" y="81"/>
                    </a:lnTo>
                    <a:lnTo>
                      <a:pt x="38" y="87"/>
                    </a:lnTo>
                    <a:lnTo>
                      <a:pt x="40" y="89"/>
                    </a:lnTo>
                    <a:lnTo>
                      <a:pt x="42" y="90"/>
                    </a:lnTo>
                    <a:lnTo>
                      <a:pt x="44" y="88"/>
                    </a:lnTo>
                    <a:lnTo>
                      <a:pt x="47" y="85"/>
                    </a:lnTo>
                    <a:lnTo>
                      <a:pt x="52" y="84"/>
                    </a:lnTo>
                    <a:lnTo>
                      <a:pt x="55" y="84"/>
                    </a:lnTo>
                    <a:lnTo>
                      <a:pt x="53" y="83"/>
                    </a:lnTo>
                    <a:lnTo>
                      <a:pt x="57" y="82"/>
                    </a:lnTo>
                    <a:lnTo>
                      <a:pt x="56" y="80"/>
                    </a:lnTo>
                    <a:lnTo>
                      <a:pt x="53" y="79"/>
                    </a:lnTo>
                    <a:lnTo>
                      <a:pt x="51" y="76"/>
                    </a:lnTo>
                    <a:lnTo>
                      <a:pt x="49" y="74"/>
                    </a:lnTo>
                    <a:lnTo>
                      <a:pt x="48" y="72"/>
                    </a:lnTo>
                    <a:lnTo>
                      <a:pt x="49" y="71"/>
                    </a:lnTo>
                    <a:lnTo>
                      <a:pt x="50" y="71"/>
                    </a:lnTo>
                    <a:lnTo>
                      <a:pt x="49" y="68"/>
                    </a:lnTo>
                    <a:lnTo>
                      <a:pt x="51" y="67"/>
                    </a:lnTo>
                    <a:lnTo>
                      <a:pt x="49" y="65"/>
                    </a:lnTo>
                    <a:lnTo>
                      <a:pt x="41" y="54"/>
                    </a:lnTo>
                    <a:lnTo>
                      <a:pt x="38" y="51"/>
                    </a:lnTo>
                    <a:lnTo>
                      <a:pt x="35" y="51"/>
                    </a:lnTo>
                    <a:lnTo>
                      <a:pt x="35" y="48"/>
                    </a:lnTo>
                    <a:lnTo>
                      <a:pt x="38" y="50"/>
                    </a:lnTo>
                    <a:lnTo>
                      <a:pt x="41" y="49"/>
                    </a:lnTo>
                    <a:lnTo>
                      <a:pt x="43" y="47"/>
                    </a:lnTo>
                    <a:lnTo>
                      <a:pt x="48" y="45"/>
                    </a:lnTo>
                    <a:lnTo>
                      <a:pt x="51" y="42"/>
                    </a:lnTo>
                    <a:lnTo>
                      <a:pt x="55" y="38"/>
                    </a:lnTo>
                    <a:lnTo>
                      <a:pt x="58" y="36"/>
                    </a:lnTo>
                    <a:lnTo>
                      <a:pt x="62" y="38"/>
                    </a:lnTo>
                    <a:lnTo>
                      <a:pt x="65" y="36"/>
                    </a:lnTo>
                    <a:lnTo>
                      <a:pt x="64" y="32"/>
                    </a:lnTo>
                    <a:lnTo>
                      <a:pt x="60" y="31"/>
                    </a:lnTo>
                    <a:lnTo>
                      <a:pt x="58" y="32"/>
                    </a:lnTo>
                    <a:lnTo>
                      <a:pt x="56" y="34"/>
                    </a:lnTo>
                    <a:lnTo>
                      <a:pt x="47" y="34"/>
                    </a:lnTo>
                    <a:lnTo>
                      <a:pt x="44" y="37"/>
                    </a:lnTo>
                    <a:lnTo>
                      <a:pt x="41" y="37"/>
                    </a:lnTo>
                    <a:lnTo>
                      <a:pt x="39" y="34"/>
                    </a:lnTo>
                    <a:lnTo>
                      <a:pt x="36" y="37"/>
                    </a:lnTo>
                    <a:lnTo>
                      <a:pt x="33" y="40"/>
                    </a:lnTo>
                    <a:lnTo>
                      <a:pt x="32" y="44"/>
                    </a:lnTo>
                    <a:lnTo>
                      <a:pt x="27" y="42"/>
                    </a:lnTo>
                    <a:lnTo>
                      <a:pt x="25" y="41"/>
                    </a:lnTo>
                    <a:lnTo>
                      <a:pt x="25" y="39"/>
                    </a:lnTo>
                    <a:lnTo>
                      <a:pt x="23" y="36"/>
                    </a:lnTo>
                    <a:lnTo>
                      <a:pt x="19" y="36"/>
                    </a:lnTo>
                    <a:lnTo>
                      <a:pt x="18" y="32"/>
                    </a:lnTo>
                    <a:lnTo>
                      <a:pt x="17" y="27"/>
                    </a:lnTo>
                    <a:lnTo>
                      <a:pt x="19" y="21"/>
                    </a:lnTo>
                    <a:lnTo>
                      <a:pt x="22" y="17"/>
                    </a:lnTo>
                    <a:lnTo>
                      <a:pt x="24" y="16"/>
                    </a:lnTo>
                    <a:lnTo>
                      <a:pt x="26" y="16"/>
                    </a:lnTo>
                    <a:lnTo>
                      <a:pt x="30" y="17"/>
                    </a:lnTo>
                    <a:lnTo>
                      <a:pt x="32" y="17"/>
                    </a:lnTo>
                    <a:lnTo>
                      <a:pt x="34" y="17"/>
                    </a:lnTo>
                    <a:lnTo>
                      <a:pt x="35" y="17"/>
                    </a:lnTo>
                    <a:lnTo>
                      <a:pt x="38" y="16"/>
                    </a:lnTo>
                    <a:lnTo>
                      <a:pt x="40" y="16"/>
                    </a:lnTo>
                    <a:lnTo>
                      <a:pt x="43" y="17"/>
                    </a:lnTo>
                    <a:lnTo>
                      <a:pt x="45" y="17"/>
                    </a:lnTo>
                    <a:lnTo>
                      <a:pt x="59" y="16"/>
                    </a:lnTo>
                    <a:lnTo>
                      <a:pt x="61" y="20"/>
                    </a:lnTo>
                    <a:lnTo>
                      <a:pt x="67" y="20"/>
                    </a:lnTo>
                    <a:lnTo>
                      <a:pt x="76" y="19"/>
                    </a:lnTo>
                    <a:lnTo>
                      <a:pt x="78" y="16"/>
                    </a:lnTo>
                    <a:lnTo>
                      <a:pt x="79" y="14"/>
                    </a:lnTo>
                    <a:lnTo>
                      <a:pt x="85" y="8"/>
                    </a:lnTo>
                    <a:lnTo>
                      <a:pt x="86" y="6"/>
                    </a:lnTo>
                    <a:lnTo>
                      <a:pt x="89" y="4"/>
                    </a:lnTo>
                    <a:lnTo>
                      <a:pt x="87" y="0"/>
                    </a:lnTo>
                    <a:lnTo>
                      <a:pt x="84" y="0"/>
                    </a:lnTo>
                    <a:lnTo>
                      <a:pt x="83" y="4"/>
                    </a:lnTo>
                    <a:lnTo>
                      <a:pt x="79" y="5"/>
                    </a:lnTo>
                    <a:lnTo>
                      <a:pt x="79" y="7"/>
                    </a:lnTo>
                    <a:lnTo>
                      <a:pt x="76" y="8"/>
                    </a:lnTo>
                    <a:lnTo>
                      <a:pt x="74" y="11"/>
                    </a:lnTo>
                    <a:lnTo>
                      <a:pt x="68" y="12"/>
                    </a:lnTo>
                    <a:lnTo>
                      <a:pt x="64" y="11"/>
                    </a:lnTo>
                    <a:lnTo>
                      <a:pt x="60" y="11"/>
                    </a:lnTo>
                    <a:lnTo>
                      <a:pt x="58" y="11"/>
                    </a:lnTo>
                    <a:lnTo>
                      <a:pt x="56" y="12"/>
                    </a:lnTo>
                    <a:lnTo>
                      <a:pt x="50" y="10"/>
                    </a:lnTo>
                    <a:lnTo>
                      <a:pt x="43" y="8"/>
                    </a:lnTo>
                    <a:lnTo>
                      <a:pt x="38" y="10"/>
                    </a:lnTo>
                    <a:lnTo>
                      <a:pt x="36" y="6"/>
                    </a:lnTo>
                    <a:lnTo>
                      <a:pt x="34" y="6"/>
                    </a:lnTo>
                    <a:lnTo>
                      <a:pt x="31" y="5"/>
                    </a:lnTo>
                    <a:lnTo>
                      <a:pt x="29" y="7"/>
                    </a:lnTo>
                    <a:lnTo>
                      <a:pt x="27" y="10"/>
                    </a:lnTo>
                    <a:lnTo>
                      <a:pt x="25" y="12"/>
                    </a:lnTo>
                    <a:lnTo>
                      <a:pt x="19" y="13"/>
                    </a:lnTo>
                    <a:lnTo>
                      <a:pt x="17" y="14"/>
                    </a:lnTo>
                    <a:lnTo>
                      <a:pt x="17" y="16"/>
                    </a:lnTo>
                    <a:lnTo>
                      <a:pt x="15" y="19"/>
                    </a:lnTo>
                    <a:lnTo>
                      <a:pt x="14" y="21"/>
                    </a:lnTo>
                    <a:lnTo>
                      <a:pt x="15" y="23"/>
                    </a:lnTo>
                    <a:lnTo>
                      <a:pt x="12" y="23"/>
                    </a:lnTo>
                    <a:lnTo>
                      <a:pt x="14" y="28"/>
                    </a:lnTo>
                    <a:lnTo>
                      <a:pt x="14" y="30"/>
                    </a:lnTo>
                    <a:lnTo>
                      <a:pt x="15" y="33"/>
                    </a:lnTo>
                    <a:lnTo>
                      <a:pt x="15" y="36"/>
                    </a:lnTo>
                    <a:lnTo>
                      <a:pt x="14" y="32"/>
                    </a:lnTo>
                    <a:lnTo>
                      <a:pt x="8" y="40"/>
                    </a:lnTo>
                    <a:lnTo>
                      <a:pt x="7" y="44"/>
                    </a:lnTo>
                    <a:lnTo>
                      <a:pt x="8" y="48"/>
                    </a:lnTo>
                    <a:lnTo>
                      <a:pt x="6" y="51"/>
                    </a:lnTo>
                    <a:lnTo>
                      <a:pt x="5" y="54"/>
                    </a:lnTo>
                    <a:lnTo>
                      <a:pt x="5" y="57"/>
                    </a:lnTo>
                    <a:lnTo>
                      <a:pt x="2" y="59"/>
                    </a:lnTo>
                    <a:lnTo>
                      <a:pt x="0" y="62"/>
                    </a:lnTo>
                    <a:lnTo>
                      <a:pt x="1" y="64"/>
                    </a:lnTo>
                    <a:lnTo>
                      <a:pt x="0" y="66"/>
                    </a:lnTo>
                    <a:lnTo>
                      <a:pt x="1" y="72"/>
                    </a:lnTo>
                    <a:lnTo>
                      <a:pt x="5" y="72"/>
                    </a:lnTo>
                    <a:lnTo>
                      <a:pt x="7" y="71"/>
                    </a:lnTo>
                    <a:lnTo>
                      <a:pt x="10" y="72"/>
                    </a:lnTo>
                    <a:lnTo>
                      <a:pt x="9" y="74"/>
                    </a:lnTo>
                    <a:lnTo>
                      <a:pt x="12" y="79"/>
                    </a:lnTo>
                    <a:lnTo>
                      <a:pt x="12" y="84"/>
                    </a:lnTo>
                    <a:lnTo>
                      <a:pt x="10" y="90"/>
                    </a:lnTo>
                    <a:lnTo>
                      <a:pt x="9" y="92"/>
                    </a:lnTo>
                    <a:lnTo>
                      <a:pt x="8" y="94"/>
                    </a:lnTo>
                    <a:lnTo>
                      <a:pt x="8" y="96"/>
                    </a:lnTo>
                    <a:lnTo>
                      <a:pt x="9" y="99"/>
                    </a:lnTo>
                    <a:lnTo>
                      <a:pt x="12" y="100"/>
                    </a:lnTo>
                    <a:lnTo>
                      <a:pt x="14" y="101"/>
                    </a:lnTo>
                    <a:lnTo>
                      <a:pt x="17" y="100"/>
                    </a:lnTo>
                    <a:lnTo>
                      <a:pt x="23" y="99"/>
                    </a:lnTo>
                    <a:lnTo>
                      <a:pt x="22" y="97"/>
                    </a:lnTo>
                    <a:lnTo>
                      <a:pt x="21" y="93"/>
                    </a:lnTo>
                    <a:lnTo>
                      <a:pt x="22" y="91"/>
                    </a:lnTo>
                    <a:lnTo>
                      <a:pt x="23" y="89"/>
                    </a:lnTo>
                    <a:lnTo>
                      <a:pt x="22" y="77"/>
                    </a:lnTo>
                    <a:lnTo>
                      <a:pt x="23" y="74"/>
                    </a:lnTo>
                    <a:lnTo>
                      <a:pt x="23" y="70"/>
                    </a:lnTo>
                    <a:lnTo>
                      <a:pt x="21" y="66"/>
                    </a:lnTo>
                    <a:lnTo>
                      <a:pt x="21" y="64"/>
                    </a:lnTo>
                    <a:lnTo>
                      <a:pt x="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6" name="Freeform 152">
                <a:extLst>
                  <a:ext uri="{FF2B5EF4-FFF2-40B4-BE49-F238E27FC236}">
                    <a16:creationId xmlns:a16="http://schemas.microsoft.com/office/drawing/2014/main" id="{D3B96E12-B18E-40BC-9E66-E2C045C90116}"/>
                  </a:ext>
                </a:extLst>
              </p:cNvPr>
              <p:cNvSpPr>
                <a:spLocks/>
              </p:cNvSpPr>
              <p:nvPr/>
            </p:nvSpPr>
            <p:spPr bwMode="auto">
              <a:xfrm>
                <a:off x="5313" y="2934"/>
                <a:ext cx="27" cy="13"/>
              </a:xfrm>
              <a:custGeom>
                <a:avLst/>
                <a:gdLst>
                  <a:gd name="T0" fmla="*/ 27 w 27"/>
                  <a:gd name="T1" fmla="*/ 9 h 13"/>
                  <a:gd name="T2" fmla="*/ 23 w 27"/>
                  <a:gd name="T3" fmla="*/ 7 h 13"/>
                  <a:gd name="T4" fmla="*/ 21 w 27"/>
                  <a:gd name="T5" fmla="*/ 4 h 13"/>
                  <a:gd name="T6" fmla="*/ 19 w 27"/>
                  <a:gd name="T7" fmla="*/ 5 h 13"/>
                  <a:gd name="T8" fmla="*/ 15 w 27"/>
                  <a:gd name="T9" fmla="*/ 0 h 13"/>
                  <a:gd name="T10" fmla="*/ 12 w 27"/>
                  <a:gd name="T11" fmla="*/ 0 h 13"/>
                  <a:gd name="T12" fmla="*/ 10 w 27"/>
                  <a:gd name="T13" fmla="*/ 0 h 13"/>
                  <a:gd name="T14" fmla="*/ 4 w 27"/>
                  <a:gd name="T15" fmla="*/ 0 h 13"/>
                  <a:gd name="T16" fmla="*/ 2 w 27"/>
                  <a:gd name="T17" fmla="*/ 1 h 13"/>
                  <a:gd name="T18" fmla="*/ 0 w 27"/>
                  <a:gd name="T19" fmla="*/ 3 h 13"/>
                  <a:gd name="T20" fmla="*/ 2 w 27"/>
                  <a:gd name="T21" fmla="*/ 5 h 13"/>
                  <a:gd name="T22" fmla="*/ 3 w 27"/>
                  <a:gd name="T23" fmla="*/ 5 h 13"/>
                  <a:gd name="T24" fmla="*/ 8 w 27"/>
                  <a:gd name="T25" fmla="*/ 6 h 13"/>
                  <a:gd name="T26" fmla="*/ 15 w 27"/>
                  <a:gd name="T27" fmla="*/ 9 h 13"/>
                  <a:gd name="T28" fmla="*/ 17 w 27"/>
                  <a:gd name="T29" fmla="*/ 12 h 13"/>
                  <a:gd name="T30" fmla="*/ 20 w 27"/>
                  <a:gd name="T31" fmla="*/ 13 h 13"/>
                  <a:gd name="T32" fmla="*/ 25 w 27"/>
                  <a:gd name="T33" fmla="*/ 12 h 13"/>
                  <a:gd name="T34" fmla="*/ 27 w 27"/>
                  <a:gd name="T35" fmla="*/ 9 h 13"/>
                  <a:gd name="T36" fmla="*/ 27 w 27"/>
                  <a:gd name="T3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3">
                    <a:moveTo>
                      <a:pt x="27" y="9"/>
                    </a:moveTo>
                    <a:lnTo>
                      <a:pt x="23" y="7"/>
                    </a:lnTo>
                    <a:lnTo>
                      <a:pt x="21" y="4"/>
                    </a:lnTo>
                    <a:lnTo>
                      <a:pt x="19" y="5"/>
                    </a:lnTo>
                    <a:lnTo>
                      <a:pt x="15" y="0"/>
                    </a:lnTo>
                    <a:lnTo>
                      <a:pt x="12" y="0"/>
                    </a:lnTo>
                    <a:lnTo>
                      <a:pt x="10" y="0"/>
                    </a:lnTo>
                    <a:lnTo>
                      <a:pt x="4" y="0"/>
                    </a:lnTo>
                    <a:lnTo>
                      <a:pt x="2" y="1"/>
                    </a:lnTo>
                    <a:lnTo>
                      <a:pt x="0" y="3"/>
                    </a:lnTo>
                    <a:lnTo>
                      <a:pt x="2" y="5"/>
                    </a:lnTo>
                    <a:lnTo>
                      <a:pt x="3" y="5"/>
                    </a:lnTo>
                    <a:lnTo>
                      <a:pt x="8" y="6"/>
                    </a:lnTo>
                    <a:lnTo>
                      <a:pt x="15" y="9"/>
                    </a:lnTo>
                    <a:lnTo>
                      <a:pt x="17" y="12"/>
                    </a:lnTo>
                    <a:lnTo>
                      <a:pt x="20" y="13"/>
                    </a:lnTo>
                    <a:lnTo>
                      <a:pt x="25" y="12"/>
                    </a:lnTo>
                    <a:lnTo>
                      <a:pt x="27" y="9"/>
                    </a:lnTo>
                    <a:lnTo>
                      <a:pt x="2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7" name="Freeform 153">
                <a:extLst>
                  <a:ext uri="{FF2B5EF4-FFF2-40B4-BE49-F238E27FC236}">
                    <a16:creationId xmlns:a16="http://schemas.microsoft.com/office/drawing/2014/main" id="{E0C7B16F-A1B7-4C2A-97E3-F26F935F5603}"/>
                  </a:ext>
                </a:extLst>
              </p:cNvPr>
              <p:cNvSpPr>
                <a:spLocks/>
              </p:cNvSpPr>
              <p:nvPr/>
            </p:nvSpPr>
            <p:spPr bwMode="auto">
              <a:xfrm>
                <a:off x="5325" y="2548"/>
                <a:ext cx="60" cy="84"/>
              </a:xfrm>
              <a:custGeom>
                <a:avLst/>
                <a:gdLst>
                  <a:gd name="T0" fmla="*/ 9 w 60"/>
                  <a:gd name="T1" fmla="*/ 22 h 84"/>
                  <a:gd name="T2" fmla="*/ 8 w 60"/>
                  <a:gd name="T3" fmla="*/ 31 h 84"/>
                  <a:gd name="T4" fmla="*/ 8 w 60"/>
                  <a:gd name="T5" fmla="*/ 35 h 84"/>
                  <a:gd name="T6" fmla="*/ 2 w 60"/>
                  <a:gd name="T7" fmla="*/ 33 h 84"/>
                  <a:gd name="T8" fmla="*/ 0 w 60"/>
                  <a:gd name="T9" fmla="*/ 35 h 84"/>
                  <a:gd name="T10" fmla="*/ 1 w 60"/>
                  <a:gd name="T11" fmla="*/ 40 h 84"/>
                  <a:gd name="T12" fmla="*/ 2 w 60"/>
                  <a:gd name="T13" fmla="*/ 41 h 84"/>
                  <a:gd name="T14" fmla="*/ 3 w 60"/>
                  <a:gd name="T15" fmla="*/ 48 h 84"/>
                  <a:gd name="T16" fmla="*/ 7 w 60"/>
                  <a:gd name="T17" fmla="*/ 53 h 84"/>
                  <a:gd name="T18" fmla="*/ 8 w 60"/>
                  <a:gd name="T19" fmla="*/ 58 h 84"/>
                  <a:gd name="T20" fmla="*/ 11 w 60"/>
                  <a:gd name="T21" fmla="*/ 56 h 84"/>
                  <a:gd name="T22" fmla="*/ 12 w 60"/>
                  <a:gd name="T23" fmla="*/ 54 h 84"/>
                  <a:gd name="T24" fmla="*/ 16 w 60"/>
                  <a:gd name="T25" fmla="*/ 56 h 84"/>
                  <a:gd name="T26" fmla="*/ 16 w 60"/>
                  <a:gd name="T27" fmla="*/ 58 h 84"/>
                  <a:gd name="T28" fmla="*/ 11 w 60"/>
                  <a:gd name="T29" fmla="*/ 63 h 84"/>
                  <a:gd name="T30" fmla="*/ 16 w 60"/>
                  <a:gd name="T31" fmla="*/ 66 h 84"/>
                  <a:gd name="T32" fmla="*/ 18 w 60"/>
                  <a:gd name="T33" fmla="*/ 70 h 84"/>
                  <a:gd name="T34" fmla="*/ 22 w 60"/>
                  <a:gd name="T35" fmla="*/ 67 h 84"/>
                  <a:gd name="T36" fmla="*/ 26 w 60"/>
                  <a:gd name="T37" fmla="*/ 66 h 84"/>
                  <a:gd name="T38" fmla="*/ 31 w 60"/>
                  <a:gd name="T39" fmla="*/ 68 h 84"/>
                  <a:gd name="T40" fmla="*/ 37 w 60"/>
                  <a:gd name="T41" fmla="*/ 73 h 84"/>
                  <a:gd name="T42" fmla="*/ 39 w 60"/>
                  <a:gd name="T43" fmla="*/ 76 h 84"/>
                  <a:gd name="T44" fmla="*/ 37 w 60"/>
                  <a:gd name="T45" fmla="*/ 70 h 84"/>
                  <a:gd name="T46" fmla="*/ 36 w 60"/>
                  <a:gd name="T47" fmla="*/ 66 h 84"/>
                  <a:gd name="T48" fmla="*/ 41 w 60"/>
                  <a:gd name="T49" fmla="*/ 68 h 84"/>
                  <a:gd name="T50" fmla="*/ 46 w 60"/>
                  <a:gd name="T51" fmla="*/ 73 h 84"/>
                  <a:gd name="T52" fmla="*/ 48 w 60"/>
                  <a:gd name="T53" fmla="*/ 78 h 84"/>
                  <a:gd name="T54" fmla="*/ 58 w 60"/>
                  <a:gd name="T55" fmla="*/ 80 h 84"/>
                  <a:gd name="T56" fmla="*/ 56 w 60"/>
                  <a:gd name="T57" fmla="*/ 84 h 84"/>
                  <a:gd name="T58" fmla="*/ 60 w 60"/>
                  <a:gd name="T59" fmla="*/ 78 h 84"/>
                  <a:gd name="T60" fmla="*/ 54 w 60"/>
                  <a:gd name="T61" fmla="*/ 74 h 84"/>
                  <a:gd name="T62" fmla="*/ 52 w 60"/>
                  <a:gd name="T63" fmla="*/ 71 h 84"/>
                  <a:gd name="T64" fmla="*/ 56 w 60"/>
                  <a:gd name="T65" fmla="*/ 68 h 84"/>
                  <a:gd name="T66" fmla="*/ 51 w 60"/>
                  <a:gd name="T67" fmla="*/ 66 h 84"/>
                  <a:gd name="T68" fmla="*/ 48 w 60"/>
                  <a:gd name="T69" fmla="*/ 67 h 84"/>
                  <a:gd name="T70" fmla="*/ 46 w 60"/>
                  <a:gd name="T71" fmla="*/ 69 h 84"/>
                  <a:gd name="T72" fmla="*/ 45 w 60"/>
                  <a:gd name="T73" fmla="*/ 65 h 84"/>
                  <a:gd name="T74" fmla="*/ 42 w 60"/>
                  <a:gd name="T75" fmla="*/ 61 h 84"/>
                  <a:gd name="T76" fmla="*/ 35 w 60"/>
                  <a:gd name="T77" fmla="*/ 63 h 84"/>
                  <a:gd name="T78" fmla="*/ 35 w 60"/>
                  <a:gd name="T79" fmla="*/ 65 h 84"/>
                  <a:gd name="T80" fmla="*/ 29 w 60"/>
                  <a:gd name="T81" fmla="*/ 65 h 84"/>
                  <a:gd name="T82" fmla="*/ 26 w 60"/>
                  <a:gd name="T83" fmla="*/ 60 h 84"/>
                  <a:gd name="T84" fmla="*/ 25 w 60"/>
                  <a:gd name="T85" fmla="*/ 57 h 84"/>
                  <a:gd name="T86" fmla="*/ 25 w 60"/>
                  <a:gd name="T87" fmla="*/ 53 h 84"/>
                  <a:gd name="T88" fmla="*/ 22 w 60"/>
                  <a:gd name="T89" fmla="*/ 48 h 84"/>
                  <a:gd name="T90" fmla="*/ 25 w 60"/>
                  <a:gd name="T91" fmla="*/ 42 h 84"/>
                  <a:gd name="T92" fmla="*/ 26 w 60"/>
                  <a:gd name="T93" fmla="*/ 36 h 84"/>
                  <a:gd name="T94" fmla="*/ 31 w 60"/>
                  <a:gd name="T95" fmla="*/ 35 h 84"/>
                  <a:gd name="T96" fmla="*/ 34 w 60"/>
                  <a:gd name="T97" fmla="*/ 33 h 84"/>
                  <a:gd name="T98" fmla="*/ 34 w 60"/>
                  <a:gd name="T99" fmla="*/ 30 h 84"/>
                  <a:gd name="T100" fmla="*/ 36 w 60"/>
                  <a:gd name="T101" fmla="*/ 25 h 84"/>
                  <a:gd name="T102" fmla="*/ 37 w 60"/>
                  <a:gd name="T103" fmla="*/ 20 h 84"/>
                  <a:gd name="T104" fmla="*/ 34 w 60"/>
                  <a:gd name="T105" fmla="*/ 17 h 84"/>
                  <a:gd name="T106" fmla="*/ 33 w 60"/>
                  <a:gd name="T107" fmla="*/ 7 h 84"/>
                  <a:gd name="T108" fmla="*/ 35 w 60"/>
                  <a:gd name="T109" fmla="*/ 3 h 84"/>
                  <a:gd name="T110" fmla="*/ 31 w 60"/>
                  <a:gd name="T111" fmla="*/ 3 h 84"/>
                  <a:gd name="T112" fmla="*/ 26 w 60"/>
                  <a:gd name="T113" fmla="*/ 5 h 84"/>
                  <a:gd name="T114" fmla="*/ 26 w 60"/>
                  <a:gd name="T115" fmla="*/ 6 h 84"/>
                  <a:gd name="T116" fmla="*/ 19 w 60"/>
                  <a:gd name="T117" fmla="*/ 0 h 84"/>
                  <a:gd name="T118" fmla="*/ 11 w 60"/>
                  <a:gd name="T119" fmla="*/ 5 h 84"/>
                  <a:gd name="T120" fmla="*/ 9 w 60"/>
                  <a:gd name="T121" fmla="*/ 1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 h="84">
                    <a:moveTo>
                      <a:pt x="9" y="16"/>
                    </a:moveTo>
                    <a:lnTo>
                      <a:pt x="9" y="22"/>
                    </a:lnTo>
                    <a:lnTo>
                      <a:pt x="8" y="30"/>
                    </a:lnTo>
                    <a:lnTo>
                      <a:pt x="8" y="31"/>
                    </a:lnTo>
                    <a:lnTo>
                      <a:pt x="9" y="34"/>
                    </a:lnTo>
                    <a:lnTo>
                      <a:pt x="8" y="35"/>
                    </a:lnTo>
                    <a:lnTo>
                      <a:pt x="5" y="36"/>
                    </a:lnTo>
                    <a:lnTo>
                      <a:pt x="2" y="33"/>
                    </a:lnTo>
                    <a:lnTo>
                      <a:pt x="0" y="32"/>
                    </a:lnTo>
                    <a:lnTo>
                      <a:pt x="0" y="35"/>
                    </a:lnTo>
                    <a:lnTo>
                      <a:pt x="0" y="37"/>
                    </a:lnTo>
                    <a:lnTo>
                      <a:pt x="1" y="40"/>
                    </a:lnTo>
                    <a:lnTo>
                      <a:pt x="1" y="41"/>
                    </a:lnTo>
                    <a:lnTo>
                      <a:pt x="2" y="41"/>
                    </a:lnTo>
                    <a:lnTo>
                      <a:pt x="2" y="44"/>
                    </a:lnTo>
                    <a:lnTo>
                      <a:pt x="3" y="48"/>
                    </a:lnTo>
                    <a:lnTo>
                      <a:pt x="4" y="53"/>
                    </a:lnTo>
                    <a:lnTo>
                      <a:pt x="7" y="53"/>
                    </a:lnTo>
                    <a:lnTo>
                      <a:pt x="7" y="56"/>
                    </a:lnTo>
                    <a:lnTo>
                      <a:pt x="8" y="58"/>
                    </a:lnTo>
                    <a:lnTo>
                      <a:pt x="11" y="59"/>
                    </a:lnTo>
                    <a:lnTo>
                      <a:pt x="11" y="56"/>
                    </a:lnTo>
                    <a:lnTo>
                      <a:pt x="10" y="53"/>
                    </a:lnTo>
                    <a:lnTo>
                      <a:pt x="12" y="54"/>
                    </a:lnTo>
                    <a:lnTo>
                      <a:pt x="13" y="54"/>
                    </a:lnTo>
                    <a:lnTo>
                      <a:pt x="16" y="56"/>
                    </a:lnTo>
                    <a:lnTo>
                      <a:pt x="17" y="58"/>
                    </a:lnTo>
                    <a:lnTo>
                      <a:pt x="16" y="58"/>
                    </a:lnTo>
                    <a:lnTo>
                      <a:pt x="11" y="61"/>
                    </a:lnTo>
                    <a:lnTo>
                      <a:pt x="11" y="63"/>
                    </a:lnTo>
                    <a:lnTo>
                      <a:pt x="12" y="66"/>
                    </a:lnTo>
                    <a:lnTo>
                      <a:pt x="16" y="66"/>
                    </a:lnTo>
                    <a:lnTo>
                      <a:pt x="16" y="69"/>
                    </a:lnTo>
                    <a:lnTo>
                      <a:pt x="18" y="70"/>
                    </a:lnTo>
                    <a:lnTo>
                      <a:pt x="21" y="70"/>
                    </a:lnTo>
                    <a:lnTo>
                      <a:pt x="22" y="67"/>
                    </a:lnTo>
                    <a:lnTo>
                      <a:pt x="25" y="67"/>
                    </a:lnTo>
                    <a:lnTo>
                      <a:pt x="26" y="66"/>
                    </a:lnTo>
                    <a:lnTo>
                      <a:pt x="28" y="66"/>
                    </a:lnTo>
                    <a:lnTo>
                      <a:pt x="31" y="68"/>
                    </a:lnTo>
                    <a:lnTo>
                      <a:pt x="35" y="70"/>
                    </a:lnTo>
                    <a:lnTo>
                      <a:pt x="37" y="73"/>
                    </a:lnTo>
                    <a:lnTo>
                      <a:pt x="37" y="76"/>
                    </a:lnTo>
                    <a:lnTo>
                      <a:pt x="39" y="76"/>
                    </a:lnTo>
                    <a:lnTo>
                      <a:pt x="39" y="74"/>
                    </a:lnTo>
                    <a:lnTo>
                      <a:pt x="37" y="70"/>
                    </a:lnTo>
                    <a:lnTo>
                      <a:pt x="37" y="68"/>
                    </a:lnTo>
                    <a:lnTo>
                      <a:pt x="36" y="66"/>
                    </a:lnTo>
                    <a:lnTo>
                      <a:pt x="38" y="66"/>
                    </a:lnTo>
                    <a:lnTo>
                      <a:pt x="41" y="68"/>
                    </a:lnTo>
                    <a:lnTo>
                      <a:pt x="42" y="70"/>
                    </a:lnTo>
                    <a:lnTo>
                      <a:pt x="46" y="73"/>
                    </a:lnTo>
                    <a:lnTo>
                      <a:pt x="48" y="75"/>
                    </a:lnTo>
                    <a:lnTo>
                      <a:pt x="48" y="78"/>
                    </a:lnTo>
                    <a:lnTo>
                      <a:pt x="55" y="80"/>
                    </a:lnTo>
                    <a:lnTo>
                      <a:pt x="58" y="80"/>
                    </a:lnTo>
                    <a:lnTo>
                      <a:pt x="55" y="82"/>
                    </a:lnTo>
                    <a:lnTo>
                      <a:pt x="56" y="84"/>
                    </a:lnTo>
                    <a:lnTo>
                      <a:pt x="60" y="83"/>
                    </a:lnTo>
                    <a:lnTo>
                      <a:pt x="60" y="78"/>
                    </a:lnTo>
                    <a:lnTo>
                      <a:pt x="54" y="77"/>
                    </a:lnTo>
                    <a:lnTo>
                      <a:pt x="54" y="74"/>
                    </a:lnTo>
                    <a:lnTo>
                      <a:pt x="52" y="71"/>
                    </a:lnTo>
                    <a:lnTo>
                      <a:pt x="52" y="71"/>
                    </a:lnTo>
                    <a:lnTo>
                      <a:pt x="53" y="69"/>
                    </a:lnTo>
                    <a:lnTo>
                      <a:pt x="56" y="68"/>
                    </a:lnTo>
                    <a:lnTo>
                      <a:pt x="55" y="67"/>
                    </a:lnTo>
                    <a:lnTo>
                      <a:pt x="51" y="66"/>
                    </a:lnTo>
                    <a:lnTo>
                      <a:pt x="48" y="63"/>
                    </a:lnTo>
                    <a:lnTo>
                      <a:pt x="48" y="67"/>
                    </a:lnTo>
                    <a:lnTo>
                      <a:pt x="47" y="69"/>
                    </a:lnTo>
                    <a:lnTo>
                      <a:pt x="46" y="69"/>
                    </a:lnTo>
                    <a:lnTo>
                      <a:pt x="45" y="67"/>
                    </a:lnTo>
                    <a:lnTo>
                      <a:pt x="45" y="65"/>
                    </a:lnTo>
                    <a:lnTo>
                      <a:pt x="44" y="63"/>
                    </a:lnTo>
                    <a:lnTo>
                      <a:pt x="42" y="61"/>
                    </a:lnTo>
                    <a:lnTo>
                      <a:pt x="36" y="60"/>
                    </a:lnTo>
                    <a:lnTo>
                      <a:pt x="35" y="63"/>
                    </a:lnTo>
                    <a:lnTo>
                      <a:pt x="33" y="62"/>
                    </a:lnTo>
                    <a:lnTo>
                      <a:pt x="35" y="65"/>
                    </a:lnTo>
                    <a:lnTo>
                      <a:pt x="33" y="66"/>
                    </a:lnTo>
                    <a:lnTo>
                      <a:pt x="29" y="65"/>
                    </a:lnTo>
                    <a:lnTo>
                      <a:pt x="27" y="62"/>
                    </a:lnTo>
                    <a:lnTo>
                      <a:pt x="26" y="60"/>
                    </a:lnTo>
                    <a:lnTo>
                      <a:pt x="26" y="59"/>
                    </a:lnTo>
                    <a:lnTo>
                      <a:pt x="25" y="57"/>
                    </a:lnTo>
                    <a:lnTo>
                      <a:pt x="26" y="54"/>
                    </a:lnTo>
                    <a:lnTo>
                      <a:pt x="25" y="53"/>
                    </a:lnTo>
                    <a:lnTo>
                      <a:pt x="25" y="51"/>
                    </a:lnTo>
                    <a:lnTo>
                      <a:pt x="22" y="48"/>
                    </a:lnTo>
                    <a:lnTo>
                      <a:pt x="24" y="45"/>
                    </a:lnTo>
                    <a:lnTo>
                      <a:pt x="25" y="42"/>
                    </a:lnTo>
                    <a:lnTo>
                      <a:pt x="25" y="40"/>
                    </a:lnTo>
                    <a:lnTo>
                      <a:pt x="26" y="36"/>
                    </a:lnTo>
                    <a:lnTo>
                      <a:pt x="28" y="35"/>
                    </a:lnTo>
                    <a:lnTo>
                      <a:pt x="31" y="35"/>
                    </a:lnTo>
                    <a:lnTo>
                      <a:pt x="31" y="35"/>
                    </a:lnTo>
                    <a:lnTo>
                      <a:pt x="34" y="33"/>
                    </a:lnTo>
                    <a:lnTo>
                      <a:pt x="33" y="32"/>
                    </a:lnTo>
                    <a:lnTo>
                      <a:pt x="34" y="30"/>
                    </a:lnTo>
                    <a:lnTo>
                      <a:pt x="35" y="28"/>
                    </a:lnTo>
                    <a:lnTo>
                      <a:pt x="36" y="25"/>
                    </a:lnTo>
                    <a:lnTo>
                      <a:pt x="37" y="22"/>
                    </a:lnTo>
                    <a:lnTo>
                      <a:pt x="37" y="20"/>
                    </a:lnTo>
                    <a:lnTo>
                      <a:pt x="37" y="20"/>
                    </a:lnTo>
                    <a:lnTo>
                      <a:pt x="34" y="17"/>
                    </a:lnTo>
                    <a:lnTo>
                      <a:pt x="33" y="13"/>
                    </a:lnTo>
                    <a:lnTo>
                      <a:pt x="33" y="7"/>
                    </a:lnTo>
                    <a:lnTo>
                      <a:pt x="35" y="5"/>
                    </a:lnTo>
                    <a:lnTo>
                      <a:pt x="35" y="3"/>
                    </a:lnTo>
                    <a:lnTo>
                      <a:pt x="33" y="2"/>
                    </a:lnTo>
                    <a:lnTo>
                      <a:pt x="31" y="3"/>
                    </a:lnTo>
                    <a:lnTo>
                      <a:pt x="28" y="5"/>
                    </a:lnTo>
                    <a:lnTo>
                      <a:pt x="26" y="5"/>
                    </a:lnTo>
                    <a:lnTo>
                      <a:pt x="26" y="7"/>
                    </a:lnTo>
                    <a:lnTo>
                      <a:pt x="26" y="6"/>
                    </a:lnTo>
                    <a:lnTo>
                      <a:pt x="25" y="3"/>
                    </a:lnTo>
                    <a:lnTo>
                      <a:pt x="19" y="0"/>
                    </a:lnTo>
                    <a:lnTo>
                      <a:pt x="11" y="1"/>
                    </a:lnTo>
                    <a:lnTo>
                      <a:pt x="11" y="5"/>
                    </a:lnTo>
                    <a:lnTo>
                      <a:pt x="9" y="10"/>
                    </a:lnTo>
                    <a:lnTo>
                      <a:pt x="9" y="16"/>
                    </a:lnTo>
                    <a:lnTo>
                      <a:pt x="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8" name="Freeform 154">
                <a:extLst>
                  <a:ext uri="{FF2B5EF4-FFF2-40B4-BE49-F238E27FC236}">
                    <a16:creationId xmlns:a16="http://schemas.microsoft.com/office/drawing/2014/main" id="{BF488BBB-E79E-4F7D-AE63-2B29FA11B9DC}"/>
                  </a:ext>
                </a:extLst>
              </p:cNvPr>
              <p:cNvSpPr>
                <a:spLocks/>
              </p:cNvSpPr>
              <p:nvPr/>
            </p:nvSpPr>
            <p:spPr bwMode="auto">
              <a:xfrm>
                <a:off x="5325" y="2917"/>
                <a:ext cx="44" cy="12"/>
              </a:xfrm>
              <a:custGeom>
                <a:avLst/>
                <a:gdLst>
                  <a:gd name="T0" fmla="*/ 3 w 44"/>
                  <a:gd name="T1" fmla="*/ 9 h 12"/>
                  <a:gd name="T2" fmla="*/ 4 w 44"/>
                  <a:gd name="T3" fmla="*/ 9 h 12"/>
                  <a:gd name="T4" fmla="*/ 8 w 44"/>
                  <a:gd name="T5" fmla="*/ 9 h 12"/>
                  <a:gd name="T6" fmla="*/ 10 w 44"/>
                  <a:gd name="T7" fmla="*/ 9 h 12"/>
                  <a:gd name="T8" fmla="*/ 16 w 44"/>
                  <a:gd name="T9" fmla="*/ 12 h 12"/>
                  <a:gd name="T10" fmla="*/ 21 w 44"/>
                  <a:gd name="T11" fmla="*/ 12 h 12"/>
                  <a:gd name="T12" fmla="*/ 24 w 44"/>
                  <a:gd name="T13" fmla="*/ 9 h 12"/>
                  <a:gd name="T14" fmla="*/ 26 w 44"/>
                  <a:gd name="T15" fmla="*/ 10 h 12"/>
                  <a:gd name="T16" fmla="*/ 29 w 44"/>
                  <a:gd name="T17" fmla="*/ 9 h 12"/>
                  <a:gd name="T18" fmla="*/ 31 w 44"/>
                  <a:gd name="T19" fmla="*/ 8 h 12"/>
                  <a:gd name="T20" fmla="*/ 37 w 44"/>
                  <a:gd name="T21" fmla="*/ 8 h 12"/>
                  <a:gd name="T22" fmla="*/ 41 w 44"/>
                  <a:gd name="T23" fmla="*/ 7 h 12"/>
                  <a:gd name="T24" fmla="*/ 42 w 44"/>
                  <a:gd name="T25" fmla="*/ 5 h 12"/>
                  <a:gd name="T26" fmla="*/ 44 w 44"/>
                  <a:gd name="T27" fmla="*/ 3 h 12"/>
                  <a:gd name="T28" fmla="*/ 44 w 44"/>
                  <a:gd name="T29" fmla="*/ 0 h 12"/>
                  <a:gd name="T30" fmla="*/ 41 w 44"/>
                  <a:gd name="T31" fmla="*/ 0 h 12"/>
                  <a:gd name="T32" fmla="*/ 41 w 44"/>
                  <a:gd name="T33" fmla="*/ 4 h 12"/>
                  <a:gd name="T34" fmla="*/ 38 w 44"/>
                  <a:gd name="T35" fmla="*/ 4 h 12"/>
                  <a:gd name="T36" fmla="*/ 37 w 44"/>
                  <a:gd name="T37" fmla="*/ 7 h 12"/>
                  <a:gd name="T38" fmla="*/ 34 w 44"/>
                  <a:gd name="T39" fmla="*/ 7 h 12"/>
                  <a:gd name="T40" fmla="*/ 30 w 44"/>
                  <a:gd name="T41" fmla="*/ 5 h 12"/>
                  <a:gd name="T42" fmla="*/ 27 w 44"/>
                  <a:gd name="T43" fmla="*/ 5 h 12"/>
                  <a:gd name="T44" fmla="*/ 25 w 44"/>
                  <a:gd name="T45" fmla="*/ 6 h 12"/>
                  <a:gd name="T46" fmla="*/ 21 w 44"/>
                  <a:gd name="T47" fmla="*/ 6 h 12"/>
                  <a:gd name="T48" fmla="*/ 17 w 44"/>
                  <a:gd name="T49" fmla="*/ 4 h 12"/>
                  <a:gd name="T50" fmla="*/ 8 w 44"/>
                  <a:gd name="T51" fmla="*/ 3 h 12"/>
                  <a:gd name="T52" fmla="*/ 5 w 44"/>
                  <a:gd name="T53" fmla="*/ 3 h 12"/>
                  <a:gd name="T54" fmla="*/ 0 w 44"/>
                  <a:gd name="T55" fmla="*/ 6 h 12"/>
                  <a:gd name="T56" fmla="*/ 0 w 44"/>
                  <a:gd name="T57" fmla="*/ 9 h 12"/>
                  <a:gd name="T58" fmla="*/ 3 w 44"/>
                  <a:gd name="T59" fmla="*/ 9 h 12"/>
                  <a:gd name="T60" fmla="*/ 3 w 44"/>
                  <a:gd name="T6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12">
                    <a:moveTo>
                      <a:pt x="3" y="9"/>
                    </a:moveTo>
                    <a:lnTo>
                      <a:pt x="4" y="9"/>
                    </a:lnTo>
                    <a:lnTo>
                      <a:pt x="8" y="9"/>
                    </a:lnTo>
                    <a:lnTo>
                      <a:pt x="10" y="9"/>
                    </a:lnTo>
                    <a:lnTo>
                      <a:pt x="16" y="12"/>
                    </a:lnTo>
                    <a:lnTo>
                      <a:pt x="21" y="12"/>
                    </a:lnTo>
                    <a:lnTo>
                      <a:pt x="24" y="9"/>
                    </a:lnTo>
                    <a:lnTo>
                      <a:pt x="26" y="10"/>
                    </a:lnTo>
                    <a:lnTo>
                      <a:pt x="29" y="9"/>
                    </a:lnTo>
                    <a:lnTo>
                      <a:pt x="31" y="8"/>
                    </a:lnTo>
                    <a:lnTo>
                      <a:pt x="37" y="8"/>
                    </a:lnTo>
                    <a:lnTo>
                      <a:pt x="41" y="7"/>
                    </a:lnTo>
                    <a:lnTo>
                      <a:pt x="42" y="5"/>
                    </a:lnTo>
                    <a:lnTo>
                      <a:pt x="44" y="3"/>
                    </a:lnTo>
                    <a:lnTo>
                      <a:pt x="44" y="0"/>
                    </a:lnTo>
                    <a:lnTo>
                      <a:pt x="41" y="0"/>
                    </a:lnTo>
                    <a:lnTo>
                      <a:pt x="41" y="4"/>
                    </a:lnTo>
                    <a:lnTo>
                      <a:pt x="38" y="4"/>
                    </a:lnTo>
                    <a:lnTo>
                      <a:pt x="37" y="7"/>
                    </a:lnTo>
                    <a:lnTo>
                      <a:pt x="34" y="7"/>
                    </a:lnTo>
                    <a:lnTo>
                      <a:pt x="30" y="5"/>
                    </a:lnTo>
                    <a:lnTo>
                      <a:pt x="27" y="5"/>
                    </a:lnTo>
                    <a:lnTo>
                      <a:pt x="25" y="6"/>
                    </a:lnTo>
                    <a:lnTo>
                      <a:pt x="21" y="6"/>
                    </a:lnTo>
                    <a:lnTo>
                      <a:pt x="17" y="4"/>
                    </a:lnTo>
                    <a:lnTo>
                      <a:pt x="8" y="3"/>
                    </a:lnTo>
                    <a:lnTo>
                      <a:pt x="5" y="3"/>
                    </a:lnTo>
                    <a:lnTo>
                      <a:pt x="0" y="6"/>
                    </a:lnTo>
                    <a:lnTo>
                      <a:pt x="0" y="9"/>
                    </a:lnTo>
                    <a:lnTo>
                      <a:pt x="3" y="9"/>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9" name="Freeform 155">
                <a:extLst>
                  <a:ext uri="{FF2B5EF4-FFF2-40B4-BE49-F238E27FC236}">
                    <a16:creationId xmlns:a16="http://schemas.microsoft.com/office/drawing/2014/main" id="{A1F96B53-B461-4A02-9E64-190C76F0958A}"/>
                  </a:ext>
                </a:extLst>
              </p:cNvPr>
              <p:cNvSpPr>
                <a:spLocks/>
              </p:cNvSpPr>
              <p:nvPr/>
            </p:nvSpPr>
            <p:spPr bwMode="auto">
              <a:xfrm>
                <a:off x="5329" y="2452"/>
                <a:ext cx="25" cy="49"/>
              </a:xfrm>
              <a:custGeom>
                <a:avLst/>
                <a:gdLst>
                  <a:gd name="T0" fmla="*/ 23 w 25"/>
                  <a:gd name="T1" fmla="*/ 15 h 49"/>
                  <a:gd name="T2" fmla="*/ 24 w 25"/>
                  <a:gd name="T3" fmla="*/ 12 h 49"/>
                  <a:gd name="T4" fmla="*/ 24 w 25"/>
                  <a:gd name="T5" fmla="*/ 5 h 49"/>
                  <a:gd name="T6" fmla="*/ 25 w 25"/>
                  <a:gd name="T7" fmla="*/ 4 h 49"/>
                  <a:gd name="T8" fmla="*/ 23 w 25"/>
                  <a:gd name="T9" fmla="*/ 2 h 49"/>
                  <a:gd name="T10" fmla="*/ 20 w 25"/>
                  <a:gd name="T11" fmla="*/ 0 h 49"/>
                  <a:gd name="T12" fmla="*/ 16 w 25"/>
                  <a:gd name="T13" fmla="*/ 2 h 49"/>
                  <a:gd name="T14" fmla="*/ 14 w 25"/>
                  <a:gd name="T15" fmla="*/ 3 h 49"/>
                  <a:gd name="T16" fmla="*/ 13 w 25"/>
                  <a:gd name="T17" fmla="*/ 5 h 49"/>
                  <a:gd name="T18" fmla="*/ 11 w 25"/>
                  <a:gd name="T19" fmla="*/ 9 h 49"/>
                  <a:gd name="T20" fmla="*/ 7 w 25"/>
                  <a:gd name="T21" fmla="*/ 12 h 49"/>
                  <a:gd name="T22" fmla="*/ 0 w 25"/>
                  <a:gd name="T23" fmla="*/ 24 h 49"/>
                  <a:gd name="T24" fmla="*/ 0 w 25"/>
                  <a:gd name="T25" fmla="*/ 29 h 49"/>
                  <a:gd name="T26" fmla="*/ 0 w 25"/>
                  <a:gd name="T27" fmla="*/ 32 h 49"/>
                  <a:gd name="T28" fmla="*/ 4 w 25"/>
                  <a:gd name="T29" fmla="*/ 41 h 49"/>
                  <a:gd name="T30" fmla="*/ 7 w 25"/>
                  <a:gd name="T31" fmla="*/ 43 h 49"/>
                  <a:gd name="T32" fmla="*/ 8 w 25"/>
                  <a:gd name="T33" fmla="*/ 49 h 49"/>
                  <a:gd name="T34" fmla="*/ 11 w 25"/>
                  <a:gd name="T35" fmla="*/ 46 h 49"/>
                  <a:gd name="T36" fmla="*/ 12 w 25"/>
                  <a:gd name="T37" fmla="*/ 42 h 49"/>
                  <a:gd name="T38" fmla="*/ 13 w 25"/>
                  <a:gd name="T39" fmla="*/ 38 h 49"/>
                  <a:gd name="T40" fmla="*/ 17 w 25"/>
                  <a:gd name="T41" fmla="*/ 34 h 49"/>
                  <a:gd name="T42" fmla="*/ 18 w 25"/>
                  <a:gd name="T43" fmla="*/ 32 h 49"/>
                  <a:gd name="T44" fmla="*/ 22 w 25"/>
                  <a:gd name="T45" fmla="*/ 17 h 49"/>
                  <a:gd name="T46" fmla="*/ 23 w 25"/>
                  <a:gd name="T47" fmla="*/ 15 h 49"/>
                  <a:gd name="T48" fmla="*/ 23 w 25"/>
                  <a:gd name="T49"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9">
                    <a:moveTo>
                      <a:pt x="23" y="15"/>
                    </a:moveTo>
                    <a:lnTo>
                      <a:pt x="24" y="12"/>
                    </a:lnTo>
                    <a:lnTo>
                      <a:pt x="24" y="5"/>
                    </a:lnTo>
                    <a:lnTo>
                      <a:pt x="25" y="4"/>
                    </a:lnTo>
                    <a:lnTo>
                      <a:pt x="23" y="2"/>
                    </a:lnTo>
                    <a:lnTo>
                      <a:pt x="20" y="0"/>
                    </a:lnTo>
                    <a:lnTo>
                      <a:pt x="16" y="2"/>
                    </a:lnTo>
                    <a:lnTo>
                      <a:pt x="14" y="3"/>
                    </a:lnTo>
                    <a:lnTo>
                      <a:pt x="13" y="5"/>
                    </a:lnTo>
                    <a:lnTo>
                      <a:pt x="11" y="9"/>
                    </a:lnTo>
                    <a:lnTo>
                      <a:pt x="7" y="12"/>
                    </a:lnTo>
                    <a:lnTo>
                      <a:pt x="0" y="24"/>
                    </a:lnTo>
                    <a:lnTo>
                      <a:pt x="0" y="29"/>
                    </a:lnTo>
                    <a:lnTo>
                      <a:pt x="0" y="32"/>
                    </a:lnTo>
                    <a:lnTo>
                      <a:pt x="4" y="41"/>
                    </a:lnTo>
                    <a:lnTo>
                      <a:pt x="7" y="43"/>
                    </a:lnTo>
                    <a:lnTo>
                      <a:pt x="8" y="49"/>
                    </a:lnTo>
                    <a:lnTo>
                      <a:pt x="11" y="46"/>
                    </a:lnTo>
                    <a:lnTo>
                      <a:pt x="12" y="42"/>
                    </a:lnTo>
                    <a:lnTo>
                      <a:pt x="13" y="38"/>
                    </a:lnTo>
                    <a:lnTo>
                      <a:pt x="17" y="34"/>
                    </a:lnTo>
                    <a:lnTo>
                      <a:pt x="18" y="32"/>
                    </a:lnTo>
                    <a:lnTo>
                      <a:pt x="22" y="17"/>
                    </a:lnTo>
                    <a:lnTo>
                      <a:pt x="23" y="15"/>
                    </a:lnTo>
                    <a:lnTo>
                      <a:pt x="2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0" name="Freeform 156">
                <a:extLst>
                  <a:ext uri="{FF2B5EF4-FFF2-40B4-BE49-F238E27FC236}">
                    <a16:creationId xmlns:a16="http://schemas.microsoft.com/office/drawing/2014/main" id="{DA4ABA88-EB9F-4068-BFC1-11A83FA24864}"/>
                  </a:ext>
                </a:extLst>
              </p:cNvPr>
              <p:cNvSpPr>
                <a:spLocks/>
              </p:cNvSpPr>
              <p:nvPr/>
            </p:nvSpPr>
            <p:spPr bwMode="auto">
              <a:xfrm>
                <a:off x="5333" y="2619"/>
                <a:ext cx="17" cy="19"/>
              </a:xfrm>
              <a:custGeom>
                <a:avLst/>
                <a:gdLst>
                  <a:gd name="T0" fmla="*/ 14 w 17"/>
                  <a:gd name="T1" fmla="*/ 15 h 19"/>
                  <a:gd name="T2" fmla="*/ 17 w 17"/>
                  <a:gd name="T3" fmla="*/ 12 h 19"/>
                  <a:gd name="T4" fmla="*/ 16 w 17"/>
                  <a:gd name="T5" fmla="*/ 11 h 19"/>
                  <a:gd name="T6" fmla="*/ 16 w 17"/>
                  <a:gd name="T7" fmla="*/ 6 h 19"/>
                  <a:gd name="T8" fmla="*/ 13 w 17"/>
                  <a:gd name="T9" fmla="*/ 4 h 19"/>
                  <a:gd name="T10" fmla="*/ 8 w 17"/>
                  <a:gd name="T11" fmla="*/ 0 h 19"/>
                  <a:gd name="T12" fmla="*/ 4 w 17"/>
                  <a:gd name="T13" fmla="*/ 2 h 19"/>
                  <a:gd name="T14" fmla="*/ 2 w 17"/>
                  <a:gd name="T15" fmla="*/ 0 h 19"/>
                  <a:gd name="T16" fmla="*/ 0 w 17"/>
                  <a:gd name="T17" fmla="*/ 2 h 19"/>
                  <a:gd name="T18" fmla="*/ 1 w 17"/>
                  <a:gd name="T19" fmla="*/ 2 h 19"/>
                  <a:gd name="T20" fmla="*/ 3 w 17"/>
                  <a:gd name="T21" fmla="*/ 5 h 19"/>
                  <a:gd name="T22" fmla="*/ 4 w 17"/>
                  <a:gd name="T23" fmla="*/ 6 h 19"/>
                  <a:gd name="T24" fmla="*/ 5 w 17"/>
                  <a:gd name="T25" fmla="*/ 8 h 19"/>
                  <a:gd name="T26" fmla="*/ 5 w 17"/>
                  <a:gd name="T27" fmla="*/ 12 h 19"/>
                  <a:gd name="T28" fmla="*/ 7 w 17"/>
                  <a:gd name="T29" fmla="*/ 12 h 19"/>
                  <a:gd name="T30" fmla="*/ 8 w 17"/>
                  <a:gd name="T31" fmla="*/ 15 h 19"/>
                  <a:gd name="T32" fmla="*/ 10 w 17"/>
                  <a:gd name="T33" fmla="*/ 17 h 19"/>
                  <a:gd name="T34" fmla="*/ 12 w 17"/>
                  <a:gd name="T35" fmla="*/ 19 h 19"/>
                  <a:gd name="T36" fmla="*/ 13 w 17"/>
                  <a:gd name="T37" fmla="*/ 17 h 19"/>
                  <a:gd name="T38" fmla="*/ 14 w 17"/>
                  <a:gd name="T39" fmla="*/ 17 h 19"/>
                  <a:gd name="T40" fmla="*/ 14 w 17"/>
                  <a:gd name="T41" fmla="*/ 15 h 19"/>
                  <a:gd name="T42" fmla="*/ 14 w 17"/>
                  <a:gd name="T4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15"/>
                    </a:moveTo>
                    <a:lnTo>
                      <a:pt x="17" y="12"/>
                    </a:lnTo>
                    <a:lnTo>
                      <a:pt x="16" y="11"/>
                    </a:lnTo>
                    <a:lnTo>
                      <a:pt x="16" y="6"/>
                    </a:lnTo>
                    <a:lnTo>
                      <a:pt x="13" y="4"/>
                    </a:lnTo>
                    <a:lnTo>
                      <a:pt x="8" y="0"/>
                    </a:lnTo>
                    <a:lnTo>
                      <a:pt x="4" y="2"/>
                    </a:lnTo>
                    <a:lnTo>
                      <a:pt x="2" y="0"/>
                    </a:lnTo>
                    <a:lnTo>
                      <a:pt x="0" y="2"/>
                    </a:lnTo>
                    <a:lnTo>
                      <a:pt x="1" y="2"/>
                    </a:lnTo>
                    <a:lnTo>
                      <a:pt x="3" y="5"/>
                    </a:lnTo>
                    <a:lnTo>
                      <a:pt x="4" y="6"/>
                    </a:lnTo>
                    <a:lnTo>
                      <a:pt x="5" y="8"/>
                    </a:lnTo>
                    <a:lnTo>
                      <a:pt x="5" y="12"/>
                    </a:lnTo>
                    <a:lnTo>
                      <a:pt x="7" y="12"/>
                    </a:lnTo>
                    <a:lnTo>
                      <a:pt x="8" y="15"/>
                    </a:lnTo>
                    <a:lnTo>
                      <a:pt x="10" y="17"/>
                    </a:lnTo>
                    <a:lnTo>
                      <a:pt x="12" y="19"/>
                    </a:lnTo>
                    <a:lnTo>
                      <a:pt x="13" y="17"/>
                    </a:lnTo>
                    <a:lnTo>
                      <a:pt x="14" y="17"/>
                    </a:lnTo>
                    <a:lnTo>
                      <a:pt x="14" y="15"/>
                    </a:lnTo>
                    <a:lnTo>
                      <a:pt x="1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1" name="Freeform 157">
                <a:extLst>
                  <a:ext uri="{FF2B5EF4-FFF2-40B4-BE49-F238E27FC236}">
                    <a16:creationId xmlns:a16="http://schemas.microsoft.com/office/drawing/2014/main" id="{ACD0735C-0437-40CB-A0D9-A7CB33EDBD21}"/>
                  </a:ext>
                </a:extLst>
              </p:cNvPr>
              <p:cNvSpPr>
                <a:spLocks/>
              </p:cNvSpPr>
              <p:nvPr/>
            </p:nvSpPr>
            <p:spPr bwMode="auto">
              <a:xfrm>
                <a:off x="5353" y="2641"/>
                <a:ext cx="18" cy="21"/>
              </a:xfrm>
              <a:custGeom>
                <a:avLst/>
                <a:gdLst>
                  <a:gd name="T0" fmla="*/ 10 w 18"/>
                  <a:gd name="T1" fmla="*/ 6 h 21"/>
                  <a:gd name="T2" fmla="*/ 7 w 18"/>
                  <a:gd name="T3" fmla="*/ 3 h 21"/>
                  <a:gd name="T4" fmla="*/ 2 w 18"/>
                  <a:gd name="T5" fmla="*/ 0 h 21"/>
                  <a:gd name="T6" fmla="*/ 0 w 18"/>
                  <a:gd name="T7" fmla="*/ 2 h 21"/>
                  <a:gd name="T8" fmla="*/ 3 w 18"/>
                  <a:gd name="T9" fmla="*/ 3 h 21"/>
                  <a:gd name="T10" fmla="*/ 3 w 18"/>
                  <a:gd name="T11" fmla="*/ 6 h 21"/>
                  <a:gd name="T12" fmla="*/ 2 w 18"/>
                  <a:gd name="T13" fmla="*/ 14 h 21"/>
                  <a:gd name="T14" fmla="*/ 1 w 18"/>
                  <a:gd name="T15" fmla="*/ 16 h 21"/>
                  <a:gd name="T16" fmla="*/ 2 w 18"/>
                  <a:gd name="T17" fmla="*/ 21 h 21"/>
                  <a:gd name="T18" fmla="*/ 6 w 18"/>
                  <a:gd name="T19" fmla="*/ 18 h 21"/>
                  <a:gd name="T20" fmla="*/ 10 w 18"/>
                  <a:gd name="T21" fmla="*/ 18 h 21"/>
                  <a:gd name="T22" fmla="*/ 14 w 18"/>
                  <a:gd name="T23" fmla="*/ 14 h 21"/>
                  <a:gd name="T24" fmla="*/ 15 w 18"/>
                  <a:gd name="T25" fmla="*/ 14 h 21"/>
                  <a:gd name="T26" fmla="*/ 17 w 18"/>
                  <a:gd name="T27" fmla="*/ 10 h 21"/>
                  <a:gd name="T28" fmla="*/ 18 w 18"/>
                  <a:gd name="T29" fmla="*/ 7 h 21"/>
                  <a:gd name="T30" fmla="*/ 17 w 18"/>
                  <a:gd name="T31" fmla="*/ 6 h 21"/>
                  <a:gd name="T32" fmla="*/ 15 w 18"/>
                  <a:gd name="T33" fmla="*/ 8 h 21"/>
                  <a:gd name="T34" fmla="*/ 15 w 18"/>
                  <a:gd name="T35" fmla="*/ 6 h 21"/>
                  <a:gd name="T36" fmla="*/ 10 w 18"/>
                  <a:gd name="T37" fmla="*/ 6 h 21"/>
                  <a:gd name="T38" fmla="*/ 10 w 18"/>
                  <a:gd name="T3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1">
                    <a:moveTo>
                      <a:pt x="10" y="6"/>
                    </a:moveTo>
                    <a:lnTo>
                      <a:pt x="7" y="3"/>
                    </a:lnTo>
                    <a:lnTo>
                      <a:pt x="2" y="0"/>
                    </a:lnTo>
                    <a:lnTo>
                      <a:pt x="0" y="2"/>
                    </a:lnTo>
                    <a:lnTo>
                      <a:pt x="3" y="3"/>
                    </a:lnTo>
                    <a:lnTo>
                      <a:pt x="3" y="6"/>
                    </a:lnTo>
                    <a:lnTo>
                      <a:pt x="2" y="14"/>
                    </a:lnTo>
                    <a:lnTo>
                      <a:pt x="1" y="16"/>
                    </a:lnTo>
                    <a:lnTo>
                      <a:pt x="2" y="21"/>
                    </a:lnTo>
                    <a:lnTo>
                      <a:pt x="6" y="18"/>
                    </a:lnTo>
                    <a:lnTo>
                      <a:pt x="10" y="18"/>
                    </a:lnTo>
                    <a:lnTo>
                      <a:pt x="14" y="14"/>
                    </a:lnTo>
                    <a:lnTo>
                      <a:pt x="15" y="14"/>
                    </a:lnTo>
                    <a:lnTo>
                      <a:pt x="17" y="10"/>
                    </a:lnTo>
                    <a:lnTo>
                      <a:pt x="18" y="7"/>
                    </a:lnTo>
                    <a:lnTo>
                      <a:pt x="17" y="6"/>
                    </a:lnTo>
                    <a:lnTo>
                      <a:pt x="15" y="8"/>
                    </a:lnTo>
                    <a:lnTo>
                      <a:pt x="15" y="6"/>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2" name="Freeform 158">
                <a:extLst>
                  <a:ext uri="{FF2B5EF4-FFF2-40B4-BE49-F238E27FC236}">
                    <a16:creationId xmlns:a16="http://schemas.microsoft.com/office/drawing/2014/main" id="{B037896F-9468-4897-9E9B-16B57D6F9D27}"/>
                  </a:ext>
                </a:extLst>
              </p:cNvPr>
              <p:cNvSpPr>
                <a:spLocks/>
              </p:cNvSpPr>
              <p:nvPr/>
            </p:nvSpPr>
            <p:spPr bwMode="auto">
              <a:xfrm>
                <a:off x="5354" y="2673"/>
                <a:ext cx="64" cy="56"/>
              </a:xfrm>
              <a:custGeom>
                <a:avLst/>
                <a:gdLst>
                  <a:gd name="T0" fmla="*/ 2 w 64"/>
                  <a:gd name="T1" fmla="*/ 27 h 56"/>
                  <a:gd name="T2" fmla="*/ 0 w 64"/>
                  <a:gd name="T3" fmla="*/ 35 h 56"/>
                  <a:gd name="T4" fmla="*/ 4 w 64"/>
                  <a:gd name="T5" fmla="*/ 37 h 56"/>
                  <a:gd name="T6" fmla="*/ 7 w 64"/>
                  <a:gd name="T7" fmla="*/ 31 h 56"/>
                  <a:gd name="T8" fmla="*/ 9 w 64"/>
                  <a:gd name="T9" fmla="*/ 26 h 56"/>
                  <a:gd name="T10" fmla="*/ 13 w 64"/>
                  <a:gd name="T11" fmla="*/ 28 h 56"/>
                  <a:gd name="T12" fmla="*/ 15 w 64"/>
                  <a:gd name="T13" fmla="*/ 29 h 56"/>
                  <a:gd name="T14" fmla="*/ 18 w 64"/>
                  <a:gd name="T15" fmla="*/ 29 h 56"/>
                  <a:gd name="T16" fmla="*/ 22 w 64"/>
                  <a:gd name="T17" fmla="*/ 28 h 56"/>
                  <a:gd name="T18" fmla="*/ 24 w 64"/>
                  <a:gd name="T19" fmla="*/ 26 h 56"/>
                  <a:gd name="T20" fmla="*/ 31 w 64"/>
                  <a:gd name="T21" fmla="*/ 31 h 56"/>
                  <a:gd name="T22" fmla="*/ 31 w 64"/>
                  <a:gd name="T23" fmla="*/ 34 h 56"/>
                  <a:gd name="T24" fmla="*/ 29 w 64"/>
                  <a:gd name="T25" fmla="*/ 37 h 56"/>
                  <a:gd name="T26" fmla="*/ 30 w 64"/>
                  <a:gd name="T27" fmla="*/ 44 h 56"/>
                  <a:gd name="T28" fmla="*/ 35 w 64"/>
                  <a:gd name="T29" fmla="*/ 49 h 56"/>
                  <a:gd name="T30" fmla="*/ 43 w 64"/>
                  <a:gd name="T31" fmla="*/ 52 h 56"/>
                  <a:gd name="T32" fmla="*/ 47 w 64"/>
                  <a:gd name="T33" fmla="*/ 49 h 56"/>
                  <a:gd name="T34" fmla="*/ 46 w 64"/>
                  <a:gd name="T35" fmla="*/ 54 h 56"/>
                  <a:gd name="T36" fmla="*/ 48 w 64"/>
                  <a:gd name="T37" fmla="*/ 56 h 56"/>
                  <a:gd name="T38" fmla="*/ 52 w 64"/>
                  <a:gd name="T39" fmla="*/ 48 h 56"/>
                  <a:gd name="T40" fmla="*/ 48 w 64"/>
                  <a:gd name="T41" fmla="*/ 40 h 56"/>
                  <a:gd name="T42" fmla="*/ 51 w 64"/>
                  <a:gd name="T43" fmla="*/ 36 h 56"/>
                  <a:gd name="T44" fmla="*/ 53 w 64"/>
                  <a:gd name="T45" fmla="*/ 34 h 56"/>
                  <a:gd name="T46" fmla="*/ 58 w 64"/>
                  <a:gd name="T47" fmla="*/ 44 h 56"/>
                  <a:gd name="T48" fmla="*/ 59 w 64"/>
                  <a:gd name="T49" fmla="*/ 46 h 56"/>
                  <a:gd name="T50" fmla="*/ 60 w 64"/>
                  <a:gd name="T51" fmla="*/ 37 h 56"/>
                  <a:gd name="T52" fmla="*/ 64 w 64"/>
                  <a:gd name="T53" fmla="*/ 32 h 56"/>
                  <a:gd name="T54" fmla="*/ 64 w 64"/>
                  <a:gd name="T55" fmla="*/ 28 h 56"/>
                  <a:gd name="T56" fmla="*/ 61 w 64"/>
                  <a:gd name="T57" fmla="*/ 25 h 56"/>
                  <a:gd name="T58" fmla="*/ 63 w 64"/>
                  <a:gd name="T59" fmla="*/ 20 h 56"/>
                  <a:gd name="T60" fmla="*/ 60 w 64"/>
                  <a:gd name="T61" fmla="*/ 18 h 56"/>
                  <a:gd name="T62" fmla="*/ 57 w 64"/>
                  <a:gd name="T63" fmla="*/ 14 h 56"/>
                  <a:gd name="T64" fmla="*/ 58 w 64"/>
                  <a:gd name="T65" fmla="*/ 8 h 56"/>
                  <a:gd name="T66" fmla="*/ 57 w 64"/>
                  <a:gd name="T67" fmla="*/ 5 h 56"/>
                  <a:gd name="T68" fmla="*/ 55 w 64"/>
                  <a:gd name="T69" fmla="*/ 2 h 56"/>
                  <a:gd name="T70" fmla="*/ 48 w 64"/>
                  <a:gd name="T71" fmla="*/ 1 h 56"/>
                  <a:gd name="T72" fmla="*/ 50 w 64"/>
                  <a:gd name="T73" fmla="*/ 9 h 56"/>
                  <a:gd name="T74" fmla="*/ 46 w 64"/>
                  <a:gd name="T75" fmla="*/ 8 h 56"/>
                  <a:gd name="T76" fmla="*/ 42 w 64"/>
                  <a:gd name="T77" fmla="*/ 10 h 56"/>
                  <a:gd name="T78" fmla="*/ 39 w 64"/>
                  <a:gd name="T79" fmla="*/ 16 h 56"/>
                  <a:gd name="T80" fmla="*/ 35 w 64"/>
                  <a:gd name="T81" fmla="*/ 14 h 56"/>
                  <a:gd name="T82" fmla="*/ 32 w 64"/>
                  <a:gd name="T83" fmla="*/ 19 h 56"/>
                  <a:gd name="T84" fmla="*/ 29 w 64"/>
                  <a:gd name="T85" fmla="*/ 20 h 56"/>
                  <a:gd name="T86" fmla="*/ 24 w 64"/>
                  <a:gd name="T87" fmla="*/ 23 h 56"/>
                  <a:gd name="T88" fmla="*/ 25 w 64"/>
                  <a:gd name="T89" fmla="*/ 22 h 56"/>
                  <a:gd name="T90" fmla="*/ 26 w 64"/>
                  <a:gd name="T91" fmla="*/ 17 h 56"/>
                  <a:gd name="T92" fmla="*/ 21 w 64"/>
                  <a:gd name="T93" fmla="*/ 14 h 56"/>
                  <a:gd name="T94" fmla="*/ 15 w 64"/>
                  <a:gd name="T95" fmla="*/ 18 h 56"/>
                  <a:gd name="T96" fmla="*/ 13 w 64"/>
                  <a:gd name="T97" fmla="*/ 21 h 56"/>
                  <a:gd name="T98" fmla="*/ 5 w 64"/>
                  <a:gd name="T99"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56">
                    <a:moveTo>
                      <a:pt x="5" y="22"/>
                    </a:moveTo>
                    <a:lnTo>
                      <a:pt x="2" y="27"/>
                    </a:lnTo>
                    <a:lnTo>
                      <a:pt x="2" y="29"/>
                    </a:lnTo>
                    <a:lnTo>
                      <a:pt x="0" y="35"/>
                    </a:lnTo>
                    <a:lnTo>
                      <a:pt x="1" y="37"/>
                    </a:lnTo>
                    <a:lnTo>
                      <a:pt x="4" y="37"/>
                    </a:lnTo>
                    <a:lnTo>
                      <a:pt x="5" y="34"/>
                    </a:lnTo>
                    <a:lnTo>
                      <a:pt x="7" y="31"/>
                    </a:lnTo>
                    <a:lnTo>
                      <a:pt x="7" y="29"/>
                    </a:lnTo>
                    <a:lnTo>
                      <a:pt x="9" y="26"/>
                    </a:lnTo>
                    <a:lnTo>
                      <a:pt x="13" y="27"/>
                    </a:lnTo>
                    <a:lnTo>
                      <a:pt x="13" y="28"/>
                    </a:lnTo>
                    <a:lnTo>
                      <a:pt x="13" y="30"/>
                    </a:lnTo>
                    <a:lnTo>
                      <a:pt x="15" y="29"/>
                    </a:lnTo>
                    <a:lnTo>
                      <a:pt x="17" y="27"/>
                    </a:lnTo>
                    <a:lnTo>
                      <a:pt x="18" y="29"/>
                    </a:lnTo>
                    <a:lnTo>
                      <a:pt x="22" y="30"/>
                    </a:lnTo>
                    <a:lnTo>
                      <a:pt x="22" y="28"/>
                    </a:lnTo>
                    <a:lnTo>
                      <a:pt x="22" y="26"/>
                    </a:lnTo>
                    <a:lnTo>
                      <a:pt x="24" y="26"/>
                    </a:lnTo>
                    <a:lnTo>
                      <a:pt x="30" y="28"/>
                    </a:lnTo>
                    <a:lnTo>
                      <a:pt x="31" y="31"/>
                    </a:lnTo>
                    <a:lnTo>
                      <a:pt x="32" y="34"/>
                    </a:lnTo>
                    <a:lnTo>
                      <a:pt x="31" y="34"/>
                    </a:lnTo>
                    <a:lnTo>
                      <a:pt x="30" y="35"/>
                    </a:lnTo>
                    <a:lnTo>
                      <a:pt x="29" y="37"/>
                    </a:lnTo>
                    <a:lnTo>
                      <a:pt x="30" y="39"/>
                    </a:lnTo>
                    <a:lnTo>
                      <a:pt x="30" y="44"/>
                    </a:lnTo>
                    <a:lnTo>
                      <a:pt x="31" y="47"/>
                    </a:lnTo>
                    <a:lnTo>
                      <a:pt x="35" y="49"/>
                    </a:lnTo>
                    <a:lnTo>
                      <a:pt x="41" y="52"/>
                    </a:lnTo>
                    <a:lnTo>
                      <a:pt x="43" y="52"/>
                    </a:lnTo>
                    <a:lnTo>
                      <a:pt x="46" y="49"/>
                    </a:lnTo>
                    <a:lnTo>
                      <a:pt x="47" y="49"/>
                    </a:lnTo>
                    <a:lnTo>
                      <a:pt x="46" y="53"/>
                    </a:lnTo>
                    <a:lnTo>
                      <a:pt x="46" y="54"/>
                    </a:lnTo>
                    <a:lnTo>
                      <a:pt x="47" y="56"/>
                    </a:lnTo>
                    <a:lnTo>
                      <a:pt x="48" y="56"/>
                    </a:lnTo>
                    <a:lnTo>
                      <a:pt x="52" y="51"/>
                    </a:lnTo>
                    <a:lnTo>
                      <a:pt x="52" y="48"/>
                    </a:lnTo>
                    <a:lnTo>
                      <a:pt x="50" y="44"/>
                    </a:lnTo>
                    <a:lnTo>
                      <a:pt x="48" y="40"/>
                    </a:lnTo>
                    <a:lnTo>
                      <a:pt x="49" y="39"/>
                    </a:lnTo>
                    <a:lnTo>
                      <a:pt x="51" y="36"/>
                    </a:lnTo>
                    <a:lnTo>
                      <a:pt x="52" y="32"/>
                    </a:lnTo>
                    <a:lnTo>
                      <a:pt x="53" y="34"/>
                    </a:lnTo>
                    <a:lnTo>
                      <a:pt x="57" y="38"/>
                    </a:lnTo>
                    <a:lnTo>
                      <a:pt x="58" y="44"/>
                    </a:lnTo>
                    <a:lnTo>
                      <a:pt x="59" y="46"/>
                    </a:lnTo>
                    <a:lnTo>
                      <a:pt x="59" y="46"/>
                    </a:lnTo>
                    <a:lnTo>
                      <a:pt x="59" y="39"/>
                    </a:lnTo>
                    <a:lnTo>
                      <a:pt x="60" y="37"/>
                    </a:lnTo>
                    <a:lnTo>
                      <a:pt x="63" y="35"/>
                    </a:lnTo>
                    <a:lnTo>
                      <a:pt x="64" y="32"/>
                    </a:lnTo>
                    <a:lnTo>
                      <a:pt x="64" y="31"/>
                    </a:lnTo>
                    <a:lnTo>
                      <a:pt x="64" y="28"/>
                    </a:lnTo>
                    <a:lnTo>
                      <a:pt x="63" y="26"/>
                    </a:lnTo>
                    <a:lnTo>
                      <a:pt x="61" y="25"/>
                    </a:lnTo>
                    <a:lnTo>
                      <a:pt x="61" y="22"/>
                    </a:lnTo>
                    <a:lnTo>
                      <a:pt x="63" y="20"/>
                    </a:lnTo>
                    <a:lnTo>
                      <a:pt x="60" y="20"/>
                    </a:lnTo>
                    <a:lnTo>
                      <a:pt x="60" y="18"/>
                    </a:lnTo>
                    <a:lnTo>
                      <a:pt x="60" y="16"/>
                    </a:lnTo>
                    <a:lnTo>
                      <a:pt x="57" y="14"/>
                    </a:lnTo>
                    <a:lnTo>
                      <a:pt x="60" y="12"/>
                    </a:lnTo>
                    <a:lnTo>
                      <a:pt x="58" y="8"/>
                    </a:lnTo>
                    <a:lnTo>
                      <a:pt x="59" y="5"/>
                    </a:lnTo>
                    <a:lnTo>
                      <a:pt x="57" y="5"/>
                    </a:lnTo>
                    <a:lnTo>
                      <a:pt x="56" y="5"/>
                    </a:lnTo>
                    <a:lnTo>
                      <a:pt x="55" y="2"/>
                    </a:lnTo>
                    <a:lnTo>
                      <a:pt x="50" y="0"/>
                    </a:lnTo>
                    <a:lnTo>
                      <a:pt x="48" y="1"/>
                    </a:lnTo>
                    <a:lnTo>
                      <a:pt x="50" y="6"/>
                    </a:lnTo>
                    <a:lnTo>
                      <a:pt x="50" y="9"/>
                    </a:lnTo>
                    <a:lnTo>
                      <a:pt x="48" y="9"/>
                    </a:lnTo>
                    <a:lnTo>
                      <a:pt x="46" y="8"/>
                    </a:lnTo>
                    <a:lnTo>
                      <a:pt x="44" y="11"/>
                    </a:lnTo>
                    <a:lnTo>
                      <a:pt x="42" y="10"/>
                    </a:lnTo>
                    <a:lnTo>
                      <a:pt x="40" y="10"/>
                    </a:lnTo>
                    <a:lnTo>
                      <a:pt x="39" y="16"/>
                    </a:lnTo>
                    <a:lnTo>
                      <a:pt x="38" y="16"/>
                    </a:lnTo>
                    <a:lnTo>
                      <a:pt x="35" y="14"/>
                    </a:lnTo>
                    <a:lnTo>
                      <a:pt x="33" y="16"/>
                    </a:lnTo>
                    <a:lnTo>
                      <a:pt x="32" y="19"/>
                    </a:lnTo>
                    <a:lnTo>
                      <a:pt x="31" y="20"/>
                    </a:lnTo>
                    <a:lnTo>
                      <a:pt x="29" y="20"/>
                    </a:lnTo>
                    <a:lnTo>
                      <a:pt x="26" y="22"/>
                    </a:lnTo>
                    <a:lnTo>
                      <a:pt x="24" y="23"/>
                    </a:lnTo>
                    <a:lnTo>
                      <a:pt x="24" y="23"/>
                    </a:lnTo>
                    <a:lnTo>
                      <a:pt x="25" y="22"/>
                    </a:lnTo>
                    <a:lnTo>
                      <a:pt x="27" y="19"/>
                    </a:lnTo>
                    <a:lnTo>
                      <a:pt x="26" y="17"/>
                    </a:lnTo>
                    <a:lnTo>
                      <a:pt x="24" y="14"/>
                    </a:lnTo>
                    <a:lnTo>
                      <a:pt x="21" y="14"/>
                    </a:lnTo>
                    <a:lnTo>
                      <a:pt x="17" y="16"/>
                    </a:lnTo>
                    <a:lnTo>
                      <a:pt x="15" y="18"/>
                    </a:lnTo>
                    <a:lnTo>
                      <a:pt x="15" y="20"/>
                    </a:lnTo>
                    <a:lnTo>
                      <a:pt x="13" y="21"/>
                    </a:lnTo>
                    <a:lnTo>
                      <a:pt x="8" y="22"/>
                    </a:lnTo>
                    <a:lnTo>
                      <a:pt x="5" y="22"/>
                    </a:lnTo>
                    <a:lnTo>
                      <a:pt x="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3" name="Freeform 159">
                <a:extLst>
                  <a:ext uri="{FF2B5EF4-FFF2-40B4-BE49-F238E27FC236}">
                    <a16:creationId xmlns:a16="http://schemas.microsoft.com/office/drawing/2014/main" id="{ACECB43B-6319-4A2D-BEC2-D49D32E4DAEC}"/>
                  </a:ext>
                </a:extLst>
              </p:cNvPr>
              <p:cNvSpPr>
                <a:spLocks/>
              </p:cNvSpPr>
              <p:nvPr/>
            </p:nvSpPr>
            <p:spPr bwMode="auto">
              <a:xfrm>
                <a:off x="5355" y="2611"/>
                <a:ext cx="3" cy="2"/>
              </a:xfrm>
              <a:custGeom>
                <a:avLst/>
                <a:gdLst>
                  <a:gd name="T0" fmla="*/ 3 w 3"/>
                  <a:gd name="T1" fmla="*/ 2 h 2"/>
                  <a:gd name="T2" fmla="*/ 3 w 3"/>
                  <a:gd name="T3" fmla="*/ 2 h 2"/>
                  <a:gd name="T4" fmla="*/ 0 w 3"/>
                  <a:gd name="T5" fmla="*/ 0 h 2"/>
                  <a:gd name="T6" fmla="*/ 3 w 3"/>
                  <a:gd name="T7" fmla="*/ 2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3" y="2"/>
                    </a:lnTo>
                    <a:lnTo>
                      <a:pt x="0" y="0"/>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4" name="Freeform 160">
                <a:extLst>
                  <a:ext uri="{FF2B5EF4-FFF2-40B4-BE49-F238E27FC236}">
                    <a16:creationId xmlns:a16="http://schemas.microsoft.com/office/drawing/2014/main" id="{B8ECAD7E-B556-46F6-BC28-0D344304A2B6}"/>
                  </a:ext>
                </a:extLst>
              </p:cNvPr>
              <p:cNvSpPr>
                <a:spLocks/>
              </p:cNvSpPr>
              <p:nvPr/>
            </p:nvSpPr>
            <p:spPr bwMode="auto">
              <a:xfrm>
                <a:off x="5359" y="2869"/>
                <a:ext cx="7" cy="11"/>
              </a:xfrm>
              <a:custGeom>
                <a:avLst/>
                <a:gdLst>
                  <a:gd name="T0" fmla="*/ 7 w 7"/>
                  <a:gd name="T1" fmla="*/ 0 h 11"/>
                  <a:gd name="T2" fmla="*/ 3 w 7"/>
                  <a:gd name="T3" fmla="*/ 2 h 11"/>
                  <a:gd name="T4" fmla="*/ 1 w 7"/>
                  <a:gd name="T5" fmla="*/ 4 h 11"/>
                  <a:gd name="T6" fmla="*/ 0 w 7"/>
                  <a:gd name="T7" fmla="*/ 10 h 11"/>
                  <a:gd name="T8" fmla="*/ 4 w 7"/>
                  <a:gd name="T9" fmla="*/ 11 h 11"/>
                  <a:gd name="T10" fmla="*/ 7 w 7"/>
                  <a:gd name="T11" fmla="*/ 3 h 11"/>
                  <a:gd name="T12" fmla="*/ 7 w 7"/>
                  <a:gd name="T13" fmla="*/ 0 h 11"/>
                  <a:gd name="T14" fmla="*/ 7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0"/>
                    </a:moveTo>
                    <a:lnTo>
                      <a:pt x="3" y="2"/>
                    </a:lnTo>
                    <a:lnTo>
                      <a:pt x="1" y="4"/>
                    </a:lnTo>
                    <a:lnTo>
                      <a:pt x="0" y="10"/>
                    </a:lnTo>
                    <a:lnTo>
                      <a:pt x="4" y="11"/>
                    </a:lnTo>
                    <a:lnTo>
                      <a:pt x="7"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5" name="Freeform 161">
                <a:extLst>
                  <a:ext uri="{FF2B5EF4-FFF2-40B4-BE49-F238E27FC236}">
                    <a16:creationId xmlns:a16="http://schemas.microsoft.com/office/drawing/2014/main" id="{EE3DDDAC-6263-4439-A1D9-416D4905C5E5}"/>
                  </a:ext>
                </a:extLst>
              </p:cNvPr>
              <p:cNvSpPr>
                <a:spLocks/>
              </p:cNvSpPr>
              <p:nvPr/>
            </p:nvSpPr>
            <p:spPr bwMode="auto">
              <a:xfrm>
                <a:off x="5361" y="2655"/>
                <a:ext cx="16" cy="27"/>
              </a:xfrm>
              <a:custGeom>
                <a:avLst/>
                <a:gdLst>
                  <a:gd name="T0" fmla="*/ 2 w 16"/>
                  <a:gd name="T1" fmla="*/ 21 h 27"/>
                  <a:gd name="T2" fmla="*/ 7 w 16"/>
                  <a:gd name="T3" fmla="*/ 23 h 27"/>
                  <a:gd name="T4" fmla="*/ 8 w 16"/>
                  <a:gd name="T5" fmla="*/ 27 h 27"/>
                  <a:gd name="T6" fmla="*/ 9 w 16"/>
                  <a:gd name="T7" fmla="*/ 27 h 27"/>
                  <a:gd name="T8" fmla="*/ 12 w 16"/>
                  <a:gd name="T9" fmla="*/ 24 h 27"/>
                  <a:gd name="T10" fmla="*/ 11 w 16"/>
                  <a:gd name="T11" fmla="*/ 21 h 27"/>
                  <a:gd name="T12" fmla="*/ 10 w 16"/>
                  <a:gd name="T13" fmla="*/ 19 h 27"/>
                  <a:gd name="T14" fmla="*/ 10 w 16"/>
                  <a:gd name="T15" fmla="*/ 17 h 27"/>
                  <a:gd name="T16" fmla="*/ 12 w 16"/>
                  <a:gd name="T17" fmla="*/ 11 h 27"/>
                  <a:gd name="T18" fmla="*/ 12 w 16"/>
                  <a:gd name="T19" fmla="*/ 7 h 27"/>
                  <a:gd name="T20" fmla="*/ 15 w 16"/>
                  <a:gd name="T21" fmla="*/ 5 h 27"/>
                  <a:gd name="T22" fmla="*/ 16 w 16"/>
                  <a:gd name="T23" fmla="*/ 3 h 27"/>
                  <a:gd name="T24" fmla="*/ 14 w 16"/>
                  <a:gd name="T25" fmla="*/ 1 h 27"/>
                  <a:gd name="T26" fmla="*/ 11 w 16"/>
                  <a:gd name="T27" fmla="*/ 0 h 27"/>
                  <a:gd name="T28" fmla="*/ 8 w 16"/>
                  <a:gd name="T29" fmla="*/ 1 h 27"/>
                  <a:gd name="T30" fmla="*/ 7 w 16"/>
                  <a:gd name="T31" fmla="*/ 2 h 27"/>
                  <a:gd name="T32" fmla="*/ 8 w 16"/>
                  <a:gd name="T33" fmla="*/ 3 h 27"/>
                  <a:gd name="T34" fmla="*/ 6 w 16"/>
                  <a:gd name="T35" fmla="*/ 5 h 27"/>
                  <a:gd name="T36" fmla="*/ 6 w 16"/>
                  <a:gd name="T37" fmla="*/ 10 h 27"/>
                  <a:gd name="T38" fmla="*/ 5 w 16"/>
                  <a:gd name="T39" fmla="*/ 13 h 27"/>
                  <a:gd name="T40" fmla="*/ 2 w 16"/>
                  <a:gd name="T41" fmla="*/ 14 h 27"/>
                  <a:gd name="T42" fmla="*/ 0 w 16"/>
                  <a:gd name="T43" fmla="*/ 15 h 27"/>
                  <a:gd name="T44" fmla="*/ 0 w 16"/>
                  <a:gd name="T45" fmla="*/ 19 h 27"/>
                  <a:gd name="T46" fmla="*/ 2 w 16"/>
                  <a:gd name="T47" fmla="*/ 21 h 27"/>
                  <a:gd name="T48" fmla="*/ 2 w 16"/>
                  <a:gd name="T49"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7">
                    <a:moveTo>
                      <a:pt x="2" y="21"/>
                    </a:moveTo>
                    <a:lnTo>
                      <a:pt x="7" y="23"/>
                    </a:lnTo>
                    <a:lnTo>
                      <a:pt x="8" y="27"/>
                    </a:lnTo>
                    <a:lnTo>
                      <a:pt x="9" y="27"/>
                    </a:lnTo>
                    <a:lnTo>
                      <a:pt x="12" y="24"/>
                    </a:lnTo>
                    <a:lnTo>
                      <a:pt x="11" y="21"/>
                    </a:lnTo>
                    <a:lnTo>
                      <a:pt x="10" y="19"/>
                    </a:lnTo>
                    <a:lnTo>
                      <a:pt x="10" y="17"/>
                    </a:lnTo>
                    <a:lnTo>
                      <a:pt x="12" y="11"/>
                    </a:lnTo>
                    <a:lnTo>
                      <a:pt x="12" y="7"/>
                    </a:lnTo>
                    <a:lnTo>
                      <a:pt x="15" y="5"/>
                    </a:lnTo>
                    <a:lnTo>
                      <a:pt x="16" y="3"/>
                    </a:lnTo>
                    <a:lnTo>
                      <a:pt x="14" y="1"/>
                    </a:lnTo>
                    <a:lnTo>
                      <a:pt x="11" y="0"/>
                    </a:lnTo>
                    <a:lnTo>
                      <a:pt x="8" y="1"/>
                    </a:lnTo>
                    <a:lnTo>
                      <a:pt x="7" y="2"/>
                    </a:lnTo>
                    <a:lnTo>
                      <a:pt x="8" y="3"/>
                    </a:lnTo>
                    <a:lnTo>
                      <a:pt x="6" y="5"/>
                    </a:lnTo>
                    <a:lnTo>
                      <a:pt x="6" y="10"/>
                    </a:lnTo>
                    <a:lnTo>
                      <a:pt x="5" y="13"/>
                    </a:lnTo>
                    <a:lnTo>
                      <a:pt x="2" y="14"/>
                    </a:lnTo>
                    <a:lnTo>
                      <a:pt x="0" y="15"/>
                    </a:lnTo>
                    <a:lnTo>
                      <a:pt x="0" y="19"/>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6" name="Freeform 162">
                <a:extLst>
                  <a:ext uri="{FF2B5EF4-FFF2-40B4-BE49-F238E27FC236}">
                    <a16:creationId xmlns:a16="http://schemas.microsoft.com/office/drawing/2014/main" id="{8D229F34-B3AD-4A14-833B-8C597E98A895}"/>
                  </a:ext>
                </a:extLst>
              </p:cNvPr>
              <p:cNvSpPr>
                <a:spLocks/>
              </p:cNvSpPr>
              <p:nvPr/>
            </p:nvSpPr>
            <p:spPr bwMode="auto">
              <a:xfrm>
                <a:off x="5363" y="2866"/>
                <a:ext cx="9" cy="17"/>
              </a:xfrm>
              <a:custGeom>
                <a:avLst/>
                <a:gdLst>
                  <a:gd name="T0" fmla="*/ 7 w 9"/>
                  <a:gd name="T1" fmla="*/ 0 h 17"/>
                  <a:gd name="T2" fmla="*/ 5 w 9"/>
                  <a:gd name="T3" fmla="*/ 1 h 17"/>
                  <a:gd name="T4" fmla="*/ 4 w 9"/>
                  <a:gd name="T5" fmla="*/ 7 h 17"/>
                  <a:gd name="T6" fmla="*/ 3 w 9"/>
                  <a:gd name="T7" fmla="*/ 10 h 17"/>
                  <a:gd name="T8" fmla="*/ 0 w 9"/>
                  <a:gd name="T9" fmla="*/ 15 h 17"/>
                  <a:gd name="T10" fmla="*/ 3 w 9"/>
                  <a:gd name="T11" fmla="*/ 17 h 17"/>
                  <a:gd name="T12" fmla="*/ 5 w 9"/>
                  <a:gd name="T13" fmla="*/ 14 h 17"/>
                  <a:gd name="T14" fmla="*/ 7 w 9"/>
                  <a:gd name="T15" fmla="*/ 14 h 17"/>
                  <a:gd name="T16" fmla="*/ 7 w 9"/>
                  <a:gd name="T17" fmla="*/ 12 h 17"/>
                  <a:gd name="T18" fmla="*/ 6 w 9"/>
                  <a:gd name="T19" fmla="*/ 8 h 17"/>
                  <a:gd name="T20" fmla="*/ 6 w 9"/>
                  <a:gd name="T21" fmla="*/ 6 h 17"/>
                  <a:gd name="T22" fmla="*/ 9 w 9"/>
                  <a:gd name="T23" fmla="*/ 3 h 17"/>
                  <a:gd name="T24" fmla="*/ 7 w 9"/>
                  <a:gd name="T25" fmla="*/ 0 h 17"/>
                  <a:gd name="T26" fmla="*/ 7 w 9"/>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7">
                    <a:moveTo>
                      <a:pt x="7" y="0"/>
                    </a:moveTo>
                    <a:lnTo>
                      <a:pt x="5" y="1"/>
                    </a:lnTo>
                    <a:lnTo>
                      <a:pt x="4" y="7"/>
                    </a:lnTo>
                    <a:lnTo>
                      <a:pt x="3" y="10"/>
                    </a:lnTo>
                    <a:lnTo>
                      <a:pt x="0" y="15"/>
                    </a:lnTo>
                    <a:lnTo>
                      <a:pt x="3" y="17"/>
                    </a:lnTo>
                    <a:lnTo>
                      <a:pt x="5" y="14"/>
                    </a:lnTo>
                    <a:lnTo>
                      <a:pt x="7" y="14"/>
                    </a:lnTo>
                    <a:lnTo>
                      <a:pt x="7" y="12"/>
                    </a:lnTo>
                    <a:lnTo>
                      <a:pt x="6" y="8"/>
                    </a:lnTo>
                    <a:lnTo>
                      <a:pt x="6" y="6"/>
                    </a:lnTo>
                    <a:lnTo>
                      <a:pt x="9"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7" name="Freeform 163">
                <a:extLst>
                  <a:ext uri="{FF2B5EF4-FFF2-40B4-BE49-F238E27FC236}">
                    <a16:creationId xmlns:a16="http://schemas.microsoft.com/office/drawing/2014/main" id="{1731276F-3CEA-427A-83C6-BB0250A87F03}"/>
                  </a:ext>
                </a:extLst>
              </p:cNvPr>
              <p:cNvSpPr>
                <a:spLocks/>
              </p:cNvSpPr>
              <p:nvPr/>
            </p:nvSpPr>
            <p:spPr bwMode="auto">
              <a:xfrm>
                <a:off x="5368" y="2922"/>
                <a:ext cx="2" cy="2"/>
              </a:xfrm>
              <a:custGeom>
                <a:avLst/>
                <a:gdLst>
                  <a:gd name="T0" fmla="*/ 0 w 2"/>
                  <a:gd name="T1" fmla="*/ 1 h 2"/>
                  <a:gd name="T2" fmla="*/ 0 w 2"/>
                  <a:gd name="T3" fmla="*/ 2 h 2"/>
                  <a:gd name="T4" fmla="*/ 2 w 2"/>
                  <a:gd name="T5" fmla="*/ 0 h 2"/>
                  <a:gd name="T6" fmla="*/ 0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lnTo>
                      <a:pt x="0"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8" name="Freeform 164">
                <a:extLst>
                  <a:ext uri="{FF2B5EF4-FFF2-40B4-BE49-F238E27FC236}">
                    <a16:creationId xmlns:a16="http://schemas.microsoft.com/office/drawing/2014/main" id="{7DBC0955-09A2-491A-A6AD-B593749FDEED}"/>
                  </a:ext>
                </a:extLst>
              </p:cNvPr>
              <p:cNvSpPr>
                <a:spLocks/>
              </p:cNvSpPr>
              <p:nvPr/>
            </p:nvSpPr>
            <p:spPr bwMode="auto">
              <a:xfrm>
                <a:off x="5369" y="2861"/>
                <a:ext cx="3" cy="3"/>
              </a:xfrm>
              <a:custGeom>
                <a:avLst/>
                <a:gdLst>
                  <a:gd name="T0" fmla="*/ 1 w 3"/>
                  <a:gd name="T1" fmla="*/ 0 h 3"/>
                  <a:gd name="T2" fmla="*/ 0 w 3"/>
                  <a:gd name="T3" fmla="*/ 1 h 3"/>
                  <a:gd name="T4" fmla="*/ 2 w 3"/>
                  <a:gd name="T5" fmla="*/ 3 h 3"/>
                  <a:gd name="T6" fmla="*/ 3 w 3"/>
                  <a:gd name="T7" fmla="*/ 0 h 3"/>
                  <a:gd name="T8" fmla="*/ 1 w 3"/>
                  <a:gd name="T9" fmla="*/ 0 h 3"/>
                  <a:gd name="T10" fmla="*/ 1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1" y="0"/>
                    </a:moveTo>
                    <a:lnTo>
                      <a:pt x="0" y="1"/>
                    </a:lnTo>
                    <a:lnTo>
                      <a:pt x="2" y="3"/>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9" name="Freeform 165">
                <a:extLst>
                  <a:ext uri="{FF2B5EF4-FFF2-40B4-BE49-F238E27FC236}">
                    <a16:creationId xmlns:a16="http://schemas.microsoft.com/office/drawing/2014/main" id="{5F8CBBA5-B25C-4A57-96CB-D7A849F1EBBD}"/>
                  </a:ext>
                </a:extLst>
              </p:cNvPr>
              <p:cNvSpPr>
                <a:spLocks/>
              </p:cNvSpPr>
              <p:nvPr/>
            </p:nvSpPr>
            <p:spPr bwMode="auto">
              <a:xfrm>
                <a:off x="5370" y="2918"/>
                <a:ext cx="2" cy="3"/>
              </a:xfrm>
              <a:custGeom>
                <a:avLst/>
                <a:gdLst>
                  <a:gd name="T0" fmla="*/ 0 w 2"/>
                  <a:gd name="T1" fmla="*/ 2 h 3"/>
                  <a:gd name="T2" fmla="*/ 0 w 2"/>
                  <a:gd name="T3" fmla="*/ 3 h 3"/>
                  <a:gd name="T4" fmla="*/ 2 w 2"/>
                  <a:gd name="T5" fmla="*/ 0 h 3"/>
                  <a:gd name="T6" fmla="*/ 0 w 2"/>
                  <a:gd name="T7" fmla="*/ 2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0" y="3"/>
                    </a:lnTo>
                    <a:lnTo>
                      <a:pt x="2"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0" name="Freeform 166">
                <a:extLst>
                  <a:ext uri="{FF2B5EF4-FFF2-40B4-BE49-F238E27FC236}">
                    <a16:creationId xmlns:a16="http://schemas.microsoft.com/office/drawing/2014/main" id="{78AF41D2-70D5-4AB8-B658-4133EAC0DC02}"/>
                  </a:ext>
                </a:extLst>
              </p:cNvPr>
              <p:cNvSpPr>
                <a:spLocks/>
              </p:cNvSpPr>
              <p:nvPr/>
            </p:nvSpPr>
            <p:spPr bwMode="auto">
              <a:xfrm>
                <a:off x="5371" y="2634"/>
                <a:ext cx="13" cy="9"/>
              </a:xfrm>
              <a:custGeom>
                <a:avLst/>
                <a:gdLst>
                  <a:gd name="T0" fmla="*/ 2 w 13"/>
                  <a:gd name="T1" fmla="*/ 0 h 9"/>
                  <a:gd name="T2" fmla="*/ 1 w 13"/>
                  <a:gd name="T3" fmla="*/ 0 h 9"/>
                  <a:gd name="T4" fmla="*/ 1 w 13"/>
                  <a:gd name="T5" fmla="*/ 4 h 9"/>
                  <a:gd name="T6" fmla="*/ 0 w 13"/>
                  <a:gd name="T7" fmla="*/ 7 h 9"/>
                  <a:gd name="T8" fmla="*/ 1 w 13"/>
                  <a:gd name="T9" fmla="*/ 7 h 9"/>
                  <a:gd name="T10" fmla="*/ 4 w 13"/>
                  <a:gd name="T11" fmla="*/ 4 h 9"/>
                  <a:gd name="T12" fmla="*/ 6 w 13"/>
                  <a:gd name="T13" fmla="*/ 4 h 9"/>
                  <a:gd name="T14" fmla="*/ 8 w 13"/>
                  <a:gd name="T15" fmla="*/ 8 h 9"/>
                  <a:gd name="T16" fmla="*/ 12 w 13"/>
                  <a:gd name="T17" fmla="*/ 9 h 9"/>
                  <a:gd name="T18" fmla="*/ 12 w 13"/>
                  <a:gd name="T19" fmla="*/ 7 h 9"/>
                  <a:gd name="T20" fmla="*/ 13 w 13"/>
                  <a:gd name="T21" fmla="*/ 7 h 9"/>
                  <a:gd name="T22" fmla="*/ 12 w 13"/>
                  <a:gd name="T23" fmla="*/ 6 h 9"/>
                  <a:gd name="T24" fmla="*/ 9 w 13"/>
                  <a:gd name="T25" fmla="*/ 4 h 9"/>
                  <a:gd name="T26" fmla="*/ 7 w 13"/>
                  <a:gd name="T27" fmla="*/ 1 h 9"/>
                  <a:gd name="T28" fmla="*/ 5 w 13"/>
                  <a:gd name="T29" fmla="*/ 0 h 9"/>
                  <a:gd name="T30" fmla="*/ 2 w 13"/>
                  <a:gd name="T31" fmla="*/ 0 h 9"/>
                  <a:gd name="T32" fmla="*/ 2 w 13"/>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2" y="0"/>
                    </a:moveTo>
                    <a:lnTo>
                      <a:pt x="1" y="0"/>
                    </a:lnTo>
                    <a:lnTo>
                      <a:pt x="1" y="4"/>
                    </a:lnTo>
                    <a:lnTo>
                      <a:pt x="0" y="7"/>
                    </a:lnTo>
                    <a:lnTo>
                      <a:pt x="1" y="7"/>
                    </a:lnTo>
                    <a:lnTo>
                      <a:pt x="4" y="4"/>
                    </a:lnTo>
                    <a:lnTo>
                      <a:pt x="6" y="4"/>
                    </a:lnTo>
                    <a:lnTo>
                      <a:pt x="8" y="8"/>
                    </a:lnTo>
                    <a:lnTo>
                      <a:pt x="12" y="9"/>
                    </a:lnTo>
                    <a:lnTo>
                      <a:pt x="12" y="7"/>
                    </a:lnTo>
                    <a:lnTo>
                      <a:pt x="13" y="7"/>
                    </a:lnTo>
                    <a:lnTo>
                      <a:pt x="12" y="6"/>
                    </a:lnTo>
                    <a:lnTo>
                      <a:pt x="9" y="4"/>
                    </a:lnTo>
                    <a:lnTo>
                      <a:pt x="7" y="1"/>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1" name="Freeform 167">
                <a:extLst>
                  <a:ext uri="{FF2B5EF4-FFF2-40B4-BE49-F238E27FC236}">
                    <a16:creationId xmlns:a16="http://schemas.microsoft.com/office/drawing/2014/main" id="{B6F116B2-87C8-40AC-881B-A014420E5B18}"/>
                  </a:ext>
                </a:extLst>
              </p:cNvPr>
              <p:cNvSpPr>
                <a:spLocks/>
              </p:cNvSpPr>
              <p:nvPr/>
            </p:nvSpPr>
            <p:spPr bwMode="auto">
              <a:xfrm>
                <a:off x="5373" y="2918"/>
                <a:ext cx="8" cy="5"/>
              </a:xfrm>
              <a:custGeom>
                <a:avLst/>
                <a:gdLst>
                  <a:gd name="T0" fmla="*/ 2 w 8"/>
                  <a:gd name="T1" fmla="*/ 2 h 5"/>
                  <a:gd name="T2" fmla="*/ 0 w 8"/>
                  <a:gd name="T3" fmla="*/ 4 h 5"/>
                  <a:gd name="T4" fmla="*/ 3 w 8"/>
                  <a:gd name="T5" fmla="*/ 5 h 5"/>
                  <a:gd name="T6" fmla="*/ 5 w 8"/>
                  <a:gd name="T7" fmla="*/ 4 h 5"/>
                  <a:gd name="T8" fmla="*/ 8 w 8"/>
                  <a:gd name="T9" fmla="*/ 2 h 5"/>
                  <a:gd name="T10" fmla="*/ 5 w 8"/>
                  <a:gd name="T11" fmla="*/ 0 h 5"/>
                  <a:gd name="T12" fmla="*/ 2 w 8"/>
                  <a:gd name="T13" fmla="*/ 2 h 5"/>
                  <a:gd name="T14" fmla="*/ 2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2"/>
                    </a:moveTo>
                    <a:lnTo>
                      <a:pt x="0" y="4"/>
                    </a:lnTo>
                    <a:lnTo>
                      <a:pt x="3" y="5"/>
                    </a:lnTo>
                    <a:lnTo>
                      <a:pt x="5" y="4"/>
                    </a:lnTo>
                    <a:lnTo>
                      <a:pt x="8" y="2"/>
                    </a:lnTo>
                    <a:lnTo>
                      <a:pt x="5"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2" name="Freeform 168">
                <a:extLst>
                  <a:ext uri="{FF2B5EF4-FFF2-40B4-BE49-F238E27FC236}">
                    <a16:creationId xmlns:a16="http://schemas.microsoft.com/office/drawing/2014/main" id="{3E6BC460-B88F-4F27-A2F1-D735C86C224B}"/>
                  </a:ext>
                </a:extLst>
              </p:cNvPr>
              <p:cNvSpPr>
                <a:spLocks/>
              </p:cNvSpPr>
              <p:nvPr/>
            </p:nvSpPr>
            <p:spPr bwMode="auto">
              <a:xfrm>
                <a:off x="5373" y="2651"/>
                <a:ext cx="11" cy="25"/>
              </a:xfrm>
              <a:custGeom>
                <a:avLst/>
                <a:gdLst>
                  <a:gd name="T0" fmla="*/ 5 w 11"/>
                  <a:gd name="T1" fmla="*/ 17 h 25"/>
                  <a:gd name="T2" fmla="*/ 5 w 11"/>
                  <a:gd name="T3" fmla="*/ 16 h 25"/>
                  <a:gd name="T4" fmla="*/ 8 w 11"/>
                  <a:gd name="T5" fmla="*/ 14 h 25"/>
                  <a:gd name="T6" fmla="*/ 10 w 11"/>
                  <a:gd name="T7" fmla="*/ 11 h 25"/>
                  <a:gd name="T8" fmla="*/ 11 w 11"/>
                  <a:gd name="T9" fmla="*/ 2 h 25"/>
                  <a:gd name="T10" fmla="*/ 11 w 11"/>
                  <a:gd name="T11" fmla="*/ 0 h 25"/>
                  <a:gd name="T12" fmla="*/ 8 w 11"/>
                  <a:gd name="T13" fmla="*/ 2 h 25"/>
                  <a:gd name="T14" fmla="*/ 8 w 11"/>
                  <a:gd name="T15" fmla="*/ 6 h 25"/>
                  <a:gd name="T16" fmla="*/ 4 w 11"/>
                  <a:gd name="T17" fmla="*/ 13 h 25"/>
                  <a:gd name="T18" fmla="*/ 3 w 11"/>
                  <a:gd name="T19" fmla="*/ 16 h 25"/>
                  <a:gd name="T20" fmla="*/ 2 w 11"/>
                  <a:gd name="T21" fmla="*/ 16 h 25"/>
                  <a:gd name="T22" fmla="*/ 0 w 11"/>
                  <a:gd name="T23" fmla="*/ 19 h 25"/>
                  <a:gd name="T24" fmla="*/ 0 w 11"/>
                  <a:gd name="T25" fmla="*/ 25 h 25"/>
                  <a:gd name="T26" fmla="*/ 3 w 11"/>
                  <a:gd name="T27" fmla="*/ 23 h 25"/>
                  <a:gd name="T28" fmla="*/ 5 w 11"/>
                  <a:gd name="T29" fmla="*/ 17 h 25"/>
                  <a:gd name="T30" fmla="*/ 5 w 11"/>
                  <a:gd name="T3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25">
                    <a:moveTo>
                      <a:pt x="5" y="17"/>
                    </a:moveTo>
                    <a:lnTo>
                      <a:pt x="5" y="16"/>
                    </a:lnTo>
                    <a:lnTo>
                      <a:pt x="8" y="14"/>
                    </a:lnTo>
                    <a:lnTo>
                      <a:pt x="10" y="11"/>
                    </a:lnTo>
                    <a:lnTo>
                      <a:pt x="11" y="2"/>
                    </a:lnTo>
                    <a:lnTo>
                      <a:pt x="11" y="0"/>
                    </a:lnTo>
                    <a:lnTo>
                      <a:pt x="8" y="2"/>
                    </a:lnTo>
                    <a:lnTo>
                      <a:pt x="8" y="6"/>
                    </a:lnTo>
                    <a:lnTo>
                      <a:pt x="4" y="13"/>
                    </a:lnTo>
                    <a:lnTo>
                      <a:pt x="3" y="16"/>
                    </a:lnTo>
                    <a:lnTo>
                      <a:pt x="2" y="16"/>
                    </a:lnTo>
                    <a:lnTo>
                      <a:pt x="0" y="19"/>
                    </a:lnTo>
                    <a:lnTo>
                      <a:pt x="0" y="25"/>
                    </a:lnTo>
                    <a:lnTo>
                      <a:pt x="3" y="23"/>
                    </a:lnTo>
                    <a:lnTo>
                      <a:pt x="5" y="17"/>
                    </a:lnTo>
                    <a:lnTo>
                      <a:pt x="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3" name="Freeform 169">
                <a:extLst>
                  <a:ext uri="{FF2B5EF4-FFF2-40B4-BE49-F238E27FC236}">
                    <a16:creationId xmlns:a16="http://schemas.microsoft.com/office/drawing/2014/main" id="{5BAE1E77-716B-48D3-958F-5FEAB3A3424D}"/>
                  </a:ext>
                </a:extLst>
              </p:cNvPr>
              <p:cNvSpPr>
                <a:spLocks/>
              </p:cNvSpPr>
              <p:nvPr/>
            </p:nvSpPr>
            <p:spPr bwMode="auto">
              <a:xfrm>
                <a:off x="5377" y="2921"/>
                <a:ext cx="51" cy="27"/>
              </a:xfrm>
              <a:custGeom>
                <a:avLst/>
                <a:gdLst>
                  <a:gd name="T0" fmla="*/ 0 w 51"/>
                  <a:gd name="T1" fmla="*/ 22 h 27"/>
                  <a:gd name="T2" fmla="*/ 0 w 51"/>
                  <a:gd name="T3" fmla="*/ 27 h 27"/>
                  <a:gd name="T4" fmla="*/ 3 w 51"/>
                  <a:gd name="T5" fmla="*/ 27 h 27"/>
                  <a:gd name="T6" fmla="*/ 8 w 51"/>
                  <a:gd name="T7" fmla="*/ 25 h 27"/>
                  <a:gd name="T8" fmla="*/ 11 w 51"/>
                  <a:gd name="T9" fmla="*/ 25 h 27"/>
                  <a:gd name="T10" fmla="*/ 19 w 51"/>
                  <a:gd name="T11" fmla="*/ 18 h 27"/>
                  <a:gd name="T12" fmla="*/ 20 w 51"/>
                  <a:gd name="T13" fmla="*/ 14 h 27"/>
                  <a:gd name="T14" fmla="*/ 25 w 51"/>
                  <a:gd name="T15" fmla="*/ 12 h 27"/>
                  <a:gd name="T16" fmla="*/ 33 w 51"/>
                  <a:gd name="T17" fmla="*/ 10 h 27"/>
                  <a:gd name="T18" fmla="*/ 35 w 51"/>
                  <a:gd name="T19" fmla="*/ 9 h 27"/>
                  <a:gd name="T20" fmla="*/ 37 w 51"/>
                  <a:gd name="T21" fmla="*/ 8 h 27"/>
                  <a:gd name="T22" fmla="*/ 43 w 51"/>
                  <a:gd name="T23" fmla="*/ 5 h 27"/>
                  <a:gd name="T24" fmla="*/ 45 w 51"/>
                  <a:gd name="T25" fmla="*/ 4 h 27"/>
                  <a:gd name="T26" fmla="*/ 49 w 51"/>
                  <a:gd name="T27" fmla="*/ 2 h 27"/>
                  <a:gd name="T28" fmla="*/ 51 w 51"/>
                  <a:gd name="T29" fmla="*/ 0 h 27"/>
                  <a:gd name="T30" fmla="*/ 45 w 51"/>
                  <a:gd name="T31" fmla="*/ 0 h 27"/>
                  <a:gd name="T32" fmla="*/ 43 w 51"/>
                  <a:gd name="T33" fmla="*/ 1 h 27"/>
                  <a:gd name="T34" fmla="*/ 37 w 51"/>
                  <a:gd name="T35" fmla="*/ 1 h 27"/>
                  <a:gd name="T36" fmla="*/ 34 w 51"/>
                  <a:gd name="T37" fmla="*/ 2 h 27"/>
                  <a:gd name="T38" fmla="*/ 32 w 51"/>
                  <a:gd name="T39" fmla="*/ 1 h 27"/>
                  <a:gd name="T40" fmla="*/ 21 w 51"/>
                  <a:gd name="T41" fmla="*/ 3 h 27"/>
                  <a:gd name="T42" fmla="*/ 19 w 51"/>
                  <a:gd name="T43" fmla="*/ 8 h 27"/>
                  <a:gd name="T44" fmla="*/ 15 w 51"/>
                  <a:gd name="T45" fmla="*/ 10 h 27"/>
                  <a:gd name="T46" fmla="*/ 9 w 51"/>
                  <a:gd name="T47" fmla="*/ 11 h 27"/>
                  <a:gd name="T48" fmla="*/ 4 w 51"/>
                  <a:gd name="T49" fmla="*/ 14 h 27"/>
                  <a:gd name="T50" fmla="*/ 1 w 51"/>
                  <a:gd name="T51" fmla="*/ 17 h 27"/>
                  <a:gd name="T52" fmla="*/ 0 w 51"/>
                  <a:gd name="T53" fmla="*/ 22 h 27"/>
                  <a:gd name="T54" fmla="*/ 0 w 51"/>
                  <a:gd name="T55"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27">
                    <a:moveTo>
                      <a:pt x="0" y="22"/>
                    </a:moveTo>
                    <a:lnTo>
                      <a:pt x="0" y="27"/>
                    </a:lnTo>
                    <a:lnTo>
                      <a:pt x="3" y="27"/>
                    </a:lnTo>
                    <a:lnTo>
                      <a:pt x="8" y="25"/>
                    </a:lnTo>
                    <a:lnTo>
                      <a:pt x="11" y="25"/>
                    </a:lnTo>
                    <a:lnTo>
                      <a:pt x="19" y="18"/>
                    </a:lnTo>
                    <a:lnTo>
                      <a:pt x="20" y="14"/>
                    </a:lnTo>
                    <a:lnTo>
                      <a:pt x="25" y="12"/>
                    </a:lnTo>
                    <a:lnTo>
                      <a:pt x="33" y="10"/>
                    </a:lnTo>
                    <a:lnTo>
                      <a:pt x="35" y="9"/>
                    </a:lnTo>
                    <a:lnTo>
                      <a:pt x="37" y="8"/>
                    </a:lnTo>
                    <a:lnTo>
                      <a:pt x="43" y="5"/>
                    </a:lnTo>
                    <a:lnTo>
                      <a:pt x="45" y="4"/>
                    </a:lnTo>
                    <a:lnTo>
                      <a:pt x="49" y="2"/>
                    </a:lnTo>
                    <a:lnTo>
                      <a:pt x="51" y="0"/>
                    </a:lnTo>
                    <a:lnTo>
                      <a:pt x="45" y="0"/>
                    </a:lnTo>
                    <a:lnTo>
                      <a:pt x="43" y="1"/>
                    </a:lnTo>
                    <a:lnTo>
                      <a:pt x="37" y="1"/>
                    </a:lnTo>
                    <a:lnTo>
                      <a:pt x="34" y="2"/>
                    </a:lnTo>
                    <a:lnTo>
                      <a:pt x="32" y="1"/>
                    </a:lnTo>
                    <a:lnTo>
                      <a:pt x="21" y="3"/>
                    </a:lnTo>
                    <a:lnTo>
                      <a:pt x="19" y="8"/>
                    </a:lnTo>
                    <a:lnTo>
                      <a:pt x="15" y="10"/>
                    </a:lnTo>
                    <a:lnTo>
                      <a:pt x="9" y="11"/>
                    </a:lnTo>
                    <a:lnTo>
                      <a:pt x="4" y="14"/>
                    </a:lnTo>
                    <a:lnTo>
                      <a:pt x="1" y="17"/>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4" name="Freeform 170">
                <a:extLst>
                  <a:ext uri="{FF2B5EF4-FFF2-40B4-BE49-F238E27FC236}">
                    <a16:creationId xmlns:a16="http://schemas.microsoft.com/office/drawing/2014/main" id="{09273525-CC6D-4ED5-8872-361B1F600684}"/>
                  </a:ext>
                </a:extLst>
              </p:cNvPr>
              <p:cNvSpPr>
                <a:spLocks/>
              </p:cNvSpPr>
              <p:nvPr/>
            </p:nvSpPr>
            <p:spPr bwMode="auto">
              <a:xfrm>
                <a:off x="5380" y="2666"/>
                <a:ext cx="10" cy="8"/>
              </a:xfrm>
              <a:custGeom>
                <a:avLst/>
                <a:gdLst>
                  <a:gd name="T0" fmla="*/ 1 w 10"/>
                  <a:gd name="T1" fmla="*/ 8 h 8"/>
                  <a:gd name="T2" fmla="*/ 6 w 10"/>
                  <a:gd name="T3" fmla="*/ 8 h 8"/>
                  <a:gd name="T4" fmla="*/ 8 w 10"/>
                  <a:gd name="T5" fmla="*/ 8 h 8"/>
                  <a:gd name="T6" fmla="*/ 10 w 10"/>
                  <a:gd name="T7" fmla="*/ 6 h 8"/>
                  <a:gd name="T8" fmla="*/ 10 w 10"/>
                  <a:gd name="T9" fmla="*/ 2 h 8"/>
                  <a:gd name="T10" fmla="*/ 8 w 10"/>
                  <a:gd name="T11" fmla="*/ 0 h 8"/>
                  <a:gd name="T12" fmla="*/ 5 w 10"/>
                  <a:gd name="T13" fmla="*/ 0 h 8"/>
                  <a:gd name="T14" fmla="*/ 4 w 10"/>
                  <a:gd name="T15" fmla="*/ 1 h 8"/>
                  <a:gd name="T16" fmla="*/ 4 w 10"/>
                  <a:gd name="T17" fmla="*/ 2 h 8"/>
                  <a:gd name="T18" fmla="*/ 0 w 10"/>
                  <a:gd name="T19" fmla="*/ 3 h 8"/>
                  <a:gd name="T20" fmla="*/ 1 w 10"/>
                  <a:gd name="T21" fmla="*/ 8 h 8"/>
                  <a:gd name="T22" fmla="*/ 1 w 10"/>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1" y="8"/>
                    </a:moveTo>
                    <a:lnTo>
                      <a:pt x="6" y="8"/>
                    </a:lnTo>
                    <a:lnTo>
                      <a:pt x="8" y="8"/>
                    </a:lnTo>
                    <a:lnTo>
                      <a:pt x="10" y="6"/>
                    </a:lnTo>
                    <a:lnTo>
                      <a:pt x="10" y="2"/>
                    </a:lnTo>
                    <a:lnTo>
                      <a:pt x="8" y="0"/>
                    </a:lnTo>
                    <a:lnTo>
                      <a:pt x="5" y="0"/>
                    </a:lnTo>
                    <a:lnTo>
                      <a:pt x="4" y="1"/>
                    </a:lnTo>
                    <a:lnTo>
                      <a:pt x="4" y="2"/>
                    </a:lnTo>
                    <a:lnTo>
                      <a:pt x="0" y="3"/>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5" name="Freeform 171">
                <a:extLst>
                  <a:ext uri="{FF2B5EF4-FFF2-40B4-BE49-F238E27FC236}">
                    <a16:creationId xmlns:a16="http://schemas.microsoft.com/office/drawing/2014/main" id="{C601ECF7-75EC-4215-B3E4-A6D1DBC0B3D2}"/>
                  </a:ext>
                </a:extLst>
              </p:cNvPr>
              <p:cNvSpPr>
                <a:spLocks/>
              </p:cNvSpPr>
              <p:nvPr/>
            </p:nvSpPr>
            <p:spPr bwMode="auto">
              <a:xfrm>
                <a:off x="5383" y="2920"/>
                <a:ext cx="2" cy="2"/>
              </a:xfrm>
              <a:custGeom>
                <a:avLst/>
                <a:gdLst>
                  <a:gd name="T0" fmla="*/ 0 w 2"/>
                  <a:gd name="T1" fmla="*/ 1 h 2"/>
                  <a:gd name="T2" fmla="*/ 0 w 2"/>
                  <a:gd name="T3" fmla="*/ 2 h 2"/>
                  <a:gd name="T4" fmla="*/ 2 w 2"/>
                  <a:gd name="T5" fmla="*/ 2 h 2"/>
                  <a:gd name="T6" fmla="*/ 2 w 2"/>
                  <a:gd name="T7" fmla="*/ 0 h 2"/>
                  <a:gd name="T8" fmla="*/ 0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lnTo>
                      <a:pt x="0" y="2"/>
                    </a:lnTo>
                    <a:lnTo>
                      <a:pt x="2"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6" name="Freeform 172">
                <a:extLst>
                  <a:ext uri="{FF2B5EF4-FFF2-40B4-BE49-F238E27FC236}">
                    <a16:creationId xmlns:a16="http://schemas.microsoft.com/office/drawing/2014/main" id="{D2AF7025-DC42-4E94-A63F-EA886F136739}"/>
                  </a:ext>
                </a:extLst>
              </p:cNvPr>
              <p:cNvSpPr>
                <a:spLocks/>
              </p:cNvSpPr>
              <p:nvPr/>
            </p:nvSpPr>
            <p:spPr bwMode="auto">
              <a:xfrm>
                <a:off x="5384" y="2613"/>
                <a:ext cx="4" cy="6"/>
              </a:xfrm>
              <a:custGeom>
                <a:avLst/>
                <a:gdLst>
                  <a:gd name="T0" fmla="*/ 2 w 4"/>
                  <a:gd name="T1" fmla="*/ 6 h 6"/>
                  <a:gd name="T2" fmla="*/ 4 w 4"/>
                  <a:gd name="T3" fmla="*/ 4 h 6"/>
                  <a:gd name="T4" fmla="*/ 4 w 4"/>
                  <a:gd name="T5" fmla="*/ 2 h 6"/>
                  <a:gd name="T6" fmla="*/ 2 w 4"/>
                  <a:gd name="T7" fmla="*/ 0 h 6"/>
                  <a:gd name="T8" fmla="*/ 0 w 4"/>
                  <a:gd name="T9" fmla="*/ 4 h 6"/>
                  <a:gd name="T10" fmla="*/ 2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4"/>
                    </a:lnTo>
                    <a:lnTo>
                      <a:pt x="4" y="2"/>
                    </a:lnTo>
                    <a:lnTo>
                      <a:pt x="2" y="0"/>
                    </a:lnTo>
                    <a:lnTo>
                      <a:pt x="0" y="4"/>
                    </a:lnTo>
                    <a:lnTo>
                      <a:pt x="2" y="6"/>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7" name="Freeform 173">
                <a:extLst>
                  <a:ext uri="{FF2B5EF4-FFF2-40B4-BE49-F238E27FC236}">
                    <a16:creationId xmlns:a16="http://schemas.microsoft.com/office/drawing/2014/main" id="{857CCC24-C66C-461C-9A32-3D9F143390A5}"/>
                  </a:ext>
                </a:extLst>
              </p:cNvPr>
              <p:cNvSpPr>
                <a:spLocks/>
              </p:cNvSpPr>
              <p:nvPr/>
            </p:nvSpPr>
            <p:spPr bwMode="auto">
              <a:xfrm>
                <a:off x="5386" y="2633"/>
                <a:ext cx="20" cy="20"/>
              </a:xfrm>
              <a:custGeom>
                <a:avLst/>
                <a:gdLst>
                  <a:gd name="T0" fmla="*/ 14 w 20"/>
                  <a:gd name="T1" fmla="*/ 1 h 20"/>
                  <a:gd name="T2" fmla="*/ 11 w 20"/>
                  <a:gd name="T3" fmla="*/ 0 h 20"/>
                  <a:gd name="T4" fmla="*/ 9 w 20"/>
                  <a:gd name="T5" fmla="*/ 0 h 20"/>
                  <a:gd name="T6" fmla="*/ 9 w 20"/>
                  <a:gd name="T7" fmla="*/ 0 h 20"/>
                  <a:gd name="T8" fmla="*/ 6 w 20"/>
                  <a:gd name="T9" fmla="*/ 1 h 20"/>
                  <a:gd name="T10" fmla="*/ 3 w 20"/>
                  <a:gd name="T11" fmla="*/ 0 h 20"/>
                  <a:gd name="T12" fmla="*/ 0 w 20"/>
                  <a:gd name="T13" fmla="*/ 1 h 20"/>
                  <a:gd name="T14" fmla="*/ 1 w 20"/>
                  <a:gd name="T15" fmla="*/ 3 h 20"/>
                  <a:gd name="T16" fmla="*/ 3 w 20"/>
                  <a:gd name="T17" fmla="*/ 6 h 20"/>
                  <a:gd name="T18" fmla="*/ 6 w 20"/>
                  <a:gd name="T19" fmla="*/ 7 h 20"/>
                  <a:gd name="T20" fmla="*/ 7 w 20"/>
                  <a:gd name="T21" fmla="*/ 8 h 20"/>
                  <a:gd name="T22" fmla="*/ 9 w 20"/>
                  <a:gd name="T23" fmla="*/ 11 h 20"/>
                  <a:gd name="T24" fmla="*/ 9 w 20"/>
                  <a:gd name="T25" fmla="*/ 14 h 20"/>
                  <a:gd name="T26" fmla="*/ 10 w 20"/>
                  <a:gd name="T27" fmla="*/ 16 h 20"/>
                  <a:gd name="T28" fmla="*/ 12 w 20"/>
                  <a:gd name="T29" fmla="*/ 18 h 20"/>
                  <a:gd name="T30" fmla="*/ 14 w 20"/>
                  <a:gd name="T31" fmla="*/ 20 h 20"/>
                  <a:gd name="T32" fmla="*/ 20 w 20"/>
                  <a:gd name="T33" fmla="*/ 19 h 20"/>
                  <a:gd name="T34" fmla="*/ 19 w 20"/>
                  <a:gd name="T35" fmla="*/ 16 h 20"/>
                  <a:gd name="T36" fmla="*/ 18 w 20"/>
                  <a:gd name="T37" fmla="*/ 16 h 20"/>
                  <a:gd name="T38" fmla="*/ 17 w 20"/>
                  <a:gd name="T39" fmla="*/ 14 h 20"/>
                  <a:gd name="T40" fmla="*/ 17 w 20"/>
                  <a:gd name="T41" fmla="*/ 9 h 20"/>
                  <a:gd name="T42" fmla="*/ 17 w 20"/>
                  <a:gd name="T43" fmla="*/ 7 h 20"/>
                  <a:gd name="T44" fmla="*/ 17 w 20"/>
                  <a:gd name="T45" fmla="*/ 6 h 20"/>
                  <a:gd name="T46" fmla="*/ 17 w 20"/>
                  <a:gd name="T47" fmla="*/ 6 h 20"/>
                  <a:gd name="T48" fmla="*/ 17 w 20"/>
                  <a:gd name="T49" fmla="*/ 5 h 20"/>
                  <a:gd name="T50" fmla="*/ 15 w 20"/>
                  <a:gd name="T51" fmla="*/ 3 h 20"/>
                  <a:gd name="T52" fmla="*/ 14 w 20"/>
                  <a:gd name="T53" fmla="*/ 1 h 20"/>
                  <a:gd name="T54" fmla="*/ 14 w 20"/>
                  <a:gd name="T5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4" y="1"/>
                    </a:moveTo>
                    <a:lnTo>
                      <a:pt x="11" y="0"/>
                    </a:lnTo>
                    <a:lnTo>
                      <a:pt x="9" y="0"/>
                    </a:lnTo>
                    <a:lnTo>
                      <a:pt x="9" y="0"/>
                    </a:lnTo>
                    <a:lnTo>
                      <a:pt x="6" y="1"/>
                    </a:lnTo>
                    <a:lnTo>
                      <a:pt x="3" y="0"/>
                    </a:lnTo>
                    <a:lnTo>
                      <a:pt x="0" y="1"/>
                    </a:lnTo>
                    <a:lnTo>
                      <a:pt x="1" y="3"/>
                    </a:lnTo>
                    <a:lnTo>
                      <a:pt x="3" y="6"/>
                    </a:lnTo>
                    <a:lnTo>
                      <a:pt x="6" y="7"/>
                    </a:lnTo>
                    <a:lnTo>
                      <a:pt x="7" y="8"/>
                    </a:lnTo>
                    <a:lnTo>
                      <a:pt x="9" y="11"/>
                    </a:lnTo>
                    <a:lnTo>
                      <a:pt x="9" y="14"/>
                    </a:lnTo>
                    <a:lnTo>
                      <a:pt x="10" y="16"/>
                    </a:lnTo>
                    <a:lnTo>
                      <a:pt x="12" y="18"/>
                    </a:lnTo>
                    <a:lnTo>
                      <a:pt x="14" y="20"/>
                    </a:lnTo>
                    <a:lnTo>
                      <a:pt x="20" y="19"/>
                    </a:lnTo>
                    <a:lnTo>
                      <a:pt x="19" y="16"/>
                    </a:lnTo>
                    <a:lnTo>
                      <a:pt x="18" y="16"/>
                    </a:lnTo>
                    <a:lnTo>
                      <a:pt x="17" y="14"/>
                    </a:lnTo>
                    <a:lnTo>
                      <a:pt x="17" y="9"/>
                    </a:lnTo>
                    <a:lnTo>
                      <a:pt x="17" y="7"/>
                    </a:lnTo>
                    <a:lnTo>
                      <a:pt x="17" y="6"/>
                    </a:lnTo>
                    <a:lnTo>
                      <a:pt x="17" y="6"/>
                    </a:lnTo>
                    <a:lnTo>
                      <a:pt x="17" y="5"/>
                    </a:lnTo>
                    <a:lnTo>
                      <a:pt x="15" y="3"/>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8" name="Freeform 174">
                <a:extLst>
                  <a:ext uri="{FF2B5EF4-FFF2-40B4-BE49-F238E27FC236}">
                    <a16:creationId xmlns:a16="http://schemas.microsoft.com/office/drawing/2014/main" id="{BB86C015-A37B-4E32-8238-71CEBE9F97FD}"/>
                  </a:ext>
                </a:extLst>
              </p:cNvPr>
              <p:cNvSpPr>
                <a:spLocks/>
              </p:cNvSpPr>
              <p:nvPr/>
            </p:nvSpPr>
            <p:spPr bwMode="auto">
              <a:xfrm>
                <a:off x="5387" y="2645"/>
                <a:ext cx="3" cy="3"/>
              </a:xfrm>
              <a:custGeom>
                <a:avLst/>
                <a:gdLst>
                  <a:gd name="T0" fmla="*/ 2 w 3"/>
                  <a:gd name="T1" fmla="*/ 3 h 3"/>
                  <a:gd name="T2" fmla="*/ 3 w 3"/>
                  <a:gd name="T3" fmla="*/ 0 h 3"/>
                  <a:gd name="T4" fmla="*/ 0 w 3"/>
                  <a:gd name="T5" fmla="*/ 0 h 3"/>
                  <a:gd name="T6" fmla="*/ 2 w 3"/>
                  <a:gd name="T7" fmla="*/ 3 h 3"/>
                  <a:gd name="T8" fmla="*/ 2 w 3"/>
                  <a:gd name="T9" fmla="*/ 3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lnTo>
                      <a:pt x="3" y="0"/>
                    </a:lnTo>
                    <a:lnTo>
                      <a:pt x="0" y="0"/>
                    </a:lnTo>
                    <a:lnTo>
                      <a:pt x="2" y="3"/>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9" name="Freeform 175">
                <a:extLst>
                  <a:ext uri="{FF2B5EF4-FFF2-40B4-BE49-F238E27FC236}">
                    <a16:creationId xmlns:a16="http://schemas.microsoft.com/office/drawing/2014/main" id="{9292B6D8-45F9-405D-8757-0BC9EB726B81}"/>
                  </a:ext>
                </a:extLst>
              </p:cNvPr>
              <p:cNvSpPr>
                <a:spLocks/>
              </p:cNvSpPr>
              <p:nvPr/>
            </p:nvSpPr>
            <p:spPr bwMode="auto">
              <a:xfrm>
                <a:off x="5387" y="2917"/>
                <a:ext cx="11" cy="5"/>
              </a:xfrm>
              <a:custGeom>
                <a:avLst/>
                <a:gdLst>
                  <a:gd name="T0" fmla="*/ 2 w 11"/>
                  <a:gd name="T1" fmla="*/ 0 h 5"/>
                  <a:gd name="T2" fmla="*/ 2 w 11"/>
                  <a:gd name="T3" fmla="*/ 1 h 5"/>
                  <a:gd name="T4" fmla="*/ 0 w 11"/>
                  <a:gd name="T5" fmla="*/ 5 h 5"/>
                  <a:gd name="T6" fmla="*/ 3 w 11"/>
                  <a:gd name="T7" fmla="*/ 5 h 5"/>
                  <a:gd name="T8" fmla="*/ 11 w 11"/>
                  <a:gd name="T9" fmla="*/ 4 h 5"/>
                  <a:gd name="T10" fmla="*/ 10 w 11"/>
                  <a:gd name="T11" fmla="*/ 0 h 5"/>
                  <a:gd name="T12" fmla="*/ 5 w 11"/>
                  <a:gd name="T13" fmla="*/ 0 h 5"/>
                  <a:gd name="T14" fmla="*/ 2 w 11"/>
                  <a:gd name="T15" fmla="*/ 0 h 5"/>
                  <a:gd name="T16" fmla="*/ 2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2" y="0"/>
                    </a:moveTo>
                    <a:lnTo>
                      <a:pt x="2" y="1"/>
                    </a:lnTo>
                    <a:lnTo>
                      <a:pt x="0" y="5"/>
                    </a:lnTo>
                    <a:lnTo>
                      <a:pt x="3" y="5"/>
                    </a:lnTo>
                    <a:lnTo>
                      <a:pt x="11" y="4"/>
                    </a:lnTo>
                    <a:lnTo>
                      <a:pt x="10" y="0"/>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0" name="Freeform 176">
                <a:extLst>
                  <a:ext uri="{FF2B5EF4-FFF2-40B4-BE49-F238E27FC236}">
                    <a16:creationId xmlns:a16="http://schemas.microsoft.com/office/drawing/2014/main" id="{952D5C25-E05A-4A7C-965F-09F157CC1C14}"/>
                  </a:ext>
                </a:extLst>
              </p:cNvPr>
              <p:cNvSpPr>
                <a:spLocks/>
              </p:cNvSpPr>
              <p:nvPr/>
            </p:nvSpPr>
            <p:spPr bwMode="auto">
              <a:xfrm>
                <a:off x="5388" y="2648"/>
                <a:ext cx="10" cy="20"/>
              </a:xfrm>
              <a:custGeom>
                <a:avLst/>
                <a:gdLst>
                  <a:gd name="T0" fmla="*/ 5 w 10"/>
                  <a:gd name="T1" fmla="*/ 18 h 20"/>
                  <a:gd name="T2" fmla="*/ 8 w 10"/>
                  <a:gd name="T3" fmla="*/ 20 h 20"/>
                  <a:gd name="T4" fmla="*/ 8 w 10"/>
                  <a:gd name="T5" fmla="*/ 17 h 20"/>
                  <a:gd name="T6" fmla="*/ 10 w 10"/>
                  <a:gd name="T7" fmla="*/ 17 h 20"/>
                  <a:gd name="T8" fmla="*/ 10 w 10"/>
                  <a:gd name="T9" fmla="*/ 12 h 20"/>
                  <a:gd name="T10" fmla="*/ 9 w 10"/>
                  <a:gd name="T11" fmla="*/ 10 h 20"/>
                  <a:gd name="T12" fmla="*/ 9 w 10"/>
                  <a:gd name="T13" fmla="*/ 4 h 20"/>
                  <a:gd name="T14" fmla="*/ 8 w 10"/>
                  <a:gd name="T15" fmla="*/ 2 h 20"/>
                  <a:gd name="T16" fmla="*/ 6 w 10"/>
                  <a:gd name="T17" fmla="*/ 1 h 20"/>
                  <a:gd name="T18" fmla="*/ 2 w 10"/>
                  <a:gd name="T19" fmla="*/ 2 h 20"/>
                  <a:gd name="T20" fmla="*/ 0 w 10"/>
                  <a:gd name="T21" fmla="*/ 0 h 20"/>
                  <a:gd name="T22" fmla="*/ 0 w 10"/>
                  <a:gd name="T23" fmla="*/ 5 h 20"/>
                  <a:gd name="T24" fmla="*/ 0 w 10"/>
                  <a:gd name="T25" fmla="*/ 8 h 20"/>
                  <a:gd name="T26" fmla="*/ 4 w 10"/>
                  <a:gd name="T27" fmla="*/ 7 h 20"/>
                  <a:gd name="T28" fmla="*/ 6 w 10"/>
                  <a:gd name="T29" fmla="*/ 10 h 20"/>
                  <a:gd name="T30" fmla="*/ 6 w 10"/>
                  <a:gd name="T31" fmla="*/ 11 h 20"/>
                  <a:gd name="T32" fmla="*/ 5 w 10"/>
                  <a:gd name="T33" fmla="*/ 13 h 20"/>
                  <a:gd name="T34" fmla="*/ 6 w 10"/>
                  <a:gd name="T35" fmla="*/ 16 h 20"/>
                  <a:gd name="T36" fmla="*/ 5 w 10"/>
                  <a:gd name="T37" fmla="*/ 18 h 20"/>
                  <a:gd name="T38" fmla="*/ 5 w 10"/>
                  <a:gd name="T3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20">
                    <a:moveTo>
                      <a:pt x="5" y="18"/>
                    </a:moveTo>
                    <a:lnTo>
                      <a:pt x="8" y="20"/>
                    </a:lnTo>
                    <a:lnTo>
                      <a:pt x="8" y="17"/>
                    </a:lnTo>
                    <a:lnTo>
                      <a:pt x="10" y="17"/>
                    </a:lnTo>
                    <a:lnTo>
                      <a:pt x="10" y="12"/>
                    </a:lnTo>
                    <a:lnTo>
                      <a:pt x="9" y="10"/>
                    </a:lnTo>
                    <a:lnTo>
                      <a:pt x="9" y="4"/>
                    </a:lnTo>
                    <a:lnTo>
                      <a:pt x="8" y="2"/>
                    </a:lnTo>
                    <a:lnTo>
                      <a:pt x="6" y="1"/>
                    </a:lnTo>
                    <a:lnTo>
                      <a:pt x="2" y="2"/>
                    </a:lnTo>
                    <a:lnTo>
                      <a:pt x="0" y="0"/>
                    </a:lnTo>
                    <a:lnTo>
                      <a:pt x="0" y="5"/>
                    </a:lnTo>
                    <a:lnTo>
                      <a:pt x="0" y="8"/>
                    </a:lnTo>
                    <a:lnTo>
                      <a:pt x="4" y="7"/>
                    </a:lnTo>
                    <a:lnTo>
                      <a:pt x="6" y="10"/>
                    </a:lnTo>
                    <a:lnTo>
                      <a:pt x="6" y="11"/>
                    </a:lnTo>
                    <a:lnTo>
                      <a:pt x="5" y="13"/>
                    </a:lnTo>
                    <a:lnTo>
                      <a:pt x="6" y="16"/>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1" name="Freeform 177">
                <a:extLst>
                  <a:ext uri="{FF2B5EF4-FFF2-40B4-BE49-F238E27FC236}">
                    <a16:creationId xmlns:a16="http://schemas.microsoft.com/office/drawing/2014/main" id="{4EAE8AE9-D0FF-4802-BC90-C72D08F77C63}"/>
                  </a:ext>
                </a:extLst>
              </p:cNvPr>
              <p:cNvSpPr>
                <a:spLocks/>
              </p:cNvSpPr>
              <p:nvPr/>
            </p:nvSpPr>
            <p:spPr bwMode="auto">
              <a:xfrm>
                <a:off x="5407" y="2909"/>
                <a:ext cx="14" cy="7"/>
              </a:xfrm>
              <a:custGeom>
                <a:avLst/>
                <a:gdLst>
                  <a:gd name="T0" fmla="*/ 3 w 14"/>
                  <a:gd name="T1" fmla="*/ 1 h 7"/>
                  <a:gd name="T2" fmla="*/ 0 w 14"/>
                  <a:gd name="T3" fmla="*/ 4 h 7"/>
                  <a:gd name="T4" fmla="*/ 0 w 14"/>
                  <a:gd name="T5" fmla="*/ 7 h 7"/>
                  <a:gd name="T6" fmla="*/ 3 w 14"/>
                  <a:gd name="T7" fmla="*/ 5 h 7"/>
                  <a:gd name="T8" fmla="*/ 8 w 14"/>
                  <a:gd name="T9" fmla="*/ 6 h 7"/>
                  <a:gd name="T10" fmla="*/ 11 w 14"/>
                  <a:gd name="T11" fmla="*/ 4 h 7"/>
                  <a:gd name="T12" fmla="*/ 14 w 14"/>
                  <a:gd name="T13" fmla="*/ 3 h 7"/>
                  <a:gd name="T14" fmla="*/ 11 w 14"/>
                  <a:gd name="T15" fmla="*/ 0 h 7"/>
                  <a:gd name="T16" fmla="*/ 8 w 14"/>
                  <a:gd name="T17" fmla="*/ 1 h 7"/>
                  <a:gd name="T18" fmla="*/ 5 w 14"/>
                  <a:gd name="T19" fmla="*/ 3 h 7"/>
                  <a:gd name="T20" fmla="*/ 3 w 14"/>
                  <a:gd name="T21" fmla="*/ 1 h 7"/>
                  <a:gd name="T22" fmla="*/ 3 w 14"/>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3" y="1"/>
                    </a:moveTo>
                    <a:lnTo>
                      <a:pt x="0" y="4"/>
                    </a:lnTo>
                    <a:lnTo>
                      <a:pt x="0" y="7"/>
                    </a:lnTo>
                    <a:lnTo>
                      <a:pt x="3" y="5"/>
                    </a:lnTo>
                    <a:lnTo>
                      <a:pt x="8" y="6"/>
                    </a:lnTo>
                    <a:lnTo>
                      <a:pt x="11" y="4"/>
                    </a:lnTo>
                    <a:lnTo>
                      <a:pt x="14" y="3"/>
                    </a:lnTo>
                    <a:lnTo>
                      <a:pt x="11" y="0"/>
                    </a:lnTo>
                    <a:lnTo>
                      <a:pt x="8" y="1"/>
                    </a:lnTo>
                    <a:lnTo>
                      <a:pt x="5" y="3"/>
                    </a:lnTo>
                    <a:lnTo>
                      <a:pt x="3" y="1"/>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2" name="Freeform 178">
                <a:extLst>
                  <a:ext uri="{FF2B5EF4-FFF2-40B4-BE49-F238E27FC236}">
                    <a16:creationId xmlns:a16="http://schemas.microsoft.com/office/drawing/2014/main" id="{FBE0DE5A-9CB4-4A20-A4E9-B0742E56FC85}"/>
                  </a:ext>
                </a:extLst>
              </p:cNvPr>
              <p:cNvSpPr>
                <a:spLocks/>
              </p:cNvSpPr>
              <p:nvPr/>
            </p:nvSpPr>
            <p:spPr bwMode="auto">
              <a:xfrm>
                <a:off x="5411" y="2848"/>
                <a:ext cx="16" cy="10"/>
              </a:xfrm>
              <a:custGeom>
                <a:avLst/>
                <a:gdLst>
                  <a:gd name="T0" fmla="*/ 9 w 16"/>
                  <a:gd name="T1" fmla="*/ 10 h 10"/>
                  <a:gd name="T2" fmla="*/ 11 w 16"/>
                  <a:gd name="T3" fmla="*/ 9 h 10"/>
                  <a:gd name="T4" fmla="*/ 13 w 16"/>
                  <a:gd name="T5" fmla="*/ 8 h 10"/>
                  <a:gd name="T6" fmla="*/ 16 w 16"/>
                  <a:gd name="T7" fmla="*/ 5 h 10"/>
                  <a:gd name="T8" fmla="*/ 11 w 16"/>
                  <a:gd name="T9" fmla="*/ 0 h 10"/>
                  <a:gd name="T10" fmla="*/ 9 w 16"/>
                  <a:gd name="T11" fmla="*/ 0 h 10"/>
                  <a:gd name="T12" fmla="*/ 0 w 16"/>
                  <a:gd name="T13" fmla="*/ 0 h 10"/>
                  <a:gd name="T14" fmla="*/ 0 w 16"/>
                  <a:gd name="T15" fmla="*/ 2 h 10"/>
                  <a:gd name="T16" fmla="*/ 1 w 16"/>
                  <a:gd name="T17" fmla="*/ 6 h 10"/>
                  <a:gd name="T18" fmla="*/ 3 w 16"/>
                  <a:gd name="T19" fmla="*/ 8 h 10"/>
                  <a:gd name="T20" fmla="*/ 9 w 16"/>
                  <a:gd name="T21" fmla="*/ 10 h 10"/>
                  <a:gd name="T22" fmla="*/ 9 w 1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9" y="10"/>
                    </a:moveTo>
                    <a:lnTo>
                      <a:pt x="11" y="9"/>
                    </a:lnTo>
                    <a:lnTo>
                      <a:pt x="13" y="8"/>
                    </a:lnTo>
                    <a:lnTo>
                      <a:pt x="16" y="5"/>
                    </a:lnTo>
                    <a:lnTo>
                      <a:pt x="11" y="0"/>
                    </a:lnTo>
                    <a:lnTo>
                      <a:pt x="9" y="0"/>
                    </a:lnTo>
                    <a:lnTo>
                      <a:pt x="0" y="0"/>
                    </a:lnTo>
                    <a:lnTo>
                      <a:pt x="0" y="2"/>
                    </a:lnTo>
                    <a:lnTo>
                      <a:pt x="1" y="6"/>
                    </a:lnTo>
                    <a:lnTo>
                      <a:pt x="3" y="8"/>
                    </a:lnTo>
                    <a:lnTo>
                      <a:pt x="9" y="10"/>
                    </a:lnTo>
                    <a:lnTo>
                      <a:pt x="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3" name="Freeform 179">
                <a:extLst>
                  <a:ext uri="{FF2B5EF4-FFF2-40B4-BE49-F238E27FC236}">
                    <a16:creationId xmlns:a16="http://schemas.microsoft.com/office/drawing/2014/main" id="{08767724-8A02-420B-BEF5-CD6BD69206C0}"/>
                  </a:ext>
                </a:extLst>
              </p:cNvPr>
              <p:cNvSpPr>
                <a:spLocks/>
              </p:cNvSpPr>
              <p:nvPr/>
            </p:nvSpPr>
            <p:spPr bwMode="auto">
              <a:xfrm>
                <a:off x="5429" y="2776"/>
                <a:ext cx="20" cy="40"/>
              </a:xfrm>
              <a:custGeom>
                <a:avLst/>
                <a:gdLst>
                  <a:gd name="T0" fmla="*/ 5 w 20"/>
                  <a:gd name="T1" fmla="*/ 29 h 40"/>
                  <a:gd name="T2" fmla="*/ 5 w 20"/>
                  <a:gd name="T3" fmla="*/ 31 h 40"/>
                  <a:gd name="T4" fmla="*/ 10 w 20"/>
                  <a:gd name="T5" fmla="*/ 39 h 40"/>
                  <a:gd name="T6" fmla="*/ 12 w 20"/>
                  <a:gd name="T7" fmla="*/ 40 h 40"/>
                  <a:gd name="T8" fmla="*/ 9 w 20"/>
                  <a:gd name="T9" fmla="*/ 35 h 40"/>
                  <a:gd name="T10" fmla="*/ 7 w 20"/>
                  <a:gd name="T11" fmla="*/ 29 h 40"/>
                  <a:gd name="T12" fmla="*/ 8 w 20"/>
                  <a:gd name="T13" fmla="*/ 28 h 40"/>
                  <a:gd name="T14" fmla="*/ 7 w 20"/>
                  <a:gd name="T15" fmla="*/ 25 h 40"/>
                  <a:gd name="T16" fmla="*/ 10 w 20"/>
                  <a:gd name="T17" fmla="*/ 23 h 40"/>
                  <a:gd name="T18" fmla="*/ 20 w 20"/>
                  <a:gd name="T19" fmla="*/ 26 h 40"/>
                  <a:gd name="T20" fmla="*/ 18 w 20"/>
                  <a:gd name="T21" fmla="*/ 25 h 40"/>
                  <a:gd name="T22" fmla="*/ 18 w 20"/>
                  <a:gd name="T23" fmla="*/ 22 h 40"/>
                  <a:gd name="T24" fmla="*/ 15 w 20"/>
                  <a:gd name="T25" fmla="*/ 21 h 40"/>
                  <a:gd name="T26" fmla="*/ 12 w 20"/>
                  <a:gd name="T27" fmla="*/ 20 h 40"/>
                  <a:gd name="T28" fmla="*/ 14 w 20"/>
                  <a:gd name="T29" fmla="*/ 17 h 40"/>
                  <a:gd name="T30" fmla="*/ 16 w 20"/>
                  <a:gd name="T31" fmla="*/ 16 h 40"/>
                  <a:gd name="T32" fmla="*/ 18 w 20"/>
                  <a:gd name="T33" fmla="*/ 13 h 40"/>
                  <a:gd name="T34" fmla="*/ 18 w 20"/>
                  <a:gd name="T35" fmla="*/ 11 h 40"/>
                  <a:gd name="T36" fmla="*/ 16 w 20"/>
                  <a:gd name="T37" fmla="*/ 8 h 40"/>
                  <a:gd name="T38" fmla="*/ 14 w 20"/>
                  <a:gd name="T39" fmla="*/ 10 h 40"/>
                  <a:gd name="T40" fmla="*/ 10 w 20"/>
                  <a:gd name="T41" fmla="*/ 11 h 40"/>
                  <a:gd name="T42" fmla="*/ 10 w 20"/>
                  <a:gd name="T43" fmla="*/ 14 h 40"/>
                  <a:gd name="T44" fmla="*/ 8 w 20"/>
                  <a:gd name="T45" fmla="*/ 16 h 40"/>
                  <a:gd name="T46" fmla="*/ 7 w 20"/>
                  <a:gd name="T47" fmla="*/ 18 h 40"/>
                  <a:gd name="T48" fmla="*/ 5 w 20"/>
                  <a:gd name="T49" fmla="*/ 18 h 40"/>
                  <a:gd name="T50" fmla="*/ 5 w 20"/>
                  <a:gd name="T51" fmla="*/ 16 h 40"/>
                  <a:gd name="T52" fmla="*/ 7 w 20"/>
                  <a:gd name="T53" fmla="*/ 13 h 40"/>
                  <a:gd name="T54" fmla="*/ 9 w 20"/>
                  <a:gd name="T55" fmla="*/ 11 h 40"/>
                  <a:gd name="T56" fmla="*/ 9 w 20"/>
                  <a:gd name="T57" fmla="*/ 8 h 40"/>
                  <a:gd name="T58" fmla="*/ 7 w 20"/>
                  <a:gd name="T59" fmla="*/ 0 h 40"/>
                  <a:gd name="T60" fmla="*/ 3 w 20"/>
                  <a:gd name="T61" fmla="*/ 5 h 40"/>
                  <a:gd name="T62" fmla="*/ 1 w 20"/>
                  <a:gd name="T63" fmla="*/ 11 h 40"/>
                  <a:gd name="T64" fmla="*/ 0 w 20"/>
                  <a:gd name="T65" fmla="*/ 13 h 40"/>
                  <a:gd name="T66" fmla="*/ 2 w 20"/>
                  <a:gd name="T67" fmla="*/ 16 h 40"/>
                  <a:gd name="T68" fmla="*/ 3 w 20"/>
                  <a:gd name="T69" fmla="*/ 19 h 40"/>
                  <a:gd name="T70" fmla="*/ 2 w 20"/>
                  <a:gd name="T71" fmla="*/ 21 h 40"/>
                  <a:gd name="T72" fmla="*/ 5 w 20"/>
                  <a:gd name="T73" fmla="*/ 27 h 40"/>
                  <a:gd name="T74" fmla="*/ 5 w 20"/>
                  <a:gd name="T75" fmla="*/ 29 h 40"/>
                  <a:gd name="T76" fmla="*/ 5 w 20"/>
                  <a:gd name="T77"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40">
                    <a:moveTo>
                      <a:pt x="5" y="29"/>
                    </a:moveTo>
                    <a:lnTo>
                      <a:pt x="5" y="31"/>
                    </a:lnTo>
                    <a:lnTo>
                      <a:pt x="10" y="39"/>
                    </a:lnTo>
                    <a:lnTo>
                      <a:pt x="12" y="40"/>
                    </a:lnTo>
                    <a:lnTo>
                      <a:pt x="9" y="35"/>
                    </a:lnTo>
                    <a:lnTo>
                      <a:pt x="7" y="29"/>
                    </a:lnTo>
                    <a:lnTo>
                      <a:pt x="8" y="28"/>
                    </a:lnTo>
                    <a:lnTo>
                      <a:pt x="7" y="25"/>
                    </a:lnTo>
                    <a:lnTo>
                      <a:pt x="10" y="23"/>
                    </a:lnTo>
                    <a:lnTo>
                      <a:pt x="20" y="26"/>
                    </a:lnTo>
                    <a:lnTo>
                      <a:pt x="18" y="25"/>
                    </a:lnTo>
                    <a:lnTo>
                      <a:pt x="18" y="22"/>
                    </a:lnTo>
                    <a:lnTo>
                      <a:pt x="15" y="21"/>
                    </a:lnTo>
                    <a:lnTo>
                      <a:pt x="12" y="20"/>
                    </a:lnTo>
                    <a:lnTo>
                      <a:pt x="14" y="17"/>
                    </a:lnTo>
                    <a:lnTo>
                      <a:pt x="16" y="16"/>
                    </a:lnTo>
                    <a:lnTo>
                      <a:pt x="18" y="13"/>
                    </a:lnTo>
                    <a:lnTo>
                      <a:pt x="18" y="11"/>
                    </a:lnTo>
                    <a:lnTo>
                      <a:pt x="16" y="8"/>
                    </a:lnTo>
                    <a:lnTo>
                      <a:pt x="14" y="10"/>
                    </a:lnTo>
                    <a:lnTo>
                      <a:pt x="10" y="11"/>
                    </a:lnTo>
                    <a:lnTo>
                      <a:pt x="10" y="14"/>
                    </a:lnTo>
                    <a:lnTo>
                      <a:pt x="8" y="16"/>
                    </a:lnTo>
                    <a:lnTo>
                      <a:pt x="7" y="18"/>
                    </a:lnTo>
                    <a:lnTo>
                      <a:pt x="5" y="18"/>
                    </a:lnTo>
                    <a:lnTo>
                      <a:pt x="5" y="16"/>
                    </a:lnTo>
                    <a:lnTo>
                      <a:pt x="7" y="13"/>
                    </a:lnTo>
                    <a:lnTo>
                      <a:pt x="9" y="11"/>
                    </a:lnTo>
                    <a:lnTo>
                      <a:pt x="9" y="8"/>
                    </a:lnTo>
                    <a:lnTo>
                      <a:pt x="7" y="0"/>
                    </a:lnTo>
                    <a:lnTo>
                      <a:pt x="3" y="5"/>
                    </a:lnTo>
                    <a:lnTo>
                      <a:pt x="1" y="11"/>
                    </a:lnTo>
                    <a:lnTo>
                      <a:pt x="0" y="13"/>
                    </a:lnTo>
                    <a:lnTo>
                      <a:pt x="2" y="16"/>
                    </a:lnTo>
                    <a:lnTo>
                      <a:pt x="3" y="19"/>
                    </a:lnTo>
                    <a:lnTo>
                      <a:pt x="2" y="21"/>
                    </a:lnTo>
                    <a:lnTo>
                      <a:pt x="5" y="27"/>
                    </a:lnTo>
                    <a:lnTo>
                      <a:pt x="5" y="29"/>
                    </a:lnTo>
                    <a:lnTo>
                      <a:pt x="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4" name="Freeform 180">
                <a:extLst>
                  <a:ext uri="{FF2B5EF4-FFF2-40B4-BE49-F238E27FC236}">
                    <a16:creationId xmlns:a16="http://schemas.microsoft.com/office/drawing/2014/main" id="{B28A85E3-190F-400B-AA32-1733AB45CF92}"/>
                  </a:ext>
                </a:extLst>
              </p:cNvPr>
              <p:cNvSpPr>
                <a:spLocks/>
              </p:cNvSpPr>
              <p:nvPr/>
            </p:nvSpPr>
            <p:spPr bwMode="auto">
              <a:xfrm>
                <a:off x="5437" y="2844"/>
                <a:ext cx="40" cy="14"/>
              </a:xfrm>
              <a:custGeom>
                <a:avLst/>
                <a:gdLst>
                  <a:gd name="T0" fmla="*/ 28 w 40"/>
                  <a:gd name="T1" fmla="*/ 9 h 14"/>
                  <a:gd name="T2" fmla="*/ 34 w 40"/>
                  <a:gd name="T3" fmla="*/ 12 h 14"/>
                  <a:gd name="T4" fmla="*/ 36 w 40"/>
                  <a:gd name="T5" fmla="*/ 13 h 14"/>
                  <a:gd name="T6" fmla="*/ 40 w 40"/>
                  <a:gd name="T7" fmla="*/ 14 h 14"/>
                  <a:gd name="T8" fmla="*/ 40 w 40"/>
                  <a:gd name="T9" fmla="*/ 9 h 14"/>
                  <a:gd name="T10" fmla="*/ 36 w 40"/>
                  <a:gd name="T11" fmla="*/ 8 h 14"/>
                  <a:gd name="T12" fmla="*/ 36 w 40"/>
                  <a:gd name="T13" fmla="*/ 4 h 14"/>
                  <a:gd name="T14" fmla="*/ 33 w 40"/>
                  <a:gd name="T15" fmla="*/ 3 h 14"/>
                  <a:gd name="T16" fmla="*/ 28 w 40"/>
                  <a:gd name="T17" fmla="*/ 3 h 14"/>
                  <a:gd name="T18" fmla="*/ 26 w 40"/>
                  <a:gd name="T19" fmla="*/ 2 h 14"/>
                  <a:gd name="T20" fmla="*/ 21 w 40"/>
                  <a:gd name="T21" fmla="*/ 0 h 14"/>
                  <a:gd name="T22" fmla="*/ 16 w 40"/>
                  <a:gd name="T23" fmla="*/ 2 h 14"/>
                  <a:gd name="T24" fmla="*/ 14 w 40"/>
                  <a:gd name="T25" fmla="*/ 1 h 14"/>
                  <a:gd name="T26" fmla="*/ 8 w 40"/>
                  <a:gd name="T27" fmla="*/ 1 h 14"/>
                  <a:gd name="T28" fmla="*/ 4 w 40"/>
                  <a:gd name="T29" fmla="*/ 1 h 14"/>
                  <a:gd name="T30" fmla="*/ 2 w 40"/>
                  <a:gd name="T31" fmla="*/ 2 h 14"/>
                  <a:gd name="T32" fmla="*/ 0 w 40"/>
                  <a:gd name="T33" fmla="*/ 4 h 14"/>
                  <a:gd name="T34" fmla="*/ 0 w 40"/>
                  <a:gd name="T35" fmla="*/ 10 h 14"/>
                  <a:gd name="T36" fmla="*/ 1 w 40"/>
                  <a:gd name="T37" fmla="*/ 8 h 14"/>
                  <a:gd name="T38" fmla="*/ 2 w 40"/>
                  <a:gd name="T39" fmla="*/ 4 h 14"/>
                  <a:gd name="T40" fmla="*/ 4 w 40"/>
                  <a:gd name="T41" fmla="*/ 6 h 14"/>
                  <a:gd name="T42" fmla="*/ 7 w 40"/>
                  <a:gd name="T43" fmla="*/ 9 h 14"/>
                  <a:gd name="T44" fmla="*/ 9 w 40"/>
                  <a:gd name="T45" fmla="*/ 9 h 14"/>
                  <a:gd name="T46" fmla="*/ 11 w 40"/>
                  <a:gd name="T47" fmla="*/ 6 h 14"/>
                  <a:gd name="T48" fmla="*/ 15 w 40"/>
                  <a:gd name="T49" fmla="*/ 8 h 14"/>
                  <a:gd name="T50" fmla="*/ 20 w 40"/>
                  <a:gd name="T51" fmla="*/ 9 h 14"/>
                  <a:gd name="T52" fmla="*/ 23 w 40"/>
                  <a:gd name="T53" fmla="*/ 8 h 14"/>
                  <a:gd name="T54" fmla="*/ 25 w 40"/>
                  <a:gd name="T55" fmla="*/ 8 h 14"/>
                  <a:gd name="T56" fmla="*/ 28 w 40"/>
                  <a:gd name="T57" fmla="*/ 9 h 14"/>
                  <a:gd name="T58" fmla="*/ 28 w 40"/>
                  <a:gd name="T5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
                    <a:moveTo>
                      <a:pt x="28" y="9"/>
                    </a:moveTo>
                    <a:lnTo>
                      <a:pt x="34" y="12"/>
                    </a:lnTo>
                    <a:lnTo>
                      <a:pt x="36" y="13"/>
                    </a:lnTo>
                    <a:lnTo>
                      <a:pt x="40" y="14"/>
                    </a:lnTo>
                    <a:lnTo>
                      <a:pt x="40" y="9"/>
                    </a:lnTo>
                    <a:lnTo>
                      <a:pt x="36" y="8"/>
                    </a:lnTo>
                    <a:lnTo>
                      <a:pt x="36" y="4"/>
                    </a:lnTo>
                    <a:lnTo>
                      <a:pt x="33" y="3"/>
                    </a:lnTo>
                    <a:lnTo>
                      <a:pt x="28" y="3"/>
                    </a:lnTo>
                    <a:lnTo>
                      <a:pt x="26" y="2"/>
                    </a:lnTo>
                    <a:lnTo>
                      <a:pt x="21" y="0"/>
                    </a:lnTo>
                    <a:lnTo>
                      <a:pt x="16" y="2"/>
                    </a:lnTo>
                    <a:lnTo>
                      <a:pt x="14" y="1"/>
                    </a:lnTo>
                    <a:lnTo>
                      <a:pt x="8" y="1"/>
                    </a:lnTo>
                    <a:lnTo>
                      <a:pt x="4" y="1"/>
                    </a:lnTo>
                    <a:lnTo>
                      <a:pt x="2" y="2"/>
                    </a:lnTo>
                    <a:lnTo>
                      <a:pt x="0" y="4"/>
                    </a:lnTo>
                    <a:lnTo>
                      <a:pt x="0" y="10"/>
                    </a:lnTo>
                    <a:lnTo>
                      <a:pt x="1" y="8"/>
                    </a:lnTo>
                    <a:lnTo>
                      <a:pt x="2" y="4"/>
                    </a:lnTo>
                    <a:lnTo>
                      <a:pt x="4" y="6"/>
                    </a:lnTo>
                    <a:lnTo>
                      <a:pt x="7" y="9"/>
                    </a:lnTo>
                    <a:lnTo>
                      <a:pt x="9" y="9"/>
                    </a:lnTo>
                    <a:lnTo>
                      <a:pt x="11" y="6"/>
                    </a:lnTo>
                    <a:lnTo>
                      <a:pt x="15" y="8"/>
                    </a:lnTo>
                    <a:lnTo>
                      <a:pt x="20" y="9"/>
                    </a:lnTo>
                    <a:lnTo>
                      <a:pt x="23" y="8"/>
                    </a:lnTo>
                    <a:lnTo>
                      <a:pt x="25" y="8"/>
                    </a:lnTo>
                    <a:lnTo>
                      <a:pt x="28" y="9"/>
                    </a:lnTo>
                    <a:lnTo>
                      <a:pt x="2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5" name="Freeform 181">
                <a:extLst>
                  <a:ext uri="{FF2B5EF4-FFF2-40B4-BE49-F238E27FC236}">
                    <a16:creationId xmlns:a16="http://schemas.microsoft.com/office/drawing/2014/main" id="{346AF474-B811-4E91-879C-0C51E8713D2F}"/>
                  </a:ext>
                </a:extLst>
              </p:cNvPr>
              <p:cNvSpPr>
                <a:spLocks/>
              </p:cNvSpPr>
              <p:nvPr/>
            </p:nvSpPr>
            <p:spPr bwMode="auto">
              <a:xfrm>
                <a:off x="5440" y="2770"/>
                <a:ext cx="7" cy="8"/>
              </a:xfrm>
              <a:custGeom>
                <a:avLst/>
                <a:gdLst>
                  <a:gd name="T0" fmla="*/ 1 w 7"/>
                  <a:gd name="T1" fmla="*/ 8 h 8"/>
                  <a:gd name="T2" fmla="*/ 3 w 7"/>
                  <a:gd name="T3" fmla="*/ 8 h 8"/>
                  <a:gd name="T4" fmla="*/ 6 w 7"/>
                  <a:gd name="T5" fmla="*/ 6 h 8"/>
                  <a:gd name="T6" fmla="*/ 7 w 7"/>
                  <a:gd name="T7" fmla="*/ 3 h 8"/>
                  <a:gd name="T8" fmla="*/ 7 w 7"/>
                  <a:gd name="T9" fmla="*/ 1 h 8"/>
                  <a:gd name="T10" fmla="*/ 5 w 7"/>
                  <a:gd name="T11" fmla="*/ 0 h 8"/>
                  <a:gd name="T12" fmla="*/ 1 w 7"/>
                  <a:gd name="T13" fmla="*/ 2 h 8"/>
                  <a:gd name="T14" fmla="*/ 0 w 7"/>
                  <a:gd name="T15" fmla="*/ 6 h 8"/>
                  <a:gd name="T16" fmla="*/ 1 w 7"/>
                  <a:gd name="T17" fmla="*/ 8 h 8"/>
                  <a:gd name="T18" fmla="*/ 1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1" y="8"/>
                    </a:moveTo>
                    <a:lnTo>
                      <a:pt x="3" y="8"/>
                    </a:lnTo>
                    <a:lnTo>
                      <a:pt x="6" y="6"/>
                    </a:lnTo>
                    <a:lnTo>
                      <a:pt x="7" y="3"/>
                    </a:lnTo>
                    <a:lnTo>
                      <a:pt x="7" y="1"/>
                    </a:lnTo>
                    <a:lnTo>
                      <a:pt x="5" y="0"/>
                    </a:lnTo>
                    <a:lnTo>
                      <a:pt x="1" y="2"/>
                    </a:lnTo>
                    <a:lnTo>
                      <a:pt x="0" y="6"/>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6" name="Freeform 182">
                <a:extLst>
                  <a:ext uri="{FF2B5EF4-FFF2-40B4-BE49-F238E27FC236}">
                    <a16:creationId xmlns:a16="http://schemas.microsoft.com/office/drawing/2014/main" id="{29C787C5-7510-4A3A-9261-1E425D59D838}"/>
                  </a:ext>
                </a:extLst>
              </p:cNvPr>
              <p:cNvSpPr>
                <a:spLocks/>
              </p:cNvSpPr>
              <p:nvPr/>
            </p:nvSpPr>
            <p:spPr bwMode="auto">
              <a:xfrm>
                <a:off x="5460" y="2203"/>
                <a:ext cx="169" cy="164"/>
              </a:xfrm>
              <a:custGeom>
                <a:avLst/>
                <a:gdLst>
                  <a:gd name="T0" fmla="*/ 23 w 169"/>
                  <a:gd name="T1" fmla="*/ 119 h 164"/>
                  <a:gd name="T2" fmla="*/ 35 w 169"/>
                  <a:gd name="T3" fmla="*/ 119 h 164"/>
                  <a:gd name="T4" fmla="*/ 41 w 169"/>
                  <a:gd name="T5" fmla="*/ 115 h 164"/>
                  <a:gd name="T6" fmla="*/ 48 w 169"/>
                  <a:gd name="T7" fmla="*/ 114 h 164"/>
                  <a:gd name="T8" fmla="*/ 60 w 169"/>
                  <a:gd name="T9" fmla="*/ 111 h 164"/>
                  <a:gd name="T10" fmla="*/ 77 w 169"/>
                  <a:gd name="T11" fmla="*/ 108 h 164"/>
                  <a:gd name="T12" fmla="*/ 74 w 169"/>
                  <a:gd name="T13" fmla="*/ 114 h 164"/>
                  <a:gd name="T14" fmla="*/ 79 w 169"/>
                  <a:gd name="T15" fmla="*/ 123 h 164"/>
                  <a:gd name="T16" fmla="*/ 88 w 169"/>
                  <a:gd name="T17" fmla="*/ 121 h 164"/>
                  <a:gd name="T18" fmla="*/ 99 w 169"/>
                  <a:gd name="T19" fmla="*/ 113 h 164"/>
                  <a:gd name="T20" fmla="*/ 97 w 169"/>
                  <a:gd name="T21" fmla="*/ 103 h 164"/>
                  <a:gd name="T22" fmla="*/ 100 w 169"/>
                  <a:gd name="T23" fmla="*/ 105 h 164"/>
                  <a:gd name="T24" fmla="*/ 116 w 169"/>
                  <a:gd name="T25" fmla="*/ 110 h 164"/>
                  <a:gd name="T26" fmla="*/ 125 w 169"/>
                  <a:gd name="T27" fmla="*/ 104 h 164"/>
                  <a:gd name="T28" fmla="*/ 130 w 169"/>
                  <a:gd name="T29" fmla="*/ 102 h 164"/>
                  <a:gd name="T30" fmla="*/ 137 w 169"/>
                  <a:gd name="T31" fmla="*/ 98 h 164"/>
                  <a:gd name="T32" fmla="*/ 140 w 169"/>
                  <a:gd name="T33" fmla="*/ 99 h 164"/>
                  <a:gd name="T34" fmla="*/ 151 w 169"/>
                  <a:gd name="T35" fmla="*/ 93 h 164"/>
                  <a:gd name="T36" fmla="*/ 150 w 169"/>
                  <a:gd name="T37" fmla="*/ 85 h 164"/>
                  <a:gd name="T38" fmla="*/ 156 w 169"/>
                  <a:gd name="T39" fmla="*/ 65 h 164"/>
                  <a:gd name="T40" fmla="*/ 157 w 169"/>
                  <a:gd name="T41" fmla="*/ 51 h 164"/>
                  <a:gd name="T42" fmla="*/ 164 w 169"/>
                  <a:gd name="T43" fmla="*/ 40 h 164"/>
                  <a:gd name="T44" fmla="*/ 169 w 169"/>
                  <a:gd name="T45" fmla="*/ 33 h 164"/>
                  <a:gd name="T46" fmla="*/ 162 w 169"/>
                  <a:gd name="T47" fmla="*/ 14 h 164"/>
                  <a:gd name="T48" fmla="*/ 157 w 169"/>
                  <a:gd name="T49" fmla="*/ 0 h 164"/>
                  <a:gd name="T50" fmla="*/ 159 w 169"/>
                  <a:gd name="T51" fmla="*/ 4 h 164"/>
                  <a:gd name="T52" fmla="*/ 152 w 169"/>
                  <a:gd name="T53" fmla="*/ 11 h 164"/>
                  <a:gd name="T54" fmla="*/ 146 w 169"/>
                  <a:gd name="T55" fmla="*/ 6 h 164"/>
                  <a:gd name="T56" fmla="*/ 140 w 169"/>
                  <a:gd name="T57" fmla="*/ 14 h 164"/>
                  <a:gd name="T58" fmla="*/ 139 w 169"/>
                  <a:gd name="T59" fmla="*/ 27 h 164"/>
                  <a:gd name="T60" fmla="*/ 142 w 169"/>
                  <a:gd name="T61" fmla="*/ 35 h 164"/>
                  <a:gd name="T62" fmla="*/ 134 w 169"/>
                  <a:gd name="T63" fmla="*/ 51 h 164"/>
                  <a:gd name="T64" fmla="*/ 126 w 169"/>
                  <a:gd name="T65" fmla="*/ 59 h 164"/>
                  <a:gd name="T66" fmla="*/ 117 w 169"/>
                  <a:gd name="T67" fmla="*/ 70 h 164"/>
                  <a:gd name="T68" fmla="*/ 102 w 169"/>
                  <a:gd name="T69" fmla="*/ 72 h 164"/>
                  <a:gd name="T70" fmla="*/ 105 w 169"/>
                  <a:gd name="T71" fmla="*/ 64 h 164"/>
                  <a:gd name="T72" fmla="*/ 97 w 169"/>
                  <a:gd name="T73" fmla="*/ 76 h 164"/>
                  <a:gd name="T74" fmla="*/ 88 w 169"/>
                  <a:gd name="T75" fmla="*/ 90 h 164"/>
                  <a:gd name="T76" fmla="*/ 79 w 169"/>
                  <a:gd name="T77" fmla="*/ 96 h 164"/>
                  <a:gd name="T78" fmla="*/ 64 w 169"/>
                  <a:gd name="T79" fmla="*/ 94 h 164"/>
                  <a:gd name="T80" fmla="*/ 48 w 169"/>
                  <a:gd name="T81" fmla="*/ 95 h 164"/>
                  <a:gd name="T82" fmla="*/ 30 w 169"/>
                  <a:gd name="T83" fmla="*/ 107 h 164"/>
                  <a:gd name="T84" fmla="*/ 20 w 169"/>
                  <a:gd name="T85" fmla="*/ 112 h 164"/>
                  <a:gd name="T86" fmla="*/ 12 w 169"/>
                  <a:gd name="T87" fmla="*/ 121 h 164"/>
                  <a:gd name="T88" fmla="*/ 5 w 169"/>
                  <a:gd name="T89" fmla="*/ 128 h 164"/>
                  <a:gd name="T90" fmla="*/ 0 w 169"/>
                  <a:gd name="T91" fmla="*/ 130 h 164"/>
                  <a:gd name="T92" fmla="*/ 2 w 169"/>
                  <a:gd name="T93" fmla="*/ 136 h 164"/>
                  <a:gd name="T94" fmla="*/ 5 w 169"/>
                  <a:gd name="T95" fmla="*/ 138 h 164"/>
                  <a:gd name="T96" fmla="*/ 10 w 169"/>
                  <a:gd name="T97" fmla="*/ 132 h 164"/>
                  <a:gd name="T98" fmla="*/ 13 w 169"/>
                  <a:gd name="T99" fmla="*/ 139 h 164"/>
                  <a:gd name="T100" fmla="*/ 10 w 169"/>
                  <a:gd name="T101" fmla="*/ 155 h 164"/>
                  <a:gd name="T102" fmla="*/ 12 w 169"/>
                  <a:gd name="T103" fmla="*/ 156 h 164"/>
                  <a:gd name="T104" fmla="*/ 15 w 169"/>
                  <a:gd name="T105" fmla="*/ 158 h 164"/>
                  <a:gd name="T106" fmla="*/ 20 w 169"/>
                  <a:gd name="T107" fmla="*/ 160 h 164"/>
                  <a:gd name="T108" fmla="*/ 23 w 169"/>
                  <a:gd name="T109" fmla="*/ 156 h 164"/>
                  <a:gd name="T110" fmla="*/ 28 w 169"/>
                  <a:gd name="T111" fmla="*/ 141 h 164"/>
                  <a:gd name="T112" fmla="*/ 32 w 169"/>
                  <a:gd name="T113" fmla="*/ 132 h 164"/>
                  <a:gd name="T114" fmla="*/ 28 w 169"/>
                  <a:gd name="T115" fmla="*/ 124 h 164"/>
                  <a:gd name="T116" fmla="*/ 19 w 169"/>
                  <a:gd name="T117" fmla="*/ 122 h 164"/>
                  <a:gd name="T118" fmla="*/ 18 w 169"/>
                  <a:gd name="T119" fmla="*/ 1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9" h="164">
                    <a:moveTo>
                      <a:pt x="18" y="120"/>
                    </a:moveTo>
                    <a:lnTo>
                      <a:pt x="19" y="119"/>
                    </a:lnTo>
                    <a:lnTo>
                      <a:pt x="21" y="120"/>
                    </a:lnTo>
                    <a:lnTo>
                      <a:pt x="23" y="119"/>
                    </a:lnTo>
                    <a:lnTo>
                      <a:pt x="27" y="119"/>
                    </a:lnTo>
                    <a:lnTo>
                      <a:pt x="29" y="117"/>
                    </a:lnTo>
                    <a:lnTo>
                      <a:pt x="35" y="121"/>
                    </a:lnTo>
                    <a:lnTo>
                      <a:pt x="35" y="119"/>
                    </a:lnTo>
                    <a:lnTo>
                      <a:pt x="36" y="115"/>
                    </a:lnTo>
                    <a:lnTo>
                      <a:pt x="37" y="113"/>
                    </a:lnTo>
                    <a:lnTo>
                      <a:pt x="39" y="115"/>
                    </a:lnTo>
                    <a:lnTo>
                      <a:pt x="41" y="115"/>
                    </a:lnTo>
                    <a:lnTo>
                      <a:pt x="47" y="113"/>
                    </a:lnTo>
                    <a:lnTo>
                      <a:pt x="48" y="113"/>
                    </a:lnTo>
                    <a:lnTo>
                      <a:pt x="47" y="114"/>
                    </a:lnTo>
                    <a:lnTo>
                      <a:pt x="48" y="114"/>
                    </a:lnTo>
                    <a:lnTo>
                      <a:pt x="49" y="112"/>
                    </a:lnTo>
                    <a:lnTo>
                      <a:pt x="52" y="112"/>
                    </a:lnTo>
                    <a:lnTo>
                      <a:pt x="54" y="112"/>
                    </a:lnTo>
                    <a:lnTo>
                      <a:pt x="60" y="111"/>
                    </a:lnTo>
                    <a:lnTo>
                      <a:pt x="64" y="107"/>
                    </a:lnTo>
                    <a:lnTo>
                      <a:pt x="69" y="106"/>
                    </a:lnTo>
                    <a:lnTo>
                      <a:pt x="74" y="110"/>
                    </a:lnTo>
                    <a:lnTo>
                      <a:pt x="77" y="108"/>
                    </a:lnTo>
                    <a:lnTo>
                      <a:pt x="79" y="108"/>
                    </a:lnTo>
                    <a:lnTo>
                      <a:pt x="80" y="110"/>
                    </a:lnTo>
                    <a:lnTo>
                      <a:pt x="78" y="113"/>
                    </a:lnTo>
                    <a:lnTo>
                      <a:pt x="74" y="114"/>
                    </a:lnTo>
                    <a:lnTo>
                      <a:pt x="75" y="116"/>
                    </a:lnTo>
                    <a:lnTo>
                      <a:pt x="74" y="119"/>
                    </a:lnTo>
                    <a:lnTo>
                      <a:pt x="75" y="122"/>
                    </a:lnTo>
                    <a:lnTo>
                      <a:pt x="79" y="123"/>
                    </a:lnTo>
                    <a:lnTo>
                      <a:pt x="80" y="125"/>
                    </a:lnTo>
                    <a:lnTo>
                      <a:pt x="82" y="127"/>
                    </a:lnTo>
                    <a:lnTo>
                      <a:pt x="86" y="127"/>
                    </a:lnTo>
                    <a:lnTo>
                      <a:pt x="88" y="121"/>
                    </a:lnTo>
                    <a:lnTo>
                      <a:pt x="91" y="119"/>
                    </a:lnTo>
                    <a:lnTo>
                      <a:pt x="91" y="116"/>
                    </a:lnTo>
                    <a:lnTo>
                      <a:pt x="94" y="115"/>
                    </a:lnTo>
                    <a:lnTo>
                      <a:pt x="99" y="113"/>
                    </a:lnTo>
                    <a:lnTo>
                      <a:pt x="97" y="111"/>
                    </a:lnTo>
                    <a:lnTo>
                      <a:pt x="95" y="110"/>
                    </a:lnTo>
                    <a:lnTo>
                      <a:pt x="95" y="108"/>
                    </a:lnTo>
                    <a:lnTo>
                      <a:pt x="97" y="103"/>
                    </a:lnTo>
                    <a:lnTo>
                      <a:pt x="99" y="102"/>
                    </a:lnTo>
                    <a:lnTo>
                      <a:pt x="98" y="105"/>
                    </a:lnTo>
                    <a:lnTo>
                      <a:pt x="100" y="107"/>
                    </a:lnTo>
                    <a:lnTo>
                      <a:pt x="100" y="105"/>
                    </a:lnTo>
                    <a:lnTo>
                      <a:pt x="104" y="108"/>
                    </a:lnTo>
                    <a:lnTo>
                      <a:pt x="102" y="110"/>
                    </a:lnTo>
                    <a:lnTo>
                      <a:pt x="108" y="108"/>
                    </a:lnTo>
                    <a:lnTo>
                      <a:pt x="116" y="110"/>
                    </a:lnTo>
                    <a:lnTo>
                      <a:pt x="119" y="107"/>
                    </a:lnTo>
                    <a:lnTo>
                      <a:pt x="120" y="104"/>
                    </a:lnTo>
                    <a:lnTo>
                      <a:pt x="122" y="102"/>
                    </a:lnTo>
                    <a:lnTo>
                      <a:pt x="125" y="104"/>
                    </a:lnTo>
                    <a:lnTo>
                      <a:pt x="125" y="106"/>
                    </a:lnTo>
                    <a:lnTo>
                      <a:pt x="126" y="110"/>
                    </a:lnTo>
                    <a:lnTo>
                      <a:pt x="129" y="106"/>
                    </a:lnTo>
                    <a:lnTo>
                      <a:pt x="130" y="102"/>
                    </a:lnTo>
                    <a:lnTo>
                      <a:pt x="132" y="99"/>
                    </a:lnTo>
                    <a:lnTo>
                      <a:pt x="134" y="98"/>
                    </a:lnTo>
                    <a:lnTo>
                      <a:pt x="138" y="100"/>
                    </a:lnTo>
                    <a:lnTo>
                      <a:pt x="137" y="98"/>
                    </a:lnTo>
                    <a:lnTo>
                      <a:pt x="140" y="94"/>
                    </a:lnTo>
                    <a:lnTo>
                      <a:pt x="142" y="94"/>
                    </a:lnTo>
                    <a:lnTo>
                      <a:pt x="142" y="96"/>
                    </a:lnTo>
                    <a:lnTo>
                      <a:pt x="140" y="99"/>
                    </a:lnTo>
                    <a:lnTo>
                      <a:pt x="139" y="104"/>
                    </a:lnTo>
                    <a:lnTo>
                      <a:pt x="147" y="100"/>
                    </a:lnTo>
                    <a:lnTo>
                      <a:pt x="148" y="95"/>
                    </a:lnTo>
                    <a:lnTo>
                      <a:pt x="151" y="93"/>
                    </a:lnTo>
                    <a:lnTo>
                      <a:pt x="154" y="91"/>
                    </a:lnTo>
                    <a:lnTo>
                      <a:pt x="152" y="90"/>
                    </a:lnTo>
                    <a:lnTo>
                      <a:pt x="151" y="88"/>
                    </a:lnTo>
                    <a:lnTo>
                      <a:pt x="150" y="85"/>
                    </a:lnTo>
                    <a:lnTo>
                      <a:pt x="150" y="80"/>
                    </a:lnTo>
                    <a:lnTo>
                      <a:pt x="152" y="74"/>
                    </a:lnTo>
                    <a:lnTo>
                      <a:pt x="155" y="71"/>
                    </a:lnTo>
                    <a:lnTo>
                      <a:pt x="156" y="65"/>
                    </a:lnTo>
                    <a:lnTo>
                      <a:pt x="156" y="61"/>
                    </a:lnTo>
                    <a:lnTo>
                      <a:pt x="155" y="57"/>
                    </a:lnTo>
                    <a:lnTo>
                      <a:pt x="155" y="53"/>
                    </a:lnTo>
                    <a:lnTo>
                      <a:pt x="157" y="51"/>
                    </a:lnTo>
                    <a:lnTo>
                      <a:pt x="160" y="50"/>
                    </a:lnTo>
                    <a:lnTo>
                      <a:pt x="163" y="52"/>
                    </a:lnTo>
                    <a:lnTo>
                      <a:pt x="163" y="48"/>
                    </a:lnTo>
                    <a:lnTo>
                      <a:pt x="164" y="40"/>
                    </a:lnTo>
                    <a:lnTo>
                      <a:pt x="166" y="40"/>
                    </a:lnTo>
                    <a:lnTo>
                      <a:pt x="168" y="37"/>
                    </a:lnTo>
                    <a:lnTo>
                      <a:pt x="168" y="35"/>
                    </a:lnTo>
                    <a:lnTo>
                      <a:pt x="169" y="33"/>
                    </a:lnTo>
                    <a:lnTo>
                      <a:pt x="168" y="25"/>
                    </a:lnTo>
                    <a:lnTo>
                      <a:pt x="166" y="19"/>
                    </a:lnTo>
                    <a:lnTo>
                      <a:pt x="165" y="17"/>
                    </a:lnTo>
                    <a:lnTo>
                      <a:pt x="162" y="14"/>
                    </a:lnTo>
                    <a:lnTo>
                      <a:pt x="162" y="12"/>
                    </a:lnTo>
                    <a:lnTo>
                      <a:pt x="160" y="5"/>
                    </a:lnTo>
                    <a:lnTo>
                      <a:pt x="159" y="2"/>
                    </a:lnTo>
                    <a:lnTo>
                      <a:pt x="157" y="0"/>
                    </a:lnTo>
                    <a:lnTo>
                      <a:pt x="154" y="0"/>
                    </a:lnTo>
                    <a:lnTo>
                      <a:pt x="152" y="3"/>
                    </a:lnTo>
                    <a:lnTo>
                      <a:pt x="154" y="5"/>
                    </a:lnTo>
                    <a:lnTo>
                      <a:pt x="159" y="4"/>
                    </a:lnTo>
                    <a:lnTo>
                      <a:pt x="159" y="6"/>
                    </a:lnTo>
                    <a:lnTo>
                      <a:pt x="156" y="10"/>
                    </a:lnTo>
                    <a:lnTo>
                      <a:pt x="154" y="8"/>
                    </a:lnTo>
                    <a:lnTo>
                      <a:pt x="152" y="11"/>
                    </a:lnTo>
                    <a:lnTo>
                      <a:pt x="151" y="10"/>
                    </a:lnTo>
                    <a:lnTo>
                      <a:pt x="149" y="4"/>
                    </a:lnTo>
                    <a:lnTo>
                      <a:pt x="147" y="4"/>
                    </a:lnTo>
                    <a:lnTo>
                      <a:pt x="146" y="6"/>
                    </a:lnTo>
                    <a:lnTo>
                      <a:pt x="146" y="9"/>
                    </a:lnTo>
                    <a:lnTo>
                      <a:pt x="145" y="12"/>
                    </a:lnTo>
                    <a:lnTo>
                      <a:pt x="142" y="12"/>
                    </a:lnTo>
                    <a:lnTo>
                      <a:pt x="140" y="14"/>
                    </a:lnTo>
                    <a:lnTo>
                      <a:pt x="141" y="18"/>
                    </a:lnTo>
                    <a:lnTo>
                      <a:pt x="142" y="18"/>
                    </a:lnTo>
                    <a:lnTo>
                      <a:pt x="142" y="21"/>
                    </a:lnTo>
                    <a:lnTo>
                      <a:pt x="139" y="27"/>
                    </a:lnTo>
                    <a:lnTo>
                      <a:pt x="142" y="27"/>
                    </a:lnTo>
                    <a:lnTo>
                      <a:pt x="142" y="28"/>
                    </a:lnTo>
                    <a:lnTo>
                      <a:pt x="143" y="31"/>
                    </a:lnTo>
                    <a:lnTo>
                      <a:pt x="142" y="35"/>
                    </a:lnTo>
                    <a:lnTo>
                      <a:pt x="141" y="36"/>
                    </a:lnTo>
                    <a:lnTo>
                      <a:pt x="139" y="42"/>
                    </a:lnTo>
                    <a:lnTo>
                      <a:pt x="136" y="47"/>
                    </a:lnTo>
                    <a:lnTo>
                      <a:pt x="134" y="51"/>
                    </a:lnTo>
                    <a:lnTo>
                      <a:pt x="134" y="53"/>
                    </a:lnTo>
                    <a:lnTo>
                      <a:pt x="132" y="56"/>
                    </a:lnTo>
                    <a:lnTo>
                      <a:pt x="129" y="57"/>
                    </a:lnTo>
                    <a:lnTo>
                      <a:pt x="126" y="59"/>
                    </a:lnTo>
                    <a:lnTo>
                      <a:pt x="125" y="62"/>
                    </a:lnTo>
                    <a:lnTo>
                      <a:pt x="123" y="65"/>
                    </a:lnTo>
                    <a:lnTo>
                      <a:pt x="120" y="68"/>
                    </a:lnTo>
                    <a:lnTo>
                      <a:pt x="117" y="70"/>
                    </a:lnTo>
                    <a:lnTo>
                      <a:pt x="107" y="73"/>
                    </a:lnTo>
                    <a:lnTo>
                      <a:pt x="104" y="76"/>
                    </a:lnTo>
                    <a:lnTo>
                      <a:pt x="102" y="76"/>
                    </a:lnTo>
                    <a:lnTo>
                      <a:pt x="102" y="72"/>
                    </a:lnTo>
                    <a:lnTo>
                      <a:pt x="99" y="70"/>
                    </a:lnTo>
                    <a:lnTo>
                      <a:pt x="102" y="69"/>
                    </a:lnTo>
                    <a:lnTo>
                      <a:pt x="104" y="67"/>
                    </a:lnTo>
                    <a:lnTo>
                      <a:pt x="105" y="64"/>
                    </a:lnTo>
                    <a:lnTo>
                      <a:pt x="103" y="64"/>
                    </a:lnTo>
                    <a:lnTo>
                      <a:pt x="97" y="68"/>
                    </a:lnTo>
                    <a:lnTo>
                      <a:pt x="97" y="73"/>
                    </a:lnTo>
                    <a:lnTo>
                      <a:pt x="97" y="76"/>
                    </a:lnTo>
                    <a:lnTo>
                      <a:pt x="94" y="81"/>
                    </a:lnTo>
                    <a:lnTo>
                      <a:pt x="89" y="85"/>
                    </a:lnTo>
                    <a:lnTo>
                      <a:pt x="87" y="88"/>
                    </a:lnTo>
                    <a:lnTo>
                      <a:pt x="88" y="90"/>
                    </a:lnTo>
                    <a:lnTo>
                      <a:pt x="88" y="93"/>
                    </a:lnTo>
                    <a:lnTo>
                      <a:pt x="82" y="95"/>
                    </a:lnTo>
                    <a:lnTo>
                      <a:pt x="80" y="95"/>
                    </a:lnTo>
                    <a:lnTo>
                      <a:pt x="79" y="96"/>
                    </a:lnTo>
                    <a:lnTo>
                      <a:pt x="77" y="95"/>
                    </a:lnTo>
                    <a:lnTo>
                      <a:pt x="77" y="91"/>
                    </a:lnTo>
                    <a:lnTo>
                      <a:pt x="72" y="93"/>
                    </a:lnTo>
                    <a:lnTo>
                      <a:pt x="64" y="94"/>
                    </a:lnTo>
                    <a:lnTo>
                      <a:pt x="63" y="95"/>
                    </a:lnTo>
                    <a:lnTo>
                      <a:pt x="57" y="96"/>
                    </a:lnTo>
                    <a:lnTo>
                      <a:pt x="52" y="96"/>
                    </a:lnTo>
                    <a:lnTo>
                      <a:pt x="48" y="95"/>
                    </a:lnTo>
                    <a:lnTo>
                      <a:pt x="43" y="96"/>
                    </a:lnTo>
                    <a:lnTo>
                      <a:pt x="40" y="99"/>
                    </a:lnTo>
                    <a:lnTo>
                      <a:pt x="38" y="100"/>
                    </a:lnTo>
                    <a:lnTo>
                      <a:pt x="30" y="107"/>
                    </a:lnTo>
                    <a:lnTo>
                      <a:pt x="28" y="108"/>
                    </a:lnTo>
                    <a:lnTo>
                      <a:pt x="24" y="111"/>
                    </a:lnTo>
                    <a:lnTo>
                      <a:pt x="22" y="112"/>
                    </a:lnTo>
                    <a:lnTo>
                      <a:pt x="20" y="112"/>
                    </a:lnTo>
                    <a:lnTo>
                      <a:pt x="17" y="114"/>
                    </a:lnTo>
                    <a:lnTo>
                      <a:pt x="17" y="117"/>
                    </a:lnTo>
                    <a:lnTo>
                      <a:pt x="18" y="120"/>
                    </a:lnTo>
                    <a:lnTo>
                      <a:pt x="12" y="121"/>
                    </a:lnTo>
                    <a:lnTo>
                      <a:pt x="11" y="123"/>
                    </a:lnTo>
                    <a:lnTo>
                      <a:pt x="9" y="124"/>
                    </a:lnTo>
                    <a:lnTo>
                      <a:pt x="5" y="127"/>
                    </a:lnTo>
                    <a:lnTo>
                      <a:pt x="5" y="128"/>
                    </a:lnTo>
                    <a:lnTo>
                      <a:pt x="3" y="127"/>
                    </a:lnTo>
                    <a:lnTo>
                      <a:pt x="2" y="129"/>
                    </a:lnTo>
                    <a:lnTo>
                      <a:pt x="2" y="129"/>
                    </a:lnTo>
                    <a:lnTo>
                      <a:pt x="0" y="130"/>
                    </a:lnTo>
                    <a:lnTo>
                      <a:pt x="1" y="132"/>
                    </a:lnTo>
                    <a:lnTo>
                      <a:pt x="4" y="133"/>
                    </a:lnTo>
                    <a:lnTo>
                      <a:pt x="5" y="137"/>
                    </a:lnTo>
                    <a:lnTo>
                      <a:pt x="2" y="136"/>
                    </a:lnTo>
                    <a:lnTo>
                      <a:pt x="2" y="133"/>
                    </a:lnTo>
                    <a:lnTo>
                      <a:pt x="1" y="136"/>
                    </a:lnTo>
                    <a:lnTo>
                      <a:pt x="3" y="139"/>
                    </a:lnTo>
                    <a:lnTo>
                      <a:pt x="5" y="138"/>
                    </a:lnTo>
                    <a:lnTo>
                      <a:pt x="8" y="138"/>
                    </a:lnTo>
                    <a:lnTo>
                      <a:pt x="8" y="134"/>
                    </a:lnTo>
                    <a:lnTo>
                      <a:pt x="6" y="132"/>
                    </a:lnTo>
                    <a:lnTo>
                      <a:pt x="10" y="132"/>
                    </a:lnTo>
                    <a:lnTo>
                      <a:pt x="11" y="134"/>
                    </a:lnTo>
                    <a:lnTo>
                      <a:pt x="13" y="137"/>
                    </a:lnTo>
                    <a:lnTo>
                      <a:pt x="11" y="139"/>
                    </a:lnTo>
                    <a:lnTo>
                      <a:pt x="13" y="139"/>
                    </a:lnTo>
                    <a:lnTo>
                      <a:pt x="13" y="141"/>
                    </a:lnTo>
                    <a:lnTo>
                      <a:pt x="10" y="147"/>
                    </a:lnTo>
                    <a:lnTo>
                      <a:pt x="8" y="149"/>
                    </a:lnTo>
                    <a:lnTo>
                      <a:pt x="10" y="155"/>
                    </a:lnTo>
                    <a:lnTo>
                      <a:pt x="9" y="157"/>
                    </a:lnTo>
                    <a:lnTo>
                      <a:pt x="8" y="160"/>
                    </a:lnTo>
                    <a:lnTo>
                      <a:pt x="13" y="162"/>
                    </a:lnTo>
                    <a:lnTo>
                      <a:pt x="12" y="156"/>
                    </a:lnTo>
                    <a:lnTo>
                      <a:pt x="13" y="154"/>
                    </a:lnTo>
                    <a:lnTo>
                      <a:pt x="15" y="154"/>
                    </a:lnTo>
                    <a:lnTo>
                      <a:pt x="13" y="156"/>
                    </a:lnTo>
                    <a:lnTo>
                      <a:pt x="15" y="158"/>
                    </a:lnTo>
                    <a:lnTo>
                      <a:pt x="15" y="160"/>
                    </a:lnTo>
                    <a:lnTo>
                      <a:pt x="14" y="164"/>
                    </a:lnTo>
                    <a:lnTo>
                      <a:pt x="17" y="163"/>
                    </a:lnTo>
                    <a:lnTo>
                      <a:pt x="20" y="160"/>
                    </a:lnTo>
                    <a:lnTo>
                      <a:pt x="19" y="158"/>
                    </a:lnTo>
                    <a:lnTo>
                      <a:pt x="21" y="157"/>
                    </a:lnTo>
                    <a:lnTo>
                      <a:pt x="23" y="158"/>
                    </a:lnTo>
                    <a:lnTo>
                      <a:pt x="23" y="156"/>
                    </a:lnTo>
                    <a:lnTo>
                      <a:pt x="24" y="154"/>
                    </a:lnTo>
                    <a:lnTo>
                      <a:pt x="24" y="150"/>
                    </a:lnTo>
                    <a:lnTo>
                      <a:pt x="26" y="147"/>
                    </a:lnTo>
                    <a:lnTo>
                      <a:pt x="28" y="141"/>
                    </a:lnTo>
                    <a:lnTo>
                      <a:pt x="28" y="140"/>
                    </a:lnTo>
                    <a:lnTo>
                      <a:pt x="30" y="138"/>
                    </a:lnTo>
                    <a:lnTo>
                      <a:pt x="32" y="136"/>
                    </a:lnTo>
                    <a:lnTo>
                      <a:pt x="32" y="132"/>
                    </a:lnTo>
                    <a:lnTo>
                      <a:pt x="31" y="130"/>
                    </a:lnTo>
                    <a:lnTo>
                      <a:pt x="26" y="130"/>
                    </a:lnTo>
                    <a:lnTo>
                      <a:pt x="28" y="128"/>
                    </a:lnTo>
                    <a:lnTo>
                      <a:pt x="28" y="124"/>
                    </a:lnTo>
                    <a:lnTo>
                      <a:pt x="26" y="124"/>
                    </a:lnTo>
                    <a:lnTo>
                      <a:pt x="23" y="125"/>
                    </a:lnTo>
                    <a:lnTo>
                      <a:pt x="21" y="124"/>
                    </a:lnTo>
                    <a:lnTo>
                      <a:pt x="19" y="122"/>
                    </a:lnTo>
                    <a:lnTo>
                      <a:pt x="18" y="121"/>
                    </a:lnTo>
                    <a:lnTo>
                      <a:pt x="18" y="120"/>
                    </a:lnTo>
                    <a:lnTo>
                      <a:pt x="18" y="120"/>
                    </a:lnTo>
                    <a:lnTo>
                      <a:pt x="1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7" name="Freeform 183">
                <a:extLst>
                  <a:ext uri="{FF2B5EF4-FFF2-40B4-BE49-F238E27FC236}">
                    <a16:creationId xmlns:a16="http://schemas.microsoft.com/office/drawing/2014/main" id="{6788F85F-CA16-404D-B550-48EC53C375F9}"/>
                  </a:ext>
                </a:extLst>
              </p:cNvPr>
              <p:cNvSpPr>
                <a:spLocks/>
              </p:cNvSpPr>
              <p:nvPr/>
            </p:nvSpPr>
            <p:spPr bwMode="auto">
              <a:xfrm>
                <a:off x="5494" y="2316"/>
                <a:ext cx="35" cy="25"/>
              </a:xfrm>
              <a:custGeom>
                <a:avLst/>
                <a:gdLst>
                  <a:gd name="T0" fmla="*/ 20 w 35"/>
                  <a:gd name="T1" fmla="*/ 6 h 25"/>
                  <a:gd name="T2" fmla="*/ 14 w 35"/>
                  <a:gd name="T3" fmla="*/ 7 h 25"/>
                  <a:gd name="T4" fmla="*/ 12 w 35"/>
                  <a:gd name="T5" fmla="*/ 4 h 25"/>
                  <a:gd name="T6" fmla="*/ 9 w 35"/>
                  <a:gd name="T7" fmla="*/ 6 h 25"/>
                  <a:gd name="T8" fmla="*/ 9 w 35"/>
                  <a:gd name="T9" fmla="*/ 8 h 25"/>
                  <a:gd name="T10" fmla="*/ 7 w 35"/>
                  <a:gd name="T11" fmla="*/ 10 h 25"/>
                  <a:gd name="T12" fmla="*/ 3 w 35"/>
                  <a:gd name="T13" fmla="*/ 14 h 25"/>
                  <a:gd name="T14" fmla="*/ 0 w 35"/>
                  <a:gd name="T15" fmla="*/ 15 h 25"/>
                  <a:gd name="T16" fmla="*/ 3 w 35"/>
                  <a:gd name="T17" fmla="*/ 14 h 25"/>
                  <a:gd name="T18" fmla="*/ 5 w 35"/>
                  <a:gd name="T19" fmla="*/ 17 h 25"/>
                  <a:gd name="T20" fmla="*/ 5 w 35"/>
                  <a:gd name="T21" fmla="*/ 21 h 25"/>
                  <a:gd name="T22" fmla="*/ 7 w 35"/>
                  <a:gd name="T23" fmla="*/ 23 h 25"/>
                  <a:gd name="T24" fmla="*/ 10 w 35"/>
                  <a:gd name="T25" fmla="*/ 25 h 25"/>
                  <a:gd name="T26" fmla="*/ 18 w 35"/>
                  <a:gd name="T27" fmla="*/ 15 h 25"/>
                  <a:gd name="T28" fmla="*/ 21 w 35"/>
                  <a:gd name="T29" fmla="*/ 14 h 25"/>
                  <a:gd name="T30" fmla="*/ 23 w 35"/>
                  <a:gd name="T31" fmla="*/ 14 h 25"/>
                  <a:gd name="T32" fmla="*/ 27 w 35"/>
                  <a:gd name="T33" fmla="*/ 16 h 25"/>
                  <a:gd name="T34" fmla="*/ 29 w 35"/>
                  <a:gd name="T35" fmla="*/ 15 h 25"/>
                  <a:gd name="T36" fmla="*/ 31 w 35"/>
                  <a:gd name="T37" fmla="*/ 11 h 25"/>
                  <a:gd name="T38" fmla="*/ 35 w 35"/>
                  <a:gd name="T39" fmla="*/ 9 h 25"/>
                  <a:gd name="T40" fmla="*/ 35 w 35"/>
                  <a:gd name="T41" fmla="*/ 7 h 25"/>
                  <a:gd name="T42" fmla="*/ 35 w 35"/>
                  <a:gd name="T43" fmla="*/ 3 h 25"/>
                  <a:gd name="T44" fmla="*/ 35 w 35"/>
                  <a:gd name="T45" fmla="*/ 2 h 25"/>
                  <a:gd name="T46" fmla="*/ 31 w 35"/>
                  <a:gd name="T47" fmla="*/ 2 h 25"/>
                  <a:gd name="T48" fmla="*/ 29 w 35"/>
                  <a:gd name="T49" fmla="*/ 0 h 25"/>
                  <a:gd name="T50" fmla="*/ 27 w 35"/>
                  <a:gd name="T51" fmla="*/ 0 h 25"/>
                  <a:gd name="T52" fmla="*/ 23 w 35"/>
                  <a:gd name="T53" fmla="*/ 1 h 25"/>
                  <a:gd name="T54" fmla="*/ 21 w 35"/>
                  <a:gd name="T55" fmla="*/ 2 h 25"/>
                  <a:gd name="T56" fmla="*/ 20 w 35"/>
                  <a:gd name="T57" fmla="*/ 6 h 25"/>
                  <a:gd name="T58" fmla="*/ 20 w 35"/>
                  <a:gd name="T5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25">
                    <a:moveTo>
                      <a:pt x="20" y="6"/>
                    </a:moveTo>
                    <a:lnTo>
                      <a:pt x="14" y="7"/>
                    </a:lnTo>
                    <a:lnTo>
                      <a:pt x="12" y="4"/>
                    </a:lnTo>
                    <a:lnTo>
                      <a:pt x="9" y="6"/>
                    </a:lnTo>
                    <a:lnTo>
                      <a:pt x="9" y="8"/>
                    </a:lnTo>
                    <a:lnTo>
                      <a:pt x="7" y="10"/>
                    </a:lnTo>
                    <a:lnTo>
                      <a:pt x="3" y="14"/>
                    </a:lnTo>
                    <a:lnTo>
                      <a:pt x="0" y="15"/>
                    </a:lnTo>
                    <a:lnTo>
                      <a:pt x="3" y="14"/>
                    </a:lnTo>
                    <a:lnTo>
                      <a:pt x="5" y="17"/>
                    </a:lnTo>
                    <a:lnTo>
                      <a:pt x="5" y="21"/>
                    </a:lnTo>
                    <a:lnTo>
                      <a:pt x="7" y="23"/>
                    </a:lnTo>
                    <a:lnTo>
                      <a:pt x="10" y="25"/>
                    </a:lnTo>
                    <a:lnTo>
                      <a:pt x="18" y="15"/>
                    </a:lnTo>
                    <a:lnTo>
                      <a:pt x="21" y="14"/>
                    </a:lnTo>
                    <a:lnTo>
                      <a:pt x="23" y="14"/>
                    </a:lnTo>
                    <a:lnTo>
                      <a:pt x="27" y="16"/>
                    </a:lnTo>
                    <a:lnTo>
                      <a:pt x="29" y="15"/>
                    </a:lnTo>
                    <a:lnTo>
                      <a:pt x="31" y="11"/>
                    </a:lnTo>
                    <a:lnTo>
                      <a:pt x="35" y="9"/>
                    </a:lnTo>
                    <a:lnTo>
                      <a:pt x="35" y="7"/>
                    </a:lnTo>
                    <a:lnTo>
                      <a:pt x="35" y="3"/>
                    </a:lnTo>
                    <a:lnTo>
                      <a:pt x="35" y="2"/>
                    </a:lnTo>
                    <a:lnTo>
                      <a:pt x="31" y="2"/>
                    </a:lnTo>
                    <a:lnTo>
                      <a:pt x="29" y="0"/>
                    </a:lnTo>
                    <a:lnTo>
                      <a:pt x="27" y="0"/>
                    </a:lnTo>
                    <a:lnTo>
                      <a:pt x="23" y="1"/>
                    </a:lnTo>
                    <a:lnTo>
                      <a:pt x="21" y="2"/>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8" name="Freeform 184">
                <a:extLst>
                  <a:ext uri="{FF2B5EF4-FFF2-40B4-BE49-F238E27FC236}">
                    <a16:creationId xmlns:a16="http://schemas.microsoft.com/office/drawing/2014/main" id="{69212753-AC70-4C48-B824-B72029232B6E}"/>
                  </a:ext>
                </a:extLst>
              </p:cNvPr>
              <p:cNvSpPr>
                <a:spLocks/>
              </p:cNvSpPr>
              <p:nvPr/>
            </p:nvSpPr>
            <p:spPr bwMode="auto">
              <a:xfrm>
                <a:off x="5529" y="2313"/>
                <a:ext cx="4" cy="5"/>
              </a:xfrm>
              <a:custGeom>
                <a:avLst/>
                <a:gdLst>
                  <a:gd name="T0" fmla="*/ 4 w 4"/>
                  <a:gd name="T1" fmla="*/ 1 h 5"/>
                  <a:gd name="T2" fmla="*/ 4 w 4"/>
                  <a:gd name="T3" fmla="*/ 0 h 5"/>
                  <a:gd name="T4" fmla="*/ 2 w 4"/>
                  <a:gd name="T5" fmla="*/ 2 h 5"/>
                  <a:gd name="T6" fmla="*/ 0 w 4"/>
                  <a:gd name="T7" fmla="*/ 4 h 5"/>
                  <a:gd name="T8" fmla="*/ 0 w 4"/>
                  <a:gd name="T9" fmla="*/ 5 h 5"/>
                  <a:gd name="T10" fmla="*/ 3 w 4"/>
                  <a:gd name="T11" fmla="*/ 5 h 5"/>
                  <a:gd name="T12" fmla="*/ 3 w 4"/>
                  <a:gd name="T13" fmla="*/ 3 h 5"/>
                  <a:gd name="T14" fmla="*/ 4 w 4"/>
                  <a:gd name="T15" fmla="*/ 1 h 5"/>
                  <a:gd name="T16" fmla="*/ 4 w 4"/>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4" y="1"/>
                    </a:moveTo>
                    <a:lnTo>
                      <a:pt x="4" y="0"/>
                    </a:lnTo>
                    <a:lnTo>
                      <a:pt x="2" y="2"/>
                    </a:lnTo>
                    <a:lnTo>
                      <a:pt x="0" y="4"/>
                    </a:lnTo>
                    <a:lnTo>
                      <a:pt x="0" y="5"/>
                    </a:lnTo>
                    <a:lnTo>
                      <a:pt x="3" y="5"/>
                    </a:lnTo>
                    <a:lnTo>
                      <a:pt x="3" y="3"/>
                    </a:lnTo>
                    <a:lnTo>
                      <a:pt x="4"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9" name="Freeform 185">
                <a:extLst>
                  <a:ext uri="{FF2B5EF4-FFF2-40B4-BE49-F238E27FC236}">
                    <a16:creationId xmlns:a16="http://schemas.microsoft.com/office/drawing/2014/main" id="{0DBB4DCF-37C8-4BBF-A2A7-16ACD79A181F}"/>
                  </a:ext>
                </a:extLst>
              </p:cNvPr>
              <p:cNvSpPr>
                <a:spLocks/>
              </p:cNvSpPr>
              <p:nvPr/>
            </p:nvSpPr>
            <p:spPr bwMode="auto">
              <a:xfrm>
                <a:off x="5569" y="2907"/>
                <a:ext cx="20" cy="14"/>
              </a:xfrm>
              <a:custGeom>
                <a:avLst/>
                <a:gdLst>
                  <a:gd name="T0" fmla="*/ 13 w 20"/>
                  <a:gd name="T1" fmla="*/ 0 h 14"/>
                  <a:gd name="T2" fmla="*/ 7 w 20"/>
                  <a:gd name="T3" fmla="*/ 1 h 14"/>
                  <a:gd name="T4" fmla="*/ 5 w 20"/>
                  <a:gd name="T5" fmla="*/ 5 h 14"/>
                  <a:gd name="T6" fmla="*/ 4 w 20"/>
                  <a:gd name="T7" fmla="*/ 6 h 14"/>
                  <a:gd name="T8" fmla="*/ 0 w 20"/>
                  <a:gd name="T9" fmla="*/ 14 h 14"/>
                  <a:gd name="T10" fmla="*/ 12 w 20"/>
                  <a:gd name="T11" fmla="*/ 14 h 14"/>
                  <a:gd name="T12" fmla="*/ 14 w 20"/>
                  <a:gd name="T13" fmla="*/ 11 h 14"/>
                  <a:gd name="T14" fmla="*/ 15 w 20"/>
                  <a:gd name="T15" fmla="*/ 14 h 14"/>
                  <a:gd name="T16" fmla="*/ 17 w 20"/>
                  <a:gd name="T17" fmla="*/ 14 h 14"/>
                  <a:gd name="T18" fmla="*/ 16 w 20"/>
                  <a:gd name="T19" fmla="*/ 10 h 14"/>
                  <a:gd name="T20" fmla="*/ 14 w 20"/>
                  <a:gd name="T21" fmla="*/ 11 h 14"/>
                  <a:gd name="T22" fmla="*/ 16 w 20"/>
                  <a:gd name="T23" fmla="*/ 10 h 14"/>
                  <a:gd name="T24" fmla="*/ 17 w 20"/>
                  <a:gd name="T25" fmla="*/ 7 h 14"/>
                  <a:gd name="T26" fmla="*/ 20 w 20"/>
                  <a:gd name="T27" fmla="*/ 5 h 14"/>
                  <a:gd name="T28" fmla="*/ 17 w 20"/>
                  <a:gd name="T29" fmla="*/ 1 h 14"/>
                  <a:gd name="T30" fmla="*/ 15 w 20"/>
                  <a:gd name="T31" fmla="*/ 0 h 14"/>
                  <a:gd name="T32" fmla="*/ 13 w 20"/>
                  <a:gd name="T33" fmla="*/ 0 h 14"/>
                  <a:gd name="T34" fmla="*/ 13 w 2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3" y="0"/>
                    </a:moveTo>
                    <a:lnTo>
                      <a:pt x="7" y="1"/>
                    </a:lnTo>
                    <a:lnTo>
                      <a:pt x="5" y="5"/>
                    </a:lnTo>
                    <a:lnTo>
                      <a:pt x="4" y="6"/>
                    </a:lnTo>
                    <a:lnTo>
                      <a:pt x="0" y="14"/>
                    </a:lnTo>
                    <a:lnTo>
                      <a:pt x="12" y="14"/>
                    </a:lnTo>
                    <a:lnTo>
                      <a:pt x="14" y="11"/>
                    </a:lnTo>
                    <a:lnTo>
                      <a:pt x="15" y="14"/>
                    </a:lnTo>
                    <a:lnTo>
                      <a:pt x="17" y="14"/>
                    </a:lnTo>
                    <a:lnTo>
                      <a:pt x="16" y="10"/>
                    </a:lnTo>
                    <a:lnTo>
                      <a:pt x="14" y="11"/>
                    </a:lnTo>
                    <a:lnTo>
                      <a:pt x="16" y="10"/>
                    </a:lnTo>
                    <a:lnTo>
                      <a:pt x="17" y="7"/>
                    </a:lnTo>
                    <a:lnTo>
                      <a:pt x="20" y="5"/>
                    </a:lnTo>
                    <a:lnTo>
                      <a:pt x="17" y="1"/>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0" name="Freeform 186">
                <a:extLst>
                  <a:ext uri="{FF2B5EF4-FFF2-40B4-BE49-F238E27FC236}">
                    <a16:creationId xmlns:a16="http://schemas.microsoft.com/office/drawing/2014/main" id="{C4B09ED7-31CC-49AB-826B-FDA5259C040F}"/>
                  </a:ext>
                </a:extLst>
              </p:cNvPr>
              <p:cNvSpPr>
                <a:spLocks/>
              </p:cNvSpPr>
              <p:nvPr/>
            </p:nvSpPr>
            <p:spPr bwMode="auto">
              <a:xfrm>
                <a:off x="5599" y="2137"/>
                <a:ext cx="81" cy="67"/>
              </a:xfrm>
              <a:custGeom>
                <a:avLst/>
                <a:gdLst>
                  <a:gd name="T0" fmla="*/ 3 w 81"/>
                  <a:gd name="T1" fmla="*/ 66 h 67"/>
                  <a:gd name="T2" fmla="*/ 6 w 81"/>
                  <a:gd name="T3" fmla="*/ 67 h 67"/>
                  <a:gd name="T4" fmla="*/ 10 w 81"/>
                  <a:gd name="T5" fmla="*/ 62 h 67"/>
                  <a:gd name="T6" fmla="*/ 17 w 81"/>
                  <a:gd name="T7" fmla="*/ 62 h 67"/>
                  <a:gd name="T8" fmla="*/ 12 w 81"/>
                  <a:gd name="T9" fmla="*/ 56 h 67"/>
                  <a:gd name="T10" fmla="*/ 7 w 81"/>
                  <a:gd name="T11" fmla="*/ 52 h 67"/>
                  <a:gd name="T12" fmla="*/ 11 w 81"/>
                  <a:gd name="T13" fmla="*/ 49 h 67"/>
                  <a:gd name="T14" fmla="*/ 16 w 81"/>
                  <a:gd name="T15" fmla="*/ 52 h 67"/>
                  <a:gd name="T16" fmla="*/ 24 w 81"/>
                  <a:gd name="T17" fmla="*/ 48 h 67"/>
                  <a:gd name="T18" fmla="*/ 29 w 81"/>
                  <a:gd name="T19" fmla="*/ 49 h 67"/>
                  <a:gd name="T20" fmla="*/ 40 w 81"/>
                  <a:gd name="T21" fmla="*/ 54 h 67"/>
                  <a:gd name="T22" fmla="*/ 47 w 81"/>
                  <a:gd name="T23" fmla="*/ 58 h 67"/>
                  <a:gd name="T24" fmla="*/ 51 w 81"/>
                  <a:gd name="T25" fmla="*/ 50 h 67"/>
                  <a:gd name="T26" fmla="*/ 57 w 81"/>
                  <a:gd name="T27" fmla="*/ 43 h 67"/>
                  <a:gd name="T28" fmla="*/ 61 w 81"/>
                  <a:gd name="T29" fmla="*/ 41 h 67"/>
                  <a:gd name="T30" fmla="*/ 74 w 81"/>
                  <a:gd name="T31" fmla="*/ 40 h 67"/>
                  <a:gd name="T32" fmla="*/ 78 w 81"/>
                  <a:gd name="T33" fmla="*/ 37 h 67"/>
                  <a:gd name="T34" fmla="*/ 79 w 81"/>
                  <a:gd name="T35" fmla="*/ 36 h 67"/>
                  <a:gd name="T36" fmla="*/ 78 w 81"/>
                  <a:gd name="T37" fmla="*/ 37 h 67"/>
                  <a:gd name="T38" fmla="*/ 75 w 81"/>
                  <a:gd name="T39" fmla="*/ 34 h 67"/>
                  <a:gd name="T40" fmla="*/ 72 w 81"/>
                  <a:gd name="T41" fmla="*/ 29 h 67"/>
                  <a:gd name="T42" fmla="*/ 76 w 81"/>
                  <a:gd name="T43" fmla="*/ 22 h 67"/>
                  <a:gd name="T44" fmla="*/ 74 w 81"/>
                  <a:gd name="T45" fmla="*/ 22 h 67"/>
                  <a:gd name="T46" fmla="*/ 62 w 81"/>
                  <a:gd name="T47" fmla="*/ 25 h 67"/>
                  <a:gd name="T48" fmla="*/ 59 w 81"/>
                  <a:gd name="T49" fmla="*/ 23 h 67"/>
                  <a:gd name="T50" fmla="*/ 53 w 81"/>
                  <a:gd name="T51" fmla="*/ 20 h 67"/>
                  <a:gd name="T52" fmla="*/ 44 w 81"/>
                  <a:gd name="T53" fmla="*/ 15 h 67"/>
                  <a:gd name="T54" fmla="*/ 34 w 81"/>
                  <a:gd name="T55" fmla="*/ 3 h 67"/>
                  <a:gd name="T56" fmla="*/ 28 w 81"/>
                  <a:gd name="T57" fmla="*/ 0 h 67"/>
                  <a:gd name="T58" fmla="*/ 25 w 81"/>
                  <a:gd name="T59" fmla="*/ 6 h 67"/>
                  <a:gd name="T60" fmla="*/ 27 w 81"/>
                  <a:gd name="T61" fmla="*/ 15 h 67"/>
                  <a:gd name="T62" fmla="*/ 26 w 81"/>
                  <a:gd name="T63" fmla="*/ 19 h 67"/>
                  <a:gd name="T64" fmla="*/ 24 w 81"/>
                  <a:gd name="T65" fmla="*/ 27 h 67"/>
                  <a:gd name="T66" fmla="*/ 23 w 81"/>
                  <a:gd name="T67" fmla="*/ 34 h 67"/>
                  <a:gd name="T68" fmla="*/ 20 w 81"/>
                  <a:gd name="T69" fmla="*/ 39 h 67"/>
                  <a:gd name="T70" fmla="*/ 12 w 81"/>
                  <a:gd name="T71" fmla="*/ 37 h 67"/>
                  <a:gd name="T72" fmla="*/ 8 w 81"/>
                  <a:gd name="T73" fmla="*/ 37 h 67"/>
                  <a:gd name="T74" fmla="*/ 8 w 81"/>
                  <a:gd name="T75" fmla="*/ 43 h 67"/>
                  <a:gd name="T76" fmla="*/ 1 w 81"/>
                  <a:gd name="T77" fmla="*/ 49 h 67"/>
                  <a:gd name="T78" fmla="*/ 3 w 81"/>
                  <a:gd name="T79" fmla="*/ 56 h 67"/>
                  <a:gd name="T80" fmla="*/ 3 w 81"/>
                  <a:gd name="T81"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67">
                    <a:moveTo>
                      <a:pt x="3" y="63"/>
                    </a:moveTo>
                    <a:lnTo>
                      <a:pt x="3" y="66"/>
                    </a:lnTo>
                    <a:lnTo>
                      <a:pt x="3" y="67"/>
                    </a:lnTo>
                    <a:lnTo>
                      <a:pt x="6" y="67"/>
                    </a:lnTo>
                    <a:lnTo>
                      <a:pt x="9" y="66"/>
                    </a:lnTo>
                    <a:lnTo>
                      <a:pt x="10" y="62"/>
                    </a:lnTo>
                    <a:lnTo>
                      <a:pt x="12" y="61"/>
                    </a:lnTo>
                    <a:lnTo>
                      <a:pt x="17" y="62"/>
                    </a:lnTo>
                    <a:lnTo>
                      <a:pt x="17" y="59"/>
                    </a:lnTo>
                    <a:lnTo>
                      <a:pt x="12" y="56"/>
                    </a:lnTo>
                    <a:lnTo>
                      <a:pt x="9" y="54"/>
                    </a:lnTo>
                    <a:lnTo>
                      <a:pt x="7" y="52"/>
                    </a:lnTo>
                    <a:lnTo>
                      <a:pt x="8" y="49"/>
                    </a:lnTo>
                    <a:lnTo>
                      <a:pt x="11" y="49"/>
                    </a:lnTo>
                    <a:lnTo>
                      <a:pt x="13" y="49"/>
                    </a:lnTo>
                    <a:lnTo>
                      <a:pt x="16" y="52"/>
                    </a:lnTo>
                    <a:lnTo>
                      <a:pt x="18" y="51"/>
                    </a:lnTo>
                    <a:lnTo>
                      <a:pt x="24" y="48"/>
                    </a:lnTo>
                    <a:lnTo>
                      <a:pt x="26" y="48"/>
                    </a:lnTo>
                    <a:lnTo>
                      <a:pt x="29" y="49"/>
                    </a:lnTo>
                    <a:lnTo>
                      <a:pt x="34" y="52"/>
                    </a:lnTo>
                    <a:lnTo>
                      <a:pt x="40" y="54"/>
                    </a:lnTo>
                    <a:lnTo>
                      <a:pt x="45" y="57"/>
                    </a:lnTo>
                    <a:lnTo>
                      <a:pt x="47" y="58"/>
                    </a:lnTo>
                    <a:lnTo>
                      <a:pt x="49" y="52"/>
                    </a:lnTo>
                    <a:lnTo>
                      <a:pt x="51" y="50"/>
                    </a:lnTo>
                    <a:lnTo>
                      <a:pt x="52" y="46"/>
                    </a:lnTo>
                    <a:lnTo>
                      <a:pt x="57" y="43"/>
                    </a:lnTo>
                    <a:lnTo>
                      <a:pt x="59" y="42"/>
                    </a:lnTo>
                    <a:lnTo>
                      <a:pt x="61" y="41"/>
                    </a:lnTo>
                    <a:lnTo>
                      <a:pt x="68" y="42"/>
                    </a:lnTo>
                    <a:lnTo>
                      <a:pt x="74" y="40"/>
                    </a:lnTo>
                    <a:lnTo>
                      <a:pt x="76" y="39"/>
                    </a:lnTo>
                    <a:lnTo>
                      <a:pt x="78" y="37"/>
                    </a:lnTo>
                    <a:lnTo>
                      <a:pt x="81" y="36"/>
                    </a:lnTo>
                    <a:lnTo>
                      <a:pt x="79" y="36"/>
                    </a:lnTo>
                    <a:lnTo>
                      <a:pt x="78" y="36"/>
                    </a:lnTo>
                    <a:lnTo>
                      <a:pt x="78" y="37"/>
                    </a:lnTo>
                    <a:lnTo>
                      <a:pt x="76" y="36"/>
                    </a:lnTo>
                    <a:lnTo>
                      <a:pt x="75" y="34"/>
                    </a:lnTo>
                    <a:lnTo>
                      <a:pt x="76" y="32"/>
                    </a:lnTo>
                    <a:lnTo>
                      <a:pt x="72" y="29"/>
                    </a:lnTo>
                    <a:lnTo>
                      <a:pt x="72" y="27"/>
                    </a:lnTo>
                    <a:lnTo>
                      <a:pt x="76" y="22"/>
                    </a:lnTo>
                    <a:lnTo>
                      <a:pt x="76" y="18"/>
                    </a:lnTo>
                    <a:lnTo>
                      <a:pt x="74" y="22"/>
                    </a:lnTo>
                    <a:lnTo>
                      <a:pt x="68" y="26"/>
                    </a:lnTo>
                    <a:lnTo>
                      <a:pt x="62" y="25"/>
                    </a:lnTo>
                    <a:lnTo>
                      <a:pt x="61" y="23"/>
                    </a:lnTo>
                    <a:lnTo>
                      <a:pt x="59" y="23"/>
                    </a:lnTo>
                    <a:lnTo>
                      <a:pt x="55" y="23"/>
                    </a:lnTo>
                    <a:lnTo>
                      <a:pt x="53" y="20"/>
                    </a:lnTo>
                    <a:lnTo>
                      <a:pt x="50" y="19"/>
                    </a:lnTo>
                    <a:lnTo>
                      <a:pt x="44" y="15"/>
                    </a:lnTo>
                    <a:lnTo>
                      <a:pt x="41" y="11"/>
                    </a:lnTo>
                    <a:lnTo>
                      <a:pt x="34" y="3"/>
                    </a:lnTo>
                    <a:lnTo>
                      <a:pt x="30" y="1"/>
                    </a:lnTo>
                    <a:lnTo>
                      <a:pt x="28" y="0"/>
                    </a:lnTo>
                    <a:lnTo>
                      <a:pt x="26" y="0"/>
                    </a:lnTo>
                    <a:lnTo>
                      <a:pt x="25" y="6"/>
                    </a:lnTo>
                    <a:lnTo>
                      <a:pt x="27" y="9"/>
                    </a:lnTo>
                    <a:lnTo>
                      <a:pt x="27" y="15"/>
                    </a:lnTo>
                    <a:lnTo>
                      <a:pt x="27" y="17"/>
                    </a:lnTo>
                    <a:lnTo>
                      <a:pt x="26" y="19"/>
                    </a:lnTo>
                    <a:lnTo>
                      <a:pt x="26" y="25"/>
                    </a:lnTo>
                    <a:lnTo>
                      <a:pt x="24" y="27"/>
                    </a:lnTo>
                    <a:lnTo>
                      <a:pt x="21" y="28"/>
                    </a:lnTo>
                    <a:lnTo>
                      <a:pt x="23" y="34"/>
                    </a:lnTo>
                    <a:lnTo>
                      <a:pt x="21" y="37"/>
                    </a:lnTo>
                    <a:lnTo>
                      <a:pt x="20" y="39"/>
                    </a:lnTo>
                    <a:lnTo>
                      <a:pt x="18" y="39"/>
                    </a:lnTo>
                    <a:lnTo>
                      <a:pt x="12" y="37"/>
                    </a:lnTo>
                    <a:lnTo>
                      <a:pt x="10" y="35"/>
                    </a:lnTo>
                    <a:lnTo>
                      <a:pt x="8" y="37"/>
                    </a:lnTo>
                    <a:lnTo>
                      <a:pt x="9" y="40"/>
                    </a:lnTo>
                    <a:lnTo>
                      <a:pt x="8" y="43"/>
                    </a:lnTo>
                    <a:lnTo>
                      <a:pt x="6" y="44"/>
                    </a:lnTo>
                    <a:lnTo>
                      <a:pt x="1" y="49"/>
                    </a:lnTo>
                    <a:lnTo>
                      <a:pt x="0" y="53"/>
                    </a:lnTo>
                    <a:lnTo>
                      <a:pt x="3" y="56"/>
                    </a:lnTo>
                    <a:lnTo>
                      <a:pt x="4" y="58"/>
                    </a:lnTo>
                    <a:lnTo>
                      <a:pt x="3" y="63"/>
                    </a:lnTo>
                    <a:lnTo>
                      <a:pt x="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1" name="Freeform 187">
                <a:extLst>
                  <a:ext uri="{FF2B5EF4-FFF2-40B4-BE49-F238E27FC236}">
                    <a16:creationId xmlns:a16="http://schemas.microsoft.com/office/drawing/2014/main" id="{BFBC00F4-8D0C-4356-AA15-4FB6C296F42C}"/>
                  </a:ext>
                </a:extLst>
              </p:cNvPr>
              <p:cNvSpPr>
                <a:spLocks/>
              </p:cNvSpPr>
              <p:nvPr/>
            </p:nvSpPr>
            <p:spPr bwMode="auto">
              <a:xfrm>
                <a:off x="5460" y="2323"/>
                <a:ext cx="32" cy="44"/>
              </a:xfrm>
              <a:custGeom>
                <a:avLst/>
                <a:gdLst>
                  <a:gd name="T0" fmla="*/ 18 w 32"/>
                  <a:gd name="T1" fmla="*/ 0 h 44"/>
                  <a:gd name="T2" fmla="*/ 19 w 32"/>
                  <a:gd name="T3" fmla="*/ 2 h 44"/>
                  <a:gd name="T4" fmla="*/ 23 w 32"/>
                  <a:gd name="T5" fmla="*/ 5 h 44"/>
                  <a:gd name="T6" fmla="*/ 28 w 32"/>
                  <a:gd name="T7" fmla="*/ 4 h 44"/>
                  <a:gd name="T8" fmla="*/ 26 w 32"/>
                  <a:gd name="T9" fmla="*/ 10 h 44"/>
                  <a:gd name="T10" fmla="*/ 32 w 32"/>
                  <a:gd name="T11" fmla="*/ 12 h 44"/>
                  <a:gd name="T12" fmla="*/ 30 w 32"/>
                  <a:gd name="T13" fmla="*/ 18 h 44"/>
                  <a:gd name="T14" fmla="*/ 28 w 32"/>
                  <a:gd name="T15" fmla="*/ 21 h 44"/>
                  <a:gd name="T16" fmla="*/ 24 w 32"/>
                  <a:gd name="T17" fmla="*/ 30 h 44"/>
                  <a:gd name="T18" fmla="*/ 23 w 32"/>
                  <a:gd name="T19" fmla="*/ 36 h 44"/>
                  <a:gd name="T20" fmla="*/ 21 w 32"/>
                  <a:gd name="T21" fmla="*/ 37 h 44"/>
                  <a:gd name="T22" fmla="*/ 20 w 32"/>
                  <a:gd name="T23" fmla="*/ 40 h 44"/>
                  <a:gd name="T24" fmla="*/ 14 w 32"/>
                  <a:gd name="T25" fmla="*/ 44 h 44"/>
                  <a:gd name="T26" fmla="*/ 15 w 32"/>
                  <a:gd name="T27" fmla="*/ 38 h 44"/>
                  <a:gd name="T28" fmla="*/ 15 w 32"/>
                  <a:gd name="T29" fmla="*/ 34 h 44"/>
                  <a:gd name="T30" fmla="*/ 12 w 32"/>
                  <a:gd name="T31" fmla="*/ 36 h 44"/>
                  <a:gd name="T32" fmla="*/ 8 w 32"/>
                  <a:gd name="T33" fmla="*/ 40 h 44"/>
                  <a:gd name="T34" fmla="*/ 10 w 32"/>
                  <a:gd name="T35" fmla="*/ 35 h 44"/>
                  <a:gd name="T36" fmla="*/ 10 w 32"/>
                  <a:gd name="T37" fmla="*/ 27 h 44"/>
                  <a:gd name="T38" fmla="*/ 13 w 32"/>
                  <a:gd name="T39" fmla="*/ 19 h 44"/>
                  <a:gd name="T40" fmla="*/ 13 w 32"/>
                  <a:gd name="T41" fmla="*/ 17 h 44"/>
                  <a:gd name="T42" fmla="*/ 10 w 32"/>
                  <a:gd name="T43" fmla="*/ 12 h 44"/>
                  <a:gd name="T44" fmla="*/ 8 w 32"/>
                  <a:gd name="T45" fmla="*/ 14 h 44"/>
                  <a:gd name="T46" fmla="*/ 5 w 32"/>
                  <a:gd name="T47" fmla="*/ 18 h 44"/>
                  <a:gd name="T48" fmla="*/ 1 w 32"/>
                  <a:gd name="T49" fmla="*/ 16 h 44"/>
                  <a:gd name="T50" fmla="*/ 2 w 32"/>
                  <a:gd name="T51" fmla="*/ 16 h 44"/>
                  <a:gd name="T52" fmla="*/ 4 w 32"/>
                  <a:gd name="T53" fmla="*/ 13 h 44"/>
                  <a:gd name="T54" fmla="*/ 0 w 32"/>
                  <a:gd name="T55" fmla="*/ 10 h 44"/>
                  <a:gd name="T56" fmla="*/ 2 w 32"/>
                  <a:gd name="T57" fmla="*/ 9 h 44"/>
                  <a:gd name="T58" fmla="*/ 5 w 32"/>
                  <a:gd name="T59" fmla="*/ 8 h 44"/>
                  <a:gd name="T60" fmla="*/ 9 w 32"/>
                  <a:gd name="T61" fmla="*/ 4 h 44"/>
                  <a:gd name="T62" fmla="*/ 12 w 32"/>
                  <a:gd name="T63" fmla="*/ 1 h 44"/>
                  <a:gd name="T64" fmla="*/ 18 w 32"/>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4">
                    <a:moveTo>
                      <a:pt x="18" y="0"/>
                    </a:moveTo>
                    <a:lnTo>
                      <a:pt x="18" y="0"/>
                    </a:lnTo>
                    <a:lnTo>
                      <a:pt x="18" y="1"/>
                    </a:lnTo>
                    <a:lnTo>
                      <a:pt x="19" y="2"/>
                    </a:lnTo>
                    <a:lnTo>
                      <a:pt x="21" y="4"/>
                    </a:lnTo>
                    <a:lnTo>
                      <a:pt x="23" y="5"/>
                    </a:lnTo>
                    <a:lnTo>
                      <a:pt x="26" y="4"/>
                    </a:lnTo>
                    <a:lnTo>
                      <a:pt x="28" y="4"/>
                    </a:lnTo>
                    <a:lnTo>
                      <a:pt x="28" y="8"/>
                    </a:lnTo>
                    <a:lnTo>
                      <a:pt x="26" y="10"/>
                    </a:lnTo>
                    <a:lnTo>
                      <a:pt x="31" y="10"/>
                    </a:lnTo>
                    <a:lnTo>
                      <a:pt x="32" y="12"/>
                    </a:lnTo>
                    <a:lnTo>
                      <a:pt x="32" y="16"/>
                    </a:lnTo>
                    <a:lnTo>
                      <a:pt x="30" y="18"/>
                    </a:lnTo>
                    <a:lnTo>
                      <a:pt x="28" y="20"/>
                    </a:lnTo>
                    <a:lnTo>
                      <a:pt x="28" y="21"/>
                    </a:lnTo>
                    <a:lnTo>
                      <a:pt x="26" y="27"/>
                    </a:lnTo>
                    <a:lnTo>
                      <a:pt x="24" y="30"/>
                    </a:lnTo>
                    <a:lnTo>
                      <a:pt x="24" y="34"/>
                    </a:lnTo>
                    <a:lnTo>
                      <a:pt x="23" y="36"/>
                    </a:lnTo>
                    <a:lnTo>
                      <a:pt x="23" y="38"/>
                    </a:lnTo>
                    <a:lnTo>
                      <a:pt x="21" y="37"/>
                    </a:lnTo>
                    <a:lnTo>
                      <a:pt x="19" y="38"/>
                    </a:lnTo>
                    <a:lnTo>
                      <a:pt x="20" y="40"/>
                    </a:lnTo>
                    <a:lnTo>
                      <a:pt x="17" y="43"/>
                    </a:lnTo>
                    <a:lnTo>
                      <a:pt x="14" y="44"/>
                    </a:lnTo>
                    <a:lnTo>
                      <a:pt x="15" y="40"/>
                    </a:lnTo>
                    <a:lnTo>
                      <a:pt x="15" y="38"/>
                    </a:lnTo>
                    <a:lnTo>
                      <a:pt x="13" y="36"/>
                    </a:lnTo>
                    <a:lnTo>
                      <a:pt x="15" y="34"/>
                    </a:lnTo>
                    <a:lnTo>
                      <a:pt x="13" y="34"/>
                    </a:lnTo>
                    <a:lnTo>
                      <a:pt x="12" y="36"/>
                    </a:lnTo>
                    <a:lnTo>
                      <a:pt x="13" y="42"/>
                    </a:lnTo>
                    <a:lnTo>
                      <a:pt x="8" y="40"/>
                    </a:lnTo>
                    <a:lnTo>
                      <a:pt x="9" y="37"/>
                    </a:lnTo>
                    <a:lnTo>
                      <a:pt x="10" y="35"/>
                    </a:lnTo>
                    <a:lnTo>
                      <a:pt x="8" y="29"/>
                    </a:lnTo>
                    <a:lnTo>
                      <a:pt x="10" y="27"/>
                    </a:lnTo>
                    <a:lnTo>
                      <a:pt x="13" y="21"/>
                    </a:lnTo>
                    <a:lnTo>
                      <a:pt x="13" y="19"/>
                    </a:lnTo>
                    <a:lnTo>
                      <a:pt x="11" y="19"/>
                    </a:lnTo>
                    <a:lnTo>
                      <a:pt x="13" y="17"/>
                    </a:lnTo>
                    <a:lnTo>
                      <a:pt x="11" y="14"/>
                    </a:lnTo>
                    <a:lnTo>
                      <a:pt x="10" y="12"/>
                    </a:lnTo>
                    <a:lnTo>
                      <a:pt x="6" y="12"/>
                    </a:lnTo>
                    <a:lnTo>
                      <a:pt x="8" y="14"/>
                    </a:lnTo>
                    <a:lnTo>
                      <a:pt x="8" y="18"/>
                    </a:lnTo>
                    <a:lnTo>
                      <a:pt x="5" y="18"/>
                    </a:lnTo>
                    <a:lnTo>
                      <a:pt x="3" y="19"/>
                    </a:lnTo>
                    <a:lnTo>
                      <a:pt x="1" y="16"/>
                    </a:lnTo>
                    <a:lnTo>
                      <a:pt x="2" y="13"/>
                    </a:lnTo>
                    <a:lnTo>
                      <a:pt x="2" y="16"/>
                    </a:lnTo>
                    <a:lnTo>
                      <a:pt x="5" y="17"/>
                    </a:lnTo>
                    <a:lnTo>
                      <a:pt x="4" y="13"/>
                    </a:lnTo>
                    <a:lnTo>
                      <a:pt x="1" y="12"/>
                    </a:lnTo>
                    <a:lnTo>
                      <a:pt x="0" y="10"/>
                    </a:lnTo>
                    <a:lnTo>
                      <a:pt x="2" y="9"/>
                    </a:lnTo>
                    <a:lnTo>
                      <a:pt x="2" y="9"/>
                    </a:lnTo>
                    <a:lnTo>
                      <a:pt x="3" y="7"/>
                    </a:lnTo>
                    <a:lnTo>
                      <a:pt x="5" y="8"/>
                    </a:lnTo>
                    <a:lnTo>
                      <a:pt x="5" y="7"/>
                    </a:lnTo>
                    <a:lnTo>
                      <a:pt x="9" y="4"/>
                    </a:lnTo>
                    <a:lnTo>
                      <a:pt x="11" y="3"/>
                    </a:lnTo>
                    <a:lnTo>
                      <a:pt x="12"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2" name="Freeform 188">
                <a:extLst>
                  <a:ext uri="{FF2B5EF4-FFF2-40B4-BE49-F238E27FC236}">
                    <a16:creationId xmlns:a16="http://schemas.microsoft.com/office/drawing/2014/main" id="{A181707F-FA3C-498C-A601-09FAA5BBAE5D}"/>
                  </a:ext>
                </a:extLst>
              </p:cNvPr>
              <p:cNvSpPr>
                <a:spLocks/>
              </p:cNvSpPr>
              <p:nvPr/>
            </p:nvSpPr>
            <p:spPr bwMode="auto">
              <a:xfrm>
                <a:off x="5559" y="1480"/>
                <a:ext cx="116" cy="44"/>
              </a:xfrm>
              <a:custGeom>
                <a:avLst/>
                <a:gdLst>
                  <a:gd name="T0" fmla="*/ 27 w 116"/>
                  <a:gd name="T1" fmla="*/ 0 h 44"/>
                  <a:gd name="T2" fmla="*/ 22 w 116"/>
                  <a:gd name="T3" fmla="*/ 2 h 44"/>
                  <a:gd name="T4" fmla="*/ 18 w 116"/>
                  <a:gd name="T5" fmla="*/ 2 h 44"/>
                  <a:gd name="T6" fmla="*/ 10 w 116"/>
                  <a:gd name="T7" fmla="*/ 7 h 44"/>
                  <a:gd name="T8" fmla="*/ 12 w 116"/>
                  <a:gd name="T9" fmla="*/ 14 h 44"/>
                  <a:gd name="T10" fmla="*/ 3 w 116"/>
                  <a:gd name="T11" fmla="*/ 14 h 44"/>
                  <a:gd name="T12" fmla="*/ 5 w 116"/>
                  <a:gd name="T13" fmla="*/ 17 h 44"/>
                  <a:gd name="T14" fmla="*/ 4 w 116"/>
                  <a:gd name="T15" fmla="*/ 23 h 44"/>
                  <a:gd name="T16" fmla="*/ 0 w 116"/>
                  <a:gd name="T17" fmla="*/ 25 h 44"/>
                  <a:gd name="T18" fmla="*/ 5 w 116"/>
                  <a:gd name="T19" fmla="*/ 31 h 44"/>
                  <a:gd name="T20" fmla="*/ 13 w 116"/>
                  <a:gd name="T21" fmla="*/ 35 h 44"/>
                  <a:gd name="T22" fmla="*/ 16 w 116"/>
                  <a:gd name="T23" fmla="*/ 40 h 44"/>
                  <a:gd name="T24" fmla="*/ 27 w 116"/>
                  <a:gd name="T25" fmla="*/ 43 h 44"/>
                  <a:gd name="T26" fmla="*/ 33 w 116"/>
                  <a:gd name="T27" fmla="*/ 43 h 44"/>
                  <a:gd name="T28" fmla="*/ 35 w 116"/>
                  <a:gd name="T29" fmla="*/ 38 h 44"/>
                  <a:gd name="T30" fmla="*/ 41 w 116"/>
                  <a:gd name="T31" fmla="*/ 35 h 44"/>
                  <a:gd name="T32" fmla="*/ 43 w 116"/>
                  <a:gd name="T33" fmla="*/ 40 h 44"/>
                  <a:gd name="T34" fmla="*/ 63 w 116"/>
                  <a:gd name="T35" fmla="*/ 36 h 44"/>
                  <a:gd name="T36" fmla="*/ 72 w 116"/>
                  <a:gd name="T37" fmla="*/ 34 h 44"/>
                  <a:gd name="T38" fmla="*/ 72 w 116"/>
                  <a:gd name="T39" fmla="*/ 38 h 44"/>
                  <a:gd name="T40" fmla="*/ 80 w 116"/>
                  <a:gd name="T41" fmla="*/ 38 h 44"/>
                  <a:gd name="T42" fmla="*/ 91 w 116"/>
                  <a:gd name="T43" fmla="*/ 36 h 44"/>
                  <a:gd name="T44" fmla="*/ 90 w 116"/>
                  <a:gd name="T45" fmla="*/ 34 h 44"/>
                  <a:gd name="T46" fmla="*/ 81 w 116"/>
                  <a:gd name="T47" fmla="*/ 32 h 44"/>
                  <a:gd name="T48" fmla="*/ 74 w 116"/>
                  <a:gd name="T49" fmla="*/ 25 h 44"/>
                  <a:gd name="T50" fmla="*/ 73 w 116"/>
                  <a:gd name="T51" fmla="*/ 17 h 44"/>
                  <a:gd name="T52" fmla="*/ 73 w 116"/>
                  <a:gd name="T53" fmla="*/ 16 h 44"/>
                  <a:gd name="T54" fmla="*/ 82 w 116"/>
                  <a:gd name="T55" fmla="*/ 15 h 44"/>
                  <a:gd name="T56" fmla="*/ 83 w 116"/>
                  <a:gd name="T57" fmla="*/ 18 h 44"/>
                  <a:gd name="T58" fmla="*/ 77 w 116"/>
                  <a:gd name="T59" fmla="*/ 22 h 44"/>
                  <a:gd name="T60" fmla="*/ 84 w 116"/>
                  <a:gd name="T61" fmla="*/ 31 h 44"/>
                  <a:gd name="T62" fmla="*/ 93 w 116"/>
                  <a:gd name="T63" fmla="*/ 32 h 44"/>
                  <a:gd name="T64" fmla="*/ 104 w 116"/>
                  <a:gd name="T65" fmla="*/ 32 h 44"/>
                  <a:gd name="T66" fmla="*/ 108 w 116"/>
                  <a:gd name="T67" fmla="*/ 27 h 44"/>
                  <a:gd name="T68" fmla="*/ 108 w 116"/>
                  <a:gd name="T69" fmla="*/ 26 h 44"/>
                  <a:gd name="T70" fmla="*/ 112 w 116"/>
                  <a:gd name="T71" fmla="*/ 21 h 44"/>
                  <a:gd name="T72" fmla="*/ 112 w 116"/>
                  <a:gd name="T73" fmla="*/ 17 h 44"/>
                  <a:gd name="T74" fmla="*/ 107 w 116"/>
                  <a:gd name="T75" fmla="*/ 15 h 44"/>
                  <a:gd name="T76" fmla="*/ 92 w 116"/>
                  <a:gd name="T77" fmla="*/ 10 h 44"/>
                  <a:gd name="T78" fmla="*/ 82 w 116"/>
                  <a:gd name="T79" fmla="*/ 12 h 44"/>
                  <a:gd name="T80" fmla="*/ 76 w 116"/>
                  <a:gd name="T81" fmla="*/ 9 h 44"/>
                  <a:gd name="T82" fmla="*/ 65 w 116"/>
                  <a:gd name="T83" fmla="*/ 4 h 44"/>
                  <a:gd name="T84" fmla="*/ 64 w 116"/>
                  <a:gd name="T85" fmla="*/ 6 h 44"/>
                  <a:gd name="T86" fmla="*/ 56 w 116"/>
                  <a:gd name="T87" fmla="*/ 7 h 44"/>
                  <a:gd name="T88" fmla="*/ 55 w 116"/>
                  <a:gd name="T89" fmla="*/ 14 h 44"/>
                  <a:gd name="T90" fmla="*/ 55 w 116"/>
                  <a:gd name="T91" fmla="*/ 17 h 44"/>
                  <a:gd name="T92" fmla="*/ 49 w 116"/>
                  <a:gd name="T93" fmla="*/ 15 h 44"/>
                  <a:gd name="T94" fmla="*/ 43 w 116"/>
                  <a:gd name="T95" fmla="*/ 12 h 44"/>
                  <a:gd name="T96" fmla="*/ 41 w 116"/>
                  <a:gd name="T97" fmla="*/ 8 h 44"/>
                  <a:gd name="T98" fmla="*/ 30 w 116"/>
                  <a:gd name="T9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44">
                    <a:moveTo>
                      <a:pt x="30" y="4"/>
                    </a:moveTo>
                    <a:lnTo>
                      <a:pt x="27" y="0"/>
                    </a:lnTo>
                    <a:lnTo>
                      <a:pt x="25" y="0"/>
                    </a:lnTo>
                    <a:lnTo>
                      <a:pt x="22" y="2"/>
                    </a:lnTo>
                    <a:lnTo>
                      <a:pt x="21" y="5"/>
                    </a:lnTo>
                    <a:lnTo>
                      <a:pt x="18" y="2"/>
                    </a:lnTo>
                    <a:lnTo>
                      <a:pt x="16" y="6"/>
                    </a:lnTo>
                    <a:lnTo>
                      <a:pt x="10" y="7"/>
                    </a:lnTo>
                    <a:lnTo>
                      <a:pt x="7" y="8"/>
                    </a:lnTo>
                    <a:lnTo>
                      <a:pt x="12" y="14"/>
                    </a:lnTo>
                    <a:lnTo>
                      <a:pt x="6" y="13"/>
                    </a:lnTo>
                    <a:lnTo>
                      <a:pt x="3" y="14"/>
                    </a:lnTo>
                    <a:lnTo>
                      <a:pt x="3" y="17"/>
                    </a:lnTo>
                    <a:lnTo>
                      <a:pt x="5" y="17"/>
                    </a:lnTo>
                    <a:lnTo>
                      <a:pt x="5" y="21"/>
                    </a:lnTo>
                    <a:lnTo>
                      <a:pt x="4" y="23"/>
                    </a:lnTo>
                    <a:lnTo>
                      <a:pt x="6" y="25"/>
                    </a:lnTo>
                    <a:lnTo>
                      <a:pt x="0" y="25"/>
                    </a:lnTo>
                    <a:lnTo>
                      <a:pt x="1" y="29"/>
                    </a:lnTo>
                    <a:lnTo>
                      <a:pt x="5" y="31"/>
                    </a:lnTo>
                    <a:lnTo>
                      <a:pt x="9" y="34"/>
                    </a:lnTo>
                    <a:lnTo>
                      <a:pt x="13" y="35"/>
                    </a:lnTo>
                    <a:lnTo>
                      <a:pt x="14" y="39"/>
                    </a:lnTo>
                    <a:lnTo>
                      <a:pt x="16" y="40"/>
                    </a:lnTo>
                    <a:lnTo>
                      <a:pt x="25" y="42"/>
                    </a:lnTo>
                    <a:lnTo>
                      <a:pt x="27" y="43"/>
                    </a:lnTo>
                    <a:lnTo>
                      <a:pt x="31" y="44"/>
                    </a:lnTo>
                    <a:lnTo>
                      <a:pt x="33" y="43"/>
                    </a:lnTo>
                    <a:lnTo>
                      <a:pt x="37" y="40"/>
                    </a:lnTo>
                    <a:lnTo>
                      <a:pt x="35" y="38"/>
                    </a:lnTo>
                    <a:lnTo>
                      <a:pt x="38" y="35"/>
                    </a:lnTo>
                    <a:lnTo>
                      <a:pt x="41" y="35"/>
                    </a:lnTo>
                    <a:lnTo>
                      <a:pt x="43" y="39"/>
                    </a:lnTo>
                    <a:lnTo>
                      <a:pt x="43" y="40"/>
                    </a:lnTo>
                    <a:lnTo>
                      <a:pt x="57" y="36"/>
                    </a:lnTo>
                    <a:lnTo>
                      <a:pt x="63" y="36"/>
                    </a:lnTo>
                    <a:lnTo>
                      <a:pt x="68" y="34"/>
                    </a:lnTo>
                    <a:lnTo>
                      <a:pt x="72" y="34"/>
                    </a:lnTo>
                    <a:lnTo>
                      <a:pt x="74" y="36"/>
                    </a:lnTo>
                    <a:lnTo>
                      <a:pt x="72" y="38"/>
                    </a:lnTo>
                    <a:lnTo>
                      <a:pt x="76" y="40"/>
                    </a:lnTo>
                    <a:lnTo>
                      <a:pt x="80" y="38"/>
                    </a:lnTo>
                    <a:lnTo>
                      <a:pt x="85" y="38"/>
                    </a:lnTo>
                    <a:lnTo>
                      <a:pt x="91" y="36"/>
                    </a:lnTo>
                    <a:lnTo>
                      <a:pt x="92" y="34"/>
                    </a:lnTo>
                    <a:lnTo>
                      <a:pt x="90" y="34"/>
                    </a:lnTo>
                    <a:lnTo>
                      <a:pt x="84" y="32"/>
                    </a:lnTo>
                    <a:lnTo>
                      <a:pt x="81" y="32"/>
                    </a:lnTo>
                    <a:lnTo>
                      <a:pt x="78" y="31"/>
                    </a:lnTo>
                    <a:lnTo>
                      <a:pt x="74" y="25"/>
                    </a:lnTo>
                    <a:lnTo>
                      <a:pt x="70" y="17"/>
                    </a:lnTo>
                    <a:lnTo>
                      <a:pt x="73" y="17"/>
                    </a:lnTo>
                    <a:lnTo>
                      <a:pt x="70" y="16"/>
                    </a:lnTo>
                    <a:lnTo>
                      <a:pt x="73" y="16"/>
                    </a:lnTo>
                    <a:lnTo>
                      <a:pt x="76" y="15"/>
                    </a:lnTo>
                    <a:lnTo>
                      <a:pt x="82" y="15"/>
                    </a:lnTo>
                    <a:lnTo>
                      <a:pt x="84" y="16"/>
                    </a:lnTo>
                    <a:lnTo>
                      <a:pt x="83" y="18"/>
                    </a:lnTo>
                    <a:lnTo>
                      <a:pt x="80" y="19"/>
                    </a:lnTo>
                    <a:lnTo>
                      <a:pt x="77" y="22"/>
                    </a:lnTo>
                    <a:lnTo>
                      <a:pt x="78" y="25"/>
                    </a:lnTo>
                    <a:lnTo>
                      <a:pt x="84" y="31"/>
                    </a:lnTo>
                    <a:lnTo>
                      <a:pt x="90" y="32"/>
                    </a:lnTo>
                    <a:lnTo>
                      <a:pt x="93" y="32"/>
                    </a:lnTo>
                    <a:lnTo>
                      <a:pt x="98" y="33"/>
                    </a:lnTo>
                    <a:lnTo>
                      <a:pt x="104" y="32"/>
                    </a:lnTo>
                    <a:lnTo>
                      <a:pt x="107" y="31"/>
                    </a:lnTo>
                    <a:lnTo>
                      <a:pt x="108" y="27"/>
                    </a:lnTo>
                    <a:lnTo>
                      <a:pt x="110" y="26"/>
                    </a:lnTo>
                    <a:lnTo>
                      <a:pt x="108" y="26"/>
                    </a:lnTo>
                    <a:lnTo>
                      <a:pt x="107" y="23"/>
                    </a:lnTo>
                    <a:lnTo>
                      <a:pt x="112" y="21"/>
                    </a:lnTo>
                    <a:lnTo>
                      <a:pt x="116" y="18"/>
                    </a:lnTo>
                    <a:lnTo>
                      <a:pt x="112" y="17"/>
                    </a:lnTo>
                    <a:lnTo>
                      <a:pt x="110" y="17"/>
                    </a:lnTo>
                    <a:lnTo>
                      <a:pt x="107" y="15"/>
                    </a:lnTo>
                    <a:lnTo>
                      <a:pt x="104" y="15"/>
                    </a:lnTo>
                    <a:lnTo>
                      <a:pt x="92" y="10"/>
                    </a:lnTo>
                    <a:lnTo>
                      <a:pt x="84" y="12"/>
                    </a:lnTo>
                    <a:lnTo>
                      <a:pt x="82" y="12"/>
                    </a:lnTo>
                    <a:lnTo>
                      <a:pt x="78" y="10"/>
                    </a:lnTo>
                    <a:lnTo>
                      <a:pt x="76" y="9"/>
                    </a:lnTo>
                    <a:lnTo>
                      <a:pt x="70" y="6"/>
                    </a:lnTo>
                    <a:lnTo>
                      <a:pt x="65" y="4"/>
                    </a:lnTo>
                    <a:lnTo>
                      <a:pt x="61" y="4"/>
                    </a:lnTo>
                    <a:lnTo>
                      <a:pt x="64" y="6"/>
                    </a:lnTo>
                    <a:lnTo>
                      <a:pt x="58" y="5"/>
                    </a:lnTo>
                    <a:lnTo>
                      <a:pt x="56" y="7"/>
                    </a:lnTo>
                    <a:lnTo>
                      <a:pt x="56" y="12"/>
                    </a:lnTo>
                    <a:lnTo>
                      <a:pt x="55" y="14"/>
                    </a:lnTo>
                    <a:lnTo>
                      <a:pt x="57" y="16"/>
                    </a:lnTo>
                    <a:lnTo>
                      <a:pt x="55" y="17"/>
                    </a:lnTo>
                    <a:lnTo>
                      <a:pt x="52" y="17"/>
                    </a:lnTo>
                    <a:lnTo>
                      <a:pt x="49" y="15"/>
                    </a:lnTo>
                    <a:lnTo>
                      <a:pt x="49" y="12"/>
                    </a:lnTo>
                    <a:lnTo>
                      <a:pt x="43" y="12"/>
                    </a:lnTo>
                    <a:lnTo>
                      <a:pt x="42" y="10"/>
                    </a:lnTo>
                    <a:lnTo>
                      <a:pt x="41" y="8"/>
                    </a:lnTo>
                    <a:lnTo>
                      <a:pt x="30" y="4"/>
                    </a:lnTo>
                    <a:lnTo>
                      <a:pt x="3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3" name="Freeform 189">
                <a:extLst>
                  <a:ext uri="{FF2B5EF4-FFF2-40B4-BE49-F238E27FC236}">
                    <a16:creationId xmlns:a16="http://schemas.microsoft.com/office/drawing/2014/main" id="{6045414D-FF4C-445F-A755-65AFB10FE7C3}"/>
                  </a:ext>
                </a:extLst>
              </p:cNvPr>
              <p:cNvSpPr>
                <a:spLocks/>
              </p:cNvSpPr>
              <p:nvPr/>
            </p:nvSpPr>
            <p:spPr bwMode="auto">
              <a:xfrm>
                <a:off x="5599" y="1544"/>
                <a:ext cx="51" cy="19"/>
              </a:xfrm>
              <a:custGeom>
                <a:avLst/>
                <a:gdLst>
                  <a:gd name="T0" fmla="*/ 3 w 51"/>
                  <a:gd name="T1" fmla="*/ 12 h 19"/>
                  <a:gd name="T2" fmla="*/ 0 w 51"/>
                  <a:gd name="T3" fmla="*/ 12 h 19"/>
                  <a:gd name="T4" fmla="*/ 2 w 51"/>
                  <a:gd name="T5" fmla="*/ 14 h 19"/>
                  <a:gd name="T6" fmla="*/ 6 w 51"/>
                  <a:gd name="T7" fmla="*/ 13 h 19"/>
                  <a:gd name="T8" fmla="*/ 11 w 51"/>
                  <a:gd name="T9" fmla="*/ 12 h 19"/>
                  <a:gd name="T10" fmla="*/ 17 w 51"/>
                  <a:gd name="T11" fmla="*/ 13 h 19"/>
                  <a:gd name="T12" fmla="*/ 26 w 51"/>
                  <a:gd name="T13" fmla="*/ 15 h 19"/>
                  <a:gd name="T14" fmla="*/ 41 w 51"/>
                  <a:gd name="T15" fmla="*/ 18 h 19"/>
                  <a:gd name="T16" fmla="*/ 46 w 51"/>
                  <a:gd name="T17" fmla="*/ 19 h 19"/>
                  <a:gd name="T18" fmla="*/ 49 w 51"/>
                  <a:gd name="T19" fmla="*/ 18 h 19"/>
                  <a:gd name="T20" fmla="*/ 51 w 51"/>
                  <a:gd name="T21" fmla="*/ 15 h 19"/>
                  <a:gd name="T22" fmla="*/ 51 w 51"/>
                  <a:gd name="T23" fmla="*/ 12 h 19"/>
                  <a:gd name="T24" fmla="*/ 50 w 51"/>
                  <a:gd name="T25" fmla="*/ 10 h 19"/>
                  <a:gd name="T26" fmla="*/ 46 w 51"/>
                  <a:gd name="T27" fmla="*/ 8 h 19"/>
                  <a:gd name="T28" fmla="*/ 38 w 51"/>
                  <a:gd name="T29" fmla="*/ 2 h 19"/>
                  <a:gd name="T30" fmla="*/ 30 w 51"/>
                  <a:gd name="T31" fmla="*/ 0 h 19"/>
                  <a:gd name="T32" fmla="*/ 25 w 51"/>
                  <a:gd name="T33" fmla="*/ 0 h 19"/>
                  <a:gd name="T34" fmla="*/ 21 w 51"/>
                  <a:gd name="T35" fmla="*/ 1 h 19"/>
                  <a:gd name="T36" fmla="*/ 19 w 51"/>
                  <a:gd name="T37" fmla="*/ 1 h 19"/>
                  <a:gd name="T38" fmla="*/ 16 w 51"/>
                  <a:gd name="T39" fmla="*/ 2 h 19"/>
                  <a:gd name="T40" fmla="*/ 13 w 51"/>
                  <a:gd name="T41" fmla="*/ 4 h 19"/>
                  <a:gd name="T42" fmla="*/ 12 w 51"/>
                  <a:gd name="T43" fmla="*/ 8 h 19"/>
                  <a:gd name="T44" fmla="*/ 10 w 51"/>
                  <a:gd name="T45" fmla="*/ 10 h 19"/>
                  <a:gd name="T46" fmla="*/ 7 w 51"/>
                  <a:gd name="T47" fmla="*/ 12 h 19"/>
                  <a:gd name="T48" fmla="*/ 3 w 51"/>
                  <a:gd name="T49" fmla="*/ 12 h 19"/>
                  <a:gd name="T50" fmla="*/ 3 w 51"/>
                  <a:gd name="T51"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19">
                    <a:moveTo>
                      <a:pt x="3" y="12"/>
                    </a:moveTo>
                    <a:lnTo>
                      <a:pt x="0" y="12"/>
                    </a:lnTo>
                    <a:lnTo>
                      <a:pt x="2" y="14"/>
                    </a:lnTo>
                    <a:lnTo>
                      <a:pt x="6" y="13"/>
                    </a:lnTo>
                    <a:lnTo>
                      <a:pt x="11" y="12"/>
                    </a:lnTo>
                    <a:lnTo>
                      <a:pt x="17" y="13"/>
                    </a:lnTo>
                    <a:lnTo>
                      <a:pt x="26" y="15"/>
                    </a:lnTo>
                    <a:lnTo>
                      <a:pt x="41" y="18"/>
                    </a:lnTo>
                    <a:lnTo>
                      <a:pt x="46" y="19"/>
                    </a:lnTo>
                    <a:lnTo>
                      <a:pt x="49" y="18"/>
                    </a:lnTo>
                    <a:lnTo>
                      <a:pt x="51" y="15"/>
                    </a:lnTo>
                    <a:lnTo>
                      <a:pt x="51" y="12"/>
                    </a:lnTo>
                    <a:lnTo>
                      <a:pt x="50" y="10"/>
                    </a:lnTo>
                    <a:lnTo>
                      <a:pt x="46" y="8"/>
                    </a:lnTo>
                    <a:lnTo>
                      <a:pt x="38" y="2"/>
                    </a:lnTo>
                    <a:lnTo>
                      <a:pt x="30" y="0"/>
                    </a:lnTo>
                    <a:lnTo>
                      <a:pt x="25" y="0"/>
                    </a:lnTo>
                    <a:lnTo>
                      <a:pt x="21" y="1"/>
                    </a:lnTo>
                    <a:lnTo>
                      <a:pt x="19" y="1"/>
                    </a:lnTo>
                    <a:lnTo>
                      <a:pt x="16" y="2"/>
                    </a:lnTo>
                    <a:lnTo>
                      <a:pt x="13" y="4"/>
                    </a:lnTo>
                    <a:lnTo>
                      <a:pt x="12" y="8"/>
                    </a:lnTo>
                    <a:lnTo>
                      <a:pt x="10" y="10"/>
                    </a:lnTo>
                    <a:lnTo>
                      <a:pt x="7" y="12"/>
                    </a:lnTo>
                    <a:lnTo>
                      <a:pt x="3"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4" name="Freeform 190">
                <a:extLst>
                  <a:ext uri="{FF2B5EF4-FFF2-40B4-BE49-F238E27FC236}">
                    <a16:creationId xmlns:a16="http://schemas.microsoft.com/office/drawing/2014/main" id="{EE97687D-690D-47F7-B999-C069179D7B77}"/>
                  </a:ext>
                </a:extLst>
              </p:cNvPr>
              <p:cNvSpPr>
                <a:spLocks/>
              </p:cNvSpPr>
              <p:nvPr/>
            </p:nvSpPr>
            <p:spPr bwMode="auto">
              <a:xfrm>
                <a:off x="5603" y="1533"/>
                <a:ext cx="14" cy="11"/>
              </a:xfrm>
              <a:custGeom>
                <a:avLst/>
                <a:gdLst>
                  <a:gd name="T0" fmla="*/ 5 w 14"/>
                  <a:gd name="T1" fmla="*/ 11 h 11"/>
                  <a:gd name="T2" fmla="*/ 9 w 14"/>
                  <a:gd name="T3" fmla="*/ 9 h 11"/>
                  <a:gd name="T4" fmla="*/ 13 w 14"/>
                  <a:gd name="T5" fmla="*/ 8 h 11"/>
                  <a:gd name="T6" fmla="*/ 14 w 14"/>
                  <a:gd name="T7" fmla="*/ 3 h 11"/>
                  <a:gd name="T8" fmla="*/ 11 w 14"/>
                  <a:gd name="T9" fmla="*/ 2 h 11"/>
                  <a:gd name="T10" fmla="*/ 8 w 14"/>
                  <a:gd name="T11" fmla="*/ 0 h 11"/>
                  <a:gd name="T12" fmla="*/ 3 w 14"/>
                  <a:gd name="T13" fmla="*/ 2 h 11"/>
                  <a:gd name="T14" fmla="*/ 0 w 14"/>
                  <a:gd name="T15" fmla="*/ 4 h 11"/>
                  <a:gd name="T16" fmla="*/ 0 w 14"/>
                  <a:gd name="T17" fmla="*/ 7 h 11"/>
                  <a:gd name="T18" fmla="*/ 3 w 14"/>
                  <a:gd name="T19" fmla="*/ 9 h 11"/>
                  <a:gd name="T20" fmla="*/ 5 w 14"/>
                  <a:gd name="T21" fmla="*/ 11 h 11"/>
                  <a:gd name="T22" fmla="*/ 5 w 14"/>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5" y="11"/>
                    </a:moveTo>
                    <a:lnTo>
                      <a:pt x="9" y="9"/>
                    </a:lnTo>
                    <a:lnTo>
                      <a:pt x="13" y="8"/>
                    </a:lnTo>
                    <a:lnTo>
                      <a:pt x="14" y="3"/>
                    </a:lnTo>
                    <a:lnTo>
                      <a:pt x="11" y="2"/>
                    </a:lnTo>
                    <a:lnTo>
                      <a:pt x="8" y="0"/>
                    </a:lnTo>
                    <a:lnTo>
                      <a:pt x="3" y="2"/>
                    </a:lnTo>
                    <a:lnTo>
                      <a:pt x="0" y="4"/>
                    </a:lnTo>
                    <a:lnTo>
                      <a:pt x="0" y="7"/>
                    </a:lnTo>
                    <a:lnTo>
                      <a:pt x="3" y="9"/>
                    </a:lnTo>
                    <a:lnTo>
                      <a:pt x="5" y="11"/>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5" name="Freeform 191">
                <a:extLst>
                  <a:ext uri="{FF2B5EF4-FFF2-40B4-BE49-F238E27FC236}">
                    <a16:creationId xmlns:a16="http://schemas.microsoft.com/office/drawing/2014/main" id="{51AB13DD-1A3B-4021-BFBE-0AA1E5C22AE9}"/>
                  </a:ext>
                </a:extLst>
              </p:cNvPr>
              <p:cNvSpPr>
                <a:spLocks/>
              </p:cNvSpPr>
              <p:nvPr/>
            </p:nvSpPr>
            <p:spPr bwMode="auto">
              <a:xfrm>
                <a:off x="5685" y="1498"/>
                <a:ext cx="66" cy="23"/>
              </a:xfrm>
              <a:custGeom>
                <a:avLst/>
                <a:gdLst>
                  <a:gd name="T0" fmla="*/ 42 w 66"/>
                  <a:gd name="T1" fmla="*/ 23 h 23"/>
                  <a:gd name="T2" fmla="*/ 49 w 66"/>
                  <a:gd name="T3" fmla="*/ 23 h 23"/>
                  <a:gd name="T4" fmla="*/ 55 w 66"/>
                  <a:gd name="T5" fmla="*/ 21 h 23"/>
                  <a:gd name="T6" fmla="*/ 60 w 66"/>
                  <a:gd name="T7" fmla="*/ 20 h 23"/>
                  <a:gd name="T8" fmla="*/ 63 w 66"/>
                  <a:gd name="T9" fmla="*/ 17 h 23"/>
                  <a:gd name="T10" fmla="*/ 65 w 66"/>
                  <a:gd name="T11" fmla="*/ 15 h 23"/>
                  <a:gd name="T12" fmla="*/ 66 w 66"/>
                  <a:gd name="T13" fmla="*/ 13 h 23"/>
                  <a:gd name="T14" fmla="*/ 63 w 66"/>
                  <a:gd name="T15" fmla="*/ 12 h 23"/>
                  <a:gd name="T16" fmla="*/ 61 w 66"/>
                  <a:gd name="T17" fmla="*/ 13 h 23"/>
                  <a:gd name="T18" fmla="*/ 58 w 66"/>
                  <a:gd name="T19" fmla="*/ 12 h 23"/>
                  <a:gd name="T20" fmla="*/ 55 w 66"/>
                  <a:gd name="T21" fmla="*/ 11 h 23"/>
                  <a:gd name="T22" fmla="*/ 44 w 66"/>
                  <a:gd name="T23" fmla="*/ 8 h 23"/>
                  <a:gd name="T24" fmla="*/ 41 w 66"/>
                  <a:gd name="T25" fmla="*/ 9 h 23"/>
                  <a:gd name="T26" fmla="*/ 39 w 66"/>
                  <a:gd name="T27" fmla="*/ 11 h 23"/>
                  <a:gd name="T28" fmla="*/ 35 w 66"/>
                  <a:gd name="T29" fmla="*/ 11 h 23"/>
                  <a:gd name="T30" fmla="*/ 33 w 66"/>
                  <a:gd name="T31" fmla="*/ 8 h 23"/>
                  <a:gd name="T32" fmla="*/ 34 w 66"/>
                  <a:gd name="T33" fmla="*/ 6 h 23"/>
                  <a:gd name="T34" fmla="*/ 31 w 66"/>
                  <a:gd name="T35" fmla="*/ 5 h 23"/>
                  <a:gd name="T36" fmla="*/ 28 w 66"/>
                  <a:gd name="T37" fmla="*/ 5 h 23"/>
                  <a:gd name="T38" fmla="*/ 19 w 66"/>
                  <a:gd name="T39" fmla="*/ 4 h 23"/>
                  <a:gd name="T40" fmla="*/ 17 w 66"/>
                  <a:gd name="T41" fmla="*/ 7 h 23"/>
                  <a:gd name="T42" fmla="*/ 14 w 66"/>
                  <a:gd name="T43" fmla="*/ 7 h 23"/>
                  <a:gd name="T44" fmla="*/ 11 w 66"/>
                  <a:gd name="T45" fmla="*/ 7 h 23"/>
                  <a:gd name="T46" fmla="*/ 8 w 66"/>
                  <a:gd name="T47" fmla="*/ 5 h 23"/>
                  <a:gd name="T48" fmla="*/ 9 w 66"/>
                  <a:gd name="T49" fmla="*/ 3 h 23"/>
                  <a:gd name="T50" fmla="*/ 7 w 66"/>
                  <a:gd name="T51" fmla="*/ 0 h 23"/>
                  <a:gd name="T52" fmla="*/ 3 w 66"/>
                  <a:gd name="T53" fmla="*/ 3 h 23"/>
                  <a:gd name="T54" fmla="*/ 0 w 66"/>
                  <a:gd name="T55" fmla="*/ 11 h 23"/>
                  <a:gd name="T56" fmla="*/ 3 w 66"/>
                  <a:gd name="T57" fmla="*/ 12 h 23"/>
                  <a:gd name="T58" fmla="*/ 9 w 66"/>
                  <a:gd name="T59" fmla="*/ 13 h 23"/>
                  <a:gd name="T60" fmla="*/ 15 w 66"/>
                  <a:gd name="T61" fmla="*/ 16 h 23"/>
                  <a:gd name="T62" fmla="*/ 17 w 66"/>
                  <a:gd name="T63" fmla="*/ 17 h 23"/>
                  <a:gd name="T64" fmla="*/ 20 w 66"/>
                  <a:gd name="T65" fmla="*/ 17 h 23"/>
                  <a:gd name="T66" fmla="*/ 28 w 66"/>
                  <a:gd name="T67" fmla="*/ 22 h 23"/>
                  <a:gd name="T68" fmla="*/ 34 w 66"/>
                  <a:gd name="T69" fmla="*/ 23 h 23"/>
                  <a:gd name="T70" fmla="*/ 42 w 66"/>
                  <a:gd name="T71" fmla="*/ 23 h 23"/>
                  <a:gd name="T72" fmla="*/ 42 w 66"/>
                  <a:gd name="T7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23">
                    <a:moveTo>
                      <a:pt x="42" y="23"/>
                    </a:moveTo>
                    <a:lnTo>
                      <a:pt x="49" y="23"/>
                    </a:lnTo>
                    <a:lnTo>
                      <a:pt x="55" y="21"/>
                    </a:lnTo>
                    <a:lnTo>
                      <a:pt x="60" y="20"/>
                    </a:lnTo>
                    <a:lnTo>
                      <a:pt x="63" y="17"/>
                    </a:lnTo>
                    <a:lnTo>
                      <a:pt x="65" y="15"/>
                    </a:lnTo>
                    <a:lnTo>
                      <a:pt x="66" y="13"/>
                    </a:lnTo>
                    <a:lnTo>
                      <a:pt x="63" y="12"/>
                    </a:lnTo>
                    <a:lnTo>
                      <a:pt x="61" y="13"/>
                    </a:lnTo>
                    <a:lnTo>
                      <a:pt x="58" y="12"/>
                    </a:lnTo>
                    <a:lnTo>
                      <a:pt x="55" y="11"/>
                    </a:lnTo>
                    <a:lnTo>
                      <a:pt x="44" y="8"/>
                    </a:lnTo>
                    <a:lnTo>
                      <a:pt x="41" y="9"/>
                    </a:lnTo>
                    <a:lnTo>
                      <a:pt x="39" y="11"/>
                    </a:lnTo>
                    <a:lnTo>
                      <a:pt x="35" y="11"/>
                    </a:lnTo>
                    <a:lnTo>
                      <a:pt x="33" y="8"/>
                    </a:lnTo>
                    <a:lnTo>
                      <a:pt x="34" y="6"/>
                    </a:lnTo>
                    <a:lnTo>
                      <a:pt x="31" y="5"/>
                    </a:lnTo>
                    <a:lnTo>
                      <a:pt x="28" y="5"/>
                    </a:lnTo>
                    <a:lnTo>
                      <a:pt x="19" y="4"/>
                    </a:lnTo>
                    <a:lnTo>
                      <a:pt x="17" y="7"/>
                    </a:lnTo>
                    <a:lnTo>
                      <a:pt x="14" y="7"/>
                    </a:lnTo>
                    <a:lnTo>
                      <a:pt x="11" y="7"/>
                    </a:lnTo>
                    <a:lnTo>
                      <a:pt x="8" y="5"/>
                    </a:lnTo>
                    <a:lnTo>
                      <a:pt x="9" y="3"/>
                    </a:lnTo>
                    <a:lnTo>
                      <a:pt x="7" y="0"/>
                    </a:lnTo>
                    <a:lnTo>
                      <a:pt x="3" y="3"/>
                    </a:lnTo>
                    <a:lnTo>
                      <a:pt x="0" y="11"/>
                    </a:lnTo>
                    <a:lnTo>
                      <a:pt x="3" y="12"/>
                    </a:lnTo>
                    <a:lnTo>
                      <a:pt x="9" y="13"/>
                    </a:lnTo>
                    <a:lnTo>
                      <a:pt x="15" y="16"/>
                    </a:lnTo>
                    <a:lnTo>
                      <a:pt x="17" y="17"/>
                    </a:lnTo>
                    <a:lnTo>
                      <a:pt x="20" y="17"/>
                    </a:lnTo>
                    <a:lnTo>
                      <a:pt x="28" y="22"/>
                    </a:lnTo>
                    <a:lnTo>
                      <a:pt x="34" y="23"/>
                    </a:lnTo>
                    <a:lnTo>
                      <a:pt x="42" y="23"/>
                    </a:lnTo>
                    <a:lnTo>
                      <a:pt x="4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6" name="Freeform 192">
                <a:extLst>
                  <a:ext uri="{FF2B5EF4-FFF2-40B4-BE49-F238E27FC236}">
                    <a16:creationId xmlns:a16="http://schemas.microsoft.com/office/drawing/2014/main" id="{04955075-257C-4633-948B-05D71695382A}"/>
                  </a:ext>
                </a:extLst>
              </p:cNvPr>
              <p:cNvSpPr>
                <a:spLocks/>
              </p:cNvSpPr>
              <p:nvPr/>
            </p:nvSpPr>
            <p:spPr bwMode="auto">
              <a:xfrm>
                <a:off x="5716" y="2863"/>
                <a:ext cx="56" cy="28"/>
              </a:xfrm>
              <a:custGeom>
                <a:avLst/>
                <a:gdLst>
                  <a:gd name="T0" fmla="*/ 34 w 56"/>
                  <a:gd name="T1" fmla="*/ 27 h 28"/>
                  <a:gd name="T2" fmla="*/ 35 w 56"/>
                  <a:gd name="T3" fmla="*/ 26 h 28"/>
                  <a:gd name="T4" fmla="*/ 38 w 56"/>
                  <a:gd name="T5" fmla="*/ 25 h 28"/>
                  <a:gd name="T6" fmla="*/ 40 w 56"/>
                  <a:gd name="T7" fmla="*/ 23 h 28"/>
                  <a:gd name="T8" fmla="*/ 43 w 56"/>
                  <a:gd name="T9" fmla="*/ 21 h 28"/>
                  <a:gd name="T10" fmla="*/ 44 w 56"/>
                  <a:gd name="T11" fmla="*/ 19 h 28"/>
                  <a:gd name="T12" fmla="*/ 49 w 56"/>
                  <a:gd name="T13" fmla="*/ 19 h 28"/>
                  <a:gd name="T14" fmla="*/ 52 w 56"/>
                  <a:gd name="T15" fmla="*/ 17 h 28"/>
                  <a:gd name="T16" fmla="*/ 51 w 56"/>
                  <a:gd name="T17" fmla="*/ 13 h 28"/>
                  <a:gd name="T18" fmla="*/ 52 w 56"/>
                  <a:gd name="T19" fmla="*/ 11 h 28"/>
                  <a:gd name="T20" fmla="*/ 54 w 56"/>
                  <a:gd name="T21" fmla="*/ 10 h 28"/>
                  <a:gd name="T22" fmla="*/ 56 w 56"/>
                  <a:gd name="T23" fmla="*/ 7 h 28"/>
                  <a:gd name="T24" fmla="*/ 55 w 56"/>
                  <a:gd name="T25" fmla="*/ 4 h 28"/>
                  <a:gd name="T26" fmla="*/ 55 w 56"/>
                  <a:gd name="T27" fmla="*/ 2 h 28"/>
                  <a:gd name="T28" fmla="*/ 52 w 56"/>
                  <a:gd name="T29" fmla="*/ 0 h 28"/>
                  <a:gd name="T30" fmla="*/ 49 w 56"/>
                  <a:gd name="T31" fmla="*/ 2 h 28"/>
                  <a:gd name="T32" fmla="*/ 47 w 56"/>
                  <a:gd name="T33" fmla="*/ 0 h 28"/>
                  <a:gd name="T34" fmla="*/ 44 w 56"/>
                  <a:gd name="T35" fmla="*/ 2 h 28"/>
                  <a:gd name="T36" fmla="*/ 46 w 56"/>
                  <a:gd name="T37" fmla="*/ 8 h 28"/>
                  <a:gd name="T38" fmla="*/ 45 w 56"/>
                  <a:gd name="T39" fmla="*/ 10 h 28"/>
                  <a:gd name="T40" fmla="*/ 41 w 56"/>
                  <a:gd name="T41" fmla="*/ 10 h 28"/>
                  <a:gd name="T42" fmla="*/ 39 w 56"/>
                  <a:gd name="T43" fmla="*/ 12 h 28"/>
                  <a:gd name="T44" fmla="*/ 35 w 56"/>
                  <a:gd name="T45" fmla="*/ 18 h 28"/>
                  <a:gd name="T46" fmla="*/ 32 w 56"/>
                  <a:gd name="T47" fmla="*/ 19 h 28"/>
                  <a:gd name="T48" fmla="*/ 30 w 56"/>
                  <a:gd name="T49" fmla="*/ 17 h 28"/>
                  <a:gd name="T50" fmla="*/ 27 w 56"/>
                  <a:gd name="T51" fmla="*/ 19 h 28"/>
                  <a:gd name="T52" fmla="*/ 24 w 56"/>
                  <a:gd name="T53" fmla="*/ 17 h 28"/>
                  <a:gd name="T54" fmla="*/ 23 w 56"/>
                  <a:gd name="T55" fmla="*/ 12 h 28"/>
                  <a:gd name="T56" fmla="*/ 22 w 56"/>
                  <a:gd name="T57" fmla="*/ 15 h 28"/>
                  <a:gd name="T58" fmla="*/ 22 w 56"/>
                  <a:gd name="T59" fmla="*/ 16 h 28"/>
                  <a:gd name="T60" fmla="*/ 21 w 56"/>
                  <a:gd name="T61" fmla="*/ 18 h 28"/>
                  <a:gd name="T62" fmla="*/ 19 w 56"/>
                  <a:gd name="T63" fmla="*/ 19 h 28"/>
                  <a:gd name="T64" fmla="*/ 17 w 56"/>
                  <a:gd name="T65" fmla="*/ 19 h 28"/>
                  <a:gd name="T66" fmla="*/ 17 w 56"/>
                  <a:gd name="T67" fmla="*/ 19 h 28"/>
                  <a:gd name="T68" fmla="*/ 13 w 56"/>
                  <a:gd name="T69" fmla="*/ 19 h 28"/>
                  <a:gd name="T70" fmla="*/ 11 w 56"/>
                  <a:gd name="T71" fmla="*/ 18 h 28"/>
                  <a:gd name="T72" fmla="*/ 5 w 56"/>
                  <a:gd name="T73" fmla="*/ 18 h 28"/>
                  <a:gd name="T74" fmla="*/ 0 w 56"/>
                  <a:gd name="T75" fmla="*/ 19 h 28"/>
                  <a:gd name="T76" fmla="*/ 2 w 56"/>
                  <a:gd name="T77" fmla="*/ 23 h 28"/>
                  <a:gd name="T78" fmla="*/ 5 w 56"/>
                  <a:gd name="T79" fmla="*/ 23 h 28"/>
                  <a:gd name="T80" fmla="*/ 10 w 56"/>
                  <a:gd name="T81" fmla="*/ 26 h 28"/>
                  <a:gd name="T82" fmla="*/ 12 w 56"/>
                  <a:gd name="T83" fmla="*/ 26 h 28"/>
                  <a:gd name="T84" fmla="*/ 15 w 56"/>
                  <a:gd name="T85" fmla="*/ 26 h 28"/>
                  <a:gd name="T86" fmla="*/ 18 w 56"/>
                  <a:gd name="T87" fmla="*/ 28 h 28"/>
                  <a:gd name="T88" fmla="*/ 28 w 56"/>
                  <a:gd name="T89" fmla="*/ 28 h 28"/>
                  <a:gd name="T90" fmla="*/ 30 w 56"/>
                  <a:gd name="T91" fmla="*/ 27 h 28"/>
                  <a:gd name="T92" fmla="*/ 34 w 56"/>
                  <a:gd name="T93" fmla="*/ 27 h 28"/>
                  <a:gd name="T94" fmla="*/ 34 w 56"/>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28">
                    <a:moveTo>
                      <a:pt x="34" y="27"/>
                    </a:moveTo>
                    <a:lnTo>
                      <a:pt x="35" y="26"/>
                    </a:lnTo>
                    <a:lnTo>
                      <a:pt x="38" y="25"/>
                    </a:lnTo>
                    <a:lnTo>
                      <a:pt x="40" y="23"/>
                    </a:lnTo>
                    <a:lnTo>
                      <a:pt x="43" y="21"/>
                    </a:lnTo>
                    <a:lnTo>
                      <a:pt x="44" y="19"/>
                    </a:lnTo>
                    <a:lnTo>
                      <a:pt x="49" y="19"/>
                    </a:lnTo>
                    <a:lnTo>
                      <a:pt x="52" y="17"/>
                    </a:lnTo>
                    <a:lnTo>
                      <a:pt x="51" y="13"/>
                    </a:lnTo>
                    <a:lnTo>
                      <a:pt x="52" y="11"/>
                    </a:lnTo>
                    <a:lnTo>
                      <a:pt x="54" y="10"/>
                    </a:lnTo>
                    <a:lnTo>
                      <a:pt x="56" y="7"/>
                    </a:lnTo>
                    <a:lnTo>
                      <a:pt x="55" y="4"/>
                    </a:lnTo>
                    <a:lnTo>
                      <a:pt x="55" y="2"/>
                    </a:lnTo>
                    <a:lnTo>
                      <a:pt x="52" y="0"/>
                    </a:lnTo>
                    <a:lnTo>
                      <a:pt x="49" y="2"/>
                    </a:lnTo>
                    <a:lnTo>
                      <a:pt x="47" y="0"/>
                    </a:lnTo>
                    <a:lnTo>
                      <a:pt x="44" y="2"/>
                    </a:lnTo>
                    <a:lnTo>
                      <a:pt x="46" y="8"/>
                    </a:lnTo>
                    <a:lnTo>
                      <a:pt x="45" y="10"/>
                    </a:lnTo>
                    <a:lnTo>
                      <a:pt x="41" y="10"/>
                    </a:lnTo>
                    <a:lnTo>
                      <a:pt x="39" y="12"/>
                    </a:lnTo>
                    <a:lnTo>
                      <a:pt x="35" y="18"/>
                    </a:lnTo>
                    <a:lnTo>
                      <a:pt x="32" y="19"/>
                    </a:lnTo>
                    <a:lnTo>
                      <a:pt x="30" y="17"/>
                    </a:lnTo>
                    <a:lnTo>
                      <a:pt x="27" y="19"/>
                    </a:lnTo>
                    <a:lnTo>
                      <a:pt x="24" y="17"/>
                    </a:lnTo>
                    <a:lnTo>
                      <a:pt x="23" y="12"/>
                    </a:lnTo>
                    <a:lnTo>
                      <a:pt x="22" y="15"/>
                    </a:lnTo>
                    <a:lnTo>
                      <a:pt x="22" y="16"/>
                    </a:lnTo>
                    <a:lnTo>
                      <a:pt x="21" y="18"/>
                    </a:lnTo>
                    <a:lnTo>
                      <a:pt x="19" y="19"/>
                    </a:lnTo>
                    <a:lnTo>
                      <a:pt x="17" y="19"/>
                    </a:lnTo>
                    <a:lnTo>
                      <a:pt x="17" y="19"/>
                    </a:lnTo>
                    <a:lnTo>
                      <a:pt x="13" y="19"/>
                    </a:lnTo>
                    <a:lnTo>
                      <a:pt x="11" y="18"/>
                    </a:lnTo>
                    <a:lnTo>
                      <a:pt x="5" y="18"/>
                    </a:lnTo>
                    <a:lnTo>
                      <a:pt x="0" y="19"/>
                    </a:lnTo>
                    <a:lnTo>
                      <a:pt x="2" y="23"/>
                    </a:lnTo>
                    <a:lnTo>
                      <a:pt x="5" y="23"/>
                    </a:lnTo>
                    <a:lnTo>
                      <a:pt x="10" y="26"/>
                    </a:lnTo>
                    <a:lnTo>
                      <a:pt x="12" y="26"/>
                    </a:lnTo>
                    <a:lnTo>
                      <a:pt x="15" y="26"/>
                    </a:lnTo>
                    <a:lnTo>
                      <a:pt x="18" y="28"/>
                    </a:lnTo>
                    <a:lnTo>
                      <a:pt x="28" y="28"/>
                    </a:lnTo>
                    <a:lnTo>
                      <a:pt x="30" y="27"/>
                    </a:lnTo>
                    <a:lnTo>
                      <a:pt x="34"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7" name="Freeform 193">
                <a:extLst>
                  <a:ext uri="{FF2B5EF4-FFF2-40B4-BE49-F238E27FC236}">
                    <a16:creationId xmlns:a16="http://schemas.microsoft.com/office/drawing/2014/main" id="{563A6892-74EC-4EE3-AC92-6C1A94F6B3B0}"/>
                  </a:ext>
                </a:extLst>
              </p:cNvPr>
              <p:cNvSpPr>
                <a:spLocks/>
              </p:cNvSpPr>
              <p:nvPr/>
            </p:nvSpPr>
            <p:spPr bwMode="auto">
              <a:xfrm>
                <a:off x="5748" y="2843"/>
                <a:ext cx="33" cy="28"/>
              </a:xfrm>
              <a:custGeom>
                <a:avLst/>
                <a:gdLst>
                  <a:gd name="T0" fmla="*/ 28 w 33"/>
                  <a:gd name="T1" fmla="*/ 15 h 28"/>
                  <a:gd name="T2" fmla="*/ 25 w 33"/>
                  <a:gd name="T3" fmla="*/ 13 h 28"/>
                  <a:gd name="T4" fmla="*/ 20 w 33"/>
                  <a:gd name="T5" fmla="*/ 9 h 28"/>
                  <a:gd name="T6" fmla="*/ 17 w 33"/>
                  <a:gd name="T7" fmla="*/ 6 h 28"/>
                  <a:gd name="T8" fmla="*/ 14 w 33"/>
                  <a:gd name="T9" fmla="*/ 5 h 28"/>
                  <a:gd name="T10" fmla="*/ 12 w 33"/>
                  <a:gd name="T11" fmla="*/ 3 h 28"/>
                  <a:gd name="T12" fmla="*/ 4 w 33"/>
                  <a:gd name="T13" fmla="*/ 0 h 28"/>
                  <a:gd name="T14" fmla="*/ 0 w 33"/>
                  <a:gd name="T15" fmla="*/ 0 h 28"/>
                  <a:gd name="T16" fmla="*/ 4 w 33"/>
                  <a:gd name="T17" fmla="*/ 1 h 28"/>
                  <a:gd name="T18" fmla="*/ 6 w 33"/>
                  <a:gd name="T19" fmla="*/ 2 h 28"/>
                  <a:gd name="T20" fmla="*/ 17 w 33"/>
                  <a:gd name="T21" fmla="*/ 10 h 28"/>
                  <a:gd name="T22" fmla="*/ 20 w 33"/>
                  <a:gd name="T23" fmla="*/ 11 h 28"/>
                  <a:gd name="T24" fmla="*/ 22 w 33"/>
                  <a:gd name="T25" fmla="*/ 12 h 28"/>
                  <a:gd name="T26" fmla="*/ 26 w 33"/>
                  <a:gd name="T27" fmla="*/ 18 h 28"/>
                  <a:gd name="T28" fmla="*/ 28 w 33"/>
                  <a:gd name="T29" fmla="*/ 20 h 28"/>
                  <a:gd name="T30" fmla="*/ 28 w 33"/>
                  <a:gd name="T31" fmla="*/ 26 h 28"/>
                  <a:gd name="T32" fmla="*/ 30 w 33"/>
                  <a:gd name="T33" fmla="*/ 28 h 28"/>
                  <a:gd name="T34" fmla="*/ 32 w 33"/>
                  <a:gd name="T35" fmla="*/ 27 h 28"/>
                  <a:gd name="T36" fmla="*/ 33 w 33"/>
                  <a:gd name="T37" fmla="*/ 21 h 28"/>
                  <a:gd name="T38" fmla="*/ 31 w 33"/>
                  <a:gd name="T39" fmla="*/ 18 h 28"/>
                  <a:gd name="T40" fmla="*/ 29 w 33"/>
                  <a:gd name="T41" fmla="*/ 16 h 28"/>
                  <a:gd name="T42" fmla="*/ 28 w 33"/>
                  <a:gd name="T43" fmla="*/ 15 h 28"/>
                  <a:gd name="T44" fmla="*/ 28 w 33"/>
                  <a:gd name="T4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28">
                    <a:moveTo>
                      <a:pt x="28" y="15"/>
                    </a:moveTo>
                    <a:lnTo>
                      <a:pt x="25" y="13"/>
                    </a:lnTo>
                    <a:lnTo>
                      <a:pt x="20" y="9"/>
                    </a:lnTo>
                    <a:lnTo>
                      <a:pt x="17" y="6"/>
                    </a:lnTo>
                    <a:lnTo>
                      <a:pt x="14" y="5"/>
                    </a:lnTo>
                    <a:lnTo>
                      <a:pt x="12" y="3"/>
                    </a:lnTo>
                    <a:lnTo>
                      <a:pt x="4" y="0"/>
                    </a:lnTo>
                    <a:lnTo>
                      <a:pt x="0" y="0"/>
                    </a:lnTo>
                    <a:lnTo>
                      <a:pt x="4" y="1"/>
                    </a:lnTo>
                    <a:lnTo>
                      <a:pt x="6" y="2"/>
                    </a:lnTo>
                    <a:lnTo>
                      <a:pt x="17" y="10"/>
                    </a:lnTo>
                    <a:lnTo>
                      <a:pt x="20" y="11"/>
                    </a:lnTo>
                    <a:lnTo>
                      <a:pt x="22" y="12"/>
                    </a:lnTo>
                    <a:lnTo>
                      <a:pt x="26" y="18"/>
                    </a:lnTo>
                    <a:lnTo>
                      <a:pt x="28" y="20"/>
                    </a:lnTo>
                    <a:lnTo>
                      <a:pt x="28" y="26"/>
                    </a:lnTo>
                    <a:lnTo>
                      <a:pt x="30" y="28"/>
                    </a:lnTo>
                    <a:lnTo>
                      <a:pt x="32" y="27"/>
                    </a:lnTo>
                    <a:lnTo>
                      <a:pt x="33" y="21"/>
                    </a:lnTo>
                    <a:lnTo>
                      <a:pt x="31" y="18"/>
                    </a:lnTo>
                    <a:lnTo>
                      <a:pt x="29" y="16"/>
                    </a:lnTo>
                    <a:lnTo>
                      <a:pt x="28" y="15"/>
                    </a:lnTo>
                    <a:lnTo>
                      <a:pt x="2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8" name="Freeform 194">
                <a:extLst>
                  <a:ext uri="{FF2B5EF4-FFF2-40B4-BE49-F238E27FC236}">
                    <a16:creationId xmlns:a16="http://schemas.microsoft.com/office/drawing/2014/main" id="{156E1A91-DE47-45D6-8A78-F9FF469DD8D9}"/>
                  </a:ext>
                </a:extLst>
              </p:cNvPr>
              <p:cNvSpPr>
                <a:spLocks/>
              </p:cNvSpPr>
              <p:nvPr/>
            </p:nvSpPr>
            <p:spPr bwMode="auto">
              <a:xfrm>
                <a:off x="5753" y="3135"/>
                <a:ext cx="3" cy="2"/>
              </a:xfrm>
              <a:custGeom>
                <a:avLst/>
                <a:gdLst>
                  <a:gd name="T0" fmla="*/ 2 w 3"/>
                  <a:gd name="T1" fmla="*/ 2 h 2"/>
                  <a:gd name="T2" fmla="*/ 3 w 3"/>
                  <a:gd name="T3" fmla="*/ 1 h 2"/>
                  <a:gd name="T4" fmla="*/ 0 w 3"/>
                  <a:gd name="T5" fmla="*/ 0 h 2"/>
                  <a:gd name="T6" fmla="*/ 2 w 3"/>
                  <a:gd name="T7" fmla="*/ 2 h 2"/>
                  <a:gd name="T8" fmla="*/ 2 w 3"/>
                  <a:gd name="T9" fmla="*/ 2 h 2"/>
                </a:gdLst>
                <a:ahLst/>
                <a:cxnLst>
                  <a:cxn ang="0">
                    <a:pos x="T0" y="T1"/>
                  </a:cxn>
                  <a:cxn ang="0">
                    <a:pos x="T2" y="T3"/>
                  </a:cxn>
                  <a:cxn ang="0">
                    <a:pos x="T4" y="T5"/>
                  </a:cxn>
                  <a:cxn ang="0">
                    <a:pos x="T6" y="T7"/>
                  </a:cxn>
                  <a:cxn ang="0">
                    <a:pos x="T8" y="T9"/>
                  </a:cxn>
                </a:cxnLst>
                <a:rect l="0" t="0" r="r" b="b"/>
                <a:pathLst>
                  <a:path w="3" h="2">
                    <a:moveTo>
                      <a:pt x="2" y="2"/>
                    </a:moveTo>
                    <a:lnTo>
                      <a:pt x="3" y="1"/>
                    </a:lnTo>
                    <a:lnTo>
                      <a:pt x="0"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9" name="Freeform 195">
                <a:extLst>
                  <a:ext uri="{FF2B5EF4-FFF2-40B4-BE49-F238E27FC236}">
                    <a16:creationId xmlns:a16="http://schemas.microsoft.com/office/drawing/2014/main" id="{8E633E47-8754-45A8-AD07-8F55D531AEF0}"/>
                  </a:ext>
                </a:extLst>
              </p:cNvPr>
              <p:cNvSpPr>
                <a:spLocks/>
              </p:cNvSpPr>
              <p:nvPr/>
            </p:nvSpPr>
            <p:spPr bwMode="auto">
              <a:xfrm>
                <a:off x="5779" y="3153"/>
                <a:ext cx="6" cy="13"/>
              </a:xfrm>
              <a:custGeom>
                <a:avLst/>
                <a:gdLst>
                  <a:gd name="T0" fmla="*/ 2 w 6"/>
                  <a:gd name="T1" fmla="*/ 13 h 13"/>
                  <a:gd name="T2" fmla="*/ 2 w 6"/>
                  <a:gd name="T3" fmla="*/ 11 h 13"/>
                  <a:gd name="T4" fmla="*/ 6 w 6"/>
                  <a:gd name="T5" fmla="*/ 3 h 13"/>
                  <a:gd name="T6" fmla="*/ 5 w 6"/>
                  <a:gd name="T7" fmla="*/ 0 h 13"/>
                  <a:gd name="T8" fmla="*/ 3 w 6"/>
                  <a:gd name="T9" fmla="*/ 3 h 13"/>
                  <a:gd name="T10" fmla="*/ 1 w 6"/>
                  <a:gd name="T11" fmla="*/ 5 h 13"/>
                  <a:gd name="T12" fmla="*/ 1 w 6"/>
                  <a:gd name="T13" fmla="*/ 8 h 13"/>
                  <a:gd name="T14" fmla="*/ 0 w 6"/>
                  <a:gd name="T15" fmla="*/ 10 h 13"/>
                  <a:gd name="T16" fmla="*/ 1 w 6"/>
                  <a:gd name="T17" fmla="*/ 13 h 13"/>
                  <a:gd name="T18" fmla="*/ 2 w 6"/>
                  <a:gd name="T19" fmla="*/ 13 h 13"/>
                  <a:gd name="T20" fmla="*/ 2 w 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2" y="13"/>
                    </a:moveTo>
                    <a:lnTo>
                      <a:pt x="2" y="11"/>
                    </a:lnTo>
                    <a:lnTo>
                      <a:pt x="6" y="3"/>
                    </a:lnTo>
                    <a:lnTo>
                      <a:pt x="5" y="0"/>
                    </a:lnTo>
                    <a:lnTo>
                      <a:pt x="3" y="3"/>
                    </a:lnTo>
                    <a:lnTo>
                      <a:pt x="1" y="5"/>
                    </a:lnTo>
                    <a:lnTo>
                      <a:pt x="1" y="8"/>
                    </a:lnTo>
                    <a:lnTo>
                      <a:pt x="0" y="10"/>
                    </a:lnTo>
                    <a:lnTo>
                      <a:pt x="1" y="13"/>
                    </a:lnTo>
                    <a:lnTo>
                      <a:pt x="2" y="13"/>
                    </a:ln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0" name="Freeform 196">
                <a:extLst>
                  <a:ext uri="{FF2B5EF4-FFF2-40B4-BE49-F238E27FC236}">
                    <a16:creationId xmlns:a16="http://schemas.microsoft.com/office/drawing/2014/main" id="{ADD8995A-D31D-4A16-A098-3AB600912087}"/>
                  </a:ext>
                </a:extLst>
              </p:cNvPr>
              <p:cNvSpPr>
                <a:spLocks/>
              </p:cNvSpPr>
              <p:nvPr/>
            </p:nvSpPr>
            <p:spPr bwMode="auto">
              <a:xfrm>
                <a:off x="5786" y="3192"/>
                <a:ext cx="0" cy="3"/>
              </a:xfrm>
              <a:custGeom>
                <a:avLst/>
                <a:gdLst>
                  <a:gd name="T0" fmla="*/ 3 h 3"/>
                  <a:gd name="T1" fmla="*/ 3 h 3"/>
                  <a:gd name="T2" fmla="*/ 0 h 3"/>
                  <a:gd name="T3" fmla="*/ 3 h 3"/>
                  <a:gd name="T4" fmla="*/ 3 h 3"/>
                </a:gdLst>
                <a:ahLst/>
                <a:cxnLst>
                  <a:cxn ang="0">
                    <a:pos x="0" y="T0"/>
                  </a:cxn>
                  <a:cxn ang="0">
                    <a:pos x="0" y="T1"/>
                  </a:cxn>
                  <a:cxn ang="0">
                    <a:pos x="0" y="T2"/>
                  </a:cxn>
                  <a:cxn ang="0">
                    <a:pos x="0" y="T3"/>
                  </a:cxn>
                  <a:cxn ang="0">
                    <a:pos x="0" y="T4"/>
                  </a:cxn>
                </a:cxnLst>
                <a:rect l="0" t="0" r="r" b="b"/>
                <a:pathLst>
                  <a:path h="3">
                    <a:moveTo>
                      <a:pt x="0" y="3"/>
                    </a:moveTo>
                    <a:lnTo>
                      <a:pt x="0" y="3"/>
                    </a:lnTo>
                    <a:lnTo>
                      <a:pt x="0"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1" name="Freeform 197">
                <a:extLst>
                  <a:ext uri="{FF2B5EF4-FFF2-40B4-BE49-F238E27FC236}">
                    <a16:creationId xmlns:a16="http://schemas.microsoft.com/office/drawing/2014/main" id="{ED3661A8-8A6D-4AE5-A95C-CBD18C1B0A54}"/>
                  </a:ext>
                </a:extLst>
              </p:cNvPr>
              <p:cNvSpPr>
                <a:spLocks/>
              </p:cNvSpPr>
              <p:nvPr/>
            </p:nvSpPr>
            <p:spPr bwMode="auto">
              <a:xfrm>
                <a:off x="5583" y="2917"/>
                <a:ext cx="3" cy="4"/>
              </a:xfrm>
              <a:custGeom>
                <a:avLst/>
                <a:gdLst>
                  <a:gd name="T0" fmla="*/ 0 w 3"/>
                  <a:gd name="T1" fmla="*/ 1 h 4"/>
                  <a:gd name="T2" fmla="*/ 2 w 3"/>
                  <a:gd name="T3" fmla="*/ 0 h 4"/>
                  <a:gd name="T4" fmla="*/ 3 w 3"/>
                  <a:gd name="T5" fmla="*/ 4 h 4"/>
                  <a:gd name="T6" fmla="*/ 1 w 3"/>
                  <a:gd name="T7" fmla="*/ 4 h 4"/>
                  <a:gd name="T8" fmla="*/ 0 w 3"/>
                  <a:gd name="T9" fmla="*/ 1 h 4"/>
                  <a:gd name="T10" fmla="*/ 0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0" y="1"/>
                    </a:moveTo>
                    <a:lnTo>
                      <a:pt x="2" y="0"/>
                    </a:lnTo>
                    <a:lnTo>
                      <a:pt x="3" y="4"/>
                    </a:lnTo>
                    <a:lnTo>
                      <a:pt x="1"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2" name="Freeform 198">
                <a:extLst>
                  <a:ext uri="{FF2B5EF4-FFF2-40B4-BE49-F238E27FC236}">
                    <a16:creationId xmlns:a16="http://schemas.microsoft.com/office/drawing/2014/main" id="{C875B250-692B-4F6D-A8B9-275B0513513A}"/>
                  </a:ext>
                </a:extLst>
              </p:cNvPr>
              <p:cNvSpPr>
                <a:spLocks/>
              </p:cNvSpPr>
              <p:nvPr/>
            </p:nvSpPr>
            <p:spPr bwMode="auto">
              <a:xfrm>
                <a:off x="5625" y="1978"/>
                <a:ext cx="41" cy="151"/>
              </a:xfrm>
              <a:custGeom>
                <a:avLst/>
                <a:gdLst>
                  <a:gd name="T0" fmla="*/ 0 w 41"/>
                  <a:gd name="T1" fmla="*/ 36 h 151"/>
                  <a:gd name="T2" fmla="*/ 0 w 41"/>
                  <a:gd name="T3" fmla="*/ 45 h 151"/>
                  <a:gd name="T4" fmla="*/ 2 w 41"/>
                  <a:gd name="T5" fmla="*/ 50 h 151"/>
                  <a:gd name="T6" fmla="*/ 8 w 41"/>
                  <a:gd name="T7" fmla="*/ 58 h 151"/>
                  <a:gd name="T8" fmla="*/ 6 w 41"/>
                  <a:gd name="T9" fmla="*/ 64 h 151"/>
                  <a:gd name="T10" fmla="*/ 7 w 41"/>
                  <a:gd name="T11" fmla="*/ 77 h 151"/>
                  <a:gd name="T12" fmla="*/ 4 w 41"/>
                  <a:gd name="T13" fmla="*/ 97 h 151"/>
                  <a:gd name="T14" fmla="*/ 3 w 41"/>
                  <a:gd name="T15" fmla="*/ 106 h 151"/>
                  <a:gd name="T16" fmla="*/ 7 w 41"/>
                  <a:gd name="T17" fmla="*/ 114 h 151"/>
                  <a:gd name="T18" fmla="*/ 4 w 41"/>
                  <a:gd name="T19" fmla="*/ 122 h 151"/>
                  <a:gd name="T20" fmla="*/ 4 w 41"/>
                  <a:gd name="T21" fmla="*/ 127 h 151"/>
                  <a:gd name="T22" fmla="*/ 4 w 41"/>
                  <a:gd name="T23" fmla="*/ 132 h 151"/>
                  <a:gd name="T24" fmla="*/ 2 w 41"/>
                  <a:gd name="T25" fmla="*/ 141 h 151"/>
                  <a:gd name="T26" fmla="*/ 4 w 41"/>
                  <a:gd name="T27" fmla="*/ 151 h 151"/>
                  <a:gd name="T28" fmla="*/ 8 w 41"/>
                  <a:gd name="T29" fmla="*/ 145 h 151"/>
                  <a:gd name="T30" fmla="*/ 12 w 41"/>
                  <a:gd name="T31" fmla="*/ 137 h 151"/>
                  <a:gd name="T32" fmla="*/ 20 w 41"/>
                  <a:gd name="T33" fmla="*/ 140 h 151"/>
                  <a:gd name="T34" fmla="*/ 24 w 41"/>
                  <a:gd name="T35" fmla="*/ 148 h 151"/>
                  <a:gd name="T36" fmla="*/ 26 w 41"/>
                  <a:gd name="T37" fmla="*/ 142 h 151"/>
                  <a:gd name="T38" fmla="*/ 23 w 41"/>
                  <a:gd name="T39" fmla="*/ 136 h 151"/>
                  <a:gd name="T40" fmla="*/ 18 w 41"/>
                  <a:gd name="T41" fmla="*/ 128 h 151"/>
                  <a:gd name="T42" fmla="*/ 11 w 41"/>
                  <a:gd name="T43" fmla="*/ 119 h 151"/>
                  <a:gd name="T44" fmla="*/ 17 w 41"/>
                  <a:gd name="T45" fmla="*/ 100 h 151"/>
                  <a:gd name="T46" fmla="*/ 19 w 41"/>
                  <a:gd name="T47" fmla="*/ 93 h 151"/>
                  <a:gd name="T48" fmla="*/ 23 w 41"/>
                  <a:gd name="T49" fmla="*/ 92 h 151"/>
                  <a:gd name="T50" fmla="*/ 32 w 41"/>
                  <a:gd name="T51" fmla="*/ 92 h 151"/>
                  <a:gd name="T52" fmla="*/ 40 w 41"/>
                  <a:gd name="T53" fmla="*/ 99 h 151"/>
                  <a:gd name="T54" fmla="*/ 41 w 41"/>
                  <a:gd name="T55" fmla="*/ 99 h 151"/>
                  <a:gd name="T56" fmla="*/ 36 w 41"/>
                  <a:gd name="T57" fmla="*/ 94 h 151"/>
                  <a:gd name="T58" fmla="*/ 28 w 41"/>
                  <a:gd name="T59" fmla="*/ 74 h 151"/>
                  <a:gd name="T60" fmla="*/ 23 w 41"/>
                  <a:gd name="T61" fmla="*/ 56 h 151"/>
                  <a:gd name="T62" fmla="*/ 21 w 41"/>
                  <a:gd name="T63" fmla="*/ 47 h 151"/>
                  <a:gd name="T64" fmla="*/ 19 w 41"/>
                  <a:gd name="T65" fmla="*/ 41 h 151"/>
                  <a:gd name="T66" fmla="*/ 20 w 41"/>
                  <a:gd name="T67" fmla="*/ 36 h 151"/>
                  <a:gd name="T68" fmla="*/ 21 w 41"/>
                  <a:gd name="T69" fmla="*/ 36 h 151"/>
                  <a:gd name="T70" fmla="*/ 21 w 41"/>
                  <a:gd name="T71" fmla="*/ 28 h 151"/>
                  <a:gd name="T72" fmla="*/ 19 w 41"/>
                  <a:gd name="T73" fmla="*/ 19 h 151"/>
                  <a:gd name="T74" fmla="*/ 23 w 41"/>
                  <a:gd name="T75" fmla="*/ 28 h 151"/>
                  <a:gd name="T76" fmla="*/ 21 w 41"/>
                  <a:gd name="T77" fmla="*/ 20 h 151"/>
                  <a:gd name="T78" fmla="*/ 17 w 41"/>
                  <a:gd name="T79" fmla="*/ 8 h 151"/>
                  <a:gd name="T80" fmla="*/ 16 w 41"/>
                  <a:gd name="T81" fmla="*/ 0 h 151"/>
                  <a:gd name="T82" fmla="*/ 10 w 41"/>
                  <a:gd name="T83" fmla="*/ 2 h 151"/>
                  <a:gd name="T84" fmla="*/ 12 w 41"/>
                  <a:gd name="T85" fmla="*/ 6 h 151"/>
                  <a:gd name="T86" fmla="*/ 11 w 41"/>
                  <a:gd name="T87" fmla="*/ 14 h 151"/>
                  <a:gd name="T88" fmla="*/ 9 w 41"/>
                  <a:gd name="T89" fmla="*/ 19 h 151"/>
                  <a:gd name="T90" fmla="*/ 2 w 41"/>
                  <a:gd name="T91" fmla="*/ 17 h 151"/>
                  <a:gd name="T92" fmla="*/ 3 w 41"/>
                  <a:gd name="T93" fmla="*/ 25 h 151"/>
                  <a:gd name="T94" fmla="*/ 2 w 41"/>
                  <a:gd name="T95" fmla="*/ 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151">
                    <a:moveTo>
                      <a:pt x="2" y="33"/>
                    </a:moveTo>
                    <a:lnTo>
                      <a:pt x="0" y="36"/>
                    </a:lnTo>
                    <a:lnTo>
                      <a:pt x="0" y="39"/>
                    </a:lnTo>
                    <a:lnTo>
                      <a:pt x="0" y="45"/>
                    </a:lnTo>
                    <a:lnTo>
                      <a:pt x="2" y="48"/>
                    </a:lnTo>
                    <a:lnTo>
                      <a:pt x="2" y="50"/>
                    </a:lnTo>
                    <a:lnTo>
                      <a:pt x="4" y="53"/>
                    </a:lnTo>
                    <a:lnTo>
                      <a:pt x="8" y="58"/>
                    </a:lnTo>
                    <a:lnTo>
                      <a:pt x="8" y="60"/>
                    </a:lnTo>
                    <a:lnTo>
                      <a:pt x="6" y="64"/>
                    </a:lnTo>
                    <a:lnTo>
                      <a:pt x="4" y="68"/>
                    </a:lnTo>
                    <a:lnTo>
                      <a:pt x="7" y="77"/>
                    </a:lnTo>
                    <a:lnTo>
                      <a:pt x="6" y="88"/>
                    </a:lnTo>
                    <a:lnTo>
                      <a:pt x="4" y="97"/>
                    </a:lnTo>
                    <a:lnTo>
                      <a:pt x="2" y="102"/>
                    </a:lnTo>
                    <a:lnTo>
                      <a:pt x="3" y="106"/>
                    </a:lnTo>
                    <a:lnTo>
                      <a:pt x="6" y="108"/>
                    </a:lnTo>
                    <a:lnTo>
                      <a:pt x="7" y="114"/>
                    </a:lnTo>
                    <a:lnTo>
                      <a:pt x="7" y="116"/>
                    </a:lnTo>
                    <a:lnTo>
                      <a:pt x="4" y="122"/>
                    </a:lnTo>
                    <a:lnTo>
                      <a:pt x="3" y="124"/>
                    </a:lnTo>
                    <a:lnTo>
                      <a:pt x="4" y="127"/>
                    </a:lnTo>
                    <a:lnTo>
                      <a:pt x="4" y="130"/>
                    </a:lnTo>
                    <a:lnTo>
                      <a:pt x="4" y="132"/>
                    </a:lnTo>
                    <a:lnTo>
                      <a:pt x="2" y="137"/>
                    </a:lnTo>
                    <a:lnTo>
                      <a:pt x="2" y="141"/>
                    </a:lnTo>
                    <a:lnTo>
                      <a:pt x="3" y="149"/>
                    </a:lnTo>
                    <a:lnTo>
                      <a:pt x="4" y="151"/>
                    </a:lnTo>
                    <a:lnTo>
                      <a:pt x="7" y="148"/>
                    </a:lnTo>
                    <a:lnTo>
                      <a:pt x="8" y="145"/>
                    </a:lnTo>
                    <a:lnTo>
                      <a:pt x="10" y="140"/>
                    </a:lnTo>
                    <a:lnTo>
                      <a:pt x="12" y="137"/>
                    </a:lnTo>
                    <a:lnTo>
                      <a:pt x="16" y="139"/>
                    </a:lnTo>
                    <a:lnTo>
                      <a:pt x="20" y="140"/>
                    </a:lnTo>
                    <a:lnTo>
                      <a:pt x="23" y="142"/>
                    </a:lnTo>
                    <a:lnTo>
                      <a:pt x="24" y="148"/>
                    </a:lnTo>
                    <a:lnTo>
                      <a:pt x="25" y="145"/>
                    </a:lnTo>
                    <a:lnTo>
                      <a:pt x="26" y="142"/>
                    </a:lnTo>
                    <a:lnTo>
                      <a:pt x="25" y="136"/>
                    </a:lnTo>
                    <a:lnTo>
                      <a:pt x="23" y="136"/>
                    </a:lnTo>
                    <a:lnTo>
                      <a:pt x="19" y="136"/>
                    </a:lnTo>
                    <a:lnTo>
                      <a:pt x="18" y="128"/>
                    </a:lnTo>
                    <a:lnTo>
                      <a:pt x="12" y="123"/>
                    </a:lnTo>
                    <a:lnTo>
                      <a:pt x="11" y="119"/>
                    </a:lnTo>
                    <a:lnTo>
                      <a:pt x="12" y="114"/>
                    </a:lnTo>
                    <a:lnTo>
                      <a:pt x="17" y="100"/>
                    </a:lnTo>
                    <a:lnTo>
                      <a:pt x="18" y="94"/>
                    </a:lnTo>
                    <a:lnTo>
                      <a:pt x="19" y="93"/>
                    </a:lnTo>
                    <a:lnTo>
                      <a:pt x="26" y="91"/>
                    </a:lnTo>
                    <a:lnTo>
                      <a:pt x="23" y="92"/>
                    </a:lnTo>
                    <a:lnTo>
                      <a:pt x="26" y="91"/>
                    </a:lnTo>
                    <a:lnTo>
                      <a:pt x="32" y="92"/>
                    </a:lnTo>
                    <a:lnTo>
                      <a:pt x="34" y="94"/>
                    </a:lnTo>
                    <a:lnTo>
                      <a:pt x="40" y="99"/>
                    </a:lnTo>
                    <a:lnTo>
                      <a:pt x="41" y="102"/>
                    </a:lnTo>
                    <a:lnTo>
                      <a:pt x="41" y="99"/>
                    </a:lnTo>
                    <a:lnTo>
                      <a:pt x="38" y="98"/>
                    </a:lnTo>
                    <a:lnTo>
                      <a:pt x="36" y="94"/>
                    </a:lnTo>
                    <a:lnTo>
                      <a:pt x="32" y="80"/>
                    </a:lnTo>
                    <a:lnTo>
                      <a:pt x="28" y="74"/>
                    </a:lnTo>
                    <a:lnTo>
                      <a:pt x="26" y="58"/>
                    </a:lnTo>
                    <a:lnTo>
                      <a:pt x="23" y="56"/>
                    </a:lnTo>
                    <a:lnTo>
                      <a:pt x="24" y="53"/>
                    </a:lnTo>
                    <a:lnTo>
                      <a:pt x="21" y="47"/>
                    </a:lnTo>
                    <a:lnTo>
                      <a:pt x="20" y="46"/>
                    </a:lnTo>
                    <a:lnTo>
                      <a:pt x="19" y="41"/>
                    </a:lnTo>
                    <a:lnTo>
                      <a:pt x="20" y="38"/>
                    </a:lnTo>
                    <a:lnTo>
                      <a:pt x="20" y="36"/>
                    </a:lnTo>
                    <a:lnTo>
                      <a:pt x="21" y="32"/>
                    </a:lnTo>
                    <a:lnTo>
                      <a:pt x="21" y="36"/>
                    </a:lnTo>
                    <a:lnTo>
                      <a:pt x="23" y="30"/>
                    </a:lnTo>
                    <a:lnTo>
                      <a:pt x="21" y="28"/>
                    </a:lnTo>
                    <a:lnTo>
                      <a:pt x="19" y="24"/>
                    </a:lnTo>
                    <a:lnTo>
                      <a:pt x="19" y="19"/>
                    </a:lnTo>
                    <a:lnTo>
                      <a:pt x="21" y="22"/>
                    </a:lnTo>
                    <a:lnTo>
                      <a:pt x="23" y="28"/>
                    </a:lnTo>
                    <a:lnTo>
                      <a:pt x="21" y="22"/>
                    </a:lnTo>
                    <a:lnTo>
                      <a:pt x="21" y="20"/>
                    </a:lnTo>
                    <a:lnTo>
                      <a:pt x="18" y="14"/>
                    </a:lnTo>
                    <a:lnTo>
                      <a:pt x="17" y="8"/>
                    </a:lnTo>
                    <a:lnTo>
                      <a:pt x="17" y="3"/>
                    </a:lnTo>
                    <a:lnTo>
                      <a:pt x="16" y="0"/>
                    </a:lnTo>
                    <a:lnTo>
                      <a:pt x="12" y="0"/>
                    </a:lnTo>
                    <a:lnTo>
                      <a:pt x="10" y="2"/>
                    </a:lnTo>
                    <a:lnTo>
                      <a:pt x="11" y="4"/>
                    </a:lnTo>
                    <a:lnTo>
                      <a:pt x="12" y="6"/>
                    </a:lnTo>
                    <a:lnTo>
                      <a:pt x="14" y="10"/>
                    </a:lnTo>
                    <a:lnTo>
                      <a:pt x="11" y="14"/>
                    </a:lnTo>
                    <a:lnTo>
                      <a:pt x="11" y="17"/>
                    </a:lnTo>
                    <a:lnTo>
                      <a:pt x="9" y="19"/>
                    </a:lnTo>
                    <a:lnTo>
                      <a:pt x="8" y="15"/>
                    </a:lnTo>
                    <a:lnTo>
                      <a:pt x="2" y="17"/>
                    </a:lnTo>
                    <a:lnTo>
                      <a:pt x="2" y="22"/>
                    </a:lnTo>
                    <a:lnTo>
                      <a:pt x="3" y="25"/>
                    </a:lnTo>
                    <a:lnTo>
                      <a:pt x="2" y="28"/>
                    </a:lnTo>
                    <a:lnTo>
                      <a:pt x="2" y="33"/>
                    </a:lnTo>
                    <a:lnTo>
                      <a:pt x="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3" name="Freeform 199">
                <a:extLst>
                  <a:ext uri="{FF2B5EF4-FFF2-40B4-BE49-F238E27FC236}">
                    <a16:creationId xmlns:a16="http://schemas.microsoft.com/office/drawing/2014/main" id="{BD78BE68-2796-4291-B022-AA8D543173C9}"/>
                  </a:ext>
                </a:extLst>
              </p:cNvPr>
              <p:cNvSpPr>
                <a:spLocks/>
              </p:cNvSpPr>
              <p:nvPr/>
            </p:nvSpPr>
            <p:spPr bwMode="auto">
              <a:xfrm>
                <a:off x="5982" y="1643"/>
                <a:ext cx="22" cy="12"/>
              </a:xfrm>
              <a:custGeom>
                <a:avLst/>
                <a:gdLst>
                  <a:gd name="T0" fmla="*/ 9 w 22"/>
                  <a:gd name="T1" fmla="*/ 0 h 12"/>
                  <a:gd name="T2" fmla="*/ 7 w 22"/>
                  <a:gd name="T3" fmla="*/ 0 h 12"/>
                  <a:gd name="T4" fmla="*/ 5 w 22"/>
                  <a:gd name="T5" fmla="*/ 0 h 12"/>
                  <a:gd name="T6" fmla="*/ 2 w 22"/>
                  <a:gd name="T7" fmla="*/ 3 h 12"/>
                  <a:gd name="T8" fmla="*/ 0 w 22"/>
                  <a:gd name="T9" fmla="*/ 5 h 12"/>
                  <a:gd name="T10" fmla="*/ 5 w 22"/>
                  <a:gd name="T11" fmla="*/ 8 h 12"/>
                  <a:gd name="T12" fmla="*/ 8 w 22"/>
                  <a:gd name="T13" fmla="*/ 9 h 12"/>
                  <a:gd name="T14" fmla="*/ 13 w 22"/>
                  <a:gd name="T15" fmla="*/ 10 h 12"/>
                  <a:gd name="T16" fmla="*/ 19 w 22"/>
                  <a:gd name="T17" fmla="*/ 12 h 12"/>
                  <a:gd name="T18" fmla="*/ 22 w 22"/>
                  <a:gd name="T19" fmla="*/ 6 h 12"/>
                  <a:gd name="T20" fmla="*/ 20 w 22"/>
                  <a:gd name="T21" fmla="*/ 3 h 12"/>
                  <a:gd name="T22" fmla="*/ 17 w 22"/>
                  <a:gd name="T23" fmla="*/ 3 h 12"/>
                  <a:gd name="T24" fmla="*/ 9 w 22"/>
                  <a:gd name="T25" fmla="*/ 0 h 12"/>
                  <a:gd name="T26" fmla="*/ 9 w 22"/>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2">
                    <a:moveTo>
                      <a:pt x="9" y="0"/>
                    </a:moveTo>
                    <a:lnTo>
                      <a:pt x="7" y="0"/>
                    </a:lnTo>
                    <a:lnTo>
                      <a:pt x="5" y="0"/>
                    </a:lnTo>
                    <a:lnTo>
                      <a:pt x="2" y="3"/>
                    </a:lnTo>
                    <a:lnTo>
                      <a:pt x="0" y="5"/>
                    </a:lnTo>
                    <a:lnTo>
                      <a:pt x="5" y="8"/>
                    </a:lnTo>
                    <a:lnTo>
                      <a:pt x="8" y="9"/>
                    </a:lnTo>
                    <a:lnTo>
                      <a:pt x="13" y="10"/>
                    </a:lnTo>
                    <a:lnTo>
                      <a:pt x="19" y="12"/>
                    </a:lnTo>
                    <a:lnTo>
                      <a:pt x="22" y="6"/>
                    </a:lnTo>
                    <a:lnTo>
                      <a:pt x="20" y="3"/>
                    </a:lnTo>
                    <a:lnTo>
                      <a:pt x="17" y="3"/>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4" name="Freeform 200">
                <a:extLst>
                  <a:ext uri="{FF2B5EF4-FFF2-40B4-BE49-F238E27FC236}">
                    <a16:creationId xmlns:a16="http://schemas.microsoft.com/office/drawing/2014/main" id="{B8C6FD65-65B1-4FDF-9A99-8DE7B88B60EB}"/>
                  </a:ext>
                </a:extLst>
              </p:cNvPr>
              <p:cNvSpPr>
                <a:spLocks/>
              </p:cNvSpPr>
              <p:nvPr/>
            </p:nvSpPr>
            <p:spPr bwMode="auto">
              <a:xfrm>
                <a:off x="6130" y="1604"/>
                <a:ext cx="53" cy="19"/>
              </a:xfrm>
              <a:custGeom>
                <a:avLst/>
                <a:gdLst>
                  <a:gd name="T0" fmla="*/ 19 w 53"/>
                  <a:gd name="T1" fmla="*/ 15 h 19"/>
                  <a:gd name="T2" fmla="*/ 24 w 53"/>
                  <a:gd name="T3" fmla="*/ 15 h 19"/>
                  <a:gd name="T4" fmla="*/ 26 w 53"/>
                  <a:gd name="T5" fmla="*/ 18 h 19"/>
                  <a:gd name="T6" fmla="*/ 30 w 53"/>
                  <a:gd name="T7" fmla="*/ 17 h 19"/>
                  <a:gd name="T8" fmla="*/ 39 w 53"/>
                  <a:gd name="T9" fmla="*/ 15 h 19"/>
                  <a:gd name="T10" fmla="*/ 42 w 53"/>
                  <a:gd name="T11" fmla="*/ 14 h 19"/>
                  <a:gd name="T12" fmla="*/ 48 w 53"/>
                  <a:gd name="T13" fmla="*/ 13 h 19"/>
                  <a:gd name="T14" fmla="*/ 51 w 53"/>
                  <a:gd name="T15" fmla="*/ 13 h 19"/>
                  <a:gd name="T16" fmla="*/ 53 w 53"/>
                  <a:gd name="T17" fmla="*/ 11 h 19"/>
                  <a:gd name="T18" fmla="*/ 53 w 53"/>
                  <a:gd name="T19" fmla="*/ 8 h 19"/>
                  <a:gd name="T20" fmla="*/ 51 w 53"/>
                  <a:gd name="T21" fmla="*/ 6 h 19"/>
                  <a:gd name="T22" fmla="*/ 45 w 53"/>
                  <a:gd name="T23" fmla="*/ 3 h 19"/>
                  <a:gd name="T24" fmla="*/ 42 w 53"/>
                  <a:gd name="T25" fmla="*/ 1 h 19"/>
                  <a:gd name="T26" fmla="*/ 34 w 53"/>
                  <a:gd name="T27" fmla="*/ 0 h 19"/>
                  <a:gd name="T28" fmla="*/ 27 w 53"/>
                  <a:gd name="T29" fmla="*/ 1 h 19"/>
                  <a:gd name="T30" fmla="*/ 23 w 53"/>
                  <a:gd name="T31" fmla="*/ 1 h 19"/>
                  <a:gd name="T32" fmla="*/ 14 w 53"/>
                  <a:gd name="T33" fmla="*/ 3 h 19"/>
                  <a:gd name="T34" fmla="*/ 9 w 53"/>
                  <a:gd name="T35" fmla="*/ 8 h 19"/>
                  <a:gd name="T36" fmla="*/ 6 w 53"/>
                  <a:gd name="T37" fmla="*/ 9 h 19"/>
                  <a:gd name="T38" fmla="*/ 0 w 53"/>
                  <a:gd name="T39" fmla="*/ 13 h 19"/>
                  <a:gd name="T40" fmla="*/ 4 w 53"/>
                  <a:gd name="T41" fmla="*/ 19 h 19"/>
                  <a:gd name="T42" fmla="*/ 8 w 53"/>
                  <a:gd name="T43" fmla="*/ 18 h 19"/>
                  <a:gd name="T44" fmla="*/ 14 w 53"/>
                  <a:gd name="T45" fmla="*/ 18 h 19"/>
                  <a:gd name="T46" fmla="*/ 19 w 53"/>
                  <a:gd name="T47" fmla="*/ 15 h 19"/>
                  <a:gd name="T48" fmla="*/ 19 w 53"/>
                  <a:gd name="T4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19">
                    <a:moveTo>
                      <a:pt x="19" y="15"/>
                    </a:moveTo>
                    <a:lnTo>
                      <a:pt x="24" y="15"/>
                    </a:lnTo>
                    <a:lnTo>
                      <a:pt x="26" y="18"/>
                    </a:lnTo>
                    <a:lnTo>
                      <a:pt x="30" y="17"/>
                    </a:lnTo>
                    <a:lnTo>
                      <a:pt x="39" y="15"/>
                    </a:lnTo>
                    <a:lnTo>
                      <a:pt x="42" y="14"/>
                    </a:lnTo>
                    <a:lnTo>
                      <a:pt x="48" y="13"/>
                    </a:lnTo>
                    <a:lnTo>
                      <a:pt x="51" y="13"/>
                    </a:lnTo>
                    <a:lnTo>
                      <a:pt x="53" y="11"/>
                    </a:lnTo>
                    <a:lnTo>
                      <a:pt x="53" y="8"/>
                    </a:lnTo>
                    <a:lnTo>
                      <a:pt x="51" y="6"/>
                    </a:lnTo>
                    <a:lnTo>
                      <a:pt x="45" y="3"/>
                    </a:lnTo>
                    <a:lnTo>
                      <a:pt x="42" y="1"/>
                    </a:lnTo>
                    <a:lnTo>
                      <a:pt x="34" y="0"/>
                    </a:lnTo>
                    <a:lnTo>
                      <a:pt x="27" y="1"/>
                    </a:lnTo>
                    <a:lnTo>
                      <a:pt x="23" y="1"/>
                    </a:lnTo>
                    <a:lnTo>
                      <a:pt x="14" y="3"/>
                    </a:lnTo>
                    <a:lnTo>
                      <a:pt x="9" y="8"/>
                    </a:lnTo>
                    <a:lnTo>
                      <a:pt x="6" y="9"/>
                    </a:lnTo>
                    <a:lnTo>
                      <a:pt x="0" y="13"/>
                    </a:lnTo>
                    <a:lnTo>
                      <a:pt x="4" y="19"/>
                    </a:lnTo>
                    <a:lnTo>
                      <a:pt x="8" y="18"/>
                    </a:lnTo>
                    <a:lnTo>
                      <a:pt x="14" y="18"/>
                    </a:lnTo>
                    <a:lnTo>
                      <a:pt x="19" y="15"/>
                    </a:lnTo>
                    <a:lnTo>
                      <a:pt x="1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5" name="Freeform 201">
                <a:extLst>
                  <a:ext uri="{FF2B5EF4-FFF2-40B4-BE49-F238E27FC236}">
                    <a16:creationId xmlns:a16="http://schemas.microsoft.com/office/drawing/2014/main" id="{266E7798-5CDE-493F-A740-699A1D4A5626}"/>
                  </a:ext>
                </a:extLst>
              </p:cNvPr>
              <p:cNvSpPr>
                <a:spLocks/>
              </p:cNvSpPr>
              <p:nvPr/>
            </p:nvSpPr>
            <p:spPr bwMode="auto">
              <a:xfrm>
                <a:off x="5965" y="3392"/>
                <a:ext cx="106" cy="103"/>
              </a:xfrm>
              <a:custGeom>
                <a:avLst/>
                <a:gdLst>
                  <a:gd name="T0" fmla="*/ 18 w 106"/>
                  <a:gd name="T1" fmla="*/ 68 h 103"/>
                  <a:gd name="T2" fmla="*/ 12 w 106"/>
                  <a:gd name="T3" fmla="*/ 74 h 103"/>
                  <a:gd name="T4" fmla="*/ 8 w 106"/>
                  <a:gd name="T5" fmla="*/ 77 h 103"/>
                  <a:gd name="T6" fmla="*/ 9 w 106"/>
                  <a:gd name="T7" fmla="*/ 82 h 103"/>
                  <a:gd name="T8" fmla="*/ 3 w 106"/>
                  <a:gd name="T9" fmla="*/ 82 h 103"/>
                  <a:gd name="T10" fmla="*/ 3 w 106"/>
                  <a:gd name="T11" fmla="*/ 85 h 103"/>
                  <a:gd name="T12" fmla="*/ 3 w 106"/>
                  <a:gd name="T13" fmla="*/ 87 h 103"/>
                  <a:gd name="T14" fmla="*/ 1 w 106"/>
                  <a:gd name="T15" fmla="*/ 88 h 103"/>
                  <a:gd name="T16" fmla="*/ 0 w 106"/>
                  <a:gd name="T17" fmla="*/ 91 h 103"/>
                  <a:gd name="T18" fmla="*/ 1 w 106"/>
                  <a:gd name="T19" fmla="*/ 93 h 103"/>
                  <a:gd name="T20" fmla="*/ 2 w 106"/>
                  <a:gd name="T21" fmla="*/ 95 h 103"/>
                  <a:gd name="T22" fmla="*/ 12 w 106"/>
                  <a:gd name="T23" fmla="*/ 95 h 103"/>
                  <a:gd name="T24" fmla="*/ 17 w 106"/>
                  <a:gd name="T25" fmla="*/ 98 h 103"/>
                  <a:gd name="T26" fmla="*/ 25 w 106"/>
                  <a:gd name="T27" fmla="*/ 99 h 103"/>
                  <a:gd name="T28" fmla="*/ 28 w 106"/>
                  <a:gd name="T29" fmla="*/ 102 h 103"/>
                  <a:gd name="T30" fmla="*/ 33 w 106"/>
                  <a:gd name="T31" fmla="*/ 103 h 103"/>
                  <a:gd name="T32" fmla="*/ 43 w 106"/>
                  <a:gd name="T33" fmla="*/ 101 h 103"/>
                  <a:gd name="T34" fmla="*/ 47 w 106"/>
                  <a:gd name="T35" fmla="*/ 96 h 103"/>
                  <a:gd name="T36" fmla="*/ 55 w 106"/>
                  <a:gd name="T37" fmla="*/ 90 h 103"/>
                  <a:gd name="T38" fmla="*/ 59 w 106"/>
                  <a:gd name="T39" fmla="*/ 82 h 103"/>
                  <a:gd name="T40" fmla="*/ 63 w 106"/>
                  <a:gd name="T41" fmla="*/ 73 h 103"/>
                  <a:gd name="T42" fmla="*/ 63 w 106"/>
                  <a:gd name="T43" fmla="*/ 68 h 103"/>
                  <a:gd name="T44" fmla="*/ 70 w 106"/>
                  <a:gd name="T45" fmla="*/ 60 h 103"/>
                  <a:gd name="T46" fmla="*/ 90 w 106"/>
                  <a:gd name="T47" fmla="*/ 54 h 103"/>
                  <a:gd name="T48" fmla="*/ 86 w 106"/>
                  <a:gd name="T49" fmla="*/ 51 h 103"/>
                  <a:gd name="T50" fmla="*/ 85 w 106"/>
                  <a:gd name="T51" fmla="*/ 46 h 103"/>
                  <a:gd name="T52" fmla="*/ 89 w 106"/>
                  <a:gd name="T53" fmla="*/ 42 h 103"/>
                  <a:gd name="T54" fmla="*/ 96 w 106"/>
                  <a:gd name="T55" fmla="*/ 33 h 103"/>
                  <a:gd name="T56" fmla="*/ 102 w 106"/>
                  <a:gd name="T57" fmla="*/ 27 h 103"/>
                  <a:gd name="T58" fmla="*/ 106 w 106"/>
                  <a:gd name="T59" fmla="*/ 21 h 103"/>
                  <a:gd name="T60" fmla="*/ 103 w 106"/>
                  <a:gd name="T61" fmla="*/ 16 h 103"/>
                  <a:gd name="T62" fmla="*/ 103 w 106"/>
                  <a:gd name="T63" fmla="*/ 13 h 103"/>
                  <a:gd name="T64" fmla="*/ 105 w 106"/>
                  <a:gd name="T65" fmla="*/ 11 h 103"/>
                  <a:gd name="T66" fmla="*/ 103 w 106"/>
                  <a:gd name="T67" fmla="*/ 9 h 103"/>
                  <a:gd name="T68" fmla="*/ 99 w 106"/>
                  <a:gd name="T69" fmla="*/ 12 h 103"/>
                  <a:gd name="T70" fmla="*/ 99 w 106"/>
                  <a:gd name="T71" fmla="*/ 9 h 103"/>
                  <a:gd name="T72" fmla="*/ 97 w 106"/>
                  <a:gd name="T73" fmla="*/ 9 h 103"/>
                  <a:gd name="T74" fmla="*/ 90 w 106"/>
                  <a:gd name="T75" fmla="*/ 12 h 103"/>
                  <a:gd name="T76" fmla="*/ 89 w 106"/>
                  <a:gd name="T77" fmla="*/ 8 h 103"/>
                  <a:gd name="T78" fmla="*/ 86 w 106"/>
                  <a:gd name="T79" fmla="*/ 5 h 103"/>
                  <a:gd name="T80" fmla="*/ 86 w 106"/>
                  <a:gd name="T81" fmla="*/ 0 h 103"/>
                  <a:gd name="T82" fmla="*/ 81 w 106"/>
                  <a:gd name="T83" fmla="*/ 2 h 103"/>
                  <a:gd name="T84" fmla="*/ 77 w 106"/>
                  <a:gd name="T85" fmla="*/ 7 h 103"/>
                  <a:gd name="T86" fmla="*/ 75 w 106"/>
                  <a:gd name="T87" fmla="*/ 17 h 103"/>
                  <a:gd name="T88" fmla="*/ 68 w 106"/>
                  <a:gd name="T89" fmla="*/ 21 h 103"/>
                  <a:gd name="T90" fmla="*/ 64 w 106"/>
                  <a:gd name="T91" fmla="*/ 33 h 103"/>
                  <a:gd name="T92" fmla="*/ 61 w 106"/>
                  <a:gd name="T93" fmla="*/ 36 h 103"/>
                  <a:gd name="T94" fmla="*/ 56 w 106"/>
                  <a:gd name="T95" fmla="*/ 41 h 103"/>
                  <a:gd name="T96" fmla="*/ 51 w 106"/>
                  <a:gd name="T97" fmla="*/ 45 h 103"/>
                  <a:gd name="T98" fmla="*/ 43 w 106"/>
                  <a:gd name="T99" fmla="*/ 51 h 103"/>
                  <a:gd name="T100" fmla="*/ 31 w 106"/>
                  <a:gd name="T101" fmla="*/ 56 h 103"/>
                  <a:gd name="T102" fmla="*/ 24 w 106"/>
                  <a:gd name="T103" fmla="*/ 61 h 103"/>
                  <a:gd name="T104" fmla="*/ 19 w 106"/>
                  <a:gd name="T105" fmla="*/ 6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103">
                    <a:moveTo>
                      <a:pt x="19" y="65"/>
                    </a:moveTo>
                    <a:lnTo>
                      <a:pt x="18" y="68"/>
                    </a:lnTo>
                    <a:lnTo>
                      <a:pt x="16" y="69"/>
                    </a:lnTo>
                    <a:lnTo>
                      <a:pt x="12" y="74"/>
                    </a:lnTo>
                    <a:lnTo>
                      <a:pt x="9" y="73"/>
                    </a:lnTo>
                    <a:lnTo>
                      <a:pt x="8" y="77"/>
                    </a:lnTo>
                    <a:lnTo>
                      <a:pt x="7" y="79"/>
                    </a:lnTo>
                    <a:lnTo>
                      <a:pt x="9" y="82"/>
                    </a:lnTo>
                    <a:lnTo>
                      <a:pt x="5" y="80"/>
                    </a:lnTo>
                    <a:lnTo>
                      <a:pt x="3" y="82"/>
                    </a:lnTo>
                    <a:lnTo>
                      <a:pt x="5" y="84"/>
                    </a:lnTo>
                    <a:lnTo>
                      <a:pt x="3" y="85"/>
                    </a:lnTo>
                    <a:lnTo>
                      <a:pt x="5" y="85"/>
                    </a:lnTo>
                    <a:lnTo>
                      <a:pt x="3" y="87"/>
                    </a:lnTo>
                    <a:lnTo>
                      <a:pt x="5" y="87"/>
                    </a:lnTo>
                    <a:lnTo>
                      <a:pt x="1" y="88"/>
                    </a:lnTo>
                    <a:lnTo>
                      <a:pt x="0" y="91"/>
                    </a:lnTo>
                    <a:lnTo>
                      <a:pt x="0" y="91"/>
                    </a:lnTo>
                    <a:lnTo>
                      <a:pt x="2" y="90"/>
                    </a:lnTo>
                    <a:lnTo>
                      <a:pt x="1" y="93"/>
                    </a:lnTo>
                    <a:lnTo>
                      <a:pt x="3" y="93"/>
                    </a:lnTo>
                    <a:lnTo>
                      <a:pt x="2" y="95"/>
                    </a:lnTo>
                    <a:lnTo>
                      <a:pt x="10" y="96"/>
                    </a:lnTo>
                    <a:lnTo>
                      <a:pt x="12" y="95"/>
                    </a:lnTo>
                    <a:lnTo>
                      <a:pt x="16" y="95"/>
                    </a:lnTo>
                    <a:lnTo>
                      <a:pt x="17" y="98"/>
                    </a:lnTo>
                    <a:lnTo>
                      <a:pt x="21" y="97"/>
                    </a:lnTo>
                    <a:lnTo>
                      <a:pt x="25" y="99"/>
                    </a:lnTo>
                    <a:lnTo>
                      <a:pt x="25" y="102"/>
                    </a:lnTo>
                    <a:lnTo>
                      <a:pt x="28" y="102"/>
                    </a:lnTo>
                    <a:lnTo>
                      <a:pt x="30" y="102"/>
                    </a:lnTo>
                    <a:lnTo>
                      <a:pt x="33" y="103"/>
                    </a:lnTo>
                    <a:lnTo>
                      <a:pt x="38" y="103"/>
                    </a:lnTo>
                    <a:lnTo>
                      <a:pt x="43" y="101"/>
                    </a:lnTo>
                    <a:lnTo>
                      <a:pt x="45" y="98"/>
                    </a:lnTo>
                    <a:lnTo>
                      <a:pt x="47" y="96"/>
                    </a:lnTo>
                    <a:lnTo>
                      <a:pt x="52" y="90"/>
                    </a:lnTo>
                    <a:lnTo>
                      <a:pt x="55" y="90"/>
                    </a:lnTo>
                    <a:lnTo>
                      <a:pt x="56" y="87"/>
                    </a:lnTo>
                    <a:lnTo>
                      <a:pt x="59" y="82"/>
                    </a:lnTo>
                    <a:lnTo>
                      <a:pt x="60" y="79"/>
                    </a:lnTo>
                    <a:lnTo>
                      <a:pt x="63" y="73"/>
                    </a:lnTo>
                    <a:lnTo>
                      <a:pt x="64" y="71"/>
                    </a:lnTo>
                    <a:lnTo>
                      <a:pt x="63" y="68"/>
                    </a:lnTo>
                    <a:lnTo>
                      <a:pt x="65" y="63"/>
                    </a:lnTo>
                    <a:lnTo>
                      <a:pt x="70" y="60"/>
                    </a:lnTo>
                    <a:lnTo>
                      <a:pt x="80" y="55"/>
                    </a:lnTo>
                    <a:lnTo>
                      <a:pt x="90" y="54"/>
                    </a:lnTo>
                    <a:lnTo>
                      <a:pt x="88" y="52"/>
                    </a:lnTo>
                    <a:lnTo>
                      <a:pt x="86" y="51"/>
                    </a:lnTo>
                    <a:lnTo>
                      <a:pt x="85" y="47"/>
                    </a:lnTo>
                    <a:lnTo>
                      <a:pt x="85" y="46"/>
                    </a:lnTo>
                    <a:lnTo>
                      <a:pt x="87" y="44"/>
                    </a:lnTo>
                    <a:lnTo>
                      <a:pt x="89" y="42"/>
                    </a:lnTo>
                    <a:lnTo>
                      <a:pt x="93" y="39"/>
                    </a:lnTo>
                    <a:lnTo>
                      <a:pt x="96" y="33"/>
                    </a:lnTo>
                    <a:lnTo>
                      <a:pt x="102" y="27"/>
                    </a:lnTo>
                    <a:lnTo>
                      <a:pt x="102" y="27"/>
                    </a:lnTo>
                    <a:lnTo>
                      <a:pt x="104" y="24"/>
                    </a:lnTo>
                    <a:lnTo>
                      <a:pt x="106" y="21"/>
                    </a:lnTo>
                    <a:lnTo>
                      <a:pt x="105" y="18"/>
                    </a:lnTo>
                    <a:lnTo>
                      <a:pt x="103" y="16"/>
                    </a:lnTo>
                    <a:lnTo>
                      <a:pt x="105" y="12"/>
                    </a:lnTo>
                    <a:lnTo>
                      <a:pt x="103" y="13"/>
                    </a:lnTo>
                    <a:lnTo>
                      <a:pt x="103" y="12"/>
                    </a:lnTo>
                    <a:lnTo>
                      <a:pt x="105" y="11"/>
                    </a:lnTo>
                    <a:lnTo>
                      <a:pt x="106" y="9"/>
                    </a:lnTo>
                    <a:lnTo>
                      <a:pt x="103" y="9"/>
                    </a:lnTo>
                    <a:lnTo>
                      <a:pt x="103" y="11"/>
                    </a:lnTo>
                    <a:lnTo>
                      <a:pt x="99" y="12"/>
                    </a:lnTo>
                    <a:lnTo>
                      <a:pt x="101" y="12"/>
                    </a:lnTo>
                    <a:lnTo>
                      <a:pt x="99" y="9"/>
                    </a:lnTo>
                    <a:lnTo>
                      <a:pt x="103" y="7"/>
                    </a:lnTo>
                    <a:lnTo>
                      <a:pt x="97" y="9"/>
                    </a:lnTo>
                    <a:lnTo>
                      <a:pt x="93" y="12"/>
                    </a:lnTo>
                    <a:lnTo>
                      <a:pt x="90" y="12"/>
                    </a:lnTo>
                    <a:lnTo>
                      <a:pt x="89" y="10"/>
                    </a:lnTo>
                    <a:lnTo>
                      <a:pt x="89" y="8"/>
                    </a:lnTo>
                    <a:lnTo>
                      <a:pt x="89" y="4"/>
                    </a:lnTo>
                    <a:lnTo>
                      <a:pt x="86" y="5"/>
                    </a:lnTo>
                    <a:lnTo>
                      <a:pt x="85" y="3"/>
                    </a:lnTo>
                    <a:lnTo>
                      <a:pt x="86" y="0"/>
                    </a:lnTo>
                    <a:lnTo>
                      <a:pt x="84" y="2"/>
                    </a:lnTo>
                    <a:lnTo>
                      <a:pt x="81" y="2"/>
                    </a:lnTo>
                    <a:lnTo>
                      <a:pt x="78" y="4"/>
                    </a:lnTo>
                    <a:lnTo>
                      <a:pt x="77" y="7"/>
                    </a:lnTo>
                    <a:lnTo>
                      <a:pt x="77" y="12"/>
                    </a:lnTo>
                    <a:lnTo>
                      <a:pt x="75" y="17"/>
                    </a:lnTo>
                    <a:lnTo>
                      <a:pt x="72" y="19"/>
                    </a:lnTo>
                    <a:lnTo>
                      <a:pt x="68" y="21"/>
                    </a:lnTo>
                    <a:lnTo>
                      <a:pt x="65" y="29"/>
                    </a:lnTo>
                    <a:lnTo>
                      <a:pt x="64" y="33"/>
                    </a:lnTo>
                    <a:lnTo>
                      <a:pt x="63" y="34"/>
                    </a:lnTo>
                    <a:lnTo>
                      <a:pt x="61" y="36"/>
                    </a:lnTo>
                    <a:lnTo>
                      <a:pt x="59" y="39"/>
                    </a:lnTo>
                    <a:lnTo>
                      <a:pt x="56" y="41"/>
                    </a:lnTo>
                    <a:lnTo>
                      <a:pt x="53" y="42"/>
                    </a:lnTo>
                    <a:lnTo>
                      <a:pt x="51" y="45"/>
                    </a:lnTo>
                    <a:lnTo>
                      <a:pt x="45" y="48"/>
                    </a:lnTo>
                    <a:lnTo>
                      <a:pt x="43" y="51"/>
                    </a:lnTo>
                    <a:lnTo>
                      <a:pt x="39" y="52"/>
                    </a:lnTo>
                    <a:lnTo>
                      <a:pt x="31" y="56"/>
                    </a:lnTo>
                    <a:lnTo>
                      <a:pt x="26" y="57"/>
                    </a:lnTo>
                    <a:lnTo>
                      <a:pt x="24" y="61"/>
                    </a:lnTo>
                    <a:lnTo>
                      <a:pt x="21" y="63"/>
                    </a:lnTo>
                    <a:lnTo>
                      <a:pt x="19" y="65"/>
                    </a:lnTo>
                    <a:lnTo>
                      <a:pt x="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6" name="Freeform 202">
                <a:extLst>
                  <a:ext uri="{FF2B5EF4-FFF2-40B4-BE49-F238E27FC236}">
                    <a16:creationId xmlns:a16="http://schemas.microsoft.com/office/drawing/2014/main" id="{425D45A4-69E9-4BB7-8B86-3D08A282840F}"/>
                  </a:ext>
                </a:extLst>
              </p:cNvPr>
              <p:cNvSpPr>
                <a:spLocks/>
              </p:cNvSpPr>
              <p:nvPr/>
            </p:nvSpPr>
            <p:spPr bwMode="auto">
              <a:xfrm>
                <a:off x="6050" y="3297"/>
                <a:ext cx="80" cy="113"/>
              </a:xfrm>
              <a:custGeom>
                <a:avLst/>
                <a:gdLst>
                  <a:gd name="T0" fmla="*/ 27 w 80"/>
                  <a:gd name="T1" fmla="*/ 37 h 113"/>
                  <a:gd name="T2" fmla="*/ 28 w 80"/>
                  <a:gd name="T3" fmla="*/ 34 h 113"/>
                  <a:gd name="T4" fmla="*/ 28 w 80"/>
                  <a:gd name="T5" fmla="*/ 30 h 113"/>
                  <a:gd name="T6" fmla="*/ 26 w 80"/>
                  <a:gd name="T7" fmla="*/ 26 h 113"/>
                  <a:gd name="T8" fmla="*/ 25 w 80"/>
                  <a:gd name="T9" fmla="*/ 21 h 113"/>
                  <a:gd name="T10" fmla="*/ 22 w 80"/>
                  <a:gd name="T11" fmla="*/ 13 h 113"/>
                  <a:gd name="T12" fmla="*/ 17 w 80"/>
                  <a:gd name="T13" fmla="*/ 10 h 113"/>
                  <a:gd name="T14" fmla="*/ 11 w 80"/>
                  <a:gd name="T15" fmla="*/ 8 h 113"/>
                  <a:gd name="T16" fmla="*/ 3 w 80"/>
                  <a:gd name="T17" fmla="*/ 1 h 113"/>
                  <a:gd name="T18" fmla="*/ 5 w 80"/>
                  <a:gd name="T19" fmla="*/ 8 h 113"/>
                  <a:gd name="T20" fmla="*/ 9 w 80"/>
                  <a:gd name="T21" fmla="*/ 17 h 113"/>
                  <a:gd name="T22" fmla="*/ 9 w 80"/>
                  <a:gd name="T23" fmla="*/ 17 h 113"/>
                  <a:gd name="T24" fmla="*/ 17 w 80"/>
                  <a:gd name="T25" fmla="*/ 26 h 113"/>
                  <a:gd name="T26" fmla="*/ 22 w 80"/>
                  <a:gd name="T27" fmla="*/ 26 h 113"/>
                  <a:gd name="T28" fmla="*/ 21 w 80"/>
                  <a:gd name="T29" fmla="*/ 29 h 113"/>
                  <a:gd name="T30" fmla="*/ 20 w 80"/>
                  <a:gd name="T31" fmla="*/ 30 h 113"/>
                  <a:gd name="T32" fmla="*/ 24 w 80"/>
                  <a:gd name="T33" fmla="*/ 37 h 113"/>
                  <a:gd name="T34" fmla="*/ 27 w 80"/>
                  <a:gd name="T35" fmla="*/ 43 h 113"/>
                  <a:gd name="T36" fmla="*/ 28 w 80"/>
                  <a:gd name="T37" fmla="*/ 47 h 113"/>
                  <a:gd name="T38" fmla="*/ 28 w 80"/>
                  <a:gd name="T39" fmla="*/ 53 h 113"/>
                  <a:gd name="T40" fmla="*/ 26 w 80"/>
                  <a:gd name="T41" fmla="*/ 62 h 113"/>
                  <a:gd name="T42" fmla="*/ 25 w 80"/>
                  <a:gd name="T43" fmla="*/ 69 h 113"/>
                  <a:gd name="T44" fmla="*/ 18 w 80"/>
                  <a:gd name="T45" fmla="*/ 72 h 113"/>
                  <a:gd name="T46" fmla="*/ 14 w 80"/>
                  <a:gd name="T47" fmla="*/ 77 h 113"/>
                  <a:gd name="T48" fmla="*/ 18 w 80"/>
                  <a:gd name="T49" fmla="*/ 80 h 113"/>
                  <a:gd name="T50" fmla="*/ 24 w 80"/>
                  <a:gd name="T51" fmla="*/ 83 h 113"/>
                  <a:gd name="T52" fmla="*/ 29 w 80"/>
                  <a:gd name="T53" fmla="*/ 86 h 113"/>
                  <a:gd name="T54" fmla="*/ 34 w 80"/>
                  <a:gd name="T55" fmla="*/ 90 h 113"/>
                  <a:gd name="T56" fmla="*/ 34 w 80"/>
                  <a:gd name="T57" fmla="*/ 98 h 113"/>
                  <a:gd name="T58" fmla="*/ 29 w 80"/>
                  <a:gd name="T59" fmla="*/ 104 h 113"/>
                  <a:gd name="T60" fmla="*/ 27 w 80"/>
                  <a:gd name="T61" fmla="*/ 107 h 113"/>
                  <a:gd name="T62" fmla="*/ 29 w 80"/>
                  <a:gd name="T63" fmla="*/ 111 h 113"/>
                  <a:gd name="T64" fmla="*/ 34 w 80"/>
                  <a:gd name="T65" fmla="*/ 112 h 113"/>
                  <a:gd name="T66" fmla="*/ 43 w 80"/>
                  <a:gd name="T67" fmla="*/ 109 h 113"/>
                  <a:gd name="T68" fmla="*/ 48 w 80"/>
                  <a:gd name="T69" fmla="*/ 100 h 113"/>
                  <a:gd name="T70" fmla="*/ 52 w 80"/>
                  <a:gd name="T71" fmla="*/ 96 h 113"/>
                  <a:gd name="T72" fmla="*/ 56 w 80"/>
                  <a:gd name="T73" fmla="*/ 90 h 113"/>
                  <a:gd name="T74" fmla="*/ 56 w 80"/>
                  <a:gd name="T75" fmla="*/ 78 h 113"/>
                  <a:gd name="T76" fmla="*/ 61 w 80"/>
                  <a:gd name="T77" fmla="*/ 73 h 113"/>
                  <a:gd name="T78" fmla="*/ 69 w 80"/>
                  <a:gd name="T79" fmla="*/ 72 h 113"/>
                  <a:gd name="T80" fmla="*/ 71 w 80"/>
                  <a:gd name="T81" fmla="*/ 71 h 113"/>
                  <a:gd name="T82" fmla="*/ 73 w 80"/>
                  <a:gd name="T83" fmla="*/ 66 h 113"/>
                  <a:gd name="T84" fmla="*/ 77 w 80"/>
                  <a:gd name="T85" fmla="*/ 61 h 113"/>
                  <a:gd name="T86" fmla="*/ 78 w 80"/>
                  <a:gd name="T87" fmla="*/ 52 h 113"/>
                  <a:gd name="T88" fmla="*/ 74 w 80"/>
                  <a:gd name="T89" fmla="*/ 48 h 113"/>
                  <a:gd name="T90" fmla="*/ 67 w 80"/>
                  <a:gd name="T91" fmla="*/ 54 h 113"/>
                  <a:gd name="T92" fmla="*/ 60 w 80"/>
                  <a:gd name="T93" fmla="*/ 55 h 113"/>
                  <a:gd name="T94" fmla="*/ 47 w 80"/>
                  <a:gd name="T95" fmla="*/ 51 h 113"/>
                  <a:gd name="T96" fmla="*/ 44 w 80"/>
                  <a:gd name="T97" fmla="*/ 46 h 113"/>
                  <a:gd name="T98" fmla="*/ 44 w 80"/>
                  <a:gd name="T99" fmla="*/ 40 h 113"/>
                  <a:gd name="T100" fmla="*/ 41 w 80"/>
                  <a:gd name="T101" fmla="*/ 35 h 113"/>
                  <a:gd name="T102" fmla="*/ 37 w 80"/>
                  <a:gd name="T103" fmla="*/ 36 h 113"/>
                  <a:gd name="T104" fmla="*/ 36 w 80"/>
                  <a:gd name="T105" fmla="*/ 43 h 113"/>
                  <a:gd name="T106" fmla="*/ 30 w 80"/>
                  <a:gd name="T107" fmla="*/ 3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113">
                    <a:moveTo>
                      <a:pt x="30" y="38"/>
                    </a:moveTo>
                    <a:lnTo>
                      <a:pt x="27" y="37"/>
                    </a:lnTo>
                    <a:lnTo>
                      <a:pt x="28" y="36"/>
                    </a:lnTo>
                    <a:lnTo>
                      <a:pt x="28" y="34"/>
                    </a:lnTo>
                    <a:lnTo>
                      <a:pt x="28" y="34"/>
                    </a:lnTo>
                    <a:lnTo>
                      <a:pt x="28" y="30"/>
                    </a:lnTo>
                    <a:lnTo>
                      <a:pt x="28" y="28"/>
                    </a:lnTo>
                    <a:lnTo>
                      <a:pt x="26" y="26"/>
                    </a:lnTo>
                    <a:lnTo>
                      <a:pt x="22" y="20"/>
                    </a:lnTo>
                    <a:lnTo>
                      <a:pt x="25" y="21"/>
                    </a:lnTo>
                    <a:lnTo>
                      <a:pt x="24" y="17"/>
                    </a:lnTo>
                    <a:lnTo>
                      <a:pt x="22" y="13"/>
                    </a:lnTo>
                    <a:lnTo>
                      <a:pt x="20" y="12"/>
                    </a:lnTo>
                    <a:lnTo>
                      <a:pt x="17" y="10"/>
                    </a:lnTo>
                    <a:lnTo>
                      <a:pt x="14" y="9"/>
                    </a:lnTo>
                    <a:lnTo>
                      <a:pt x="11" y="8"/>
                    </a:lnTo>
                    <a:lnTo>
                      <a:pt x="7" y="5"/>
                    </a:lnTo>
                    <a:lnTo>
                      <a:pt x="3" y="1"/>
                    </a:lnTo>
                    <a:lnTo>
                      <a:pt x="0" y="0"/>
                    </a:lnTo>
                    <a:lnTo>
                      <a:pt x="5" y="8"/>
                    </a:lnTo>
                    <a:lnTo>
                      <a:pt x="7" y="13"/>
                    </a:lnTo>
                    <a:lnTo>
                      <a:pt x="9" y="17"/>
                    </a:lnTo>
                    <a:lnTo>
                      <a:pt x="11" y="13"/>
                    </a:lnTo>
                    <a:lnTo>
                      <a:pt x="9" y="17"/>
                    </a:lnTo>
                    <a:lnTo>
                      <a:pt x="17" y="28"/>
                    </a:lnTo>
                    <a:lnTo>
                      <a:pt x="17" y="26"/>
                    </a:lnTo>
                    <a:lnTo>
                      <a:pt x="20" y="27"/>
                    </a:lnTo>
                    <a:lnTo>
                      <a:pt x="22" y="26"/>
                    </a:lnTo>
                    <a:lnTo>
                      <a:pt x="24" y="28"/>
                    </a:lnTo>
                    <a:lnTo>
                      <a:pt x="21" y="29"/>
                    </a:lnTo>
                    <a:lnTo>
                      <a:pt x="24" y="31"/>
                    </a:lnTo>
                    <a:lnTo>
                      <a:pt x="20" y="30"/>
                    </a:lnTo>
                    <a:lnTo>
                      <a:pt x="20" y="31"/>
                    </a:lnTo>
                    <a:lnTo>
                      <a:pt x="24" y="37"/>
                    </a:lnTo>
                    <a:lnTo>
                      <a:pt x="29" y="39"/>
                    </a:lnTo>
                    <a:lnTo>
                      <a:pt x="27" y="43"/>
                    </a:lnTo>
                    <a:lnTo>
                      <a:pt x="28" y="45"/>
                    </a:lnTo>
                    <a:lnTo>
                      <a:pt x="28" y="47"/>
                    </a:lnTo>
                    <a:lnTo>
                      <a:pt x="28" y="51"/>
                    </a:lnTo>
                    <a:lnTo>
                      <a:pt x="28" y="53"/>
                    </a:lnTo>
                    <a:lnTo>
                      <a:pt x="28" y="55"/>
                    </a:lnTo>
                    <a:lnTo>
                      <a:pt x="26" y="62"/>
                    </a:lnTo>
                    <a:lnTo>
                      <a:pt x="26" y="66"/>
                    </a:lnTo>
                    <a:lnTo>
                      <a:pt x="25" y="69"/>
                    </a:lnTo>
                    <a:lnTo>
                      <a:pt x="22" y="71"/>
                    </a:lnTo>
                    <a:lnTo>
                      <a:pt x="18" y="72"/>
                    </a:lnTo>
                    <a:lnTo>
                      <a:pt x="14" y="73"/>
                    </a:lnTo>
                    <a:lnTo>
                      <a:pt x="14" y="77"/>
                    </a:lnTo>
                    <a:lnTo>
                      <a:pt x="16" y="79"/>
                    </a:lnTo>
                    <a:lnTo>
                      <a:pt x="18" y="80"/>
                    </a:lnTo>
                    <a:lnTo>
                      <a:pt x="21" y="81"/>
                    </a:lnTo>
                    <a:lnTo>
                      <a:pt x="24" y="83"/>
                    </a:lnTo>
                    <a:lnTo>
                      <a:pt x="26" y="85"/>
                    </a:lnTo>
                    <a:lnTo>
                      <a:pt x="29" y="86"/>
                    </a:lnTo>
                    <a:lnTo>
                      <a:pt x="31" y="87"/>
                    </a:lnTo>
                    <a:lnTo>
                      <a:pt x="34" y="90"/>
                    </a:lnTo>
                    <a:lnTo>
                      <a:pt x="35" y="91"/>
                    </a:lnTo>
                    <a:lnTo>
                      <a:pt x="34" y="98"/>
                    </a:lnTo>
                    <a:lnTo>
                      <a:pt x="31" y="102"/>
                    </a:lnTo>
                    <a:lnTo>
                      <a:pt x="29" y="104"/>
                    </a:lnTo>
                    <a:lnTo>
                      <a:pt x="29" y="105"/>
                    </a:lnTo>
                    <a:lnTo>
                      <a:pt x="27" y="107"/>
                    </a:lnTo>
                    <a:lnTo>
                      <a:pt x="28" y="107"/>
                    </a:lnTo>
                    <a:lnTo>
                      <a:pt x="29" y="111"/>
                    </a:lnTo>
                    <a:lnTo>
                      <a:pt x="33" y="109"/>
                    </a:lnTo>
                    <a:lnTo>
                      <a:pt x="34" y="112"/>
                    </a:lnTo>
                    <a:lnTo>
                      <a:pt x="36" y="113"/>
                    </a:lnTo>
                    <a:lnTo>
                      <a:pt x="43" y="109"/>
                    </a:lnTo>
                    <a:lnTo>
                      <a:pt x="45" y="106"/>
                    </a:lnTo>
                    <a:lnTo>
                      <a:pt x="48" y="100"/>
                    </a:lnTo>
                    <a:lnTo>
                      <a:pt x="48" y="99"/>
                    </a:lnTo>
                    <a:lnTo>
                      <a:pt x="52" y="96"/>
                    </a:lnTo>
                    <a:lnTo>
                      <a:pt x="54" y="92"/>
                    </a:lnTo>
                    <a:lnTo>
                      <a:pt x="56" y="90"/>
                    </a:lnTo>
                    <a:lnTo>
                      <a:pt x="59" y="83"/>
                    </a:lnTo>
                    <a:lnTo>
                      <a:pt x="56" y="78"/>
                    </a:lnTo>
                    <a:lnTo>
                      <a:pt x="59" y="75"/>
                    </a:lnTo>
                    <a:lnTo>
                      <a:pt x="61" y="73"/>
                    </a:lnTo>
                    <a:lnTo>
                      <a:pt x="64" y="72"/>
                    </a:lnTo>
                    <a:lnTo>
                      <a:pt x="69" y="72"/>
                    </a:lnTo>
                    <a:lnTo>
                      <a:pt x="71" y="74"/>
                    </a:lnTo>
                    <a:lnTo>
                      <a:pt x="71" y="71"/>
                    </a:lnTo>
                    <a:lnTo>
                      <a:pt x="71" y="66"/>
                    </a:lnTo>
                    <a:lnTo>
                      <a:pt x="73" y="66"/>
                    </a:lnTo>
                    <a:lnTo>
                      <a:pt x="76" y="63"/>
                    </a:lnTo>
                    <a:lnTo>
                      <a:pt x="77" y="61"/>
                    </a:lnTo>
                    <a:lnTo>
                      <a:pt x="77" y="55"/>
                    </a:lnTo>
                    <a:lnTo>
                      <a:pt x="78" y="52"/>
                    </a:lnTo>
                    <a:lnTo>
                      <a:pt x="80" y="49"/>
                    </a:lnTo>
                    <a:lnTo>
                      <a:pt x="74" y="48"/>
                    </a:lnTo>
                    <a:lnTo>
                      <a:pt x="69" y="51"/>
                    </a:lnTo>
                    <a:lnTo>
                      <a:pt x="67" y="54"/>
                    </a:lnTo>
                    <a:lnTo>
                      <a:pt x="63" y="55"/>
                    </a:lnTo>
                    <a:lnTo>
                      <a:pt x="60" y="55"/>
                    </a:lnTo>
                    <a:lnTo>
                      <a:pt x="50" y="51"/>
                    </a:lnTo>
                    <a:lnTo>
                      <a:pt x="47" y="51"/>
                    </a:lnTo>
                    <a:lnTo>
                      <a:pt x="45" y="48"/>
                    </a:lnTo>
                    <a:lnTo>
                      <a:pt x="44" y="46"/>
                    </a:lnTo>
                    <a:lnTo>
                      <a:pt x="43" y="43"/>
                    </a:lnTo>
                    <a:lnTo>
                      <a:pt x="44" y="40"/>
                    </a:lnTo>
                    <a:lnTo>
                      <a:pt x="43" y="38"/>
                    </a:lnTo>
                    <a:lnTo>
                      <a:pt x="41" y="35"/>
                    </a:lnTo>
                    <a:lnTo>
                      <a:pt x="37" y="34"/>
                    </a:lnTo>
                    <a:lnTo>
                      <a:pt x="37" y="36"/>
                    </a:lnTo>
                    <a:lnTo>
                      <a:pt x="38" y="42"/>
                    </a:lnTo>
                    <a:lnTo>
                      <a:pt x="36" y="43"/>
                    </a:lnTo>
                    <a:lnTo>
                      <a:pt x="33" y="38"/>
                    </a:lnTo>
                    <a:lnTo>
                      <a:pt x="30" y="38"/>
                    </a:lnTo>
                    <a:lnTo>
                      <a:pt x="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7" name="Freeform 203">
                <a:extLst>
                  <a:ext uri="{FF2B5EF4-FFF2-40B4-BE49-F238E27FC236}">
                    <a16:creationId xmlns:a16="http://schemas.microsoft.com/office/drawing/2014/main" id="{E2D45C62-977E-4D27-9E96-1D9F4B927E8C}"/>
                  </a:ext>
                </a:extLst>
              </p:cNvPr>
              <p:cNvSpPr>
                <a:spLocks/>
              </p:cNvSpPr>
              <p:nvPr/>
            </p:nvSpPr>
            <p:spPr bwMode="auto">
              <a:xfrm>
                <a:off x="2491" y="1740"/>
                <a:ext cx="94" cy="62"/>
              </a:xfrm>
              <a:custGeom>
                <a:avLst/>
                <a:gdLst>
                  <a:gd name="T0" fmla="*/ 52 w 94"/>
                  <a:gd name="T1" fmla="*/ 19 h 62"/>
                  <a:gd name="T2" fmla="*/ 56 w 94"/>
                  <a:gd name="T3" fmla="*/ 22 h 62"/>
                  <a:gd name="T4" fmla="*/ 63 w 94"/>
                  <a:gd name="T5" fmla="*/ 26 h 62"/>
                  <a:gd name="T6" fmla="*/ 69 w 94"/>
                  <a:gd name="T7" fmla="*/ 27 h 62"/>
                  <a:gd name="T8" fmla="*/ 74 w 94"/>
                  <a:gd name="T9" fmla="*/ 35 h 62"/>
                  <a:gd name="T10" fmla="*/ 73 w 94"/>
                  <a:gd name="T11" fmla="*/ 43 h 62"/>
                  <a:gd name="T12" fmla="*/ 79 w 94"/>
                  <a:gd name="T13" fmla="*/ 40 h 62"/>
                  <a:gd name="T14" fmla="*/ 87 w 94"/>
                  <a:gd name="T15" fmla="*/ 40 h 62"/>
                  <a:gd name="T16" fmla="*/ 89 w 94"/>
                  <a:gd name="T17" fmla="*/ 45 h 62"/>
                  <a:gd name="T18" fmla="*/ 94 w 94"/>
                  <a:gd name="T19" fmla="*/ 48 h 62"/>
                  <a:gd name="T20" fmla="*/ 84 w 94"/>
                  <a:gd name="T21" fmla="*/ 54 h 62"/>
                  <a:gd name="T22" fmla="*/ 72 w 94"/>
                  <a:gd name="T23" fmla="*/ 50 h 62"/>
                  <a:gd name="T24" fmla="*/ 67 w 94"/>
                  <a:gd name="T25" fmla="*/ 49 h 62"/>
                  <a:gd name="T26" fmla="*/ 65 w 94"/>
                  <a:gd name="T27" fmla="*/ 44 h 62"/>
                  <a:gd name="T28" fmla="*/ 56 w 94"/>
                  <a:gd name="T29" fmla="*/ 41 h 62"/>
                  <a:gd name="T30" fmla="*/ 54 w 94"/>
                  <a:gd name="T31" fmla="*/ 39 h 62"/>
                  <a:gd name="T32" fmla="*/ 48 w 94"/>
                  <a:gd name="T33" fmla="*/ 41 h 62"/>
                  <a:gd name="T34" fmla="*/ 47 w 94"/>
                  <a:gd name="T35" fmla="*/ 47 h 62"/>
                  <a:gd name="T36" fmla="*/ 42 w 94"/>
                  <a:gd name="T37" fmla="*/ 52 h 62"/>
                  <a:gd name="T38" fmla="*/ 37 w 94"/>
                  <a:gd name="T39" fmla="*/ 54 h 62"/>
                  <a:gd name="T40" fmla="*/ 30 w 94"/>
                  <a:gd name="T41" fmla="*/ 60 h 62"/>
                  <a:gd name="T42" fmla="*/ 25 w 94"/>
                  <a:gd name="T43" fmla="*/ 62 h 62"/>
                  <a:gd name="T44" fmla="*/ 21 w 94"/>
                  <a:gd name="T45" fmla="*/ 58 h 62"/>
                  <a:gd name="T46" fmla="*/ 21 w 94"/>
                  <a:gd name="T47" fmla="*/ 50 h 62"/>
                  <a:gd name="T48" fmla="*/ 19 w 94"/>
                  <a:gd name="T49" fmla="*/ 48 h 62"/>
                  <a:gd name="T50" fmla="*/ 13 w 94"/>
                  <a:gd name="T51" fmla="*/ 50 h 62"/>
                  <a:gd name="T52" fmla="*/ 5 w 94"/>
                  <a:gd name="T53" fmla="*/ 52 h 62"/>
                  <a:gd name="T54" fmla="*/ 0 w 94"/>
                  <a:gd name="T55" fmla="*/ 52 h 62"/>
                  <a:gd name="T56" fmla="*/ 3 w 94"/>
                  <a:gd name="T57" fmla="*/ 46 h 62"/>
                  <a:gd name="T58" fmla="*/ 11 w 94"/>
                  <a:gd name="T59" fmla="*/ 41 h 62"/>
                  <a:gd name="T60" fmla="*/ 11 w 94"/>
                  <a:gd name="T61" fmla="*/ 36 h 62"/>
                  <a:gd name="T62" fmla="*/ 14 w 94"/>
                  <a:gd name="T63" fmla="*/ 22 h 62"/>
                  <a:gd name="T64" fmla="*/ 14 w 94"/>
                  <a:gd name="T65" fmla="*/ 17 h 62"/>
                  <a:gd name="T66" fmla="*/ 14 w 94"/>
                  <a:gd name="T67" fmla="*/ 9 h 62"/>
                  <a:gd name="T68" fmla="*/ 19 w 94"/>
                  <a:gd name="T69" fmla="*/ 1 h 62"/>
                  <a:gd name="T70" fmla="*/ 27 w 94"/>
                  <a:gd name="T71" fmla="*/ 4 h 62"/>
                  <a:gd name="T72" fmla="*/ 27 w 94"/>
                  <a:gd name="T73" fmla="*/ 10 h 62"/>
                  <a:gd name="T74" fmla="*/ 30 w 94"/>
                  <a:gd name="T75" fmla="*/ 14 h 62"/>
                  <a:gd name="T76" fmla="*/ 35 w 94"/>
                  <a:gd name="T77" fmla="*/ 11 h 62"/>
                  <a:gd name="T78" fmla="*/ 42 w 94"/>
                  <a:gd name="T79" fmla="*/ 15 h 62"/>
                  <a:gd name="T80" fmla="*/ 50 w 94"/>
                  <a:gd name="T81"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62">
                    <a:moveTo>
                      <a:pt x="50" y="17"/>
                    </a:moveTo>
                    <a:lnTo>
                      <a:pt x="52" y="19"/>
                    </a:lnTo>
                    <a:lnTo>
                      <a:pt x="54" y="21"/>
                    </a:lnTo>
                    <a:lnTo>
                      <a:pt x="56" y="22"/>
                    </a:lnTo>
                    <a:lnTo>
                      <a:pt x="61" y="26"/>
                    </a:lnTo>
                    <a:lnTo>
                      <a:pt x="63" y="26"/>
                    </a:lnTo>
                    <a:lnTo>
                      <a:pt x="67" y="26"/>
                    </a:lnTo>
                    <a:lnTo>
                      <a:pt x="69" y="27"/>
                    </a:lnTo>
                    <a:lnTo>
                      <a:pt x="74" y="31"/>
                    </a:lnTo>
                    <a:lnTo>
                      <a:pt x="74" y="35"/>
                    </a:lnTo>
                    <a:lnTo>
                      <a:pt x="76" y="39"/>
                    </a:lnTo>
                    <a:lnTo>
                      <a:pt x="73" y="43"/>
                    </a:lnTo>
                    <a:lnTo>
                      <a:pt x="76" y="41"/>
                    </a:lnTo>
                    <a:lnTo>
                      <a:pt x="79" y="40"/>
                    </a:lnTo>
                    <a:lnTo>
                      <a:pt x="85" y="43"/>
                    </a:lnTo>
                    <a:lnTo>
                      <a:pt x="87" y="40"/>
                    </a:lnTo>
                    <a:lnTo>
                      <a:pt x="90" y="43"/>
                    </a:lnTo>
                    <a:lnTo>
                      <a:pt x="89" y="45"/>
                    </a:lnTo>
                    <a:lnTo>
                      <a:pt x="91" y="46"/>
                    </a:lnTo>
                    <a:lnTo>
                      <a:pt x="94" y="48"/>
                    </a:lnTo>
                    <a:lnTo>
                      <a:pt x="91" y="49"/>
                    </a:lnTo>
                    <a:lnTo>
                      <a:pt x="84" y="54"/>
                    </a:lnTo>
                    <a:lnTo>
                      <a:pt x="78" y="52"/>
                    </a:lnTo>
                    <a:lnTo>
                      <a:pt x="72" y="50"/>
                    </a:lnTo>
                    <a:lnTo>
                      <a:pt x="70" y="49"/>
                    </a:lnTo>
                    <a:lnTo>
                      <a:pt x="67" y="49"/>
                    </a:lnTo>
                    <a:lnTo>
                      <a:pt x="64" y="49"/>
                    </a:lnTo>
                    <a:lnTo>
                      <a:pt x="65" y="44"/>
                    </a:lnTo>
                    <a:lnTo>
                      <a:pt x="60" y="43"/>
                    </a:lnTo>
                    <a:lnTo>
                      <a:pt x="56" y="41"/>
                    </a:lnTo>
                    <a:lnTo>
                      <a:pt x="56" y="38"/>
                    </a:lnTo>
                    <a:lnTo>
                      <a:pt x="54" y="39"/>
                    </a:lnTo>
                    <a:lnTo>
                      <a:pt x="51" y="39"/>
                    </a:lnTo>
                    <a:lnTo>
                      <a:pt x="48" y="41"/>
                    </a:lnTo>
                    <a:lnTo>
                      <a:pt x="48" y="45"/>
                    </a:lnTo>
                    <a:lnTo>
                      <a:pt x="47" y="47"/>
                    </a:lnTo>
                    <a:lnTo>
                      <a:pt x="45" y="48"/>
                    </a:lnTo>
                    <a:lnTo>
                      <a:pt x="42" y="52"/>
                    </a:lnTo>
                    <a:lnTo>
                      <a:pt x="39" y="52"/>
                    </a:lnTo>
                    <a:lnTo>
                      <a:pt x="37" y="54"/>
                    </a:lnTo>
                    <a:lnTo>
                      <a:pt x="36" y="56"/>
                    </a:lnTo>
                    <a:lnTo>
                      <a:pt x="30" y="60"/>
                    </a:lnTo>
                    <a:lnTo>
                      <a:pt x="28" y="61"/>
                    </a:lnTo>
                    <a:lnTo>
                      <a:pt x="25" y="62"/>
                    </a:lnTo>
                    <a:lnTo>
                      <a:pt x="22" y="61"/>
                    </a:lnTo>
                    <a:lnTo>
                      <a:pt x="21" y="58"/>
                    </a:lnTo>
                    <a:lnTo>
                      <a:pt x="21" y="56"/>
                    </a:lnTo>
                    <a:lnTo>
                      <a:pt x="21" y="50"/>
                    </a:lnTo>
                    <a:lnTo>
                      <a:pt x="20" y="47"/>
                    </a:lnTo>
                    <a:lnTo>
                      <a:pt x="19" y="48"/>
                    </a:lnTo>
                    <a:lnTo>
                      <a:pt x="16" y="49"/>
                    </a:lnTo>
                    <a:lnTo>
                      <a:pt x="13" y="50"/>
                    </a:lnTo>
                    <a:lnTo>
                      <a:pt x="8" y="49"/>
                    </a:lnTo>
                    <a:lnTo>
                      <a:pt x="5" y="52"/>
                    </a:lnTo>
                    <a:lnTo>
                      <a:pt x="3" y="52"/>
                    </a:lnTo>
                    <a:lnTo>
                      <a:pt x="0" y="52"/>
                    </a:lnTo>
                    <a:lnTo>
                      <a:pt x="0" y="48"/>
                    </a:lnTo>
                    <a:lnTo>
                      <a:pt x="3" y="46"/>
                    </a:lnTo>
                    <a:lnTo>
                      <a:pt x="5" y="44"/>
                    </a:lnTo>
                    <a:lnTo>
                      <a:pt x="11" y="41"/>
                    </a:lnTo>
                    <a:lnTo>
                      <a:pt x="13" y="39"/>
                    </a:lnTo>
                    <a:lnTo>
                      <a:pt x="11" y="36"/>
                    </a:lnTo>
                    <a:lnTo>
                      <a:pt x="11" y="28"/>
                    </a:lnTo>
                    <a:lnTo>
                      <a:pt x="14" y="22"/>
                    </a:lnTo>
                    <a:lnTo>
                      <a:pt x="13" y="20"/>
                    </a:lnTo>
                    <a:lnTo>
                      <a:pt x="14" y="17"/>
                    </a:lnTo>
                    <a:lnTo>
                      <a:pt x="13" y="14"/>
                    </a:lnTo>
                    <a:lnTo>
                      <a:pt x="14" y="9"/>
                    </a:lnTo>
                    <a:lnTo>
                      <a:pt x="17" y="4"/>
                    </a:lnTo>
                    <a:lnTo>
                      <a:pt x="19" y="1"/>
                    </a:lnTo>
                    <a:lnTo>
                      <a:pt x="22" y="0"/>
                    </a:lnTo>
                    <a:lnTo>
                      <a:pt x="27" y="4"/>
                    </a:lnTo>
                    <a:lnTo>
                      <a:pt x="29" y="6"/>
                    </a:lnTo>
                    <a:lnTo>
                      <a:pt x="27" y="10"/>
                    </a:lnTo>
                    <a:lnTo>
                      <a:pt x="29" y="12"/>
                    </a:lnTo>
                    <a:lnTo>
                      <a:pt x="30" y="14"/>
                    </a:lnTo>
                    <a:lnTo>
                      <a:pt x="34" y="13"/>
                    </a:lnTo>
                    <a:lnTo>
                      <a:pt x="35" y="11"/>
                    </a:lnTo>
                    <a:lnTo>
                      <a:pt x="40" y="12"/>
                    </a:lnTo>
                    <a:lnTo>
                      <a:pt x="42" y="15"/>
                    </a:lnTo>
                    <a:lnTo>
                      <a:pt x="46" y="17"/>
                    </a:lnTo>
                    <a:lnTo>
                      <a:pt x="50" y="17"/>
                    </a:lnTo>
                    <a:lnTo>
                      <a:pt x="5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8" name="Freeform 204">
                <a:extLst>
                  <a:ext uri="{FF2B5EF4-FFF2-40B4-BE49-F238E27FC236}">
                    <a16:creationId xmlns:a16="http://schemas.microsoft.com/office/drawing/2014/main" id="{77B46D1F-07FF-4500-94D6-1AF3B6AE354F}"/>
                  </a:ext>
                </a:extLst>
              </p:cNvPr>
              <p:cNvSpPr>
                <a:spLocks/>
              </p:cNvSpPr>
              <p:nvPr/>
            </p:nvSpPr>
            <p:spPr bwMode="auto">
              <a:xfrm>
                <a:off x="4777" y="2670"/>
                <a:ext cx="29" cy="55"/>
              </a:xfrm>
              <a:custGeom>
                <a:avLst/>
                <a:gdLst>
                  <a:gd name="T0" fmla="*/ 11 w 29"/>
                  <a:gd name="T1" fmla="*/ 55 h 55"/>
                  <a:gd name="T2" fmla="*/ 14 w 29"/>
                  <a:gd name="T3" fmla="*/ 52 h 55"/>
                  <a:gd name="T4" fmla="*/ 18 w 29"/>
                  <a:gd name="T5" fmla="*/ 51 h 55"/>
                  <a:gd name="T6" fmla="*/ 21 w 29"/>
                  <a:gd name="T7" fmla="*/ 51 h 55"/>
                  <a:gd name="T8" fmla="*/ 27 w 29"/>
                  <a:gd name="T9" fmla="*/ 47 h 55"/>
                  <a:gd name="T10" fmla="*/ 29 w 29"/>
                  <a:gd name="T11" fmla="*/ 41 h 55"/>
                  <a:gd name="T12" fmla="*/ 29 w 29"/>
                  <a:gd name="T13" fmla="*/ 35 h 55"/>
                  <a:gd name="T14" fmla="*/ 28 w 29"/>
                  <a:gd name="T15" fmla="*/ 33 h 55"/>
                  <a:gd name="T16" fmla="*/ 28 w 29"/>
                  <a:gd name="T17" fmla="*/ 33 h 55"/>
                  <a:gd name="T18" fmla="*/ 27 w 29"/>
                  <a:gd name="T19" fmla="*/ 30 h 55"/>
                  <a:gd name="T20" fmla="*/ 24 w 29"/>
                  <a:gd name="T21" fmla="*/ 26 h 55"/>
                  <a:gd name="T22" fmla="*/ 22 w 29"/>
                  <a:gd name="T23" fmla="*/ 22 h 55"/>
                  <a:gd name="T24" fmla="*/ 20 w 29"/>
                  <a:gd name="T25" fmla="*/ 19 h 55"/>
                  <a:gd name="T26" fmla="*/ 18 w 29"/>
                  <a:gd name="T27" fmla="*/ 13 h 55"/>
                  <a:gd name="T28" fmla="*/ 15 w 29"/>
                  <a:gd name="T29" fmla="*/ 11 h 55"/>
                  <a:gd name="T30" fmla="*/ 12 w 29"/>
                  <a:gd name="T31" fmla="*/ 6 h 55"/>
                  <a:gd name="T32" fmla="*/ 4 w 29"/>
                  <a:gd name="T33" fmla="*/ 0 h 55"/>
                  <a:gd name="T34" fmla="*/ 3 w 29"/>
                  <a:gd name="T35" fmla="*/ 3 h 55"/>
                  <a:gd name="T36" fmla="*/ 6 w 29"/>
                  <a:gd name="T37" fmla="*/ 4 h 55"/>
                  <a:gd name="T38" fmla="*/ 9 w 29"/>
                  <a:gd name="T39" fmla="*/ 5 h 55"/>
                  <a:gd name="T40" fmla="*/ 9 w 29"/>
                  <a:gd name="T41" fmla="*/ 5 h 55"/>
                  <a:gd name="T42" fmla="*/ 6 w 29"/>
                  <a:gd name="T43" fmla="*/ 5 h 55"/>
                  <a:gd name="T44" fmla="*/ 4 w 29"/>
                  <a:gd name="T45" fmla="*/ 7 h 55"/>
                  <a:gd name="T46" fmla="*/ 4 w 29"/>
                  <a:gd name="T47" fmla="*/ 9 h 55"/>
                  <a:gd name="T48" fmla="*/ 2 w 29"/>
                  <a:gd name="T49" fmla="*/ 13 h 55"/>
                  <a:gd name="T50" fmla="*/ 3 w 29"/>
                  <a:gd name="T51" fmla="*/ 15 h 55"/>
                  <a:gd name="T52" fmla="*/ 2 w 29"/>
                  <a:gd name="T53" fmla="*/ 20 h 55"/>
                  <a:gd name="T54" fmla="*/ 1 w 29"/>
                  <a:gd name="T55" fmla="*/ 23 h 55"/>
                  <a:gd name="T56" fmla="*/ 1 w 29"/>
                  <a:gd name="T57" fmla="*/ 26 h 55"/>
                  <a:gd name="T58" fmla="*/ 0 w 29"/>
                  <a:gd name="T59" fmla="*/ 23 h 55"/>
                  <a:gd name="T60" fmla="*/ 0 w 29"/>
                  <a:gd name="T61" fmla="*/ 29 h 55"/>
                  <a:gd name="T62" fmla="*/ 1 w 29"/>
                  <a:gd name="T63" fmla="*/ 33 h 55"/>
                  <a:gd name="T64" fmla="*/ 1 w 29"/>
                  <a:gd name="T65" fmla="*/ 38 h 55"/>
                  <a:gd name="T66" fmla="*/ 1 w 29"/>
                  <a:gd name="T67" fmla="*/ 41 h 55"/>
                  <a:gd name="T68" fmla="*/ 3 w 29"/>
                  <a:gd name="T69" fmla="*/ 46 h 55"/>
                  <a:gd name="T70" fmla="*/ 3 w 29"/>
                  <a:gd name="T71" fmla="*/ 48 h 55"/>
                  <a:gd name="T72" fmla="*/ 5 w 29"/>
                  <a:gd name="T73" fmla="*/ 52 h 55"/>
                  <a:gd name="T74" fmla="*/ 9 w 29"/>
                  <a:gd name="T75"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55">
                    <a:moveTo>
                      <a:pt x="9" y="54"/>
                    </a:moveTo>
                    <a:lnTo>
                      <a:pt x="11" y="55"/>
                    </a:lnTo>
                    <a:lnTo>
                      <a:pt x="13" y="54"/>
                    </a:lnTo>
                    <a:lnTo>
                      <a:pt x="14" y="52"/>
                    </a:lnTo>
                    <a:lnTo>
                      <a:pt x="17" y="51"/>
                    </a:lnTo>
                    <a:lnTo>
                      <a:pt x="18" y="51"/>
                    </a:lnTo>
                    <a:lnTo>
                      <a:pt x="21" y="51"/>
                    </a:lnTo>
                    <a:lnTo>
                      <a:pt x="21" y="51"/>
                    </a:lnTo>
                    <a:lnTo>
                      <a:pt x="27" y="47"/>
                    </a:lnTo>
                    <a:lnTo>
                      <a:pt x="27" y="47"/>
                    </a:lnTo>
                    <a:lnTo>
                      <a:pt x="28" y="43"/>
                    </a:lnTo>
                    <a:lnTo>
                      <a:pt x="29" y="41"/>
                    </a:lnTo>
                    <a:lnTo>
                      <a:pt x="29" y="39"/>
                    </a:lnTo>
                    <a:lnTo>
                      <a:pt x="29" y="35"/>
                    </a:lnTo>
                    <a:lnTo>
                      <a:pt x="28" y="33"/>
                    </a:lnTo>
                    <a:lnTo>
                      <a:pt x="28" y="33"/>
                    </a:lnTo>
                    <a:lnTo>
                      <a:pt x="28" y="33"/>
                    </a:lnTo>
                    <a:lnTo>
                      <a:pt x="28" y="33"/>
                    </a:lnTo>
                    <a:lnTo>
                      <a:pt x="28" y="32"/>
                    </a:lnTo>
                    <a:lnTo>
                      <a:pt x="27" y="30"/>
                    </a:lnTo>
                    <a:lnTo>
                      <a:pt x="27" y="30"/>
                    </a:lnTo>
                    <a:lnTo>
                      <a:pt x="24" y="26"/>
                    </a:lnTo>
                    <a:lnTo>
                      <a:pt x="23" y="25"/>
                    </a:lnTo>
                    <a:lnTo>
                      <a:pt x="22" y="22"/>
                    </a:lnTo>
                    <a:lnTo>
                      <a:pt x="20" y="20"/>
                    </a:lnTo>
                    <a:lnTo>
                      <a:pt x="20" y="19"/>
                    </a:lnTo>
                    <a:lnTo>
                      <a:pt x="19" y="16"/>
                    </a:lnTo>
                    <a:lnTo>
                      <a:pt x="18" y="13"/>
                    </a:lnTo>
                    <a:lnTo>
                      <a:pt x="15" y="13"/>
                    </a:lnTo>
                    <a:lnTo>
                      <a:pt x="15" y="11"/>
                    </a:lnTo>
                    <a:lnTo>
                      <a:pt x="14" y="8"/>
                    </a:lnTo>
                    <a:lnTo>
                      <a:pt x="12" y="6"/>
                    </a:lnTo>
                    <a:lnTo>
                      <a:pt x="6" y="3"/>
                    </a:lnTo>
                    <a:lnTo>
                      <a:pt x="4" y="0"/>
                    </a:lnTo>
                    <a:lnTo>
                      <a:pt x="3" y="0"/>
                    </a:lnTo>
                    <a:lnTo>
                      <a:pt x="3" y="3"/>
                    </a:lnTo>
                    <a:lnTo>
                      <a:pt x="6" y="4"/>
                    </a:lnTo>
                    <a:lnTo>
                      <a:pt x="6" y="4"/>
                    </a:lnTo>
                    <a:lnTo>
                      <a:pt x="9" y="5"/>
                    </a:lnTo>
                    <a:lnTo>
                      <a:pt x="9" y="5"/>
                    </a:lnTo>
                    <a:lnTo>
                      <a:pt x="10" y="5"/>
                    </a:lnTo>
                    <a:lnTo>
                      <a:pt x="9" y="5"/>
                    </a:lnTo>
                    <a:lnTo>
                      <a:pt x="9" y="5"/>
                    </a:lnTo>
                    <a:lnTo>
                      <a:pt x="6" y="5"/>
                    </a:lnTo>
                    <a:lnTo>
                      <a:pt x="4" y="4"/>
                    </a:lnTo>
                    <a:lnTo>
                      <a:pt x="4" y="7"/>
                    </a:lnTo>
                    <a:lnTo>
                      <a:pt x="5" y="9"/>
                    </a:lnTo>
                    <a:lnTo>
                      <a:pt x="4" y="9"/>
                    </a:lnTo>
                    <a:lnTo>
                      <a:pt x="3" y="12"/>
                    </a:lnTo>
                    <a:lnTo>
                      <a:pt x="2" y="13"/>
                    </a:lnTo>
                    <a:lnTo>
                      <a:pt x="2" y="15"/>
                    </a:lnTo>
                    <a:lnTo>
                      <a:pt x="3" y="15"/>
                    </a:lnTo>
                    <a:lnTo>
                      <a:pt x="2" y="19"/>
                    </a:lnTo>
                    <a:lnTo>
                      <a:pt x="2" y="20"/>
                    </a:lnTo>
                    <a:lnTo>
                      <a:pt x="1" y="22"/>
                    </a:lnTo>
                    <a:lnTo>
                      <a:pt x="1" y="23"/>
                    </a:lnTo>
                    <a:lnTo>
                      <a:pt x="1" y="25"/>
                    </a:lnTo>
                    <a:lnTo>
                      <a:pt x="1" y="26"/>
                    </a:lnTo>
                    <a:lnTo>
                      <a:pt x="0" y="26"/>
                    </a:lnTo>
                    <a:lnTo>
                      <a:pt x="0" y="23"/>
                    </a:lnTo>
                    <a:lnTo>
                      <a:pt x="0" y="26"/>
                    </a:lnTo>
                    <a:lnTo>
                      <a:pt x="0" y="29"/>
                    </a:lnTo>
                    <a:lnTo>
                      <a:pt x="1" y="31"/>
                    </a:lnTo>
                    <a:lnTo>
                      <a:pt x="1" y="33"/>
                    </a:lnTo>
                    <a:lnTo>
                      <a:pt x="1" y="35"/>
                    </a:lnTo>
                    <a:lnTo>
                      <a:pt x="1" y="38"/>
                    </a:lnTo>
                    <a:lnTo>
                      <a:pt x="2" y="40"/>
                    </a:lnTo>
                    <a:lnTo>
                      <a:pt x="1" y="41"/>
                    </a:lnTo>
                    <a:lnTo>
                      <a:pt x="2" y="43"/>
                    </a:lnTo>
                    <a:lnTo>
                      <a:pt x="3" y="46"/>
                    </a:lnTo>
                    <a:lnTo>
                      <a:pt x="3" y="47"/>
                    </a:lnTo>
                    <a:lnTo>
                      <a:pt x="3" y="48"/>
                    </a:lnTo>
                    <a:lnTo>
                      <a:pt x="4" y="50"/>
                    </a:lnTo>
                    <a:lnTo>
                      <a:pt x="5" y="52"/>
                    </a:lnTo>
                    <a:lnTo>
                      <a:pt x="9" y="54"/>
                    </a:lnTo>
                    <a:lnTo>
                      <a:pt x="9"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9" name="Freeform 205">
                <a:extLst>
                  <a:ext uri="{FF2B5EF4-FFF2-40B4-BE49-F238E27FC236}">
                    <a16:creationId xmlns:a16="http://schemas.microsoft.com/office/drawing/2014/main" id="{E8F804E6-8A12-4E24-ABEA-07499C84A664}"/>
                  </a:ext>
                </a:extLst>
              </p:cNvPr>
              <p:cNvSpPr>
                <a:spLocks/>
              </p:cNvSpPr>
              <p:nvPr/>
            </p:nvSpPr>
            <p:spPr bwMode="auto">
              <a:xfrm>
                <a:off x="4488" y="2132"/>
                <a:ext cx="10" cy="23"/>
              </a:xfrm>
              <a:custGeom>
                <a:avLst/>
                <a:gdLst>
                  <a:gd name="T0" fmla="*/ 4 w 10"/>
                  <a:gd name="T1" fmla="*/ 3 h 23"/>
                  <a:gd name="T2" fmla="*/ 5 w 10"/>
                  <a:gd name="T3" fmla="*/ 3 h 23"/>
                  <a:gd name="T4" fmla="*/ 6 w 10"/>
                  <a:gd name="T5" fmla="*/ 3 h 23"/>
                  <a:gd name="T6" fmla="*/ 8 w 10"/>
                  <a:gd name="T7" fmla="*/ 3 h 23"/>
                  <a:gd name="T8" fmla="*/ 9 w 10"/>
                  <a:gd name="T9" fmla="*/ 6 h 23"/>
                  <a:gd name="T10" fmla="*/ 9 w 10"/>
                  <a:gd name="T11" fmla="*/ 8 h 23"/>
                  <a:gd name="T12" fmla="*/ 9 w 10"/>
                  <a:gd name="T13" fmla="*/ 7 h 23"/>
                  <a:gd name="T14" fmla="*/ 9 w 10"/>
                  <a:gd name="T15" fmla="*/ 6 h 23"/>
                  <a:gd name="T16" fmla="*/ 9 w 10"/>
                  <a:gd name="T17" fmla="*/ 4 h 23"/>
                  <a:gd name="T18" fmla="*/ 10 w 10"/>
                  <a:gd name="T19" fmla="*/ 4 h 23"/>
                  <a:gd name="T20" fmla="*/ 10 w 10"/>
                  <a:gd name="T21" fmla="*/ 7 h 23"/>
                  <a:gd name="T22" fmla="*/ 10 w 10"/>
                  <a:gd name="T23" fmla="*/ 12 h 23"/>
                  <a:gd name="T24" fmla="*/ 9 w 10"/>
                  <a:gd name="T25" fmla="*/ 14 h 23"/>
                  <a:gd name="T26" fmla="*/ 8 w 10"/>
                  <a:gd name="T27" fmla="*/ 16 h 23"/>
                  <a:gd name="T28" fmla="*/ 6 w 10"/>
                  <a:gd name="T29" fmla="*/ 17 h 23"/>
                  <a:gd name="T30" fmla="*/ 6 w 10"/>
                  <a:gd name="T31" fmla="*/ 16 h 23"/>
                  <a:gd name="T32" fmla="*/ 6 w 10"/>
                  <a:gd name="T33" fmla="*/ 19 h 23"/>
                  <a:gd name="T34" fmla="*/ 8 w 10"/>
                  <a:gd name="T35" fmla="*/ 22 h 23"/>
                  <a:gd name="T36" fmla="*/ 6 w 10"/>
                  <a:gd name="T37" fmla="*/ 20 h 23"/>
                  <a:gd name="T38" fmla="*/ 5 w 10"/>
                  <a:gd name="T39" fmla="*/ 21 h 23"/>
                  <a:gd name="T40" fmla="*/ 4 w 10"/>
                  <a:gd name="T41" fmla="*/ 21 h 23"/>
                  <a:gd name="T42" fmla="*/ 4 w 10"/>
                  <a:gd name="T43" fmla="*/ 22 h 23"/>
                  <a:gd name="T44" fmla="*/ 2 w 10"/>
                  <a:gd name="T45" fmla="*/ 23 h 23"/>
                  <a:gd name="T46" fmla="*/ 1 w 10"/>
                  <a:gd name="T47" fmla="*/ 21 h 23"/>
                  <a:gd name="T48" fmla="*/ 1 w 10"/>
                  <a:gd name="T49" fmla="*/ 20 h 23"/>
                  <a:gd name="T50" fmla="*/ 1 w 10"/>
                  <a:gd name="T51" fmla="*/ 19 h 23"/>
                  <a:gd name="T52" fmla="*/ 0 w 10"/>
                  <a:gd name="T53" fmla="*/ 19 h 23"/>
                  <a:gd name="T54" fmla="*/ 0 w 10"/>
                  <a:gd name="T55" fmla="*/ 17 h 23"/>
                  <a:gd name="T56" fmla="*/ 1 w 10"/>
                  <a:gd name="T57" fmla="*/ 19 h 23"/>
                  <a:gd name="T58" fmla="*/ 2 w 10"/>
                  <a:gd name="T59" fmla="*/ 19 h 23"/>
                  <a:gd name="T60" fmla="*/ 3 w 10"/>
                  <a:gd name="T61" fmla="*/ 20 h 23"/>
                  <a:gd name="T62" fmla="*/ 3 w 10"/>
                  <a:gd name="T63" fmla="*/ 17 h 23"/>
                  <a:gd name="T64" fmla="*/ 2 w 10"/>
                  <a:gd name="T65" fmla="*/ 16 h 23"/>
                  <a:gd name="T66" fmla="*/ 1 w 10"/>
                  <a:gd name="T67" fmla="*/ 17 h 23"/>
                  <a:gd name="T68" fmla="*/ 1 w 10"/>
                  <a:gd name="T69" fmla="*/ 15 h 23"/>
                  <a:gd name="T70" fmla="*/ 2 w 10"/>
                  <a:gd name="T71" fmla="*/ 14 h 23"/>
                  <a:gd name="T72" fmla="*/ 2 w 10"/>
                  <a:gd name="T73" fmla="*/ 13 h 23"/>
                  <a:gd name="T74" fmla="*/ 3 w 10"/>
                  <a:gd name="T75" fmla="*/ 13 h 23"/>
                  <a:gd name="T76" fmla="*/ 3 w 10"/>
                  <a:gd name="T77" fmla="*/ 12 h 23"/>
                  <a:gd name="T78" fmla="*/ 2 w 10"/>
                  <a:gd name="T79" fmla="*/ 13 h 23"/>
                  <a:gd name="T80" fmla="*/ 1 w 10"/>
                  <a:gd name="T81" fmla="*/ 13 h 23"/>
                  <a:gd name="T82" fmla="*/ 0 w 10"/>
                  <a:gd name="T83" fmla="*/ 12 h 23"/>
                  <a:gd name="T84" fmla="*/ 1 w 10"/>
                  <a:gd name="T85" fmla="*/ 12 h 23"/>
                  <a:gd name="T86" fmla="*/ 2 w 10"/>
                  <a:gd name="T87" fmla="*/ 11 h 23"/>
                  <a:gd name="T88" fmla="*/ 1 w 10"/>
                  <a:gd name="T89" fmla="*/ 10 h 23"/>
                  <a:gd name="T90" fmla="*/ 1 w 10"/>
                  <a:gd name="T91" fmla="*/ 8 h 23"/>
                  <a:gd name="T92" fmla="*/ 1 w 10"/>
                  <a:gd name="T93" fmla="*/ 7 h 23"/>
                  <a:gd name="T94" fmla="*/ 1 w 10"/>
                  <a:gd name="T95" fmla="*/ 6 h 23"/>
                  <a:gd name="T96" fmla="*/ 1 w 10"/>
                  <a:gd name="T97" fmla="*/ 5 h 23"/>
                  <a:gd name="T98" fmla="*/ 2 w 10"/>
                  <a:gd name="T99" fmla="*/ 4 h 23"/>
                  <a:gd name="T100" fmla="*/ 3 w 10"/>
                  <a:gd name="T101" fmla="*/ 3 h 23"/>
                  <a:gd name="T102" fmla="*/ 4 w 10"/>
                  <a:gd name="T103" fmla="*/ 3 h 23"/>
                  <a:gd name="T104" fmla="*/ 3 w 10"/>
                  <a:gd name="T105" fmla="*/ 2 h 23"/>
                  <a:gd name="T106" fmla="*/ 3 w 10"/>
                  <a:gd name="T10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23">
                    <a:moveTo>
                      <a:pt x="4" y="0"/>
                    </a:moveTo>
                    <a:lnTo>
                      <a:pt x="4" y="0"/>
                    </a:lnTo>
                    <a:lnTo>
                      <a:pt x="4" y="3"/>
                    </a:lnTo>
                    <a:lnTo>
                      <a:pt x="4" y="3"/>
                    </a:lnTo>
                    <a:lnTo>
                      <a:pt x="4" y="3"/>
                    </a:lnTo>
                    <a:lnTo>
                      <a:pt x="5" y="3"/>
                    </a:lnTo>
                    <a:lnTo>
                      <a:pt x="5" y="3"/>
                    </a:lnTo>
                    <a:lnTo>
                      <a:pt x="5" y="3"/>
                    </a:lnTo>
                    <a:lnTo>
                      <a:pt x="5" y="3"/>
                    </a:lnTo>
                    <a:lnTo>
                      <a:pt x="5" y="3"/>
                    </a:lnTo>
                    <a:lnTo>
                      <a:pt x="5" y="3"/>
                    </a:lnTo>
                    <a:lnTo>
                      <a:pt x="6" y="3"/>
                    </a:lnTo>
                    <a:lnTo>
                      <a:pt x="6" y="3"/>
                    </a:lnTo>
                    <a:lnTo>
                      <a:pt x="8" y="3"/>
                    </a:lnTo>
                    <a:lnTo>
                      <a:pt x="8" y="3"/>
                    </a:lnTo>
                    <a:lnTo>
                      <a:pt x="8" y="3"/>
                    </a:lnTo>
                    <a:lnTo>
                      <a:pt x="8" y="3"/>
                    </a:lnTo>
                    <a:lnTo>
                      <a:pt x="8" y="3"/>
                    </a:lnTo>
                    <a:lnTo>
                      <a:pt x="9" y="3"/>
                    </a:lnTo>
                    <a:lnTo>
                      <a:pt x="9" y="6"/>
                    </a:lnTo>
                    <a:lnTo>
                      <a:pt x="8" y="6"/>
                    </a:lnTo>
                    <a:lnTo>
                      <a:pt x="9" y="7"/>
                    </a:lnTo>
                    <a:lnTo>
                      <a:pt x="9" y="7"/>
                    </a:lnTo>
                    <a:lnTo>
                      <a:pt x="9" y="8"/>
                    </a:lnTo>
                    <a:lnTo>
                      <a:pt x="9" y="8"/>
                    </a:lnTo>
                    <a:lnTo>
                      <a:pt x="9" y="8"/>
                    </a:lnTo>
                    <a:lnTo>
                      <a:pt x="9" y="8"/>
                    </a:lnTo>
                    <a:lnTo>
                      <a:pt x="9" y="7"/>
                    </a:lnTo>
                    <a:lnTo>
                      <a:pt x="9" y="7"/>
                    </a:lnTo>
                    <a:lnTo>
                      <a:pt x="9" y="6"/>
                    </a:lnTo>
                    <a:lnTo>
                      <a:pt x="9" y="6"/>
                    </a:lnTo>
                    <a:lnTo>
                      <a:pt x="9" y="6"/>
                    </a:lnTo>
                    <a:lnTo>
                      <a:pt x="9" y="5"/>
                    </a:lnTo>
                    <a:lnTo>
                      <a:pt x="9" y="5"/>
                    </a:lnTo>
                    <a:lnTo>
                      <a:pt x="9" y="5"/>
                    </a:lnTo>
                    <a:lnTo>
                      <a:pt x="9" y="4"/>
                    </a:lnTo>
                    <a:lnTo>
                      <a:pt x="9" y="4"/>
                    </a:lnTo>
                    <a:lnTo>
                      <a:pt x="9" y="4"/>
                    </a:lnTo>
                    <a:lnTo>
                      <a:pt x="10" y="4"/>
                    </a:lnTo>
                    <a:lnTo>
                      <a:pt x="10" y="4"/>
                    </a:lnTo>
                    <a:lnTo>
                      <a:pt x="10" y="5"/>
                    </a:lnTo>
                    <a:lnTo>
                      <a:pt x="10" y="6"/>
                    </a:lnTo>
                    <a:lnTo>
                      <a:pt x="10" y="6"/>
                    </a:lnTo>
                    <a:lnTo>
                      <a:pt x="10" y="7"/>
                    </a:lnTo>
                    <a:lnTo>
                      <a:pt x="10" y="7"/>
                    </a:lnTo>
                    <a:lnTo>
                      <a:pt x="10" y="8"/>
                    </a:lnTo>
                    <a:lnTo>
                      <a:pt x="10" y="8"/>
                    </a:lnTo>
                    <a:lnTo>
                      <a:pt x="10" y="12"/>
                    </a:lnTo>
                    <a:lnTo>
                      <a:pt x="10" y="12"/>
                    </a:lnTo>
                    <a:lnTo>
                      <a:pt x="10" y="13"/>
                    </a:lnTo>
                    <a:lnTo>
                      <a:pt x="10" y="13"/>
                    </a:lnTo>
                    <a:lnTo>
                      <a:pt x="9" y="14"/>
                    </a:lnTo>
                    <a:lnTo>
                      <a:pt x="9" y="14"/>
                    </a:lnTo>
                    <a:lnTo>
                      <a:pt x="9" y="15"/>
                    </a:lnTo>
                    <a:lnTo>
                      <a:pt x="8" y="15"/>
                    </a:lnTo>
                    <a:lnTo>
                      <a:pt x="8" y="16"/>
                    </a:lnTo>
                    <a:lnTo>
                      <a:pt x="8" y="16"/>
                    </a:lnTo>
                    <a:lnTo>
                      <a:pt x="8" y="17"/>
                    </a:lnTo>
                    <a:lnTo>
                      <a:pt x="8" y="17"/>
                    </a:lnTo>
                    <a:lnTo>
                      <a:pt x="6" y="17"/>
                    </a:lnTo>
                    <a:lnTo>
                      <a:pt x="6" y="17"/>
                    </a:lnTo>
                    <a:lnTo>
                      <a:pt x="6" y="17"/>
                    </a:lnTo>
                    <a:lnTo>
                      <a:pt x="6" y="17"/>
                    </a:lnTo>
                    <a:lnTo>
                      <a:pt x="6" y="16"/>
                    </a:lnTo>
                    <a:lnTo>
                      <a:pt x="6" y="16"/>
                    </a:lnTo>
                    <a:lnTo>
                      <a:pt x="6" y="17"/>
                    </a:lnTo>
                    <a:lnTo>
                      <a:pt x="6" y="17"/>
                    </a:lnTo>
                    <a:lnTo>
                      <a:pt x="6" y="19"/>
                    </a:lnTo>
                    <a:lnTo>
                      <a:pt x="6" y="20"/>
                    </a:lnTo>
                    <a:lnTo>
                      <a:pt x="6" y="20"/>
                    </a:lnTo>
                    <a:lnTo>
                      <a:pt x="8" y="21"/>
                    </a:lnTo>
                    <a:lnTo>
                      <a:pt x="8" y="22"/>
                    </a:lnTo>
                    <a:lnTo>
                      <a:pt x="6" y="22"/>
                    </a:lnTo>
                    <a:lnTo>
                      <a:pt x="6" y="21"/>
                    </a:lnTo>
                    <a:lnTo>
                      <a:pt x="6" y="21"/>
                    </a:lnTo>
                    <a:lnTo>
                      <a:pt x="6" y="20"/>
                    </a:lnTo>
                    <a:lnTo>
                      <a:pt x="6" y="21"/>
                    </a:lnTo>
                    <a:lnTo>
                      <a:pt x="6" y="21"/>
                    </a:lnTo>
                    <a:lnTo>
                      <a:pt x="6" y="21"/>
                    </a:lnTo>
                    <a:lnTo>
                      <a:pt x="5" y="21"/>
                    </a:lnTo>
                    <a:lnTo>
                      <a:pt x="5" y="21"/>
                    </a:lnTo>
                    <a:lnTo>
                      <a:pt x="5" y="20"/>
                    </a:lnTo>
                    <a:lnTo>
                      <a:pt x="4" y="20"/>
                    </a:lnTo>
                    <a:lnTo>
                      <a:pt x="4" y="21"/>
                    </a:lnTo>
                    <a:lnTo>
                      <a:pt x="4" y="21"/>
                    </a:lnTo>
                    <a:lnTo>
                      <a:pt x="4" y="21"/>
                    </a:lnTo>
                    <a:lnTo>
                      <a:pt x="4" y="22"/>
                    </a:lnTo>
                    <a:lnTo>
                      <a:pt x="4" y="22"/>
                    </a:lnTo>
                    <a:lnTo>
                      <a:pt x="4" y="23"/>
                    </a:lnTo>
                    <a:lnTo>
                      <a:pt x="4" y="23"/>
                    </a:lnTo>
                    <a:lnTo>
                      <a:pt x="4" y="23"/>
                    </a:lnTo>
                    <a:lnTo>
                      <a:pt x="2" y="23"/>
                    </a:lnTo>
                    <a:lnTo>
                      <a:pt x="2" y="23"/>
                    </a:lnTo>
                    <a:lnTo>
                      <a:pt x="1" y="23"/>
                    </a:lnTo>
                    <a:lnTo>
                      <a:pt x="1" y="22"/>
                    </a:lnTo>
                    <a:lnTo>
                      <a:pt x="1" y="21"/>
                    </a:lnTo>
                    <a:lnTo>
                      <a:pt x="1" y="21"/>
                    </a:lnTo>
                    <a:lnTo>
                      <a:pt x="1" y="21"/>
                    </a:lnTo>
                    <a:lnTo>
                      <a:pt x="1" y="20"/>
                    </a:lnTo>
                    <a:lnTo>
                      <a:pt x="1" y="20"/>
                    </a:lnTo>
                    <a:lnTo>
                      <a:pt x="1" y="20"/>
                    </a:lnTo>
                    <a:lnTo>
                      <a:pt x="1" y="20"/>
                    </a:lnTo>
                    <a:lnTo>
                      <a:pt x="1" y="19"/>
                    </a:lnTo>
                    <a:lnTo>
                      <a:pt x="1" y="19"/>
                    </a:lnTo>
                    <a:lnTo>
                      <a:pt x="0" y="19"/>
                    </a:lnTo>
                    <a:lnTo>
                      <a:pt x="0" y="19"/>
                    </a:lnTo>
                    <a:lnTo>
                      <a:pt x="0" y="19"/>
                    </a:lnTo>
                    <a:lnTo>
                      <a:pt x="0" y="19"/>
                    </a:lnTo>
                    <a:lnTo>
                      <a:pt x="0" y="19"/>
                    </a:lnTo>
                    <a:lnTo>
                      <a:pt x="0" y="17"/>
                    </a:lnTo>
                    <a:lnTo>
                      <a:pt x="0" y="17"/>
                    </a:lnTo>
                    <a:lnTo>
                      <a:pt x="0" y="17"/>
                    </a:lnTo>
                    <a:lnTo>
                      <a:pt x="0" y="17"/>
                    </a:lnTo>
                    <a:lnTo>
                      <a:pt x="0" y="17"/>
                    </a:lnTo>
                    <a:lnTo>
                      <a:pt x="0" y="19"/>
                    </a:lnTo>
                    <a:lnTo>
                      <a:pt x="1" y="19"/>
                    </a:lnTo>
                    <a:lnTo>
                      <a:pt x="2" y="19"/>
                    </a:lnTo>
                    <a:lnTo>
                      <a:pt x="2" y="19"/>
                    </a:lnTo>
                    <a:lnTo>
                      <a:pt x="2" y="19"/>
                    </a:lnTo>
                    <a:lnTo>
                      <a:pt x="2" y="19"/>
                    </a:lnTo>
                    <a:lnTo>
                      <a:pt x="2" y="20"/>
                    </a:lnTo>
                    <a:lnTo>
                      <a:pt x="2" y="20"/>
                    </a:lnTo>
                    <a:lnTo>
                      <a:pt x="2" y="20"/>
                    </a:lnTo>
                    <a:lnTo>
                      <a:pt x="3" y="20"/>
                    </a:lnTo>
                    <a:lnTo>
                      <a:pt x="3" y="20"/>
                    </a:lnTo>
                    <a:lnTo>
                      <a:pt x="3" y="19"/>
                    </a:lnTo>
                    <a:lnTo>
                      <a:pt x="3" y="17"/>
                    </a:lnTo>
                    <a:lnTo>
                      <a:pt x="3" y="17"/>
                    </a:lnTo>
                    <a:lnTo>
                      <a:pt x="3" y="16"/>
                    </a:lnTo>
                    <a:lnTo>
                      <a:pt x="3" y="16"/>
                    </a:lnTo>
                    <a:lnTo>
                      <a:pt x="2" y="16"/>
                    </a:lnTo>
                    <a:lnTo>
                      <a:pt x="2" y="16"/>
                    </a:lnTo>
                    <a:lnTo>
                      <a:pt x="2" y="16"/>
                    </a:lnTo>
                    <a:lnTo>
                      <a:pt x="2" y="16"/>
                    </a:lnTo>
                    <a:lnTo>
                      <a:pt x="2" y="17"/>
                    </a:lnTo>
                    <a:lnTo>
                      <a:pt x="1" y="17"/>
                    </a:lnTo>
                    <a:lnTo>
                      <a:pt x="1" y="16"/>
                    </a:lnTo>
                    <a:lnTo>
                      <a:pt x="1" y="16"/>
                    </a:lnTo>
                    <a:lnTo>
                      <a:pt x="1" y="15"/>
                    </a:lnTo>
                    <a:lnTo>
                      <a:pt x="1" y="15"/>
                    </a:lnTo>
                    <a:lnTo>
                      <a:pt x="1" y="15"/>
                    </a:lnTo>
                    <a:lnTo>
                      <a:pt x="2" y="15"/>
                    </a:lnTo>
                    <a:lnTo>
                      <a:pt x="2" y="14"/>
                    </a:lnTo>
                    <a:lnTo>
                      <a:pt x="2" y="14"/>
                    </a:lnTo>
                    <a:lnTo>
                      <a:pt x="2" y="14"/>
                    </a:lnTo>
                    <a:lnTo>
                      <a:pt x="2" y="14"/>
                    </a:lnTo>
                    <a:lnTo>
                      <a:pt x="2" y="13"/>
                    </a:lnTo>
                    <a:lnTo>
                      <a:pt x="2" y="13"/>
                    </a:lnTo>
                    <a:lnTo>
                      <a:pt x="3" y="13"/>
                    </a:lnTo>
                    <a:lnTo>
                      <a:pt x="3" y="13"/>
                    </a:lnTo>
                    <a:lnTo>
                      <a:pt x="3" y="13"/>
                    </a:lnTo>
                    <a:lnTo>
                      <a:pt x="3" y="13"/>
                    </a:lnTo>
                    <a:lnTo>
                      <a:pt x="3" y="12"/>
                    </a:lnTo>
                    <a:lnTo>
                      <a:pt x="4" y="12"/>
                    </a:lnTo>
                    <a:lnTo>
                      <a:pt x="4" y="12"/>
                    </a:lnTo>
                    <a:lnTo>
                      <a:pt x="3" y="12"/>
                    </a:lnTo>
                    <a:lnTo>
                      <a:pt x="3" y="12"/>
                    </a:lnTo>
                    <a:lnTo>
                      <a:pt x="2" y="12"/>
                    </a:lnTo>
                    <a:lnTo>
                      <a:pt x="2" y="12"/>
                    </a:lnTo>
                    <a:lnTo>
                      <a:pt x="2" y="13"/>
                    </a:lnTo>
                    <a:lnTo>
                      <a:pt x="2" y="13"/>
                    </a:lnTo>
                    <a:lnTo>
                      <a:pt x="1" y="13"/>
                    </a:lnTo>
                    <a:lnTo>
                      <a:pt x="1" y="13"/>
                    </a:lnTo>
                    <a:lnTo>
                      <a:pt x="1" y="13"/>
                    </a:lnTo>
                    <a:lnTo>
                      <a:pt x="0" y="13"/>
                    </a:lnTo>
                    <a:lnTo>
                      <a:pt x="0" y="13"/>
                    </a:lnTo>
                    <a:lnTo>
                      <a:pt x="0" y="13"/>
                    </a:lnTo>
                    <a:lnTo>
                      <a:pt x="0" y="12"/>
                    </a:lnTo>
                    <a:lnTo>
                      <a:pt x="0" y="12"/>
                    </a:lnTo>
                    <a:lnTo>
                      <a:pt x="0" y="12"/>
                    </a:lnTo>
                    <a:lnTo>
                      <a:pt x="1" y="12"/>
                    </a:lnTo>
                    <a:lnTo>
                      <a:pt x="1" y="12"/>
                    </a:lnTo>
                    <a:lnTo>
                      <a:pt x="1" y="11"/>
                    </a:lnTo>
                    <a:lnTo>
                      <a:pt x="2" y="11"/>
                    </a:lnTo>
                    <a:lnTo>
                      <a:pt x="2" y="11"/>
                    </a:lnTo>
                    <a:lnTo>
                      <a:pt x="2" y="11"/>
                    </a:lnTo>
                    <a:lnTo>
                      <a:pt x="2" y="10"/>
                    </a:lnTo>
                    <a:lnTo>
                      <a:pt x="2" y="10"/>
                    </a:lnTo>
                    <a:lnTo>
                      <a:pt x="2" y="10"/>
                    </a:lnTo>
                    <a:lnTo>
                      <a:pt x="1" y="10"/>
                    </a:lnTo>
                    <a:lnTo>
                      <a:pt x="1" y="10"/>
                    </a:lnTo>
                    <a:lnTo>
                      <a:pt x="1" y="8"/>
                    </a:lnTo>
                    <a:lnTo>
                      <a:pt x="1" y="8"/>
                    </a:lnTo>
                    <a:lnTo>
                      <a:pt x="1" y="8"/>
                    </a:lnTo>
                    <a:lnTo>
                      <a:pt x="1" y="8"/>
                    </a:lnTo>
                    <a:lnTo>
                      <a:pt x="1" y="7"/>
                    </a:lnTo>
                    <a:lnTo>
                      <a:pt x="1" y="7"/>
                    </a:lnTo>
                    <a:lnTo>
                      <a:pt x="1" y="7"/>
                    </a:lnTo>
                    <a:lnTo>
                      <a:pt x="1" y="6"/>
                    </a:lnTo>
                    <a:lnTo>
                      <a:pt x="1" y="6"/>
                    </a:lnTo>
                    <a:lnTo>
                      <a:pt x="1" y="6"/>
                    </a:lnTo>
                    <a:lnTo>
                      <a:pt x="1" y="6"/>
                    </a:lnTo>
                    <a:lnTo>
                      <a:pt x="1" y="6"/>
                    </a:lnTo>
                    <a:lnTo>
                      <a:pt x="1" y="6"/>
                    </a:lnTo>
                    <a:lnTo>
                      <a:pt x="1" y="5"/>
                    </a:lnTo>
                    <a:lnTo>
                      <a:pt x="1" y="5"/>
                    </a:lnTo>
                    <a:lnTo>
                      <a:pt x="2" y="5"/>
                    </a:lnTo>
                    <a:lnTo>
                      <a:pt x="2" y="4"/>
                    </a:lnTo>
                    <a:lnTo>
                      <a:pt x="2" y="4"/>
                    </a:lnTo>
                    <a:lnTo>
                      <a:pt x="2" y="4"/>
                    </a:lnTo>
                    <a:lnTo>
                      <a:pt x="3" y="3"/>
                    </a:lnTo>
                    <a:lnTo>
                      <a:pt x="3" y="3"/>
                    </a:lnTo>
                    <a:lnTo>
                      <a:pt x="3" y="3"/>
                    </a:lnTo>
                    <a:lnTo>
                      <a:pt x="3" y="3"/>
                    </a:lnTo>
                    <a:lnTo>
                      <a:pt x="4" y="3"/>
                    </a:lnTo>
                    <a:lnTo>
                      <a:pt x="4" y="3"/>
                    </a:lnTo>
                    <a:lnTo>
                      <a:pt x="4" y="3"/>
                    </a:lnTo>
                    <a:lnTo>
                      <a:pt x="4" y="3"/>
                    </a:lnTo>
                    <a:lnTo>
                      <a:pt x="3" y="3"/>
                    </a:lnTo>
                    <a:lnTo>
                      <a:pt x="3" y="3"/>
                    </a:lnTo>
                    <a:lnTo>
                      <a:pt x="3" y="3"/>
                    </a:lnTo>
                    <a:lnTo>
                      <a:pt x="3" y="2"/>
                    </a:lnTo>
                    <a:lnTo>
                      <a:pt x="3" y="2"/>
                    </a:lnTo>
                    <a:lnTo>
                      <a:pt x="3" y="2"/>
                    </a:lnTo>
                    <a:lnTo>
                      <a:pt x="3" y="0"/>
                    </a:lnTo>
                    <a:lnTo>
                      <a:pt x="3"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grpSp>
        <p:sp>
          <p:nvSpPr>
            <p:cNvPr id="7" name="Freeform 207">
              <a:extLst>
                <a:ext uri="{FF2B5EF4-FFF2-40B4-BE49-F238E27FC236}">
                  <a16:creationId xmlns:a16="http://schemas.microsoft.com/office/drawing/2014/main" id="{09FB67DB-EA93-4577-A443-38479F2DB984}"/>
                </a:ext>
              </a:extLst>
            </p:cNvPr>
            <p:cNvSpPr>
              <a:spLocks noEditPoints="1"/>
            </p:cNvSpPr>
            <p:nvPr/>
          </p:nvSpPr>
          <p:spPr bwMode="auto">
            <a:xfrm>
              <a:off x="3851275" y="2009775"/>
              <a:ext cx="671512" cy="342900"/>
            </a:xfrm>
            <a:custGeom>
              <a:avLst/>
              <a:gdLst>
                <a:gd name="T0" fmla="*/ 381 w 423"/>
                <a:gd name="T1" fmla="*/ 10 h 216"/>
                <a:gd name="T2" fmla="*/ 322 w 423"/>
                <a:gd name="T3" fmla="*/ 16 h 216"/>
                <a:gd name="T4" fmla="*/ 317 w 423"/>
                <a:gd name="T5" fmla="*/ 5 h 216"/>
                <a:gd name="T6" fmla="*/ 267 w 423"/>
                <a:gd name="T7" fmla="*/ 1 h 216"/>
                <a:gd name="T8" fmla="*/ 230 w 423"/>
                <a:gd name="T9" fmla="*/ 2 h 216"/>
                <a:gd name="T10" fmla="*/ 215 w 423"/>
                <a:gd name="T11" fmla="*/ 22 h 216"/>
                <a:gd name="T12" fmla="*/ 162 w 423"/>
                <a:gd name="T13" fmla="*/ 6 h 216"/>
                <a:gd name="T14" fmla="*/ 151 w 423"/>
                <a:gd name="T15" fmla="*/ 10 h 216"/>
                <a:gd name="T16" fmla="*/ 133 w 423"/>
                <a:gd name="T17" fmla="*/ 22 h 216"/>
                <a:gd name="T18" fmla="*/ 164 w 423"/>
                <a:gd name="T19" fmla="*/ 40 h 216"/>
                <a:gd name="T20" fmla="*/ 127 w 423"/>
                <a:gd name="T21" fmla="*/ 35 h 216"/>
                <a:gd name="T22" fmla="*/ 87 w 423"/>
                <a:gd name="T23" fmla="*/ 28 h 216"/>
                <a:gd name="T24" fmla="*/ 86 w 423"/>
                <a:gd name="T25" fmla="*/ 40 h 216"/>
                <a:gd name="T26" fmla="*/ 37 w 423"/>
                <a:gd name="T27" fmla="*/ 40 h 216"/>
                <a:gd name="T28" fmla="*/ 15 w 423"/>
                <a:gd name="T29" fmla="*/ 50 h 216"/>
                <a:gd name="T30" fmla="*/ 42 w 423"/>
                <a:gd name="T31" fmla="*/ 52 h 216"/>
                <a:gd name="T32" fmla="*/ 35 w 423"/>
                <a:gd name="T33" fmla="*/ 62 h 216"/>
                <a:gd name="T34" fmla="*/ 60 w 423"/>
                <a:gd name="T35" fmla="*/ 68 h 216"/>
                <a:gd name="T36" fmla="*/ 66 w 423"/>
                <a:gd name="T37" fmla="*/ 70 h 216"/>
                <a:gd name="T38" fmla="*/ 73 w 423"/>
                <a:gd name="T39" fmla="*/ 75 h 216"/>
                <a:gd name="T40" fmla="*/ 121 w 423"/>
                <a:gd name="T41" fmla="*/ 67 h 216"/>
                <a:gd name="T42" fmla="*/ 85 w 423"/>
                <a:gd name="T43" fmla="*/ 84 h 216"/>
                <a:gd name="T44" fmla="*/ 133 w 423"/>
                <a:gd name="T45" fmla="*/ 77 h 216"/>
                <a:gd name="T46" fmla="*/ 156 w 423"/>
                <a:gd name="T47" fmla="*/ 79 h 216"/>
                <a:gd name="T48" fmla="*/ 202 w 423"/>
                <a:gd name="T49" fmla="*/ 57 h 216"/>
                <a:gd name="T50" fmla="*/ 211 w 423"/>
                <a:gd name="T51" fmla="*/ 75 h 216"/>
                <a:gd name="T52" fmla="*/ 182 w 423"/>
                <a:gd name="T53" fmla="*/ 84 h 216"/>
                <a:gd name="T54" fmla="*/ 129 w 423"/>
                <a:gd name="T55" fmla="*/ 99 h 216"/>
                <a:gd name="T56" fmla="*/ 150 w 423"/>
                <a:gd name="T57" fmla="*/ 115 h 216"/>
                <a:gd name="T58" fmla="*/ 88 w 423"/>
                <a:gd name="T59" fmla="*/ 93 h 216"/>
                <a:gd name="T60" fmla="*/ 83 w 423"/>
                <a:gd name="T61" fmla="*/ 111 h 216"/>
                <a:gd name="T62" fmla="*/ 105 w 423"/>
                <a:gd name="T63" fmla="*/ 134 h 216"/>
                <a:gd name="T64" fmla="*/ 127 w 423"/>
                <a:gd name="T65" fmla="*/ 142 h 216"/>
                <a:gd name="T66" fmla="*/ 78 w 423"/>
                <a:gd name="T67" fmla="*/ 138 h 216"/>
                <a:gd name="T68" fmla="*/ 79 w 423"/>
                <a:gd name="T69" fmla="*/ 161 h 216"/>
                <a:gd name="T70" fmla="*/ 99 w 423"/>
                <a:gd name="T71" fmla="*/ 161 h 216"/>
                <a:gd name="T72" fmla="*/ 95 w 423"/>
                <a:gd name="T73" fmla="*/ 176 h 216"/>
                <a:gd name="T74" fmla="*/ 58 w 423"/>
                <a:gd name="T75" fmla="*/ 167 h 216"/>
                <a:gd name="T76" fmla="*/ 58 w 423"/>
                <a:gd name="T77" fmla="*/ 188 h 216"/>
                <a:gd name="T78" fmla="*/ 48 w 423"/>
                <a:gd name="T79" fmla="*/ 204 h 216"/>
                <a:gd name="T80" fmla="*/ 83 w 423"/>
                <a:gd name="T81" fmla="*/ 211 h 216"/>
                <a:gd name="T82" fmla="*/ 119 w 423"/>
                <a:gd name="T83" fmla="*/ 209 h 216"/>
                <a:gd name="T84" fmla="*/ 144 w 423"/>
                <a:gd name="T85" fmla="*/ 207 h 216"/>
                <a:gd name="T86" fmla="*/ 190 w 423"/>
                <a:gd name="T87" fmla="*/ 203 h 216"/>
                <a:gd name="T88" fmla="*/ 161 w 423"/>
                <a:gd name="T89" fmla="*/ 186 h 216"/>
                <a:gd name="T90" fmla="*/ 152 w 423"/>
                <a:gd name="T91" fmla="*/ 183 h 216"/>
                <a:gd name="T92" fmla="*/ 190 w 423"/>
                <a:gd name="T93" fmla="*/ 164 h 216"/>
                <a:gd name="T94" fmla="*/ 224 w 423"/>
                <a:gd name="T95" fmla="*/ 156 h 216"/>
                <a:gd name="T96" fmla="*/ 229 w 423"/>
                <a:gd name="T97" fmla="*/ 136 h 216"/>
                <a:gd name="T98" fmla="*/ 194 w 423"/>
                <a:gd name="T99" fmla="*/ 132 h 216"/>
                <a:gd name="T100" fmla="*/ 199 w 423"/>
                <a:gd name="T101" fmla="*/ 128 h 216"/>
                <a:gd name="T102" fmla="*/ 239 w 423"/>
                <a:gd name="T103" fmla="*/ 132 h 216"/>
                <a:gd name="T104" fmla="*/ 203 w 423"/>
                <a:gd name="T105" fmla="*/ 121 h 216"/>
                <a:gd name="T106" fmla="*/ 235 w 423"/>
                <a:gd name="T107" fmla="*/ 119 h 216"/>
                <a:gd name="T108" fmla="*/ 252 w 423"/>
                <a:gd name="T109" fmla="*/ 108 h 216"/>
                <a:gd name="T110" fmla="*/ 292 w 423"/>
                <a:gd name="T111" fmla="*/ 100 h 216"/>
                <a:gd name="T112" fmla="*/ 299 w 423"/>
                <a:gd name="T113" fmla="*/ 93 h 216"/>
                <a:gd name="T114" fmla="*/ 339 w 423"/>
                <a:gd name="T115" fmla="*/ 72 h 216"/>
                <a:gd name="T116" fmla="*/ 350 w 423"/>
                <a:gd name="T117" fmla="*/ 57 h 216"/>
                <a:gd name="T118" fmla="*/ 305 w 423"/>
                <a:gd name="T119" fmla="*/ 64 h 216"/>
                <a:gd name="T120" fmla="*/ 323 w 423"/>
                <a:gd name="T121" fmla="*/ 53 h 216"/>
                <a:gd name="T122" fmla="*/ 360 w 423"/>
                <a:gd name="T123" fmla="*/ 49 h 216"/>
                <a:gd name="T124" fmla="*/ 408 w 423"/>
                <a:gd name="T125" fmla="*/ 3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216">
                  <a:moveTo>
                    <a:pt x="421" y="25"/>
                  </a:moveTo>
                  <a:lnTo>
                    <a:pt x="419" y="23"/>
                  </a:lnTo>
                  <a:lnTo>
                    <a:pt x="416" y="22"/>
                  </a:lnTo>
                  <a:lnTo>
                    <a:pt x="415" y="22"/>
                  </a:lnTo>
                  <a:lnTo>
                    <a:pt x="411" y="22"/>
                  </a:lnTo>
                  <a:lnTo>
                    <a:pt x="409" y="22"/>
                  </a:lnTo>
                  <a:lnTo>
                    <a:pt x="406" y="22"/>
                  </a:lnTo>
                  <a:lnTo>
                    <a:pt x="402" y="21"/>
                  </a:lnTo>
                  <a:lnTo>
                    <a:pt x="400" y="21"/>
                  </a:lnTo>
                  <a:lnTo>
                    <a:pt x="397" y="22"/>
                  </a:lnTo>
                  <a:lnTo>
                    <a:pt x="394" y="23"/>
                  </a:lnTo>
                  <a:lnTo>
                    <a:pt x="391" y="23"/>
                  </a:lnTo>
                  <a:lnTo>
                    <a:pt x="394" y="23"/>
                  </a:lnTo>
                  <a:lnTo>
                    <a:pt x="395" y="19"/>
                  </a:lnTo>
                  <a:lnTo>
                    <a:pt x="392" y="18"/>
                  </a:lnTo>
                  <a:lnTo>
                    <a:pt x="390" y="15"/>
                  </a:lnTo>
                  <a:lnTo>
                    <a:pt x="386" y="14"/>
                  </a:lnTo>
                  <a:lnTo>
                    <a:pt x="390" y="13"/>
                  </a:lnTo>
                  <a:lnTo>
                    <a:pt x="390" y="10"/>
                  </a:lnTo>
                  <a:lnTo>
                    <a:pt x="386" y="9"/>
                  </a:lnTo>
                  <a:lnTo>
                    <a:pt x="383" y="9"/>
                  </a:lnTo>
                  <a:lnTo>
                    <a:pt x="381" y="10"/>
                  </a:lnTo>
                  <a:lnTo>
                    <a:pt x="377" y="12"/>
                  </a:lnTo>
                  <a:lnTo>
                    <a:pt x="375" y="12"/>
                  </a:lnTo>
                  <a:lnTo>
                    <a:pt x="372" y="10"/>
                  </a:lnTo>
                  <a:lnTo>
                    <a:pt x="369" y="9"/>
                  </a:lnTo>
                  <a:lnTo>
                    <a:pt x="373" y="8"/>
                  </a:lnTo>
                  <a:lnTo>
                    <a:pt x="369" y="7"/>
                  </a:lnTo>
                  <a:lnTo>
                    <a:pt x="366" y="8"/>
                  </a:lnTo>
                  <a:lnTo>
                    <a:pt x="364" y="10"/>
                  </a:lnTo>
                  <a:lnTo>
                    <a:pt x="361" y="12"/>
                  </a:lnTo>
                  <a:lnTo>
                    <a:pt x="358" y="9"/>
                  </a:lnTo>
                  <a:lnTo>
                    <a:pt x="356" y="10"/>
                  </a:lnTo>
                  <a:lnTo>
                    <a:pt x="352" y="10"/>
                  </a:lnTo>
                  <a:lnTo>
                    <a:pt x="350" y="12"/>
                  </a:lnTo>
                  <a:lnTo>
                    <a:pt x="347" y="13"/>
                  </a:lnTo>
                  <a:lnTo>
                    <a:pt x="344" y="14"/>
                  </a:lnTo>
                  <a:lnTo>
                    <a:pt x="342" y="14"/>
                  </a:lnTo>
                  <a:lnTo>
                    <a:pt x="339" y="15"/>
                  </a:lnTo>
                  <a:lnTo>
                    <a:pt x="335" y="16"/>
                  </a:lnTo>
                  <a:lnTo>
                    <a:pt x="333" y="16"/>
                  </a:lnTo>
                  <a:lnTo>
                    <a:pt x="327" y="16"/>
                  </a:lnTo>
                  <a:lnTo>
                    <a:pt x="324" y="16"/>
                  </a:lnTo>
                  <a:lnTo>
                    <a:pt x="322" y="16"/>
                  </a:lnTo>
                  <a:lnTo>
                    <a:pt x="318" y="17"/>
                  </a:lnTo>
                  <a:lnTo>
                    <a:pt x="321" y="15"/>
                  </a:lnTo>
                  <a:lnTo>
                    <a:pt x="324" y="15"/>
                  </a:lnTo>
                  <a:lnTo>
                    <a:pt x="326" y="14"/>
                  </a:lnTo>
                  <a:lnTo>
                    <a:pt x="330" y="14"/>
                  </a:lnTo>
                  <a:lnTo>
                    <a:pt x="333" y="13"/>
                  </a:lnTo>
                  <a:lnTo>
                    <a:pt x="335" y="13"/>
                  </a:lnTo>
                  <a:lnTo>
                    <a:pt x="339" y="12"/>
                  </a:lnTo>
                  <a:lnTo>
                    <a:pt x="341" y="12"/>
                  </a:lnTo>
                  <a:lnTo>
                    <a:pt x="348" y="9"/>
                  </a:lnTo>
                  <a:lnTo>
                    <a:pt x="349" y="7"/>
                  </a:lnTo>
                  <a:lnTo>
                    <a:pt x="347" y="6"/>
                  </a:lnTo>
                  <a:lnTo>
                    <a:pt x="343" y="6"/>
                  </a:lnTo>
                  <a:lnTo>
                    <a:pt x="341" y="6"/>
                  </a:lnTo>
                  <a:lnTo>
                    <a:pt x="338" y="6"/>
                  </a:lnTo>
                  <a:lnTo>
                    <a:pt x="335" y="6"/>
                  </a:lnTo>
                  <a:lnTo>
                    <a:pt x="332" y="6"/>
                  </a:lnTo>
                  <a:lnTo>
                    <a:pt x="329" y="6"/>
                  </a:lnTo>
                  <a:lnTo>
                    <a:pt x="326" y="7"/>
                  </a:lnTo>
                  <a:lnTo>
                    <a:pt x="323" y="5"/>
                  </a:lnTo>
                  <a:lnTo>
                    <a:pt x="321" y="4"/>
                  </a:lnTo>
                  <a:lnTo>
                    <a:pt x="317" y="5"/>
                  </a:lnTo>
                  <a:lnTo>
                    <a:pt x="315" y="5"/>
                  </a:lnTo>
                  <a:lnTo>
                    <a:pt x="312" y="4"/>
                  </a:lnTo>
                  <a:lnTo>
                    <a:pt x="306" y="5"/>
                  </a:lnTo>
                  <a:lnTo>
                    <a:pt x="303" y="2"/>
                  </a:lnTo>
                  <a:lnTo>
                    <a:pt x="299" y="0"/>
                  </a:lnTo>
                  <a:lnTo>
                    <a:pt x="293" y="0"/>
                  </a:lnTo>
                  <a:lnTo>
                    <a:pt x="291" y="1"/>
                  </a:lnTo>
                  <a:lnTo>
                    <a:pt x="288" y="1"/>
                  </a:lnTo>
                  <a:lnTo>
                    <a:pt x="284" y="1"/>
                  </a:lnTo>
                  <a:lnTo>
                    <a:pt x="282" y="2"/>
                  </a:lnTo>
                  <a:lnTo>
                    <a:pt x="279" y="4"/>
                  </a:lnTo>
                  <a:lnTo>
                    <a:pt x="282" y="6"/>
                  </a:lnTo>
                  <a:lnTo>
                    <a:pt x="286" y="7"/>
                  </a:lnTo>
                  <a:lnTo>
                    <a:pt x="288" y="8"/>
                  </a:lnTo>
                  <a:lnTo>
                    <a:pt x="284" y="8"/>
                  </a:lnTo>
                  <a:lnTo>
                    <a:pt x="282" y="7"/>
                  </a:lnTo>
                  <a:lnTo>
                    <a:pt x="279" y="7"/>
                  </a:lnTo>
                  <a:lnTo>
                    <a:pt x="275" y="5"/>
                  </a:lnTo>
                  <a:lnTo>
                    <a:pt x="277" y="1"/>
                  </a:lnTo>
                  <a:lnTo>
                    <a:pt x="273" y="1"/>
                  </a:lnTo>
                  <a:lnTo>
                    <a:pt x="270" y="1"/>
                  </a:lnTo>
                  <a:lnTo>
                    <a:pt x="267" y="1"/>
                  </a:lnTo>
                  <a:lnTo>
                    <a:pt x="264" y="1"/>
                  </a:lnTo>
                  <a:lnTo>
                    <a:pt x="262" y="1"/>
                  </a:lnTo>
                  <a:lnTo>
                    <a:pt x="258" y="2"/>
                  </a:lnTo>
                  <a:lnTo>
                    <a:pt x="255" y="4"/>
                  </a:lnTo>
                  <a:lnTo>
                    <a:pt x="253" y="5"/>
                  </a:lnTo>
                  <a:lnTo>
                    <a:pt x="249" y="6"/>
                  </a:lnTo>
                  <a:lnTo>
                    <a:pt x="253" y="8"/>
                  </a:lnTo>
                  <a:lnTo>
                    <a:pt x="255" y="10"/>
                  </a:lnTo>
                  <a:lnTo>
                    <a:pt x="258" y="12"/>
                  </a:lnTo>
                  <a:lnTo>
                    <a:pt x="264" y="14"/>
                  </a:lnTo>
                  <a:lnTo>
                    <a:pt x="261" y="14"/>
                  </a:lnTo>
                  <a:lnTo>
                    <a:pt x="258" y="13"/>
                  </a:lnTo>
                  <a:lnTo>
                    <a:pt x="255" y="13"/>
                  </a:lnTo>
                  <a:lnTo>
                    <a:pt x="253" y="12"/>
                  </a:lnTo>
                  <a:lnTo>
                    <a:pt x="249" y="10"/>
                  </a:lnTo>
                  <a:lnTo>
                    <a:pt x="247" y="9"/>
                  </a:lnTo>
                  <a:lnTo>
                    <a:pt x="245" y="7"/>
                  </a:lnTo>
                  <a:lnTo>
                    <a:pt x="241" y="5"/>
                  </a:lnTo>
                  <a:lnTo>
                    <a:pt x="239" y="4"/>
                  </a:lnTo>
                  <a:lnTo>
                    <a:pt x="236" y="4"/>
                  </a:lnTo>
                  <a:lnTo>
                    <a:pt x="232" y="2"/>
                  </a:lnTo>
                  <a:lnTo>
                    <a:pt x="230" y="2"/>
                  </a:lnTo>
                  <a:lnTo>
                    <a:pt x="228" y="4"/>
                  </a:lnTo>
                  <a:lnTo>
                    <a:pt x="226" y="4"/>
                  </a:lnTo>
                  <a:lnTo>
                    <a:pt x="215" y="2"/>
                  </a:lnTo>
                  <a:lnTo>
                    <a:pt x="213" y="2"/>
                  </a:lnTo>
                  <a:lnTo>
                    <a:pt x="210" y="4"/>
                  </a:lnTo>
                  <a:lnTo>
                    <a:pt x="206" y="4"/>
                  </a:lnTo>
                  <a:lnTo>
                    <a:pt x="201" y="4"/>
                  </a:lnTo>
                  <a:lnTo>
                    <a:pt x="197" y="6"/>
                  </a:lnTo>
                  <a:lnTo>
                    <a:pt x="201" y="7"/>
                  </a:lnTo>
                  <a:lnTo>
                    <a:pt x="203" y="7"/>
                  </a:lnTo>
                  <a:lnTo>
                    <a:pt x="206" y="9"/>
                  </a:lnTo>
                  <a:lnTo>
                    <a:pt x="210" y="12"/>
                  </a:lnTo>
                  <a:lnTo>
                    <a:pt x="212" y="12"/>
                  </a:lnTo>
                  <a:lnTo>
                    <a:pt x="215" y="12"/>
                  </a:lnTo>
                  <a:lnTo>
                    <a:pt x="212" y="14"/>
                  </a:lnTo>
                  <a:lnTo>
                    <a:pt x="215" y="15"/>
                  </a:lnTo>
                  <a:lnTo>
                    <a:pt x="218" y="16"/>
                  </a:lnTo>
                  <a:lnTo>
                    <a:pt x="221" y="17"/>
                  </a:lnTo>
                  <a:lnTo>
                    <a:pt x="223" y="18"/>
                  </a:lnTo>
                  <a:lnTo>
                    <a:pt x="221" y="18"/>
                  </a:lnTo>
                  <a:lnTo>
                    <a:pt x="218" y="21"/>
                  </a:lnTo>
                  <a:lnTo>
                    <a:pt x="215" y="22"/>
                  </a:lnTo>
                  <a:lnTo>
                    <a:pt x="212" y="23"/>
                  </a:lnTo>
                  <a:lnTo>
                    <a:pt x="214" y="21"/>
                  </a:lnTo>
                  <a:lnTo>
                    <a:pt x="216" y="18"/>
                  </a:lnTo>
                  <a:lnTo>
                    <a:pt x="213" y="17"/>
                  </a:lnTo>
                  <a:lnTo>
                    <a:pt x="211" y="16"/>
                  </a:lnTo>
                  <a:lnTo>
                    <a:pt x="207" y="16"/>
                  </a:lnTo>
                  <a:lnTo>
                    <a:pt x="205" y="14"/>
                  </a:lnTo>
                  <a:lnTo>
                    <a:pt x="202" y="12"/>
                  </a:lnTo>
                  <a:lnTo>
                    <a:pt x="199" y="9"/>
                  </a:lnTo>
                  <a:lnTo>
                    <a:pt x="196" y="9"/>
                  </a:lnTo>
                  <a:lnTo>
                    <a:pt x="194" y="8"/>
                  </a:lnTo>
                  <a:lnTo>
                    <a:pt x="190" y="7"/>
                  </a:lnTo>
                  <a:lnTo>
                    <a:pt x="187" y="9"/>
                  </a:lnTo>
                  <a:lnTo>
                    <a:pt x="185" y="8"/>
                  </a:lnTo>
                  <a:lnTo>
                    <a:pt x="182" y="6"/>
                  </a:lnTo>
                  <a:lnTo>
                    <a:pt x="179" y="7"/>
                  </a:lnTo>
                  <a:lnTo>
                    <a:pt x="176" y="8"/>
                  </a:lnTo>
                  <a:lnTo>
                    <a:pt x="175" y="6"/>
                  </a:lnTo>
                  <a:lnTo>
                    <a:pt x="171" y="5"/>
                  </a:lnTo>
                  <a:lnTo>
                    <a:pt x="169" y="6"/>
                  </a:lnTo>
                  <a:lnTo>
                    <a:pt x="165" y="6"/>
                  </a:lnTo>
                  <a:lnTo>
                    <a:pt x="162" y="6"/>
                  </a:lnTo>
                  <a:lnTo>
                    <a:pt x="159" y="7"/>
                  </a:lnTo>
                  <a:lnTo>
                    <a:pt x="161" y="9"/>
                  </a:lnTo>
                  <a:lnTo>
                    <a:pt x="164" y="9"/>
                  </a:lnTo>
                  <a:lnTo>
                    <a:pt x="168" y="10"/>
                  </a:lnTo>
                  <a:lnTo>
                    <a:pt x="164" y="10"/>
                  </a:lnTo>
                  <a:lnTo>
                    <a:pt x="168" y="14"/>
                  </a:lnTo>
                  <a:lnTo>
                    <a:pt x="170" y="14"/>
                  </a:lnTo>
                  <a:lnTo>
                    <a:pt x="173" y="15"/>
                  </a:lnTo>
                  <a:lnTo>
                    <a:pt x="177" y="15"/>
                  </a:lnTo>
                  <a:lnTo>
                    <a:pt x="179" y="15"/>
                  </a:lnTo>
                  <a:lnTo>
                    <a:pt x="182" y="15"/>
                  </a:lnTo>
                  <a:lnTo>
                    <a:pt x="180" y="16"/>
                  </a:lnTo>
                  <a:lnTo>
                    <a:pt x="177" y="15"/>
                  </a:lnTo>
                  <a:lnTo>
                    <a:pt x="175" y="16"/>
                  </a:lnTo>
                  <a:lnTo>
                    <a:pt x="171" y="15"/>
                  </a:lnTo>
                  <a:lnTo>
                    <a:pt x="168" y="15"/>
                  </a:lnTo>
                  <a:lnTo>
                    <a:pt x="164" y="14"/>
                  </a:lnTo>
                  <a:lnTo>
                    <a:pt x="162" y="15"/>
                  </a:lnTo>
                  <a:lnTo>
                    <a:pt x="159" y="13"/>
                  </a:lnTo>
                  <a:lnTo>
                    <a:pt x="156" y="12"/>
                  </a:lnTo>
                  <a:lnTo>
                    <a:pt x="153" y="10"/>
                  </a:lnTo>
                  <a:lnTo>
                    <a:pt x="151" y="10"/>
                  </a:lnTo>
                  <a:lnTo>
                    <a:pt x="147" y="10"/>
                  </a:lnTo>
                  <a:lnTo>
                    <a:pt x="144" y="10"/>
                  </a:lnTo>
                  <a:lnTo>
                    <a:pt x="144" y="13"/>
                  </a:lnTo>
                  <a:lnTo>
                    <a:pt x="147" y="14"/>
                  </a:lnTo>
                  <a:lnTo>
                    <a:pt x="150" y="16"/>
                  </a:lnTo>
                  <a:lnTo>
                    <a:pt x="153" y="18"/>
                  </a:lnTo>
                  <a:lnTo>
                    <a:pt x="150" y="19"/>
                  </a:lnTo>
                  <a:lnTo>
                    <a:pt x="147" y="18"/>
                  </a:lnTo>
                  <a:lnTo>
                    <a:pt x="144" y="17"/>
                  </a:lnTo>
                  <a:lnTo>
                    <a:pt x="141" y="16"/>
                  </a:lnTo>
                  <a:lnTo>
                    <a:pt x="138" y="16"/>
                  </a:lnTo>
                  <a:lnTo>
                    <a:pt x="135" y="15"/>
                  </a:lnTo>
                  <a:lnTo>
                    <a:pt x="133" y="16"/>
                  </a:lnTo>
                  <a:lnTo>
                    <a:pt x="132" y="18"/>
                  </a:lnTo>
                  <a:lnTo>
                    <a:pt x="135" y="19"/>
                  </a:lnTo>
                  <a:lnTo>
                    <a:pt x="137" y="21"/>
                  </a:lnTo>
                  <a:lnTo>
                    <a:pt x="141" y="21"/>
                  </a:lnTo>
                  <a:lnTo>
                    <a:pt x="143" y="22"/>
                  </a:lnTo>
                  <a:lnTo>
                    <a:pt x="141" y="22"/>
                  </a:lnTo>
                  <a:lnTo>
                    <a:pt x="139" y="22"/>
                  </a:lnTo>
                  <a:lnTo>
                    <a:pt x="136" y="21"/>
                  </a:lnTo>
                  <a:lnTo>
                    <a:pt x="133" y="22"/>
                  </a:lnTo>
                  <a:lnTo>
                    <a:pt x="130" y="21"/>
                  </a:lnTo>
                  <a:lnTo>
                    <a:pt x="127" y="23"/>
                  </a:lnTo>
                  <a:lnTo>
                    <a:pt x="127" y="26"/>
                  </a:lnTo>
                  <a:lnTo>
                    <a:pt x="130" y="27"/>
                  </a:lnTo>
                  <a:lnTo>
                    <a:pt x="133" y="28"/>
                  </a:lnTo>
                  <a:lnTo>
                    <a:pt x="136" y="30"/>
                  </a:lnTo>
                  <a:lnTo>
                    <a:pt x="138" y="31"/>
                  </a:lnTo>
                  <a:lnTo>
                    <a:pt x="142" y="32"/>
                  </a:lnTo>
                  <a:lnTo>
                    <a:pt x="144" y="32"/>
                  </a:lnTo>
                  <a:lnTo>
                    <a:pt x="147" y="33"/>
                  </a:lnTo>
                  <a:lnTo>
                    <a:pt x="150" y="34"/>
                  </a:lnTo>
                  <a:lnTo>
                    <a:pt x="153" y="35"/>
                  </a:lnTo>
                  <a:lnTo>
                    <a:pt x="155" y="36"/>
                  </a:lnTo>
                  <a:lnTo>
                    <a:pt x="159" y="36"/>
                  </a:lnTo>
                  <a:lnTo>
                    <a:pt x="161" y="36"/>
                  </a:lnTo>
                  <a:lnTo>
                    <a:pt x="164" y="39"/>
                  </a:lnTo>
                  <a:lnTo>
                    <a:pt x="168" y="40"/>
                  </a:lnTo>
                  <a:lnTo>
                    <a:pt x="170" y="41"/>
                  </a:lnTo>
                  <a:lnTo>
                    <a:pt x="173" y="44"/>
                  </a:lnTo>
                  <a:lnTo>
                    <a:pt x="170" y="44"/>
                  </a:lnTo>
                  <a:lnTo>
                    <a:pt x="167" y="42"/>
                  </a:lnTo>
                  <a:lnTo>
                    <a:pt x="164" y="40"/>
                  </a:lnTo>
                  <a:lnTo>
                    <a:pt x="161" y="39"/>
                  </a:lnTo>
                  <a:lnTo>
                    <a:pt x="159" y="39"/>
                  </a:lnTo>
                  <a:lnTo>
                    <a:pt x="155" y="39"/>
                  </a:lnTo>
                  <a:lnTo>
                    <a:pt x="153" y="36"/>
                  </a:lnTo>
                  <a:lnTo>
                    <a:pt x="151" y="36"/>
                  </a:lnTo>
                  <a:lnTo>
                    <a:pt x="147" y="35"/>
                  </a:lnTo>
                  <a:lnTo>
                    <a:pt x="142" y="34"/>
                  </a:lnTo>
                  <a:lnTo>
                    <a:pt x="139" y="33"/>
                  </a:lnTo>
                  <a:lnTo>
                    <a:pt x="136" y="32"/>
                  </a:lnTo>
                  <a:lnTo>
                    <a:pt x="134" y="32"/>
                  </a:lnTo>
                  <a:lnTo>
                    <a:pt x="130" y="30"/>
                  </a:lnTo>
                  <a:lnTo>
                    <a:pt x="128" y="28"/>
                  </a:lnTo>
                  <a:lnTo>
                    <a:pt x="125" y="28"/>
                  </a:lnTo>
                  <a:lnTo>
                    <a:pt x="122" y="31"/>
                  </a:lnTo>
                  <a:lnTo>
                    <a:pt x="125" y="32"/>
                  </a:lnTo>
                  <a:lnTo>
                    <a:pt x="127" y="35"/>
                  </a:lnTo>
                  <a:lnTo>
                    <a:pt x="130" y="35"/>
                  </a:lnTo>
                  <a:lnTo>
                    <a:pt x="133" y="35"/>
                  </a:lnTo>
                  <a:lnTo>
                    <a:pt x="136" y="36"/>
                  </a:lnTo>
                  <a:lnTo>
                    <a:pt x="134" y="36"/>
                  </a:lnTo>
                  <a:lnTo>
                    <a:pt x="130" y="35"/>
                  </a:lnTo>
                  <a:lnTo>
                    <a:pt x="127" y="35"/>
                  </a:lnTo>
                  <a:lnTo>
                    <a:pt x="125" y="35"/>
                  </a:lnTo>
                  <a:lnTo>
                    <a:pt x="121" y="35"/>
                  </a:lnTo>
                  <a:lnTo>
                    <a:pt x="121" y="32"/>
                  </a:lnTo>
                  <a:lnTo>
                    <a:pt x="119" y="31"/>
                  </a:lnTo>
                  <a:lnTo>
                    <a:pt x="117" y="28"/>
                  </a:lnTo>
                  <a:lnTo>
                    <a:pt x="113" y="27"/>
                  </a:lnTo>
                  <a:lnTo>
                    <a:pt x="111" y="26"/>
                  </a:lnTo>
                  <a:lnTo>
                    <a:pt x="109" y="25"/>
                  </a:lnTo>
                  <a:lnTo>
                    <a:pt x="105" y="26"/>
                  </a:lnTo>
                  <a:lnTo>
                    <a:pt x="102" y="25"/>
                  </a:lnTo>
                  <a:lnTo>
                    <a:pt x="99" y="24"/>
                  </a:lnTo>
                  <a:lnTo>
                    <a:pt x="96" y="23"/>
                  </a:lnTo>
                  <a:lnTo>
                    <a:pt x="99" y="23"/>
                  </a:lnTo>
                  <a:lnTo>
                    <a:pt x="100" y="23"/>
                  </a:lnTo>
                  <a:lnTo>
                    <a:pt x="96" y="22"/>
                  </a:lnTo>
                  <a:lnTo>
                    <a:pt x="93" y="22"/>
                  </a:lnTo>
                  <a:lnTo>
                    <a:pt x="91" y="22"/>
                  </a:lnTo>
                  <a:lnTo>
                    <a:pt x="87" y="23"/>
                  </a:lnTo>
                  <a:lnTo>
                    <a:pt x="84" y="24"/>
                  </a:lnTo>
                  <a:lnTo>
                    <a:pt x="87" y="26"/>
                  </a:lnTo>
                  <a:lnTo>
                    <a:pt x="90" y="28"/>
                  </a:lnTo>
                  <a:lnTo>
                    <a:pt x="87" y="28"/>
                  </a:lnTo>
                  <a:lnTo>
                    <a:pt x="84" y="30"/>
                  </a:lnTo>
                  <a:lnTo>
                    <a:pt x="82" y="30"/>
                  </a:lnTo>
                  <a:lnTo>
                    <a:pt x="78" y="31"/>
                  </a:lnTo>
                  <a:lnTo>
                    <a:pt x="75" y="31"/>
                  </a:lnTo>
                  <a:lnTo>
                    <a:pt x="73" y="31"/>
                  </a:lnTo>
                  <a:lnTo>
                    <a:pt x="69" y="32"/>
                  </a:lnTo>
                  <a:lnTo>
                    <a:pt x="73" y="34"/>
                  </a:lnTo>
                  <a:lnTo>
                    <a:pt x="75" y="34"/>
                  </a:lnTo>
                  <a:lnTo>
                    <a:pt x="77" y="34"/>
                  </a:lnTo>
                  <a:lnTo>
                    <a:pt x="81" y="35"/>
                  </a:lnTo>
                  <a:lnTo>
                    <a:pt x="83" y="36"/>
                  </a:lnTo>
                  <a:lnTo>
                    <a:pt x="86" y="36"/>
                  </a:lnTo>
                  <a:lnTo>
                    <a:pt x="92" y="36"/>
                  </a:lnTo>
                  <a:lnTo>
                    <a:pt x="95" y="38"/>
                  </a:lnTo>
                  <a:lnTo>
                    <a:pt x="98" y="39"/>
                  </a:lnTo>
                  <a:lnTo>
                    <a:pt x="98" y="41"/>
                  </a:lnTo>
                  <a:lnTo>
                    <a:pt x="96" y="39"/>
                  </a:lnTo>
                  <a:lnTo>
                    <a:pt x="94" y="39"/>
                  </a:lnTo>
                  <a:lnTo>
                    <a:pt x="95" y="41"/>
                  </a:lnTo>
                  <a:lnTo>
                    <a:pt x="93" y="39"/>
                  </a:lnTo>
                  <a:lnTo>
                    <a:pt x="90" y="38"/>
                  </a:lnTo>
                  <a:lnTo>
                    <a:pt x="86" y="40"/>
                  </a:lnTo>
                  <a:lnTo>
                    <a:pt x="90" y="42"/>
                  </a:lnTo>
                  <a:lnTo>
                    <a:pt x="86" y="41"/>
                  </a:lnTo>
                  <a:lnTo>
                    <a:pt x="84" y="39"/>
                  </a:lnTo>
                  <a:lnTo>
                    <a:pt x="81" y="38"/>
                  </a:lnTo>
                  <a:lnTo>
                    <a:pt x="78" y="36"/>
                  </a:lnTo>
                  <a:lnTo>
                    <a:pt x="75" y="36"/>
                  </a:lnTo>
                  <a:lnTo>
                    <a:pt x="71" y="36"/>
                  </a:lnTo>
                  <a:lnTo>
                    <a:pt x="69" y="39"/>
                  </a:lnTo>
                  <a:lnTo>
                    <a:pt x="66" y="40"/>
                  </a:lnTo>
                  <a:lnTo>
                    <a:pt x="69" y="41"/>
                  </a:lnTo>
                  <a:lnTo>
                    <a:pt x="66" y="40"/>
                  </a:lnTo>
                  <a:lnTo>
                    <a:pt x="64" y="40"/>
                  </a:lnTo>
                  <a:lnTo>
                    <a:pt x="64" y="36"/>
                  </a:lnTo>
                  <a:lnTo>
                    <a:pt x="61" y="35"/>
                  </a:lnTo>
                  <a:lnTo>
                    <a:pt x="58" y="35"/>
                  </a:lnTo>
                  <a:lnTo>
                    <a:pt x="56" y="35"/>
                  </a:lnTo>
                  <a:lnTo>
                    <a:pt x="52" y="35"/>
                  </a:lnTo>
                  <a:lnTo>
                    <a:pt x="50" y="35"/>
                  </a:lnTo>
                  <a:lnTo>
                    <a:pt x="47" y="35"/>
                  </a:lnTo>
                  <a:lnTo>
                    <a:pt x="44" y="36"/>
                  </a:lnTo>
                  <a:lnTo>
                    <a:pt x="41" y="38"/>
                  </a:lnTo>
                  <a:lnTo>
                    <a:pt x="37" y="40"/>
                  </a:lnTo>
                  <a:lnTo>
                    <a:pt x="35" y="41"/>
                  </a:lnTo>
                  <a:lnTo>
                    <a:pt x="37" y="42"/>
                  </a:lnTo>
                  <a:lnTo>
                    <a:pt x="35" y="44"/>
                  </a:lnTo>
                  <a:lnTo>
                    <a:pt x="32" y="43"/>
                  </a:lnTo>
                  <a:lnTo>
                    <a:pt x="30" y="41"/>
                  </a:lnTo>
                  <a:lnTo>
                    <a:pt x="26" y="42"/>
                  </a:lnTo>
                  <a:lnTo>
                    <a:pt x="25" y="41"/>
                  </a:lnTo>
                  <a:lnTo>
                    <a:pt x="22" y="41"/>
                  </a:lnTo>
                  <a:lnTo>
                    <a:pt x="19" y="42"/>
                  </a:lnTo>
                  <a:lnTo>
                    <a:pt x="17" y="43"/>
                  </a:lnTo>
                  <a:lnTo>
                    <a:pt x="14" y="43"/>
                  </a:lnTo>
                  <a:lnTo>
                    <a:pt x="11" y="45"/>
                  </a:lnTo>
                  <a:lnTo>
                    <a:pt x="8" y="45"/>
                  </a:lnTo>
                  <a:lnTo>
                    <a:pt x="5" y="45"/>
                  </a:lnTo>
                  <a:lnTo>
                    <a:pt x="2" y="49"/>
                  </a:lnTo>
                  <a:lnTo>
                    <a:pt x="0" y="50"/>
                  </a:lnTo>
                  <a:lnTo>
                    <a:pt x="0" y="51"/>
                  </a:lnTo>
                  <a:lnTo>
                    <a:pt x="4" y="51"/>
                  </a:lnTo>
                  <a:lnTo>
                    <a:pt x="6" y="53"/>
                  </a:lnTo>
                  <a:lnTo>
                    <a:pt x="9" y="53"/>
                  </a:lnTo>
                  <a:lnTo>
                    <a:pt x="11" y="53"/>
                  </a:lnTo>
                  <a:lnTo>
                    <a:pt x="15" y="50"/>
                  </a:lnTo>
                  <a:lnTo>
                    <a:pt x="17" y="49"/>
                  </a:lnTo>
                  <a:lnTo>
                    <a:pt x="21" y="49"/>
                  </a:lnTo>
                  <a:lnTo>
                    <a:pt x="24" y="49"/>
                  </a:lnTo>
                  <a:lnTo>
                    <a:pt x="26" y="50"/>
                  </a:lnTo>
                  <a:lnTo>
                    <a:pt x="28" y="50"/>
                  </a:lnTo>
                  <a:lnTo>
                    <a:pt x="32" y="51"/>
                  </a:lnTo>
                  <a:lnTo>
                    <a:pt x="28" y="51"/>
                  </a:lnTo>
                  <a:lnTo>
                    <a:pt x="26" y="52"/>
                  </a:lnTo>
                  <a:lnTo>
                    <a:pt x="24" y="52"/>
                  </a:lnTo>
                  <a:lnTo>
                    <a:pt x="21" y="53"/>
                  </a:lnTo>
                  <a:lnTo>
                    <a:pt x="17" y="55"/>
                  </a:lnTo>
                  <a:lnTo>
                    <a:pt x="15" y="57"/>
                  </a:lnTo>
                  <a:lnTo>
                    <a:pt x="17" y="57"/>
                  </a:lnTo>
                  <a:lnTo>
                    <a:pt x="21" y="59"/>
                  </a:lnTo>
                  <a:lnTo>
                    <a:pt x="24" y="58"/>
                  </a:lnTo>
                  <a:lnTo>
                    <a:pt x="26" y="57"/>
                  </a:lnTo>
                  <a:lnTo>
                    <a:pt x="27" y="57"/>
                  </a:lnTo>
                  <a:lnTo>
                    <a:pt x="31" y="56"/>
                  </a:lnTo>
                  <a:lnTo>
                    <a:pt x="33" y="55"/>
                  </a:lnTo>
                  <a:lnTo>
                    <a:pt x="36" y="55"/>
                  </a:lnTo>
                  <a:lnTo>
                    <a:pt x="39" y="53"/>
                  </a:lnTo>
                  <a:lnTo>
                    <a:pt x="42" y="52"/>
                  </a:lnTo>
                  <a:lnTo>
                    <a:pt x="44" y="52"/>
                  </a:lnTo>
                  <a:lnTo>
                    <a:pt x="48" y="52"/>
                  </a:lnTo>
                  <a:lnTo>
                    <a:pt x="50" y="52"/>
                  </a:lnTo>
                  <a:lnTo>
                    <a:pt x="53" y="52"/>
                  </a:lnTo>
                  <a:lnTo>
                    <a:pt x="57" y="53"/>
                  </a:lnTo>
                  <a:lnTo>
                    <a:pt x="59" y="53"/>
                  </a:lnTo>
                  <a:lnTo>
                    <a:pt x="61" y="55"/>
                  </a:lnTo>
                  <a:lnTo>
                    <a:pt x="59" y="53"/>
                  </a:lnTo>
                  <a:lnTo>
                    <a:pt x="57" y="53"/>
                  </a:lnTo>
                  <a:lnTo>
                    <a:pt x="53" y="53"/>
                  </a:lnTo>
                  <a:lnTo>
                    <a:pt x="50" y="53"/>
                  </a:lnTo>
                  <a:lnTo>
                    <a:pt x="48" y="53"/>
                  </a:lnTo>
                  <a:lnTo>
                    <a:pt x="44" y="53"/>
                  </a:lnTo>
                  <a:lnTo>
                    <a:pt x="41" y="56"/>
                  </a:lnTo>
                  <a:lnTo>
                    <a:pt x="39" y="56"/>
                  </a:lnTo>
                  <a:lnTo>
                    <a:pt x="35" y="58"/>
                  </a:lnTo>
                  <a:lnTo>
                    <a:pt x="32" y="58"/>
                  </a:lnTo>
                  <a:lnTo>
                    <a:pt x="30" y="59"/>
                  </a:lnTo>
                  <a:lnTo>
                    <a:pt x="27" y="60"/>
                  </a:lnTo>
                  <a:lnTo>
                    <a:pt x="30" y="61"/>
                  </a:lnTo>
                  <a:lnTo>
                    <a:pt x="33" y="61"/>
                  </a:lnTo>
                  <a:lnTo>
                    <a:pt x="35" y="62"/>
                  </a:lnTo>
                  <a:lnTo>
                    <a:pt x="39" y="62"/>
                  </a:lnTo>
                  <a:lnTo>
                    <a:pt x="41" y="62"/>
                  </a:lnTo>
                  <a:lnTo>
                    <a:pt x="37" y="62"/>
                  </a:lnTo>
                  <a:lnTo>
                    <a:pt x="35" y="64"/>
                  </a:lnTo>
                  <a:lnTo>
                    <a:pt x="32" y="64"/>
                  </a:lnTo>
                  <a:lnTo>
                    <a:pt x="30" y="62"/>
                  </a:lnTo>
                  <a:lnTo>
                    <a:pt x="26" y="62"/>
                  </a:lnTo>
                  <a:lnTo>
                    <a:pt x="24" y="64"/>
                  </a:lnTo>
                  <a:lnTo>
                    <a:pt x="22" y="66"/>
                  </a:lnTo>
                  <a:lnTo>
                    <a:pt x="24" y="68"/>
                  </a:lnTo>
                  <a:lnTo>
                    <a:pt x="26" y="69"/>
                  </a:lnTo>
                  <a:lnTo>
                    <a:pt x="28" y="70"/>
                  </a:lnTo>
                  <a:lnTo>
                    <a:pt x="31" y="70"/>
                  </a:lnTo>
                  <a:lnTo>
                    <a:pt x="34" y="70"/>
                  </a:lnTo>
                  <a:lnTo>
                    <a:pt x="36" y="70"/>
                  </a:lnTo>
                  <a:lnTo>
                    <a:pt x="40" y="69"/>
                  </a:lnTo>
                  <a:lnTo>
                    <a:pt x="42" y="69"/>
                  </a:lnTo>
                  <a:lnTo>
                    <a:pt x="45" y="69"/>
                  </a:lnTo>
                  <a:lnTo>
                    <a:pt x="48" y="68"/>
                  </a:lnTo>
                  <a:lnTo>
                    <a:pt x="54" y="68"/>
                  </a:lnTo>
                  <a:lnTo>
                    <a:pt x="57" y="68"/>
                  </a:lnTo>
                  <a:lnTo>
                    <a:pt x="60" y="68"/>
                  </a:lnTo>
                  <a:lnTo>
                    <a:pt x="62" y="68"/>
                  </a:lnTo>
                  <a:lnTo>
                    <a:pt x="73" y="67"/>
                  </a:lnTo>
                  <a:lnTo>
                    <a:pt x="75" y="66"/>
                  </a:lnTo>
                  <a:lnTo>
                    <a:pt x="78" y="65"/>
                  </a:lnTo>
                  <a:lnTo>
                    <a:pt x="81" y="64"/>
                  </a:lnTo>
                  <a:lnTo>
                    <a:pt x="84" y="62"/>
                  </a:lnTo>
                  <a:lnTo>
                    <a:pt x="86" y="62"/>
                  </a:lnTo>
                  <a:lnTo>
                    <a:pt x="90" y="61"/>
                  </a:lnTo>
                  <a:lnTo>
                    <a:pt x="92" y="61"/>
                  </a:lnTo>
                  <a:lnTo>
                    <a:pt x="95" y="60"/>
                  </a:lnTo>
                  <a:lnTo>
                    <a:pt x="98" y="62"/>
                  </a:lnTo>
                  <a:lnTo>
                    <a:pt x="95" y="62"/>
                  </a:lnTo>
                  <a:lnTo>
                    <a:pt x="92" y="64"/>
                  </a:lnTo>
                  <a:lnTo>
                    <a:pt x="90" y="64"/>
                  </a:lnTo>
                  <a:lnTo>
                    <a:pt x="86" y="65"/>
                  </a:lnTo>
                  <a:lnTo>
                    <a:pt x="84" y="66"/>
                  </a:lnTo>
                  <a:lnTo>
                    <a:pt x="81" y="68"/>
                  </a:lnTo>
                  <a:lnTo>
                    <a:pt x="78" y="68"/>
                  </a:lnTo>
                  <a:lnTo>
                    <a:pt x="75" y="69"/>
                  </a:lnTo>
                  <a:lnTo>
                    <a:pt x="71" y="70"/>
                  </a:lnTo>
                  <a:lnTo>
                    <a:pt x="69" y="70"/>
                  </a:lnTo>
                  <a:lnTo>
                    <a:pt x="66" y="70"/>
                  </a:lnTo>
                  <a:lnTo>
                    <a:pt x="64" y="72"/>
                  </a:lnTo>
                  <a:lnTo>
                    <a:pt x="60" y="72"/>
                  </a:lnTo>
                  <a:lnTo>
                    <a:pt x="58" y="70"/>
                  </a:lnTo>
                  <a:lnTo>
                    <a:pt x="54" y="70"/>
                  </a:lnTo>
                  <a:lnTo>
                    <a:pt x="49" y="70"/>
                  </a:lnTo>
                  <a:lnTo>
                    <a:pt x="43" y="70"/>
                  </a:lnTo>
                  <a:lnTo>
                    <a:pt x="40" y="72"/>
                  </a:lnTo>
                  <a:lnTo>
                    <a:pt x="37" y="72"/>
                  </a:lnTo>
                  <a:lnTo>
                    <a:pt x="35" y="73"/>
                  </a:lnTo>
                  <a:lnTo>
                    <a:pt x="36" y="75"/>
                  </a:lnTo>
                  <a:lnTo>
                    <a:pt x="41" y="77"/>
                  </a:lnTo>
                  <a:lnTo>
                    <a:pt x="44" y="78"/>
                  </a:lnTo>
                  <a:lnTo>
                    <a:pt x="48" y="79"/>
                  </a:lnTo>
                  <a:lnTo>
                    <a:pt x="50" y="81"/>
                  </a:lnTo>
                  <a:lnTo>
                    <a:pt x="53" y="81"/>
                  </a:lnTo>
                  <a:lnTo>
                    <a:pt x="56" y="82"/>
                  </a:lnTo>
                  <a:lnTo>
                    <a:pt x="59" y="83"/>
                  </a:lnTo>
                  <a:lnTo>
                    <a:pt x="61" y="83"/>
                  </a:lnTo>
                  <a:lnTo>
                    <a:pt x="65" y="82"/>
                  </a:lnTo>
                  <a:lnTo>
                    <a:pt x="67" y="79"/>
                  </a:lnTo>
                  <a:lnTo>
                    <a:pt x="70" y="77"/>
                  </a:lnTo>
                  <a:lnTo>
                    <a:pt x="73" y="75"/>
                  </a:lnTo>
                  <a:lnTo>
                    <a:pt x="75" y="74"/>
                  </a:lnTo>
                  <a:lnTo>
                    <a:pt x="78" y="72"/>
                  </a:lnTo>
                  <a:lnTo>
                    <a:pt x="82" y="70"/>
                  </a:lnTo>
                  <a:lnTo>
                    <a:pt x="84" y="69"/>
                  </a:lnTo>
                  <a:lnTo>
                    <a:pt x="87" y="69"/>
                  </a:lnTo>
                  <a:lnTo>
                    <a:pt x="90" y="69"/>
                  </a:lnTo>
                  <a:lnTo>
                    <a:pt x="92" y="68"/>
                  </a:lnTo>
                  <a:lnTo>
                    <a:pt x="95" y="68"/>
                  </a:lnTo>
                  <a:lnTo>
                    <a:pt x="101" y="68"/>
                  </a:lnTo>
                  <a:lnTo>
                    <a:pt x="104" y="67"/>
                  </a:lnTo>
                  <a:lnTo>
                    <a:pt x="108" y="67"/>
                  </a:lnTo>
                  <a:lnTo>
                    <a:pt x="111" y="67"/>
                  </a:lnTo>
                  <a:lnTo>
                    <a:pt x="113" y="67"/>
                  </a:lnTo>
                  <a:lnTo>
                    <a:pt x="117" y="66"/>
                  </a:lnTo>
                  <a:lnTo>
                    <a:pt x="119" y="66"/>
                  </a:lnTo>
                  <a:lnTo>
                    <a:pt x="122" y="66"/>
                  </a:lnTo>
                  <a:lnTo>
                    <a:pt x="125" y="65"/>
                  </a:lnTo>
                  <a:lnTo>
                    <a:pt x="127" y="65"/>
                  </a:lnTo>
                  <a:lnTo>
                    <a:pt x="130" y="65"/>
                  </a:lnTo>
                  <a:lnTo>
                    <a:pt x="127" y="66"/>
                  </a:lnTo>
                  <a:lnTo>
                    <a:pt x="125" y="67"/>
                  </a:lnTo>
                  <a:lnTo>
                    <a:pt x="121" y="67"/>
                  </a:lnTo>
                  <a:lnTo>
                    <a:pt x="119" y="67"/>
                  </a:lnTo>
                  <a:lnTo>
                    <a:pt x="113" y="68"/>
                  </a:lnTo>
                  <a:lnTo>
                    <a:pt x="110" y="68"/>
                  </a:lnTo>
                  <a:lnTo>
                    <a:pt x="107" y="68"/>
                  </a:lnTo>
                  <a:lnTo>
                    <a:pt x="104" y="69"/>
                  </a:lnTo>
                  <a:lnTo>
                    <a:pt x="101" y="69"/>
                  </a:lnTo>
                  <a:lnTo>
                    <a:pt x="99" y="69"/>
                  </a:lnTo>
                  <a:lnTo>
                    <a:pt x="95" y="69"/>
                  </a:lnTo>
                  <a:lnTo>
                    <a:pt x="93" y="70"/>
                  </a:lnTo>
                  <a:lnTo>
                    <a:pt x="90" y="70"/>
                  </a:lnTo>
                  <a:lnTo>
                    <a:pt x="86" y="72"/>
                  </a:lnTo>
                  <a:lnTo>
                    <a:pt x="83" y="73"/>
                  </a:lnTo>
                  <a:lnTo>
                    <a:pt x="81" y="75"/>
                  </a:lnTo>
                  <a:lnTo>
                    <a:pt x="78" y="77"/>
                  </a:lnTo>
                  <a:lnTo>
                    <a:pt x="75" y="78"/>
                  </a:lnTo>
                  <a:lnTo>
                    <a:pt x="73" y="81"/>
                  </a:lnTo>
                  <a:lnTo>
                    <a:pt x="71" y="84"/>
                  </a:lnTo>
                  <a:lnTo>
                    <a:pt x="74" y="84"/>
                  </a:lnTo>
                  <a:lnTo>
                    <a:pt x="77" y="85"/>
                  </a:lnTo>
                  <a:lnTo>
                    <a:pt x="79" y="85"/>
                  </a:lnTo>
                  <a:lnTo>
                    <a:pt x="83" y="84"/>
                  </a:lnTo>
                  <a:lnTo>
                    <a:pt x="85" y="84"/>
                  </a:lnTo>
                  <a:lnTo>
                    <a:pt x="83" y="85"/>
                  </a:lnTo>
                  <a:lnTo>
                    <a:pt x="85" y="85"/>
                  </a:lnTo>
                  <a:lnTo>
                    <a:pt x="88" y="86"/>
                  </a:lnTo>
                  <a:lnTo>
                    <a:pt x="92" y="86"/>
                  </a:lnTo>
                  <a:lnTo>
                    <a:pt x="94" y="86"/>
                  </a:lnTo>
                  <a:lnTo>
                    <a:pt x="98" y="86"/>
                  </a:lnTo>
                  <a:lnTo>
                    <a:pt x="100" y="86"/>
                  </a:lnTo>
                  <a:lnTo>
                    <a:pt x="103" y="86"/>
                  </a:lnTo>
                  <a:lnTo>
                    <a:pt x="105" y="85"/>
                  </a:lnTo>
                  <a:lnTo>
                    <a:pt x="109" y="85"/>
                  </a:lnTo>
                  <a:lnTo>
                    <a:pt x="111" y="84"/>
                  </a:lnTo>
                  <a:lnTo>
                    <a:pt x="112" y="82"/>
                  </a:lnTo>
                  <a:lnTo>
                    <a:pt x="112" y="78"/>
                  </a:lnTo>
                  <a:lnTo>
                    <a:pt x="116" y="77"/>
                  </a:lnTo>
                  <a:lnTo>
                    <a:pt x="118" y="77"/>
                  </a:lnTo>
                  <a:lnTo>
                    <a:pt x="116" y="81"/>
                  </a:lnTo>
                  <a:lnTo>
                    <a:pt x="118" y="81"/>
                  </a:lnTo>
                  <a:lnTo>
                    <a:pt x="121" y="79"/>
                  </a:lnTo>
                  <a:lnTo>
                    <a:pt x="124" y="79"/>
                  </a:lnTo>
                  <a:lnTo>
                    <a:pt x="127" y="79"/>
                  </a:lnTo>
                  <a:lnTo>
                    <a:pt x="129" y="78"/>
                  </a:lnTo>
                  <a:lnTo>
                    <a:pt x="133" y="77"/>
                  </a:lnTo>
                  <a:lnTo>
                    <a:pt x="135" y="76"/>
                  </a:lnTo>
                  <a:lnTo>
                    <a:pt x="138" y="77"/>
                  </a:lnTo>
                  <a:lnTo>
                    <a:pt x="135" y="78"/>
                  </a:lnTo>
                  <a:lnTo>
                    <a:pt x="133" y="79"/>
                  </a:lnTo>
                  <a:lnTo>
                    <a:pt x="129" y="79"/>
                  </a:lnTo>
                  <a:lnTo>
                    <a:pt x="126" y="81"/>
                  </a:lnTo>
                  <a:lnTo>
                    <a:pt x="124" y="82"/>
                  </a:lnTo>
                  <a:lnTo>
                    <a:pt x="120" y="83"/>
                  </a:lnTo>
                  <a:lnTo>
                    <a:pt x="120" y="85"/>
                  </a:lnTo>
                  <a:lnTo>
                    <a:pt x="122" y="85"/>
                  </a:lnTo>
                  <a:lnTo>
                    <a:pt x="126" y="85"/>
                  </a:lnTo>
                  <a:lnTo>
                    <a:pt x="129" y="85"/>
                  </a:lnTo>
                  <a:lnTo>
                    <a:pt x="132" y="84"/>
                  </a:lnTo>
                  <a:lnTo>
                    <a:pt x="135" y="84"/>
                  </a:lnTo>
                  <a:lnTo>
                    <a:pt x="137" y="84"/>
                  </a:lnTo>
                  <a:lnTo>
                    <a:pt x="141" y="84"/>
                  </a:lnTo>
                  <a:lnTo>
                    <a:pt x="143" y="83"/>
                  </a:lnTo>
                  <a:lnTo>
                    <a:pt x="146" y="83"/>
                  </a:lnTo>
                  <a:lnTo>
                    <a:pt x="149" y="82"/>
                  </a:lnTo>
                  <a:lnTo>
                    <a:pt x="152" y="82"/>
                  </a:lnTo>
                  <a:lnTo>
                    <a:pt x="154" y="81"/>
                  </a:lnTo>
                  <a:lnTo>
                    <a:pt x="156" y="79"/>
                  </a:lnTo>
                  <a:lnTo>
                    <a:pt x="160" y="79"/>
                  </a:lnTo>
                  <a:lnTo>
                    <a:pt x="163" y="78"/>
                  </a:lnTo>
                  <a:lnTo>
                    <a:pt x="165" y="77"/>
                  </a:lnTo>
                  <a:lnTo>
                    <a:pt x="169" y="76"/>
                  </a:lnTo>
                  <a:lnTo>
                    <a:pt x="171" y="74"/>
                  </a:lnTo>
                  <a:lnTo>
                    <a:pt x="175" y="72"/>
                  </a:lnTo>
                  <a:lnTo>
                    <a:pt x="172" y="69"/>
                  </a:lnTo>
                  <a:lnTo>
                    <a:pt x="176" y="67"/>
                  </a:lnTo>
                  <a:lnTo>
                    <a:pt x="173" y="66"/>
                  </a:lnTo>
                  <a:lnTo>
                    <a:pt x="170" y="65"/>
                  </a:lnTo>
                  <a:lnTo>
                    <a:pt x="172" y="66"/>
                  </a:lnTo>
                  <a:lnTo>
                    <a:pt x="176" y="66"/>
                  </a:lnTo>
                  <a:lnTo>
                    <a:pt x="178" y="67"/>
                  </a:lnTo>
                  <a:lnTo>
                    <a:pt x="181" y="67"/>
                  </a:lnTo>
                  <a:lnTo>
                    <a:pt x="182" y="64"/>
                  </a:lnTo>
                  <a:lnTo>
                    <a:pt x="185" y="62"/>
                  </a:lnTo>
                  <a:lnTo>
                    <a:pt x="187" y="61"/>
                  </a:lnTo>
                  <a:lnTo>
                    <a:pt x="190" y="59"/>
                  </a:lnTo>
                  <a:lnTo>
                    <a:pt x="193" y="59"/>
                  </a:lnTo>
                  <a:lnTo>
                    <a:pt x="196" y="58"/>
                  </a:lnTo>
                  <a:lnTo>
                    <a:pt x="199" y="57"/>
                  </a:lnTo>
                  <a:lnTo>
                    <a:pt x="202" y="57"/>
                  </a:lnTo>
                  <a:lnTo>
                    <a:pt x="205" y="57"/>
                  </a:lnTo>
                  <a:lnTo>
                    <a:pt x="202" y="58"/>
                  </a:lnTo>
                  <a:lnTo>
                    <a:pt x="199" y="59"/>
                  </a:lnTo>
                  <a:lnTo>
                    <a:pt x="196" y="59"/>
                  </a:lnTo>
                  <a:lnTo>
                    <a:pt x="194" y="60"/>
                  </a:lnTo>
                  <a:lnTo>
                    <a:pt x="190" y="62"/>
                  </a:lnTo>
                  <a:lnTo>
                    <a:pt x="188" y="65"/>
                  </a:lnTo>
                  <a:lnTo>
                    <a:pt x="185" y="66"/>
                  </a:lnTo>
                  <a:lnTo>
                    <a:pt x="182" y="68"/>
                  </a:lnTo>
                  <a:lnTo>
                    <a:pt x="179" y="69"/>
                  </a:lnTo>
                  <a:lnTo>
                    <a:pt x="178" y="73"/>
                  </a:lnTo>
                  <a:lnTo>
                    <a:pt x="179" y="75"/>
                  </a:lnTo>
                  <a:lnTo>
                    <a:pt x="182" y="75"/>
                  </a:lnTo>
                  <a:lnTo>
                    <a:pt x="185" y="75"/>
                  </a:lnTo>
                  <a:lnTo>
                    <a:pt x="188" y="74"/>
                  </a:lnTo>
                  <a:lnTo>
                    <a:pt x="190" y="74"/>
                  </a:lnTo>
                  <a:lnTo>
                    <a:pt x="194" y="74"/>
                  </a:lnTo>
                  <a:lnTo>
                    <a:pt x="196" y="74"/>
                  </a:lnTo>
                  <a:lnTo>
                    <a:pt x="199" y="74"/>
                  </a:lnTo>
                  <a:lnTo>
                    <a:pt x="202" y="74"/>
                  </a:lnTo>
                  <a:lnTo>
                    <a:pt x="209" y="74"/>
                  </a:lnTo>
                  <a:lnTo>
                    <a:pt x="211" y="75"/>
                  </a:lnTo>
                  <a:lnTo>
                    <a:pt x="209" y="76"/>
                  </a:lnTo>
                  <a:lnTo>
                    <a:pt x="202" y="76"/>
                  </a:lnTo>
                  <a:lnTo>
                    <a:pt x="198" y="76"/>
                  </a:lnTo>
                  <a:lnTo>
                    <a:pt x="196" y="76"/>
                  </a:lnTo>
                  <a:lnTo>
                    <a:pt x="193" y="76"/>
                  </a:lnTo>
                  <a:lnTo>
                    <a:pt x="189" y="77"/>
                  </a:lnTo>
                  <a:lnTo>
                    <a:pt x="182" y="78"/>
                  </a:lnTo>
                  <a:lnTo>
                    <a:pt x="180" y="78"/>
                  </a:lnTo>
                  <a:lnTo>
                    <a:pt x="178" y="79"/>
                  </a:lnTo>
                  <a:lnTo>
                    <a:pt x="175" y="79"/>
                  </a:lnTo>
                  <a:lnTo>
                    <a:pt x="169" y="82"/>
                  </a:lnTo>
                  <a:lnTo>
                    <a:pt x="165" y="83"/>
                  </a:lnTo>
                  <a:lnTo>
                    <a:pt x="169" y="84"/>
                  </a:lnTo>
                  <a:lnTo>
                    <a:pt x="172" y="83"/>
                  </a:lnTo>
                  <a:lnTo>
                    <a:pt x="176" y="83"/>
                  </a:lnTo>
                  <a:lnTo>
                    <a:pt x="178" y="83"/>
                  </a:lnTo>
                  <a:lnTo>
                    <a:pt x="181" y="83"/>
                  </a:lnTo>
                  <a:lnTo>
                    <a:pt x="184" y="83"/>
                  </a:lnTo>
                  <a:lnTo>
                    <a:pt x="187" y="84"/>
                  </a:lnTo>
                  <a:lnTo>
                    <a:pt x="190" y="84"/>
                  </a:lnTo>
                  <a:lnTo>
                    <a:pt x="188" y="84"/>
                  </a:lnTo>
                  <a:lnTo>
                    <a:pt x="182" y="84"/>
                  </a:lnTo>
                  <a:lnTo>
                    <a:pt x="179" y="85"/>
                  </a:lnTo>
                  <a:lnTo>
                    <a:pt x="173" y="85"/>
                  </a:lnTo>
                  <a:lnTo>
                    <a:pt x="171" y="85"/>
                  </a:lnTo>
                  <a:lnTo>
                    <a:pt x="168" y="85"/>
                  </a:lnTo>
                  <a:lnTo>
                    <a:pt x="164" y="85"/>
                  </a:lnTo>
                  <a:lnTo>
                    <a:pt x="162" y="85"/>
                  </a:lnTo>
                  <a:lnTo>
                    <a:pt x="159" y="87"/>
                  </a:lnTo>
                  <a:lnTo>
                    <a:pt x="156" y="87"/>
                  </a:lnTo>
                  <a:lnTo>
                    <a:pt x="153" y="89"/>
                  </a:lnTo>
                  <a:lnTo>
                    <a:pt x="151" y="89"/>
                  </a:lnTo>
                  <a:lnTo>
                    <a:pt x="145" y="89"/>
                  </a:lnTo>
                  <a:lnTo>
                    <a:pt x="142" y="90"/>
                  </a:lnTo>
                  <a:lnTo>
                    <a:pt x="139" y="90"/>
                  </a:lnTo>
                  <a:lnTo>
                    <a:pt x="136" y="90"/>
                  </a:lnTo>
                  <a:lnTo>
                    <a:pt x="133" y="91"/>
                  </a:lnTo>
                  <a:lnTo>
                    <a:pt x="130" y="91"/>
                  </a:lnTo>
                  <a:lnTo>
                    <a:pt x="127" y="91"/>
                  </a:lnTo>
                  <a:lnTo>
                    <a:pt x="124" y="91"/>
                  </a:lnTo>
                  <a:lnTo>
                    <a:pt x="121" y="93"/>
                  </a:lnTo>
                  <a:lnTo>
                    <a:pt x="124" y="95"/>
                  </a:lnTo>
                  <a:lnTo>
                    <a:pt x="127" y="98"/>
                  </a:lnTo>
                  <a:lnTo>
                    <a:pt x="129" y="99"/>
                  </a:lnTo>
                  <a:lnTo>
                    <a:pt x="133" y="101"/>
                  </a:lnTo>
                  <a:lnTo>
                    <a:pt x="135" y="102"/>
                  </a:lnTo>
                  <a:lnTo>
                    <a:pt x="138" y="103"/>
                  </a:lnTo>
                  <a:lnTo>
                    <a:pt x="141" y="103"/>
                  </a:lnTo>
                  <a:lnTo>
                    <a:pt x="144" y="104"/>
                  </a:lnTo>
                  <a:lnTo>
                    <a:pt x="142" y="107"/>
                  </a:lnTo>
                  <a:lnTo>
                    <a:pt x="141" y="110"/>
                  </a:lnTo>
                  <a:lnTo>
                    <a:pt x="144" y="111"/>
                  </a:lnTo>
                  <a:lnTo>
                    <a:pt x="146" y="111"/>
                  </a:lnTo>
                  <a:lnTo>
                    <a:pt x="149" y="112"/>
                  </a:lnTo>
                  <a:lnTo>
                    <a:pt x="152" y="113"/>
                  </a:lnTo>
                  <a:lnTo>
                    <a:pt x="154" y="113"/>
                  </a:lnTo>
                  <a:lnTo>
                    <a:pt x="158" y="112"/>
                  </a:lnTo>
                  <a:lnTo>
                    <a:pt x="161" y="112"/>
                  </a:lnTo>
                  <a:lnTo>
                    <a:pt x="163" y="111"/>
                  </a:lnTo>
                  <a:lnTo>
                    <a:pt x="165" y="112"/>
                  </a:lnTo>
                  <a:lnTo>
                    <a:pt x="163" y="113"/>
                  </a:lnTo>
                  <a:lnTo>
                    <a:pt x="162" y="113"/>
                  </a:lnTo>
                  <a:lnTo>
                    <a:pt x="159" y="113"/>
                  </a:lnTo>
                  <a:lnTo>
                    <a:pt x="156" y="115"/>
                  </a:lnTo>
                  <a:lnTo>
                    <a:pt x="153" y="116"/>
                  </a:lnTo>
                  <a:lnTo>
                    <a:pt x="150" y="115"/>
                  </a:lnTo>
                  <a:lnTo>
                    <a:pt x="147" y="115"/>
                  </a:lnTo>
                  <a:lnTo>
                    <a:pt x="144" y="113"/>
                  </a:lnTo>
                  <a:lnTo>
                    <a:pt x="141" y="115"/>
                  </a:lnTo>
                  <a:lnTo>
                    <a:pt x="138" y="112"/>
                  </a:lnTo>
                  <a:lnTo>
                    <a:pt x="135" y="109"/>
                  </a:lnTo>
                  <a:lnTo>
                    <a:pt x="134" y="107"/>
                  </a:lnTo>
                  <a:lnTo>
                    <a:pt x="130" y="105"/>
                  </a:lnTo>
                  <a:lnTo>
                    <a:pt x="128" y="103"/>
                  </a:lnTo>
                  <a:lnTo>
                    <a:pt x="125" y="102"/>
                  </a:lnTo>
                  <a:lnTo>
                    <a:pt x="122" y="101"/>
                  </a:lnTo>
                  <a:lnTo>
                    <a:pt x="120" y="100"/>
                  </a:lnTo>
                  <a:lnTo>
                    <a:pt x="117" y="98"/>
                  </a:lnTo>
                  <a:lnTo>
                    <a:pt x="115" y="96"/>
                  </a:lnTo>
                  <a:lnTo>
                    <a:pt x="111" y="94"/>
                  </a:lnTo>
                  <a:lnTo>
                    <a:pt x="109" y="94"/>
                  </a:lnTo>
                  <a:lnTo>
                    <a:pt x="105" y="94"/>
                  </a:lnTo>
                  <a:lnTo>
                    <a:pt x="103" y="93"/>
                  </a:lnTo>
                  <a:lnTo>
                    <a:pt x="100" y="93"/>
                  </a:lnTo>
                  <a:lnTo>
                    <a:pt x="96" y="94"/>
                  </a:lnTo>
                  <a:lnTo>
                    <a:pt x="94" y="94"/>
                  </a:lnTo>
                  <a:lnTo>
                    <a:pt x="91" y="94"/>
                  </a:lnTo>
                  <a:lnTo>
                    <a:pt x="88" y="93"/>
                  </a:lnTo>
                  <a:lnTo>
                    <a:pt x="83" y="92"/>
                  </a:lnTo>
                  <a:lnTo>
                    <a:pt x="79" y="92"/>
                  </a:lnTo>
                  <a:lnTo>
                    <a:pt x="77" y="92"/>
                  </a:lnTo>
                  <a:lnTo>
                    <a:pt x="74" y="94"/>
                  </a:lnTo>
                  <a:lnTo>
                    <a:pt x="73" y="96"/>
                  </a:lnTo>
                  <a:lnTo>
                    <a:pt x="73" y="100"/>
                  </a:lnTo>
                  <a:lnTo>
                    <a:pt x="75" y="102"/>
                  </a:lnTo>
                  <a:lnTo>
                    <a:pt x="77" y="102"/>
                  </a:lnTo>
                  <a:lnTo>
                    <a:pt x="79" y="102"/>
                  </a:lnTo>
                  <a:lnTo>
                    <a:pt x="83" y="103"/>
                  </a:lnTo>
                  <a:lnTo>
                    <a:pt x="86" y="103"/>
                  </a:lnTo>
                  <a:lnTo>
                    <a:pt x="88" y="105"/>
                  </a:lnTo>
                  <a:lnTo>
                    <a:pt x="86" y="104"/>
                  </a:lnTo>
                  <a:lnTo>
                    <a:pt x="83" y="104"/>
                  </a:lnTo>
                  <a:lnTo>
                    <a:pt x="81" y="103"/>
                  </a:lnTo>
                  <a:lnTo>
                    <a:pt x="78" y="103"/>
                  </a:lnTo>
                  <a:lnTo>
                    <a:pt x="75" y="104"/>
                  </a:lnTo>
                  <a:lnTo>
                    <a:pt x="75" y="107"/>
                  </a:lnTo>
                  <a:lnTo>
                    <a:pt x="75" y="110"/>
                  </a:lnTo>
                  <a:lnTo>
                    <a:pt x="77" y="110"/>
                  </a:lnTo>
                  <a:lnTo>
                    <a:pt x="81" y="111"/>
                  </a:lnTo>
                  <a:lnTo>
                    <a:pt x="83" y="111"/>
                  </a:lnTo>
                  <a:lnTo>
                    <a:pt x="86" y="111"/>
                  </a:lnTo>
                  <a:lnTo>
                    <a:pt x="90" y="112"/>
                  </a:lnTo>
                  <a:lnTo>
                    <a:pt x="92" y="113"/>
                  </a:lnTo>
                  <a:lnTo>
                    <a:pt x="95" y="116"/>
                  </a:lnTo>
                  <a:lnTo>
                    <a:pt x="96" y="118"/>
                  </a:lnTo>
                  <a:lnTo>
                    <a:pt x="100" y="119"/>
                  </a:lnTo>
                  <a:lnTo>
                    <a:pt x="102" y="122"/>
                  </a:lnTo>
                  <a:lnTo>
                    <a:pt x="103" y="125"/>
                  </a:lnTo>
                  <a:lnTo>
                    <a:pt x="104" y="127"/>
                  </a:lnTo>
                  <a:lnTo>
                    <a:pt x="108" y="128"/>
                  </a:lnTo>
                  <a:lnTo>
                    <a:pt x="111" y="129"/>
                  </a:lnTo>
                  <a:lnTo>
                    <a:pt x="113" y="132"/>
                  </a:lnTo>
                  <a:lnTo>
                    <a:pt x="117" y="132"/>
                  </a:lnTo>
                  <a:lnTo>
                    <a:pt x="113" y="133"/>
                  </a:lnTo>
                  <a:lnTo>
                    <a:pt x="111" y="132"/>
                  </a:lnTo>
                  <a:lnTo>
                    <a:pt x="108" y="130"/>
                  </a:lnTo>
                  <a:lnTo>
                    <a:pt x="104" y="129"/>
                  </a:lnTo>
                  <a:lnTo>
                    <a:pt x="102" y="128"/>
                  </a:lnTo>
                  <a:lnTo>
                    <a:pt x="99" y="130"/>
                  </a:lnTo>
                  <a:lnTo>
                    <a:pt x="100" y="133"/>
                  </a:lnTo>
                  <a:lnTo>
                    <a:pt x="103" y="134"/>
                  </a:lnTo>
                  <a:lnTo>
                    <a:pt x="105" y="134"/>
                  </a:lnTo>
                  <a:lnTo>
                    <a:pt x="109" y="135"/>
                  </a:lnTo>
                  <a:lnTo>
                    <a:pt x="111" y="135"/>
                  </a:lnTo>
                  <a:lnTo>
                    <a:pt x="115" y="135"/>
                  </a:lnTo>
                  <a:lnTo>
                    <a:pt x="117" y="135"/>
                  </a:lnTo>
                  <a:lnTo>
                    <a:pt x="120" y="135"/>
                  </a:lnTo>
                  <a:lnTo>
                    <a:pt x="122" y="135"/>
                  </a:lnTo>
                  <a:lnTo>
                    <a:pt x="128" y="136"/>
                  </a:lnTo>
                  <a:lnTo>
                    <a:pt x="132" y="136"/>
                  </a:lnTo>
                  <a:lnTo>
                    <a:pt x="134" y="136"/>
                  </a:lnTo>
                  <a:lnTo>
                    <a:pt x="137" y="133"/>
                  </a:lnTo>
                  <a:lnTo>
                    <a:pt x="139" y="132"/>
                  </a:lnTo>
                  <a:lnTo>
                    <a:pt x="143" y="132"/>
                  </a:lnTo>
                  <a:lnTo>
                    <a:pt x="139" y="135"/>
                  </a:lnTo>
                  <a:lnTo>
                    <a:pt x="138" y="137"/>
                  </a:lnTo>
                  <a:lnTo>
                    <a:pt x="135" y="137"/>
                  </a:lnTo>
                  <a:lnTo>
                    <a:pt x="133" y="138"/>
                  </a:lnTo>
                  <a:lnTo>
                    <a:pt x="129" y="138"/>
                  </a:lnTo>
                  <a:lnTo>
                    <a:pt x="126" y="138"/>
                  </a:lnTo>
                  <a:lnTo>
                    <a:pt x="124" y="137"/>
                  </a:lnTo>
                  <a:lnTo>
                    <a:pt x="121" y="139"/>
                  </a:lnTo>
                  <a:lnTo>
                    <a:pt x="124" y="141"/>
                  </a:lnTo>
                  <a:lnTo>
                    <a:pt x="127" y="142"/>
                  </a:lnTo>
                  <a:lnTo>
                    <a:pt x="129" y="141"/>
                  </a:lnTo>
                  <a:lnTo>
                    <a:pt x="133" y="142"/>
                  </a:lnTo>
                  <a:lnTo>
                    <a:pt x="129" y="144"/>
                  </a:lnTo>
                  <a:lnTo>
                    <a:pt x="132" y="146"/>
                  </a:lnTo>
                  <a:lnTo>
                    <a:pt x="128" y="145"/>
                  </a:lnTo>
                  <a:lnTo>
                    <a:pt x="126" y="143"/>
                  </a:lnTo>
                  <a:lnTo>
                    <a:pt x="122" y="142"/>
                  </a:lnTo>
                  <a:lnTo>
                    <a:pt x="120" y="142"/>
                  </a:lnTo>
                  <a:lnTo>
                    <a:pt x="118" y="139"/>
                  </a:lnTo>
                  <a:lnTo>
                    <a:pt x="115" y="139"/>
                  </a:lnTo>
                  <a:lnTo>
                    <a:pt x="111" y="138"/>
                  </a:lnTo>
                  <a:lnTo>
                    <a:pt x="109" y="137"/>
                  </a:lnTo>
                  <a:lnTo>
                    <a:pt x="105" y="137"/>
                  </a:lnTo>
                  <a:lnTo>
                    <a:pt x="103" y="137"/>
                  </a:lnTo>
                  <a:lnTo>
                    <a:pt x="100" y="137"/>
                  </a:lnTo>
                  <a:lnTo>
                    <a:pt x="98" y="136"/>
                  </a:lnTo>
                  <a:lnTo>
                    <a:pt x="95" y="136"/>
                  </a:lnTo>
                  <a:lnTo>
                    <a:pt x="92" y="136"/>
                  </a:lnTo>
                  <a:lnTo>
                    <a:pt x="90" y="136"/>
                  </a:lnTo>
                  <a:lnTo>
                    <a:pt x="86" y="137"/>
                  </a:lnTo>
                  <a:lnTo>
                    <a:pt x="81" y="138"/>
                  </a:lnTo>
                  <a:lnTo>
                    <a:pt x="78" y="138"/>
                  </a:lnTo>
                  <a:lnTo>
                    <a:pt x="75" y="139"/>
                  </a:lnTo>
                  <a:lnTo>
                    <a:pt x="71" y="139"/>
                  </a:lnTo>
                  <a:lnTo>
                    <a:pt x="69" y="141"/>
                  </a:lnTo>
                  <a:lnTo>
                    <a:pt x="67" y="144"/>
                  </a:lnTo>
                  <a:lnTo>
                    <a:pt x="68" y="146"/>
                  </a:lnTo>
                  <a:lnTo>
                    <a:pt x="66" y="146"/>
                  </a:lnTo>
                  <a:lnTo>
                    <a:pt x="62" y="149"/>
                  </a:lnTo>
                  <a:lnTo>
                    <a:pt x="60" y="151"/>
                  </a:lnTo>
                  <a:lnTo>
                    <a:pt x="60" y="154"/>
                  </a:lnTo>
                  <a:lnTo>
                    <a:pt x="62" y="156"/>
                  </a:lnTo>
                  <a:lnTo>
                    <a:pt x="65" y="158"/>
                  </a:lnTo>
                  <a:lnTo>
                    <a:pt x="62" y="160"/>
                  </a:lnTo>
                  <a:lnTo>
                    <a:pt x="65" y="160"/>
                  </a:lnTo>
                  <a:lnTo>
                    <a:pt x="68" y="160"/>
                  </a:lnTo>
                  <a:lnTo>
                    <a:pt x="71" y="160"/>
                  </a:lnTo>
                  <a:lnTo>
                    <a:pt x="74" y="156"/>
                  </a:lnTo>
                  <a:lnTo>
                    <a:pt x="77" y="158"/>
                  </a:lnTo>
                  <a:lnTo>
                    <a:pt x="79" y="156"/>
                  </a:lnTo>
                  <a:lnTo>
                    <a:pt x="83" y="154"/>
                  </a:lnTo>
                  <a:lnTo>
                    <a:pt x="81" y="156"/>
                  </a:lnTo>
                  <a:lnTo>
                    <a:pt x="77" y="159"/>
                  </a:lnTo>
                  <a:lnTo>
                    <a:pt x="79" y="161"/>
                  </a:lnTo>
                  <a:lnTo>
                    <a:pt x="83" y="161"/>
                  </a:lnTo>
                  <a:lnTo>
                    <a:pt x="85" y="160"/>
                  </a:lnTo>
                  <a:lnTo>
                    <a:pt x="88" y="160"/>
                  </a:lnTo>
                  <a:lnTo>
                    <a:pt x="91" y="158"/>
                  </a:lnTo>
                  <a:lnTo>
                    <a:pt x="93" y="155"/>
                  </a:lnTo>
                  <a:lnTo>
                    <a:pt x="95" y="152"/>
                  </a:lnTo>
                  <a:lnTo>
                    <a:pt x="96" y="150"/>
                  </a:lnTo>
                  <a:lnTo>
                    <a:pt x="99" y="147"/>
                  </a:lnTo>
                  <a:lnTo>
                    <a:pt x="98" y="150"/>
                  </a:lnTo>
                  <a:lnTo>
                    <a:pt x="96" y="152"/>
                  </a:lnTo>
                  <a:lnTo>
                    <a:pt x="100" y="153"/>
                  </a:lnTo>
                  <a:lnTo>
                    <a:pt x="96" y="154"/>
                  </a:lnTo>
                  <a:lnTo>
                    <a:pt x="98" y="156"/>
                  </a:lnTo>
                  <a:lnTo>
                    <a:pt x="100" y="156"/>
                  </a:lnTo>
                  <a:lnTo>
                    <a:pt x="103" y="156"/>
                  </a:lnTo>
                  <a:lnTo>
                    <a:pt x="105" y="159"/>
                  </a:lnTo>
                  <a:lnTo>
                    <a:pt x="103" y="158"/>
                  </a:lnTo>
                  <a:lnTo>
                    <a:pt x="100" y="158"/>
                  </a:lnTo>
                  <a:lnTo>
                    <a:pt x="98" y="158"/>
                  </a:lnTo>
                  <a:lnTo>
                    <a:pt x="95" y="158"/>
                  </a:lnTo>
                  <a:lnTo>
                    <a:pt x="95" y="161"/>
                  </a:lnTo>
                  <a:lnTo>
                    <a:pt x="99" y="161"/>
                  </a:lnTo>
                  <a:lnTo>
                    <a:pt x="101" y="161"/>
                  </a:lnTo>
                  <a:lnTo>
                    <a:pt x="104" y="161"/>
                  </a:lnTo>
                  <a:lnTo>
                    <a:pt x="101" y="161"/>
                  </a:lnTo>
                  <a:lnTo>
                    <a:pt x="99" y="162"/>
                  </a:lnTo>
                  <a:lnTo>
                    <a:pt x="95" y="162"/>
                  </a:lnTo>
                  <a:lnTo>
                    <a:pt x="93" y="162"/>
                  </a:lnTo>
                  <a:lnTo>
                    <a:pt x="90" y="162"/>
                  </a:lnTo>
                  <a:lnTo>
                    <a:pt x="87" y="164"/>
                  </a:lnTo>
                  <a:lnTo>
                    <a:pt x="87" y="167"/>
                  </a:lnTo>
                  <a:lnTo>
                    <a:pt x="93" y="166"/>
                  </a:lnTo>
                  <a:lnTo>
                    <a:pt x="95" y="166"/>
                  </a:lnTo>
                  <a:lnTo>
                    <a:pt x="95" y="167"/>
                  </a:lnTo>
                  <a:lnTo>
                    <a:pt x="93" y="167"/>
                  </a:lnTo>
                  <a:lnTo>
                    <a:pt x="91" y="169"/>
                  </a:lnTo>
                  <a:lnTo>
                    <a:pt x="93" y="169"/>
                  </a:lnTo>
                  <a:lnTo>
                    <a:pt x="91" y="171"/>
                  </a:lnTo>
                  <a:lnTo>
                    <a:pt x="93" y="173"/>
                  </a:lnTo>
                  <a:lnTo>
                    <a:pt x="95" y="175"/>
                  </a:lnTo>
                  <a:lnTo>
                    <a:pt x="95" y="175"/>
                  </a:lnTo>
                  <a:lnTo>
                    <a:pt x="95" y="175"/>
                  </a:lnTo>
                  <a:lnTo>
                    <a:pt x="95" y="175"/>
                  </a:lnTo>
                  <a:lnTo>
                    <a:pt x="95" y="176"/>
                  </a:lnTo>
                  <a:lnTo>
                    <a:pt x="94" y="176"/>
                  </a:lnTo>
                  <a:lnTo>
                    <a:pt x="91" y="176"/>
                  </a:lnTo>
                  <a:lnTo>
                    <a:pt x="88" y="177"/>
                  </a:lnTo>
                  <a:lnTo>
                    <a:pt x="91" y="177"/>
                  </a:lnTo>
                  <a:lnTo>
                    <a:pt x="94" y="179"/>
                  </a:lnTo>
                  <a:lnTo>
                    <a:pt x="95" y="178"/>
                  </a:lnTo>
                  <a:lnTo>
                    <a:pt x="95" y="181"/>
                  </a:lnTo>
                  <a:lnTo>
                    <a:pt x="93" y="181"/>
                  </a:lnTo>
                  <a:lnTo>
                    <a:pt x="90" y="180"/>
                  </a:lnTo>
                  <a:lnTo>
                    <a:pt x="87" y="179"/>
                  </a:lnTo>
                  <a:lnTo>
                    <a:pt x="84" y="179"/>
                  </a:lnTo>
                  <a:lnTo>
                    <a:pt x="84" y="177"/>
                  </a:lnTo>
                  <a:lnTo>
                    <a:pt x="83" y="173"/>
                  </a:lnTo>
                  <a:lnTo>
                    <a:pt x="79" y="171"/>
                  </a:lnTo>
                  <a:lnTo>
                    <a:pt x="77" y="169"/>
                  </a:lnTo>
                  <a:lnTo>
                    <a:pt x="74" y="168"/>
                  </a:lnTo>
                  <a:lnTo>
                    <a:pt x="71" y="167"/>
                  </a:lnTo>
                  <a:lnTo>
                    <a:pt x="69" y="167"/>
                  </a:lnTo>
                  <a:lnTo>
                    <a:pt x="66" y="167"/>
                  </a:lnTo>
                  <a:lnTo>
                    <a:pt x="64" y="167"/>
                  </a:lnTo>
                  <a:lnTo>
                    <a:pt x="60" y="167"/>
                  </a:lnTo>
                  <a:lnTo>
                    <a:pt x="58" y="167"/>
                  </a:lnTo>
                  <a:lnTo>
                    <a:pt x="54" y="168"/>
                  </a:lnTo>
                  <a:lnTo>
                    <a:pt x="52" y="169"/>
                  </a:lnTo>
                  <a:lnTo>
                    <a:pt x="51" y="171"/>
                  </a:lnTo>
                  <a:lnTo>
                    <a:pt x="52" y="175"/>
                  </a:lnTo>
                  <a:lnTo>
                    <a:pt x="54" y="176"/>
                  </a:lnTo>
                  <a:lnTo>
                    <a:pt x="58" y="177"/>
                  </a:lnTo>
                  <a:lnTo>
                    <a:pt x="57" y="179"/>
                  </a:lnTo>
                  <a:lnTo>
                    <a:pt x="58" y="183"/>
                  </a:lnTo>
                  <a:lnTo>
                    <a:pt x="61" y="183"/>
                  </a:lnTo>
                  <a:lnTo>
                    <a:pt x="64" y="181"/>
                  </a:lnTo>
                  <a:lnTo>
                    <a:pt x="67" y="181"/>
                  </a:lnTo>
                  <a:lnTo>
                    <a:pt x="69" y="183"/>
                  </a:lnTo>
                  <a:lnTo>
                    <a:pt x="67" y="183"/>
                  </a:lnTo>
                  <a:lnTo>
                    <a:pt x="64" y="184"/>
                  </a:lnTo>
                  <a:lnTo>
                    <a:pt x="67" y="186"/>
                  </a:lnTo>
                  <a:lnTo>
                    <a:pt x="69" y="187"/>
                  </a:lnTo>
                  <a:lnTo>
                    <a:pt x="73" y="187"/>
                  </a:lnTo>
                  <a:lnTo>
                    <a:pt x="69" y="188"/>
                  </a:lnTo>
                  <a:lnTo>
                    <a:pt x="67" y="187"/>
                  </a:lnTo>
                  <a:lnTo>
                    <a:pt x="64" y="187"/>
                  </a:lnTo>
                  <a:lnTo>
                    <a:pt x="61" y="189"/>
                  </a:lnTo>
                  <a:lnTo>
                    <a:pt x="58" y="188"/>
                  </a:lnTo>
                  <a:lnTo>
                    <a:pt x="56" y="188"/>
                  </a:lnTo>
                  <a:lnTo>
                    <a:pt x="52" y="189"/>
                  </a:lnTo>
                  <a:lnTo>
                    <a:pt x="50" y="188"/>
                  </a:lnTo>
                  <a:lnTo>
                    <a:pt x="47" y="190"/>
                  </a:lnTo>
                  <a:lnTo>
                    <a:pt x="44" y="192"/>
                  </a:lnTo>
                  <a:lnTo>
                    <a:pt x="41" y="193"/>
                  </a:lnTo>
                  <a:lnTo>
                    <a:pt x="35" y="195"/>
                  </a:lnTo>
                  <a:lnTo>
                    <a:pt x="33" y="196"/>
                  </a:lnTo>
                  <a:lnTo>
                    <a:pt x="33" y="199"/>
                  </a:lnTo>
                  <a:lnTo>
                    <a:pt x="34" y="202"/>
                  </a:lnTo>
                  <a:lnTo>
                    <a:pt x="31" y="205"/>
                  </a:lnTo>
                  <a:lnTo>
                    <a:pt x="36" y="209"/>
                  </a:lnTo>
                  <a:lnTo>
                    <a:pt x="40" y="209"/>
                  </a:lnTo>
                  <a:lnTo>
                    <a:pt x="42" y="209"/>
                  </a:lnTo>
                  <a:lnTo>
                    <a:pt x="44" y="205"/>
                  </a:lnTo>
                  <a:lnTo>
                    <a:pt x="45" y="207"/>
                  </a:lnTo>
                  <a:lnTo>
                    <a:pt x="47" y="205"/>
                  </a:lnTo>
                  <a:lnTo>
                    <a:pt x="45" y="203"/>
                  </a:lnTo>
                  <a:lnTo>
                    <a:pt x="44" y="199"/>
                  </a:lnTo>
                  <a:lnTo>
                    <a:pt x="47" y="198"/>
                  </a:lnTo>
                  <a:lnTo>
                    <a:pt x="47" y="202"/>
                  </a:lnTo>
                  <a:lnTo>
                    <a:pt x="48" y="204"/>
                  </a:lnTo>
                  <a:lnTo>
                    <a:pt x="49" y="206"/>
                  </a:lnTo>
                  <a:lnTo>
                    <a:pt x="48" y="210"/>
                  </a:lnTo>
                  <a:lnTo>
                    <a:pt x="50" y="210"/>
                  </a:lnTo>
                  <a:lnTo>
                    <a:pt x="53" y="211"/>
                  </a:lnTo>
                  <a:lnTo>
                    <a:pt x="56" y="210"/>
                  </a:lnTo>
                  <a:lnTo>
                    <a:pt x="59" y="211"/>
                  </a:lnTo>
                  <a:lnTo>
                    <a:pt x="61" y="211"/>
                  </a:lnTo>
                  <a:lnTo>
                    <a:pt x="60" y="207"/>
                  </a:lnTo>
                  <a:lnTo>
                    <a:pt x="60" y="205"/>
                  </a:lnTo>
                  <a:lnTo>
                    <a:pt x="62" y="207"/>
                  </a:lnTo>
                  <a:lnTo>
                    <a:pt x="66" y="210"/>
                  </a:lnTo>
                  <a:lnTo>
                    <a:pt x="69" y="210"/>
                  </a:lnTo>
                  <a:lnTo>
                    <a:pt x="71" y="210"/>
                  </a:lnTo>
                  <a:lnTo>
                    <a:pt x="73" y="207"/>
                  </a:lnTo>
                  <a:lnTo>
                    <a:pt x="75" y="205"/>
                  </a:lnTo>
                  <a:lnTo>
                    <a:pt x="73" y="203"/>
                  </a:lnTo>
                  <a:lnTo>
                    <a:pt x="75" y="204"/>
                  </a:lnTo>
                  <a:lnTo>
                    <a:pt x="78" y="206"/>
                  </a:lnTo>
                  <a:lnTo>
                    <a:pt x="75" y="207"/>
                  </a:lnTo>
                  <a:lnTo>
                    <a:pt x="77" y="210"/>
                  </a:lnTo>
                  <a:lnTo>
                    <a:pt x="81" y="210"/>
                  </a:lnTo>
                  <a:lnTo>
                    <a:pt x="83" y="211"/>
                  </a:lnTo>
                  <a:lnTo>
                    <a:pt x="86" y="211"/>
                  </a:lnTo>
                  <a:lnTo>
                    <a:pt x="88" y="212"/>
                  </a:lnTo>
                  <a:lnTo>
                    <a:pt x="92" y="212"/>
                  </a:lnTo>
                  <a:lnTo>
                    <a:pt x="94" y="212"/>
                  </a:lnTo>
                  <a:lnTo>
                    <a:pt x="98" y="212"/>
                  </a:lnTo>
                  <a:lnTo>
                    <a:pt x="100" y="212"/>
                  </a:lnTo>
                  <a:lnTo>
                    <a:pt x="103" y="211"/>
                  </a:lnTo>
                  <a:lnTo>
                    <a:pt x="98" y="210"/>
                  </a:lnTo>
                  <a:lnTo>
                    <a:pt x="95" y="207"/>
                  </a:lnTo>
                  <a:lnTo>
                    <a:pt x="95" y="205"/>
                  </a:lnTo>
                  <a:lnTo>
                    <a:pt x="98" y="206"/>
                  </a:lnTo>
                  <a:lnTo>
                    <a:pt x="100" y="209"/>
                  </a:lnTo>
                  <a:lnTo>
                    <a:pt x="103" y="209"/>
                  </a:lnTo>
                  <a:lnTo>
                    <a:pt x="105" y="207"/>
                  </a:lnTo>
                  <a:lnTo>
                    <a:pt x="105" y="205"/>
                  </a:lnTo>
                  <a:lnTo>
                    <a:pt x="104" y="202"/>
                  </a:lnTo>
                  <a:lnTo>
                    <a:pt x="108" y="203"/>
                  </a:lnTo>
                  <a:lnTo>
                    <a:pt x="109" y="206"/>
                  </a:lnTo>
                  <a:lnTo>
                    <a:pt x="111" y="207"/>
                  </a:lnTo>
                  <a:lnTo>
                    <a:pt x="113" y="209"/>
                  </a:lnTo>
                  <a:lnTo>
                    <a:pt x="117" y="209"/>
                  </a:lnTo>
                  <a:lnTo>
                    <a:pt x="119" y="209"/>
                  </a:lnTo>
                  <a:lnTo>
                    <a:pt x="119" y="206"/>
                  </a:lnTo>
                  <a:lnTo>
                    <a:pt x="117" y="203"/>
                  </a:lnTo>
                  <a:lnTo>
                    <a:pt x="117" y="201"/>
                  </a:lnTo>
                  <a:lnTo>
                    <a:pt x="119" y="203"/>
                  </a:lnTo>
                  <a:lnTo>
                    <a:pt x="121" y="205"/>
                  </a:lnTo>
                  <a:lnTo>
                    <a:pt x="121" y="209"/>
                  </a:lnTo>
                  <a:lnTo>
                    <a:pt x="125" y="210"/>
                  </a:lnTo>
                  <a:lnTo>
                    <a:pt x="130" y="210"/>
                  </a:lnTo>
                  <a:lnTo>
                    <a:pt x="133" y="206"/>
                  </a:lnTo>
                  <a:lnTo>
                    <a:pt x="134" y="204"/>
                  </a:lnTo>
                  <a:lnTo>
                    <a:pt x="130" y="203"/>
                  </a:lnTo>
                  <a:lnTo>
                    <a:pt x="128" y="202"/>
                  </a:lnTo>
                  <a:lnTo>
                    <a:pt x="127" y="198"/>
                  </a:lnTo>
                  <a:lnTo>
                    <a:pt x="129" y="201"/>
                  </a:lnTo>
                  <a:lnTo>
                    <a:pt x="133" y="203"/>
                  </a:lnTo>
                  <a:lnTo>
                    <a:pt x="135" y="203"/>
                  </a:lnTo>
                  <a:lnTo>
                    <a:pt x="138" y="202"/>
                  </a:lnTo>
                  <a:lnTo>
                    <a:pt x="135" y="204"/>
                  </a:lnTo>
                  <a:lnTo>
                    <a:pt x="135" y="206"/>
                  </a:lnTo>
                  <a:lnTo>
                    <a:pt x="138" y="207"/>
                  </a:lnTo>
                  <a:lnTo>
                    <a:pt x="141" y="207"/>
                  </a:lnTo>
                  <a:lnTo>
                    <a:pt x="144" y="207"/>
                  </a:lnTo>
                  <a:lnTo>
                    <a:pt x="146" y="206"/>
                  </a:lnTo>
                  <a:lnTo>
                    <a:pt x="150" y="207"/>
                  </a:lnTo>
                  <a:lnTo>
                    <a:pt x="153" y="209"/>
                  </a:lnTo>
                  <a:lnTo>
                    <a:pt x="151" y="211"/>
                  </a:lnTo>
                  <a:lnTo>
                    <a:pt x="149" y="214"/>
                  </a:lnTo>
                  <a:lnTo>
                    <a:pt x="150" y="216"/>
                  </a:lnTo>
                  <a:lnTo>
                    <a:pt x="155" y="215"/>
                  </a:lnTo>
                  <a:lnTo>
                    <a:pt x="158" y="215"/>
                  </a:lnTo>
                  <a:lnTo>
                    <a:pt x="161" y="214"/>
                  </a:lnTo>
                  <a:lnTo>
                    <a:pt x="163" y="214"/>
                  </a:lnTo>
                  <a:lnTo>
                    <a:pt x="165" y="213"/>
                  </a:lnTo>
                  <a:lnTo>
                    <a:pt x="168" y="212"/>
                  </a:lnTo>
                  <a:lnTo>
                    <a:pt x="170" y="212"/>
                  </a:lnTo>
                  <a:lnTo>
                    <a:pt x="173" y="212"/>
                  </a:lnTo>
                  <a:lnTo>
                    <a:pt x="175" y="209"/>
                  </a:lnTo>
                  <a:lnTo>
                    <a:pt x="178" y="207"/>
                  </a:lnTo>
                  <a:lnTo>
                    <a:pt x="180" y="204"/>
                  </a:lnTo>
                  <a:lnTo>
                    <a:pt x="182" y="205"/>
                  </a:lnTo>
                  <a:lnTo>
                    <a:pt x="182" y="207"/>
                  </a:lnTo>
                  <a:lnTo>
                    <a:pt x="186" y="206"/>
                  </a:lnTo>
                  <a:lnTo>
                    <a:pt x="188" y="205"/>
                  </a:lnTo>
                  <a:lnTo>
                    <a:pt x="190" y="203"/>
                  </a:lnTo>
                  <a:lnTo>
                    <a:pt x="193" y="201"/>
                  </a:lnTo>
                  <a:lnTo>
                    <a:pt x="194" y="198"/>
                  </a:lnTo>
                  <a:lnTo>
                    <a:pt x="193" y="195"/>
                  </a:lnTo>
                  <a:lnTo>
                    <a:pt x="190" y="193"/>
                  </a:lnTo>
                  <a:lnTo>
                    <a:pt x="188" y="192"/>
                  </a:lnTo>
                  <a:lnTo>
                    <a:pt x="185" y="193"/>
                  </a:lnTo>
                  <a:lnTo>
                    <a:pt x="182" y="195"/>
                  </a:lnTo>
                  <a:lnTo>
                    <a:pt x="180" y="197"/>
                  </a:lnTo>
                  <a:lnTo>
                    <a:pt x="177" y="197"/>
                  </a:lnTo>
                  <a:lnTo>
                    <a:pt x="178" y="194"/>
                  </a:lnTo>
                  <a:lnTo>
                    <a:pt x="175" y="194"/>
                  </a:lnTo>
                  <a:lnTo>
                    <a:pt x="171" y="194"/>
                  </a:lnTo>
                  <a:lnTo>
                    <a:pt x="175" y="192"/>
                  </a:lnTo>
                  <a:lnTo>
                    <a:pt x="177" y="189"/>
                  </a:lnTo>
                  <a:lnTo>
                    <a:pt x="175" y="186"/>
                  </a:lnTo>
                  <a:lnTo>
                    <a:pt x="171" y="186"/>
                  </a:lnTo>
                  <a:lnTo>
                    <a:pt x="169" y="185"/>
                  </a:lnTo>
                  <a:lnTo>
                    <a:pt x="165" y="186"/>
                  </a:lnTo>
                  <a:lnTo>
                    <a:pt x="163" y="187"/>
                  </a:lnTo>
                  <a:lnTo>
                    <a:pt x="162" y="188"/>
                  </a:lnTo>
                  <a:lnTo>
                    <a:pt x="159" y="189"/>
                  </a:lnTo>
                  <a:lnTo>
                    <a:pt x="161" y="186"/>
                  </a:lnTo>
                  <a:lnTo>
                    <a:pt x="158" y="186"/>
                  </a:lnTo>
                  <a:lnTo>
                    <a:pt x="155" y="185"/>
                  </a:lnTo>
                  <a:lnTo>
                    <a:pt x="150" y="184"/>
                  </a:lnTo>
                  <a:lnTo>
                    <a:pt x="146" y="185"/>
                  </a:lnTo>
                  <a:lnTo>
                    <a:pt x="144" y="186"/>
                  </a:lnTo>
                  <a:lnTo>
                    <a:pt x="141" y="187"/>
                  </a:lnTo>
                  <a:lnTo>
                    <a:pt x="138" y="187"/>
                  </a:lnTo>
                  <a:lnTo>
                    <a:pt x="136" y="185"/>
                  </a:lnTo>
                  <a:lnTo>
                    <a:pt x="134" y="184"/>
                  </a:lnTo>
                  <a:lnTo>
                    <a:pt x="136" y="184"/>
                  </a:lnTo>
                  <a:lnTo>
                    <a:pt x="139" y="184"/>
                  </a:lnTo>
                  <a:lnTo>
                    <a:pt x="142" y="184"/>
                  </a:lnTo>
                  <a:lnTo>
                    <a:pt x="145" y="181"/>
                  </a:lnTo>
                  <a:lnTo>
                    <a:pt x="142" y="181"/>
                  </a:lnTo>
                  <a:lnTo>
                    <a:pt x="139" y="179"/>
                  </a:lnTo>
                  <a:lnTo>
                    <a:pt x="141" y="177"/>
                  </a:lnTo>
                  <a:lnTo>
                    <a:pt x="138" y="173"/>
                  </a:lnTo>
                  <a:lnTo>
                    <a:pt x="141" y="176"/>
                  </a:lnTo>
                  <a:lnTo>
                    <a:pt x="144" y="178"/>
                  </a:lnTo>
                  <a:lnTo>
                    <a:pt x="146" y="180"/>
                  </a:lnTo>
                  <a:lnTo>
                    <a:pt x="150" y="181"/>
                  </a:lnTo>
                  <a:lnTo>
                    <a:pt x="152" y="183"/>
                  </a:lnTo>
                  <a:lnTo>
                    <a:pt x="155" y="184"/>
                  </a:lnTo>
                  <a:lnTo>
                    <a:pt x="158" y="184"/>
                  </a:lnTo>
                  <a:lnTo>
                    <a:pt x="161" y="184"/>
                  </a:lnTo>
                  <a:lnTo>
                    <a:pt x="163" y="184"/>
                  </a:lnTo>
                  <a:lnTo>
                    <a:pt x="164" y="184"/>
                  </a:lnTo>
                  <a:lnTo>
                    <a:pt x="167" y="184"/>
                  </a:lnTo>
                  <a:lnTo>
                    <a:pt x="170" y="184"/>
                  </a:lnTo>
                  <a:lnTo>
                    <a:pt x="172" y="184"/>
                  </a:lnTo>
                  <a:lnTo>
                    <a:pt x="176" y="184"/>
                  </a:lnTo>
                  <a:lnTo>
                    <a:pt x="178" y="181"/>
                  </a:lnTo>
                  <a:lnTo>
                    <a:pt x="181" y="184"/>
                  </a:lnTo>
                  <a:lnTo>
                    <a:pt x="184" y="181"/>
                  </a:lnTo>
                  <a:lnTo>
                    <a:pt x="187" y="180"/>
                  </a:lnTo>
                  <a:lnTo>
                    <a:pt x="189" y="179"/>
                  </a:lnTo>
                  <a:lnTo>
                    <a:pt x="190" y="176"/>
                  </a:lnTo>
                  <a:lnTo>
                    <a:pt x="194" y="175"/>
                  </a:lnTo>
                  <a:lnTo>
                    <a:pt x="190" y="171"/>
                  </a:lnTo>
                  <a:lnTo>
                    <a:pt x="192" y="169"/>
                  </a:lnTo>
                  <a:lnTo>
                    <a:pt x="188" y="167"/>
                  </a:lnTo>
                  <a:lnTo>
                    <a:pt x="185" y="166"/>
                  </a:lnTo>
                  <a:lnTo>
                    <a:pt x="188" y="163"/>
                  </a:lnTo>
                  <a:lnTo>
                    <a:pt x="190" y="164"/>
                  </a:lnTo>
                  <a:lnTo>
                    <a:pt x="194" y="164"/>
                  </a:lnTo>
                  <a:lnTo>
                    <a:pt x="196" y="164"/>
                  </a:lnTo>
                  <a:lnTo>
                    <a:pt x="202" y="164"/>
                  </a:lnTo>
                  <a:lnTo>
                    <a:pt x="205" y="166"/>
                  </a:lnTo>
                  <a:lnTo>
                    <a:pt x="207" y="164"/>
                  </a:lnTo>
                  <a:lnTo>
                    <a:pt x="211" y="164"/>
                  </a:lnTo>
                  <a:lnTo>
                    <a:pt x="213" y="163"/>
                  </a:lnTo>
                  <a:lnTo>
                    <a:pt x="216" y="163"/>
                  </a:lnTo>
                  <a:lnTo>
                    <a:pt x="219" y="164"/>
                  </a:lnTo>
                  <a:lnTo>
                    <a:pt x="222" y="162"/>
                  </a:lnTo>
                  <a:lnTo>
                    <a:pt x="222" y="159"/>
                  </a:lnTo>
                  <a:lnTo>
                    <a:pt x="219" y="159"/>
                  </a:lnTo>
                  <a:lnTo>
                    <a:pt x="216" y="159"/>
                  </a:lnTo>
                  <a:lnTo>
                    <a:pt x="214" y="159"/>
                  </a:lnTo>
                  <a:lnTo>
                    <a:pt x="211" y="159"/>
                  </a:lnTo>
                  <a:lnTo>
                    <a:pt x="209" y="156"/>
                  </a:lnTo>
                  <a:lnTo>
                    <a:pt x="211" y="155"/>
                  </a:lnTo>
                  <a:lnTo>
                    <a:pt x="213" y="156"/>
                  </a:lnTo>
                  <a:lnTo>
                    <a:pt x="216" y="156"/>
                  </a:lnTo>
                  <a:lnTo>
                    <a:pt x="219" y="156"/>
                  </a:lnTo>
                  <a:lnTo>
                    <a:pt x="222" y="156"/>
                  </a:lnTo>
                  <a:lnTo>
                    <a:pt x="224" y="156"/>
                  </a:lnTo>
                  <a:lnTo>
                    <a:pt x="228" y="154"/>
                  </a:lnTo>
                  <a:lnTo>
                    <a:pt x="230" y="152"/>
                  </a:lnTo>
                  <a:lnTo>
                    <a:pt x="228" y="151"/>
                  </a:lnTo>
                  <a:lnTo>
                    <a:pt x="224" y="150"/>
                  </a:lnTo>
                  <a:lnTo>
                    <a:pt x="222" y="150"/>
                  </a:lnTo>
                  <a:lnTo>
                    <a:pt x="219" y="150"/>
                  </a:lnTo>
                  <a:lnTo>
                    <a:pt x="215" y="149"/>
                  </a:lnTo>
                  <a:lnTo>
                    <a:pt x="213" y="147"/>
                  </a:lnTo>
                  <a:lnTo>
                    <a:pt x="210" y="147"/>
                  </a:lnTo>
                  <a:lnTo>
                    <a:pt x="213" y="146"/>
                  </a:lnTo>
                  <a:lnTo>
                    <a:pt x="216" y="147"/>
                  </a:lnTo>
                  <a:lnTo>
                    <a:pt x="219" y="147"/>
                  </a:lnTo>
                  <a:lnTo>
                    <a:pt x="224" y="147"/>
                  </a:lnTo>
                  <a:lnTo>
                    <a:pt x="228" y="147"/>
                  </a:lnTo>
                  <a:lnTo>
                    <a:pt x="231" y="147"/>
                  </a:lnTo>
                  <a:lnTo>
                    <a:pt x="233" y="146"/>
                  </a:lnTo>
                  <a:lnTo>
                    <a:pt x="236" y="145"/>
                  </a:lnTo>
                  <a:lnTo>
                    <a:pt x="233" y="144"/>
                  </a:lnTo>
                  <a:lnTo>
                    <a:pt x="235" y="141"/>
                  </a:lnTo>
                  <a:lnTo>
                    <a:pt x="235" y="138"/>
                  </a:lnTo>
                  <a:lnTo>
                    <a:pt x="232" y="137"/>
                  </a:lnTo>
                  <a:lnTo>
                    <a:pt x="229" y="136"/>
                  </a:lnTo>
                  <a:lnTo>
                    <a:pt x="227" y="136"/>
                  </a:lnTo>
                  <a:lnTo>
                    <a:pt x="223" y="136"/>
                  </a:lnTo>
                  <a:lnTo>
                    <a:pt x="221" y="136"/>
                  </a:lnTo>
                  <a:lnTo>
                    <a:pt x="218" y="137"/>
                  </a:lnTo>
                  <a:lnTo>
                    <a:pt x="215" y="136"/>
                  </a:lnTo>
                  <a:lnTo>
                    <a:pt x="212" y="137"/>
                  </a:lnTo>
                  <a:lnTo>
                    <a:pt x="215" y="136"/>
                  </a:lnTo>
                  <a:lnTo>
                    <a:pt x="218" y="136"/>
                  </a:lnTo>
                  <a:lnTo>
                    <a:pt x="221" y="134"/>
                  </a:lnTo>
                  <a:lnTo>
                    <a:pt x="218" y="133"/>
                  </a:lnTo>
                  <a:lnTo>
                    <a:pt x="215" y="133"/>
                  </a:lnTo>
                  <a:lnTo>
                    <a:pt x="213" y="133"/>
                  </a:lnTo>
                  <a:lnTo>
                    <a:pt x="206" y="133"/>
                  </a:lnTo>
                  <a:lnTo>
                    <a:pt x="201" y="134"/>
                  </a:lnTo>
                  <a:lnTo>
                    <a:pt x="197" y="134"/>
                  </a:lnTo>
                  <a:lnTo>
                    <a:pt x="195" y="134"/>
                  </a:lnTo>
                  <a:lnTo>
                    <a:pt x="192" y="136"/>
                  </a:lnTo>
                  <a:lnTo>
                    <a:pt x="189" y="138"/>
                  </a:lnTo>
                  <a:lnTo>
                    <a:pt x="187" y="139"/>
                  </a:lnTo>
                  <a:lnTo>
                    <a:pt x="188" y="137"/>
                  </a:lnTo>
                  <a:lnTo>
                    <a:pt x="192" y="135"/>
                  </a:lnTo>
                  <a:lnTo>
                    <a:pt x="194" y="132"/>
                  </a:lnTo>
                  <a:lnTo>
                    <a:pt x="192" y="132"/>
                  </a:lnTo>
                  <a:lnTo>
                    <a:pt x="188" y="132"/>
                  </a:lnTo>
                  <a:lnTo>
                    <a:pt x="185" y="132"/>
                  </a:lnTo>
                  <a:lnTo>
                    <a:pt x="182" y="132"/>
                  </a:lnTo>
                  <a:lnTo>
                    <a:pt x="179" y="132"/>
                  </a:lnTo>
                  <a:lnTo>
                    <a:pt x="185" y="130"/>
                  </a:lnTo>
                  <a:lnTo>
                    <a:pt x="188" y="132"/>
                  </a:lnTo>
                  <a:lnTo>
                    <a:pt x="192" y="132"/>
                  </a:lnTo>
                  <a:lnTo>
                    <a:pt x="194" y="132"/>
                  </a:lnTo>
                  <a:lnTo>
                    <a:pt x="197" y="133"/>
                  </a:lnTo>
                  <a:lnTo>
                    <a:pt x="199" y="132"/>
                  </a:lnTo>
                  <a:lnTo>
                    <a:pt x="203" y="132"/>
                  </a:lnTo>
                  <a:lnTo>
                    <a:pt x="209" y="130"/>
                  </a:lnTo>
                  <a:lnTo>
                    <a:pt x="211" y="130"/>
                  </a:lnTo>
                  <a:lnTo>
                    <a:pt x="214" y="130"/>
                  </a:lnTo>
                  <a:lnTo>
                    <a:pt x="216" y="130"/>
                  </a:lnTo>
                  <a:lnTo>
                    <a:pt x="214" y="129"/>
                  </a:lnTo>
                  <a:lnTo>
                    <a:pt x="211" y="129"/>
                  </a:lnTo>
                  <a:lnTo>
                    <a:pt x="209" y="128"/>
                  </a:lnTo>
                  <a:lnTo>
                    <a:pt x="205" y="128"/>
                  </a:lnTo>
                  <a:lnTo>
                    <a:pt x="203" y="128"/>
                  </a:lnTo>
                  <a:lnTo>
                    <a:pt x="199" y="128"/>
                  </a:lnTo>
                  <a:lnTo>
                    <a:pt x="196" y="128"/>
                  </a:lnTo>
                  <a:lnTo>
                    <a:pt x="194" y="127"/>
                  </a:lnTo>
                  <a:lnTo>
                    <a:pt x="192" y="127"/>
                  </a:lnTo>
                  <a:lnTo>
                    <a:pt x="188" y="127"/>
                  </a:lnTo>
                  <a:lnTo>
                    <a:pt x="192" y="127"/>
                  </a:lnTo>
                  <a:lnTo>
                    <a:pt x="194" y="127"/>
                  </a:lnTo>
                  <a:lnTo>
                    <a:pt x="197" y="127"/>
                  </a:lnTo>
                  <a:lnTo>
                    <a:pt x="201" y="127"/>
                  </a:lnTo>
                  <a:lnTo>
                    <a:pt x="203" y="127"/>
                  </a:lnTo>
                  <a:lnTo>
                    <a:pt x="206" y="127"/>
                  </a:lnTo>
                  <a:lnTo>
                    <a:pt x="210" y="127"/>
                  </a:lnTo>
                  <a:lnTo>
                    <a:pt x="212" y="127"/>
                  </a:lnTo>
                  <a:lnTo>
                    <a:pt x="214" y="127"/>
                  </a:lnTo>
                  <a:lnTo>
                    <a:pt x="218" y="127"/>
                  </a:lnTo>
                  <a:lnTo>
                    <a:pt x="220" y="130"/>
                  </a:lnTo>
                  <a:lnTo>
                    <a:pt x="223" y="132"/>
                  </a:lnTo>
                  <a:lnTo>
                    <a:pt x="226" y="132"/>
                  </a:lnTo>
                  <a:lnTo>
                    <a:pt x="229" y="132"/>
                  </a:lnTo>
                  <a:lnTo>
                    <a:pt x="231" y="132"/>
                  </a:lnTo>
                  <a:lnTo>
                    <a:pt x="233" y="132"/>
                  </a:lnTo>
                  <a:lnTo>
                    <a:pt x="236" y="133"/>
                  </a:lnTo>
                  <a:lnTo>
                    <a:pt x="239" y="132"/>
                  </a:lnTo>
                  <a:lnTo>
                    <a:pt x="237" y="129"/>
                  </a:lnTo>
                  <a:lnTo>
                    <a:pt x="235" y="127"/>
                  </a:lnTo>
                  <a:lnTo>
                    <a:pt x="237" y="126"/>
                  </a:lnTo>
                  <a:lnTo>
                    <a:pt x="235" y="126"/>
                  </a:lnTo>
                  <a:lnTo>
                    <a:pt x="231" y="126"/>
                  </a:lnTo>
                  <a:lnTo>
                    <a:pt x="229" y="126"/>
                  </a:lnTo>
                  <a:lnTo>
                    <a:pt x="223" y="126"/>
                  </a:lnTo>
                  <a:lnTo>
                    <a:pt x="220" y="126"/>
                  </a:lnTo>
                  <a:lnTo>
                    <a:pt x="218" y="125"/>
                  </a:lnTo>
                  <a:lnTo>
                    <a:pt x="214" y="125"/>
                  </a:lnTo>
                  <a:lnTo>
                    <a:pt x="212" y="125"/>
                  </a:lnTo>
                  <a:lnTo>
                    <a:pt x="206" y="125"/>
                  </a:lnTo>
                  <a:lnTo>
                    <a:pt x="203" y="125"/>
                  </a:lnTo>
                  <a:lnTo>
                    <a:pt x="201" y="125"/>
                  </a:lnTo>
                  <a:lnTo>
                    <a:pt x="197" y="124"/>
                  </a:lnTo>
                  <a:lnTo>
                    <a:pt x="195" y="124"/>
                  </a:lnTo>
                  <a:lnTo>
                    <a:pt x="192" y="122"/>
                  </a:lnTo>
                  <a:lnTo>
                    <a:pt x="195" y="122"/>
                  </a:lnTo>
                  <a:lnTo>
                    <a:pt x="198" y="122"/>
                  </a:lnTo>
                  <a:lnTo>
                    <a:pt x="201" y="122"/>
                  </a:lnTo>
                  <a:lnTo>
                    <a:pt x="201" y="119"/>
                  </a:lnTo>
                  <a:lnTo>
                    <a:pt x="203" y="121"/>
                  </a:lnTo>
                  <a:lnTo>
                    <a:pt x="206" y="122"/>
                  </a:lnTo>
                  <a:lnTo>
                    <a:pt x="210" y="122"/>
                  </a:lnTo>
                  <a:lnTo>
                    <a:pt x="212" y="122"/>
                  </a:lnTo>
                  <a:lnTo>
                    <a:pt x="214" y="122"/>
                  </a:lnTo>
                  <a:lnTo>
                    <a:pt x="218" y="121"/>
                  </a:lnTo>
                  <a:lnTo>
                    <a:pt x="214" y="119"/>
                  </a:lnTo>
                  <a:lnTo>
                    <a:pt x="212" y="119"/>
                  </a:lnTo>
                  <a:lnTo>
                    <a:pt x="210" y="119"/>
                  </a:lnTo>
                  <a:lnTo>
                    <a:pt x="206" y="118"/>
                  </a:lnTo>
                  <a:lnTo>
                    <a:pt x="204" y="117"/>
                  </a:lnTo>
                  <a:lnTo>
                    <a:pt x="206" y="118"/>
                  </a:lnTo>
                  <a:lnTo>
                    <a:pt x="210" y="117"/>
                  </a:lnTo>
                  <a:lnTo>
                    <a:pt x="212" y="118"/>
                  </a:lnTo>
                  <a:lnTo>
                    <a:pt x="215" y="118"/>
                  </a:lnTo>
                  <a:lnTo>
                    <a:pt x="218" y="120"/>
                  </a:lnTo>
                  <a:lnTo>
                    <a:pt x="221" y="119"/>
                  </a:lnTo>
                  <a:lnTo>
                    <a:pt x="223" y="120"/>
                  </a:lnTo>
                  <a:lnTo>
                    <a:pt x="226" y="121"/>
                  </a:lnTo>
                  <a:lnTo>
                    <a:pt x="229" y="121"/>
                  </a:lnTo>
                  <a:lnTo>
                    <a:pt x="231" y="121"/>
                  </a:lnTo>
                  <a:lnTo>
                    <a:pt x="231" y="119"/>
                  </a:lnTo>
                  <a:lnTo>
                    <a:pt x="235" y="119"/>
                  </a:lnTo>
                  <a:lnTo>
                    <a:pt x="237" y="119"/>
                  </a:lnTo>
                  <a:lnTo>
                    <a:pt x="240" y="119"/>
                  </a:lnTo>
                  <a:lnTo>
                    <a:pt x="244" y="119"/>
                  </a:lnTo>
                  <a:lnTo>
                    <a:pt x="246" y="119"/>
                  </a:lnTo>
                  <a:lnTo>
                    <a:pt x="246" y="116"/>
                  </a:lnTo>
                  <a:lnTo>
                    <a:pt x="248" y="118"/>
                  </a:lnTo>
                  <a:lnTo>
                    <a:pt x="252" y="118"/>
                  </a:lnTo>
                  <a:lnTo>
                    <a:pt x="255" y="118"/>
                  </a:lnTo>
                  <a:lnTo>
                    <a:pt x="257" y="116"/>
                  </a:lnTo>
                  <a:lnTo>
                    <a:pt x="257" y="113"/>
                  </a:lnTo>
                  <a:lnTo>
                    <a:pt x="254" y="111"/>
                  </a:lnTo>
                  <a:lnTo>
                    <a:pt x="252" y="110"/>
                  </a:lnTo>
                  <a:lnTo>
                    <a:pt x="248" y="110"/>
                  </a:lnTo>
                  <a:lnTo>
                    <a:pt x="246" y="109"/>
                  </a:lnTo>
                  <a:lnTo>
                    <a:pt x="243" y="109"/>
                  </a:lnTo>
                  <a:lnTo>
                    <a:pt x="239" y="109"/>
                  </a:lnTo>
                  <a:lnTo>
                    <a:pt x="237" y="109"/>
                  </a:lnTo>
                  <a:lnTo>
                    <a:pt x="233" y="107"/>
                  </a:lnTo>
                  <a:lnTo>
                    <a:pt x="239" y="107"/>
                  </a:lnTo>
                  <a:lnTo>
                    <a:pt x="243" y="105"/>
                  </a:lnTo>
                  <a:lnTo>
                    <a:pt x="245" y="105"/>
                  </a:lnTo>
                  <a:lnTo>
                    <a:pt x="252" y="108"/>
                  </a:lnTo>
                  <a:lnTo>
                    <a:pt x="254" y="108"/>
                  </a:lnTo>
                  <a:lnTo>
                    <a:pt x="257" y="108"/>
                  </a:lnTo>
                  <a:lnTo>
                    <a:pt x="260" y="108"/>
                  </a:lnTo>
                  <a:lnTo>
                    <a:pt x="260" y="110"/>
                  </a:lnTo>
                  <a:lnTo>
                    <a:pt x="263" y="112"/>
                  </a:lnTo>
                  <a:lnTo>
                    <a:pt x="265" y="112"/>
                  </a:lnTo>
                  <a:lnTo>
                    <a:pt x="269" y="112"/>
                  </a:lnTo>
                  <a:lnTo>
                    <a:pt x="271" y="112"/>
                  </a:lnTo>
                  <a:lnTo>
                    <a:pt x="274" y="111"/>
                  </a:lnTo>
                  <a:lnTo>
                    <a:pt x="277" y="111"/>
                  </a:lnTo>
                  <a:lnTo>
                    <a:pt x="280" y="110"/>
                  </a:lnTo>
                  <a:lnTo>
                    <a:pt x="282" y="110"/>
                  </a:lnTo>
                  <a:lnTo>
                    <a:pt x="286" y="108"/>
                  </a:lnTo>
                  <a:lnTo>
                    <a:pt x="287" y="105"/>
                  </a:lnTo>
                  <a:lnTo>
                    <a:pt x="283" y="105"/>
                  </a:lnTo>
                  <a:lnTo>
                    <a:pt x="281" y="105"/>
                  </a:lnTo>
                  <a:lnTo>
                    <a:pt x="283" y="103"/>
                  </a:lnTo>
                  <a:lnTo>
                    <a:pt x="287" y="103"/>
                  </a:lnTo>
                  <a:lnTo>
                    <a:pt x="290" y="103"/>
                  </a:lnTo>
                  <a:lnTo>
                    <a:pt x="291" y="102"/>
                  </a:lnTo>
                  <a:lnTo>
                    <a:pt x="290" y="102"/>
                  </a:lnTo>
                  <a:lnTo>
                    <a:pt x="292" y="100"/>
                  </a:lnTo>
                  <a:lnTo>
                    <a:pt x="290" y="98"/>
                  </a:lnTo>
                  <a:lnTo>
                    <a:pt x="284" y="99"/>
                  </a:lnTo>
                  <a:lnTo>
                    <a:pt x="281" y="100"/>
                  </a:lnTo>
                  <a:lnTo>
                    <a:pt x="278" y="100"/>
                  </a:lnTo>
                  <a:lnTo>
                    <a:pt x="275" y="100"/>
                  </a:lnTo>
                  <a:lnTo>
                    <a:pt x="272" y="101"/>
                  </a:lnTo>
                  <a:lnTo>
                    <a:pt x="270" y="101"/>
                  </a:lnTo>
                  <a:lnTo>
                    <a:pt x="266" y="100"/>
                  </a:lnTo>
                  <a:lnTo>
                    <a:pt x="272" y="100"/>
                  </a:lnTo>
                  <a:lnTo>
                    <a:pt x="270" y="98"/>
                  </a:lnTo>
                  <a:lnTo>
                    <a:pt x="266" y="96"/>
                  </a:lnTo>
                  <a:lnTo>
                    <a:pt x="269" y="96"/>
                  </a:lnTo>
                  <a:lnTo>
                    <a:pt x="272" y="96"/>
                  </a:lnTo>
                  <a:lnTo>
                    <a:pt x="274" y="99"/>
                  </a:lnTo>
                  <a:lnTo>
                    <a:pt x="278" y="99"/>
                  </a:lnTo>
                  <a:lnTo>
                    <a:pt x="280" y="98"/>
                  </a:lnTo>
                  <a:lnTo>
                    <a:pt x="283" y="98"/>
                  </a:lnTo>
                  <a:lnTo>
                    <a:pt x="286" y="96"/>
                  </a:lnTo>
                  <a:lnTo>
                    <a:pt x="289" y="96"/>
                  </a:lnTo>
                  <a:lnTo>
                    <a:pt x="291" y="96"/>
                  </a:lnTo>
                  <a:lnTo>
                    <a:pt x="298" y="96"/>
                  </a:lnTo>
                  <a:lnTo>
                    <a:pt x="299" y="93"/>
                  </a:lnTo>
                  <a:lnTo>
                    <a:pt x="296" y="93"/>
                  </a:lnTo>
                  <a:lnTo>
                    <a:pt x="293" y="92"/>
                  </a:lnTo>
                  <a:lnTo>
                    <a:pt x="293" y="89"/>
                  </a:lnTo>
                  <a:lnTo>
                    <a:pt x="291" y="86"/>
                  </a:lnTo>
                  <a:lnTo>
                    <a:pt x="293" y="86"/>
                  </a:lnTo>
                  <a:lnTo>
                    <a:pt x="296" y="89"/>
                  </a:lnTo>
                  <a:lnTo>
                    <a:pt x="296" y="92"/>
                  </a:lnTo>
                  <a:lnTo>
                    <a:pt x="299" y="92"/>
                  </a:lnTo>
                  <a:lnTo>
                    <a:pt x="303" y="91"/>
                  </a:lnTo>
                  <a:lnTo>
                    <a:pt x="305" y="91"/>
                  </a:lnTo>
                  <a:lnTo>
                    <a:pt x="308" y="90"/>
                  </a:lnTo>
                  <a:lnTo>
                    <a:pt x="310" y="87"/>
                  </a:lnTo>
                  <a:lnTo>
                    <a:pt x="313" y="85"/>
                  </a:lnTo>
                  <a:lnTo>
                    <a:pt x="316" y="83"/>
                  </a:lnTo>
                  <a:lnTo>
                    <a:pt x="318" y="81"/>
                  </a:lnTo>
                  <a:lnTo>
                    <a:pt x="322" y="79"/>
                  </a:lnTo>
                  <a:lnTo>
                    <a:pt x="325" y="78"/>
                  </a:lnTo>
                  <a:lnTo>
                    <a:pt x="327" y="77"/>
                  </a:lnTo>
                  <a:lnTo>
                    <a:pt x="331" y="75"/>
                  </a:lnTo>
                  <a:lnTo>
                    <a:pt x="333" y="75"/>
                  </a:lnTo>
                  <a:lnTo>
                    <a:pt x="337" y="73"/>
                  </a:lnTo>
                  <a:lnTo>
                    <a:pt x="339" y="72"/>
                  </a:lnTo>
                  <a:lnTo>
                    <a:pt x="342" y="70"/>
                  </a:lnTo>
                  <a:lnTo>
                    <a:pt x="344" y="70"/>
                  </a:lnTo>
                  <a:lnTo>
                    <a:pt x="348" y="68"/>
                  </a:lnTo>
                  <a:lnTo>
                    <a:pt x="350" y="66"/>
                  </a:lnTo>
                  <a:lnTo>
                    <a:pt x="352" y="65"/>
                  </a:lnTo>
                  <a:lnTo>
                    <a:pt x="356" y="64"/>
                  </a:lnTo>
                  <a:lnTo>
                    <a:pt x="359" y="62"/>
                  </a:lnTo>
                  <a:lnTo>
                    <a:pt x="361" y="62"/>
                  </a:lnTo>
                  <a:lnTo>
                    <a:pt x="365" y="61"/>
                  </a:lnTo>
                  <a:lnTo>
                    <a:pt x="367" y="60"/>
                  </a:lnTo>
                  <a:lnTo>
                    <a:pt x="371" y="59"/>
                  </a:lnTo>
                  <a:lnTo>
                    <a:pt x="373" y="58"/>
                  </a:lnTo>
                  <a:lnTo>
                    <a:pt x="375" y="56"/>
                  </a:lnTo>
                  <a:lnTo>
                    <a:pt x="375" y="53"/>
                  </a:lnTo>
                  <a:lnTo>
                    <a:pt x="369" y="53"/>
                  </a:lnTo>
                  <a:lnTo>
                    <a:pt x="366" y="53"/>
                  </a:lnTo>
                  <a:lnTo>
                    <a:pt x="364" y="53"/>
                  </a:lnTo>
                  <a:lnTo>
                    <a:pt x="361" y="55"/>
                  </a:lnTo>
                  <a:lnTo>
                    <a:pt x="358" y="55"/>
                  </a:lnTo>
                  <a:lnTo>
                    <a:pt x="356" y="56"/>
                  </a:lnTo>
                  <a:lnTo>
                    <a:pt x="352" y="56"/>
                  </a:lnTo>
                  <a:lnTo>
                    <a:pt x="350" y="57"/>
                  </a:lnTo>
                  <a:lnTo>
                    <a:pt x="347" y="57"/>
                  </a:lnTo>
                  <a:lnTo>
                    <a:pt x="340" y="58"/>
                  </a:lnTo>
                  <a:lnTo>
                    <a:pt x="338" y="58"/>
                  </a:lnTo>
                  <a:lnTo>
                    <a:pt x="334" y="59"/>
                  </a:lnTo>
                  <a:lnTo>
                    <a:pt x="332" y="60"/>
                  </a:lnTo>
                  <a:lnTo>
                    <a:pt x="330" y="60"/>
                  </a:lnTo>
                  <a:lnTo>
                    <a:pt x="326" y="61"/>
                  </a:lnTo>
                  <a:lnTo>
                    <a:pt x="324" y="61"/>
                  </a:lnTo>
                  <a:lnTo>
                    <a:pt x="321" y="62"/>
                  </a:lnTo>
                  <a:lnTo>
                    <a:pt x="318" y="62"/>
                  </a:lnTo>
                  <a:lnTo>
                    <a:pt x="315" y="64"/>
                  </a:lnTo>
                  <a:lnTo>
                    <a:pt x="313" y="64"/>
                  </a:lnTo>
                  <a:lnTo>
                    <a:pt x="309" y="65"/>
                  </a:lnTo>
                  <a:lnTo>
                    <a:pt x="306" y="65"/>
                  </a:lnTo>
                  <a:lnTo>
                    <a:pt x="304" y="66"/>
                  </a:lnTo>
                  <a:lnTo>
                    <a:pt x="300" y="67"/>
                  </a:lnTo>
                  <a:lnTo>
                    <a:pt x="299" y="67"/>
                  </a:lnTo>
                  <a:lnTo>
                    <a:pt x="303" y="66"/>
                  </a:lnTo>
                  <a:lnTo>
                    <a:pt x="299" y="66"/>
                  </a:lnTo>
                  <a:lnTo>
                    <a:pt x="297" y="65"/>
                  </a:lnTo>
                  <a:lnTo>
                    <a:pt x="299" y="65"/>
                  </a:lnTo>
                  <a:lnTo>
                    <a:pt x="305" y="64"/>
                  </a:lnTo>
                  <a:lnTo>
                    <a:pt x="308" y="62"/>
                  </a:lnTo>
                  <a:lnTo>
                    <a:pt x="312" y="62"/>
                  </a:lnTo>
                  <a:lnTo>
                    <a:pt x="314" y="62"/>
                  </a:lnTo>
                  <a:lnTo>
                    <a:pt x="317" y="61"/>
                  </a:lnTo>
                  <a:lnTo>
                    <a:pt x="321" y="61"/>
                  </a:lnTo>
                  <a:lnTo>
                    <a:pt x="323" y="60"/>
                  </a:lnTo>
                  <a:lnTo>
                    <a:pt x="326" y="59"/>
                  </a:lnTo>
                  <a:lnTo>
                    <a:pt x="330" y="58"/>
                  </a:lnTo>
                  <a:lnTo>
                    <a:pt x="332" y="58"/>
                  </a:lnTo>
                  <a:lnTo>
                    <a:pt x="334" y="57"/>
                  </a:lnTo>
                  <a:lnTo>
                    <a:pt x="338" y="56"/>
                  </a:lnTo>
                  <a:lnTo>
                    <a:pt x="340" y="56"/>
                  </a:lnTo>
                  <a:lnTo>
                    <a:pt x="343" y="55"/>
                  </a:lnTo>
                  <a:lnTo>
                    <a:pt x="347" y="53"/>
                  </a:lnTo>
                  <a:lnTo>
                    <a:pt x="343" y="53"/>
                  </a:lnTo>
                  <a:lnTo>
                    <a:pt x="340" y="52"/>
                  </a:lnTo>
                  <a:lnTo>
                    <a:pt x="338" y="52"/>
                  </a:lnTo>
                  <a:lnTo>
                    <a:pt x="334" y="52"/>
                  </a:lnTo>
                  <a:lnTo>
                    <a:pt x="332" y="52"/>
                  </a:lnTo>
                  <a:lnTo>
                    <a:pt x="329" y="53"/>
                  </a:lnTo>
                  <a:lnTo>
                    <a:pt x="325" y="53"/>
                  </a:lnTo>
                  <a:lnTo>
                    <a:pt x="323" y="53"/>
                  </a:lnTo>
                  <a:lnTo>
                    <a:pt x="320" y="53"/>
                  </a:lnTo>
                  <a:lnTo>
                    <a:pt x="317" y="53"/>
                  </a:lnTo>
                  <a:lnTo>
                    <a:pt x="321" y="53"/>
                  </a:lnTo>
                  <a:lnTo>
                    <a:pt x="317" y="50"/>
                  </a:lnTo>
                  <a:lnTo>
                    <a:pt x="312" y="49"/>
                  </a:lnTo>
                  <a:lnTo>
                    <a:pt x="314" y="49"/>
                  </a:lnTo>
                  <a:lnTo>
                    <a:pt x="317" y="50"/>
                  </a:lnTo>
                  <a:lnTo>
                    <a:pt x="321" y="51"/>
                  </a:lnTo>
                  <a:lnTo>
                    <a:pt x="323" y="52"/>
                  </a:lnTo>
                  <a:lnTo>
                    <a:pt x="325" y="52"/>
                  </a:lnTo>
                  <a:lnTo>
                    <a:pt x="329" y="52"/>
                  </a:lnTo>
                  <a:lnTo>
                    <a:pt x="332" y="51"/>
                  </a:lnTo>
                  <a:lnTo>
                    <a:pt x="334" y="51"/>
                  </a:lnTo>
                  <a:lnTo>
                    <a:pt x="338" y="51"/>
                  </a:lnTo>
                  <a:lnTo>
                    <a:pt x="340" y="51"/>
                  </a:lnTo>
                  <a:lnTo>
                    <a:pt x="343" y="51"/>
                  </a:lnTo>
                  <a:lnTo>
                    <a:pt x="346" y="50"/>
                  </a:lnTo>
                  <a:lnTo>
                    <a:pt x="349" y="50"/>
                  </a:lnTo>
                  <a:lnTo>
                    <a:pt x="351" y="50"/>
                  </a:lnTo>
                  <a:lnTo>
                    <a:pt x="355" y="49"/>
                  </a:lnTo>
                  <a:lnTo>
                    <a:pt x="357" y="50"/>
                  </a:lnTo>
                  <a:lnTo>
                    <a:pt x="360" y="49"/>
                  </a:lnTo>
                  <a:lnTo>
                    <a:pt x="363" y="49"/>
                  </a:lnTo>
                  <a:lnTo>
                    <a:pt x="360" y="49"/>
                  </a:lnTo>
                  <a:lnTo>
                    <a:pt x="355" y="49"/>
                  </a:lnTo>
                  <a:lnTo>
                    <a:pt x="357" y="48"/>
                  </a:lnTo>
                  <a:lnTo>
                    <a:pt x="360" y="48"/>
                  </a:lnTo>
                  <a:lnTo>
                    <a:pt x="363" y="47"/>
                  </a:lnTo>
                  <a:lnTo>
                    <a:pt x="366" y="47"/>
                  </a:lnTo>
                  <a:lnTo>
                    <a:pt x="368" y="47"/>
                  </a:lnTo>
                  <a:lnTo>
                    <a:pt x="372" y="47"/>
                  </a:lnTo>
                  <a:lnTo>
                    <a:pt x="374" y="47"/>
                  </a:lnTo>
                  <a:lnTo>
                    <a:pt x="377" y="47"/>
                  </a:lnTo>
                  <a:lnTo>
                    <a:pt x="380" y="47"/>
                  </a:lnTo>
                  <a:lnTo>
                    <a:pt x="383" y="44"/>
                  </a:lnTo>
                  <a:lnTo>
                    <a:pt x="385" y="44"/>
                  </a:lnTo>
                  <a:lnTo>
                    <a:pt x="389" y="42"/>
                  </a:lnTo>
                  <a:lnTo>
                    <a:pt x="391" y="42"/>
                  </a:lnTo>
                  <a:lnTo>
                    <a:pt x="394" y="41"/>
                  </a:lnTo>
                  <a:lnTo>
                    <a:pt x="397" y="40"/>
                  </a:lnTo>
                  <a:lnTo>
                    <a:pt x="400" y="40"/>
                  </a:lnTo>
                  <a:lnTo>
                    <a:pt x="402" y="39"/>
                  </a:lnTo>
                  <a:lnTo>
                    <a:pt x="406" y="38"/>
                  </a:lnTo>
                  <a:lnTo>
                    <a:pt x="408" y="36"/>
                  </a:lnTo>
                  <a:lnTo>
                    <a:pt x="414" y="33"/>
                  </a:lnTo>
                  <a:lnTo>
                    <a:pt x="417" y="32"/>
                  </a:lnTo>
                  <a:lnTo>
                    <a:pt x="419" y="31"/>
                  </a:lnTo>
                  <a:lnTo>
                    <a:pt x="423" y="28"/>
                  </a:lnTo>
                  <a:lnTo>
                    <a:pt x="421" y="25"/>
                  </a:lnTo>
                  <a:close/>
                  <a:moveTo>
                    <a:pt x="99" y="166"/>
                  </a:moveTo>
                  <a:lnTo>
                    <a:pt x="101" y="166"/>
                  </a:lnTo>
                  <a:lnTo>
                    <a:pt x="99" y="167"/>
                  </a:lnTo>
                  <a:lnTo>
                    <a:pt x="98" y="167"/>
                  </a:lnTo>
                  <a:lnTo>
                    <a:pt x="101" y="166"/>
                  </a:lnTo>
                  <a:lnTo>
                    <a:pt x="96" y="166"/>
                  </a:lnTo>
                  <a:lnTo>
                    <a:pt x="99"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8" name="Freeform 208">
              <a:extLst>
                <a:ext uri="{FF2B5EF4-FFF2-40B4-BE49-F238E27FC236}">
                  <a16:creationId xmlns:a16="http://schemas.microsoft.com/office/drawing/2014/main" id="{5BBB452F-967C-4EDE-9442-85C10173DBA8}"/>
                </a:ext>
              </a:extLst>
            </p:cNvPr>
            <p:cNvSpPr>
              <a:spLocks noEditPoints="1"/>
            </p:cNvSpPr>
            <p:nvPr/>
          </p:nvSpPr>
          <p:spPr bwMode="auto">
            <a:xfrm>
              <a:off x="3143250" y="3273425"/>
              <a:ext cx="1382712" cy="246063"/>
            </a:xfrm>
            <a:custGeom>
              <a:avLst/>
              <a:gdLst>
                <a:gd name="T0" fmla="*/ 25 w 871"/>
                <a:gd name="T1" fmla="*/ 26 h 155"/>
                <a:gd name="T2" fmla="*/ 29 w 871"/>
                <a:gd name="T3" fmla="*/ 31 h 155"/>
                <a:gd name="T4" fmla="*/ 26 w 871"/>
                <a:gd name="T5" fmla="*/ 29 h 155"/>
                <a:gd name="T6" fmla="*/ 26 w 871"/>
                <a:gd name="T7" fmla="*/ 24 h 155"/>
                <a:gd name="T8" fmla="*/ 5 w 871"/>
                <a:gd name="T9" fmla="*/ 5 h 155"/>
                <a:gd name="T10" fmla="*/ 0 w 871"/>
                <a:gd name="T11" fmla="*/ 0 h 155"/>
                <a:gd name="T12" fmla="*/ 4 w 871"/>
                <a:gd name="T13" fmla="*/ 5 h 155"/>
                <a:gd name="T14" fmla="*/ 5 w 871"/>
                <a:gd name="T15" fmla="*/ 5 h 155"/>
                <a:gd name="T16" fmla="*/ 29 w 871"/>
                <a:gd name="T17" fmla="*/ 30 h 155"/>
                <a:gd name="T18" fmla="*/ 28 w 871"/>
                <a:gd name="T19" fmla="*/ 27 h 155"/>
                <a:gd name="T20" fmla="*/ 411 w 871"/>
                <a:gd name="T21" fmla="*/ 9 h 155"/>
                <a:gd name="T22" fmla="*/ 411 w 871"/>
                <a:gd name="T23" fmla="*/ 9 h 155"/>
                <a:gd name="T24" fmla="*/ 464 w 871"/>
                <a:gd name="T25" fmla="*/ 50 h 155"/>
                <a:gd name="T26" fmla="*/ 464 w 871"/>
                <a:gd name="T27" fmla="*/ 50 h 155"/>
                <a:gd name="T28" fmla="*/ 503 w 871"/>
                <a:gd name="T29" fmla="*/ 16 h 155"/>
                <a:gd name="T30" fmla="*/ 503 w 871"/>
                <a:gd name="T31" fmla="*/ 16 h 155"/>
                <a:gd name="T32" fmla="*/ 503 w 871"/>
                <a:gd name="T33" fmla="*/ 16 h 155"/>
                <a:gd name="T34" fmla="*/ 497 w 871"/>
                <a:gd name="T35" fmla="*/ 44 h 155"/>
                <a:gd name="T36" fmla="*/ 491 w 871"/>
                <a:gd name="T37" fmla="*/ 46 h 155"/>
                <a:gd name="T38" fmla="*/ 495 w 871"/>
                <a:gd name="T39" fmla="*/ 41 h 155"/>
                <a:gd name="T40" fmla="*/ 500 w 871"/>
                <a:gd name="T41" fmla="*/ 40 h 155"/>
                <a:gd name="T42" fmla="*/ 500 w 871"/>
                <a:gd name="T43" fmla="*/ 41 h 155"/>
                <a:gd name="T44" fmla="*/ 499 w 871"/>
                <a:gd name="T45" fmla="*/ 42 h 155"/>
                <a:gd name="T46" fmla="*/ 557 w 871"/>
                <a:gd name="T47" fmla="*/ 61 h 155"/>
                <a:gd name="T48" fmla="*/ 555 w 871"/>
                <a:gd name="T49" fmla="*/ 63 h 155"/>
                <a:gd name="T50" fmla="*/ 556 w 871"/>
                <a:gd name="T51" fmla="*/ 64 h 155"/>
                <a:gd name="T52" fmla="*/ 561 w 871"/>
                <a:gd name="T53" fmla="*/ 66 h 155"/>
                <a:gd name="T54" fmla="*/ 558 w 871"/>
                <a:gd name="T55" fmla="*/ 64 h 155"/>
                <a:gd name="T56" fmla="*/ 559 w 871"/>
                <a:gd name="T57" fmla="*/ 64 h 155"/>
                <a:gd name="T58" fmla="*/ 587 w 871"/>
                <a:gd name="T59" fmla="*/ 72 h 155"/>
                <a:gd name="T60" fmla="*/ 583 w 871"/>
                <a:gd name="T61" fmla="*/ 67 h 155"/>
                <a:gd name="T62" fmla="*/ 579 w 871"/>
                <a:gd name="T63" fmla="*/ 67 h 155"/>
                <a:gd name="T64" fmla="*/ 573 w 871"/>
                <a:gd name="T65" fmla="*/ 68 h 155"/>
                <a:gd name="T66" fmla="*/ 568 w 871"/>
                <a:gd name="T67" fmla="*/ 66 h 155"/>
                <a:gd name="T68" fmla="*/ 568 w 871"/>
                <a:gd name="T69" fmla="*/ 68 h 155"/>
                <a:gd name="T70" fmla="*/ 573 w 871"/>
                <a:gd name="T71" fmla="*/ 69 h 155"/>
                <a:gd name="T72" fmla="*/ 579 w 871"/>
                <a:gd name="T73" fmla="*/ 72 h 155"/>
                <a:gd name="T74" fmla="*/ 584 w 871"/>
                <a:gd name="T75" fmla="*/ 70 h 155"/>
                <a:gd name="T76" fmla="*/ 584 w 871"/>
                <a:gd name="T77" fmla="*/ 74 h 155"/>
                <a:gd name="T78" fmla="*/ 658 w 871"/>
                <a:gd name="T79" fmla="*/ 95 h 155"/>
                <a:gd name="T80" fmla="*/ 659 w 871"/>
                <a:gd name="T81" fmla="*/ 95 h 155"/>
                <a:gd name="T82" fmla="*/ 658 w 871"/>
                <a:gd name="T83" fmla="*/ 95 h 155"/>
                <a:gd name="T84" fmla="*/ 733 w 871"/>
                <a:gd name="T85" fmla="*/ 50 h 155"/>
                <a:gd name="T86" fmla="*/ 735 w 871"/>
                <a:gd name="T87" fmla="*/ 48 h 155"/>
                <a:gd name="T88" fmla="*/ 729 w 871"/>
                <a:gd name="T89" fmla="*/ 138 h 155"/>
                <a:gd name="T90" fmla="*/ 729 w 871"/>
                <a:gd name="T91" fmla="*/ 138 h 155"/>
                <a:gd name="T92" fmla="*/ 729 w 871"/>
                <a:gd name="T93" fmla="*/ 138 h 155"/>
                <a:gd name="T94" fmla="*/ 696 w 871"/>
                <a:gd name="T95" fmla="*/ 154 h 155"/>
                <a:gd name="T96" fmla="*/ 691 w 871"/>
                <a:gd name="T97" fmla="*/ 155 h 155"/>
                <a:gd name="T98" fmla="*/ 694 w 871"/>
                <a:gd name="T99" fmla="*/ 152 h 155"/>
                <a:gd name="T100" fmla="*/ 700 w 871"/>
                <a:gd name="T101" fmla="*/ 151 h 155"/>
                <a:gd name="T102" fmla="*/ 706 w 871"/>
                <a:gd name="T103" fmla="*/ 150 h 155"/>
                <a:gd name="T104" fmla="*/ 711 w 871"/>
                <a:gd name="T105" fmla="*/ 149 h 155"/>
                <a:gd name="T106" fmla="*/ 711 w 871"/>
                <a:gd name="T107" fmla="*/ 150 h 155"/>
                <a:gd name="T108" fmla="*/ 716 w 871"/>
                <a:gd name="T109" fmla="*/ 147 h 155"/>
                <a:gd name="T110" fmla="*/ 713 w 871"/>
                <a:gd name="T111" fmla="*/ 151 h 155"/>
                <a:gd name="T112" fmla="*/ 708 w 871"/>
                <a:gd name="T113" fmla="*/ 152 h 155"/>
                <a:gd name="T114" fmla="*/ 703 w 871"/>
                <a:gd name="T115" fmla="*/ 154 h 155"/>
                <a:gd name="T116" fmla="*/ 700 w 871"/>
                <a:gd name="T117" fmla="*/ 154 h 155"/>
                <a:gd name="T118" fmla="*/ 871 w 871"/>
                <a:gd name="T119" fmla="*/ 73 h 155"/>
                <a:gd name="T120" fmla="*/ 871 w 871"/>
                <a:gd name="T121" fmla="*/ 73 h 155"/>
                <a:gd name="T122" fmla="*/ 871 w 871"/>
                <a:gd name="T123" fmla="*/ 7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1" h="155">
                  <a:moveTo>
                    <a:pt x="26" y="24"/>
                  </a:moveTo>
                  <a:lnTo>
                    <a:pt x="25" y="26"/>
                  </a:lnTo>
                  <a:lnTo>
                    <a:pt x="27" y="30"/>
                  </a:lnTo>
                  <a:lnTo>
                    <a:pt x="29" y="31"/>
                  </a:lnTo>
                  <a:lnTo>
                    <a:pt x="27" y="31"/>
                  </a:lnTo>
                  <a:lnTo>
                    <a:pt x="26" y="29"/>
                  </a:lnTo>
                  <a:lnTo>
                    <a:pt x="25" y="25"/>
                  </a:lnTo>
                  <a:lnTo>
                    <a:pt x="26" y="24"/>
                  </a:lnTo>
                  <a:lnTo>
                    <a:pt x="26" y="24"/>
                  </a:lnTo>
                  <a:close/>
                  <a:moveTo>
                    <a:pt x="5" y="5"/>
                  </a:moveTo>
                  <a:lnTo>
                    <a:pt x="2" y="1"/>
                  </a:lnTo>
                  <a:lnTo>
                    <a:pt x="0" y="0"/>
                  </a:lnTo>
                  <a:lnTo>
                    <a:pt x="2" y="3"/>
                  </a:lnTo>
                  <a:lnTo>
                    <a:pt x="4" y="5"/>
                  </a:lnTo>
                  <a:lnTo>
                    <a:pt x="5" y="5"/>
                  </a:lnTo>
                  <a:lnTo>
                    <a:pt x="5" y="5"/>
                  </a:lnTo>
                  <a:close/>
                  <a:moveTo>
                    <a:pt x="28" y="27"/>
                  </a:moveTo>
                  <a:lnTo>
                    <a:pt x="29" y="30"/>
                  </a:lnTo>
                  <a:lnTo>
                    <a:pt x="27" y="27"/>
                  </a:lnTo>
                  <a:lnTo>
                    <a:pt x="28" y="27"/>
                  </a:lnTo>
                  <a:lnTo>
                    <a:pt x="28" y="27"/>
                  </a:lnTo>
                  <a:close/>
                  <a:moveTo>
                    <a:pt x="411" y="9"/>
                  </a:moveTo>
                  <a:lnTo>
                    <a:pt x="409" y="12"/>
                  </a:lnTo>
                  <a:lnTo>
                    <a:pt x="411" y="9"/>
                  </a:lnTo>
                  <a:lnTo>
                    <a:pt x="411" y="9"/>
                  </a:lnTo>
                  <a:close/>
                  <a:moveTo>
                    <a:pt x="464" y="50"/>
                  </a:moveTo>
                  <a:lnTo>
                    <a:pt x="461" y="52"/>
                  </a:lnTo>
                  <a:lnTo>
                    <a:pt x="464" y="50"/>
                  </a:lnTo>
                  <a:lnTo>
                    <a:pt x="464" y="50"/>
                  </a:lnTo>
                  <a:close/>
                  <a:moveTo>
                    <a:pt x="503" y="16"/>
                  </a:moveTo>
                  <a:lnTo>
                    <a:pt x="500" y="17"/>
                  </a:lnTo>
                  <a:lnTo>
                    <a:pt x="503" y="16"/>
                  </a:lnTo>
                  <a:lnTo>
                    <a:pt x="503" y="16"/>
                  </a:lnTo>
                  <a:lnTo>
                    <a:pt x="503" y="16"/>
                  </a:lnTo>
                  <a:close/>
                  <a:moveTo>
                    <a:pt x="499" y="42"/>
                  </a:moveTo>
                  <a:lnTo>
                    <a:pt x="497" y="44"/>
                  </a:lnTo>
                  <a:lnTo>
                    <a:pt x="495" y="47"/>
                  </a:lnTo>
                  <a:lnTo>
                    <a:pt x="491" y="46"/>
                  </a:lnTo>
                  <a:lnTo>
                    <a:pt x="493" y="43"/>
                  </a:lnTo>
                  <a:lnTo>
                    <a:pt x="495" y="41"/>
                  </a:lnTo>
                  <a:lnTo>
                    <a:pt x="498" y="40"/>
                  </a:lnTo>
                  <a:lnTo>
                    <a:pt x="500" y="40"/>
                  </a:lnTo>
                  <a:lnTo>
                    <a:pt x="503" y="41"/>
                  </a:lnTo>
                  <a:lnTo>
                    <a:pt x="500" y="41"/>
                  </a:lnTo>
                  <a:lnTo>
                    <a:pt x="499" y="42"/>
                  </a:lnTo>
                  <a:lnTo>
                    <a:pt x="499" y="42"/>
                  </a:lnTo>
                  <a:close/>
                  <a:moveTo>
                    <a:pt x="556" y="64"/>
                  </a:moveTo>
                  <a:lnTo>
                    <a:pt x="557" y="61"/>
                  </a:lnTo>
                  <a:lnTo>
                    <a:pt x="554" y="60"/>
                  </a:lnTo>
                  <a:lnTo>
                    <a:pt x="555" y="63"/>
                  </a:lnTo>
                  <a:lnTo>
                    <a:pt x="556" y="64"/>
                  </a:lnTo>
                  <a:lnTo>
                    <a:pt x="556" y="64"/>
                  </a:lnTo>
                  <a:close/>
                  <a:moveTo>
                    <a:pt x="559" y="64"/>
                  </a:moveTo>
                  <a:lnTo>
                    <a:pt x="561" y="66"/>
                  </a:lnTo>
                  <a:lnTo>
                    <a:pt x="558" y="67"/>
                  </a:lnTo>
                  <a:lnTo>
                    <a:pt x="558" y="64"/>
                  </a:lnTo>
                  <a:lnTo>
                    <a:pt x="559" y="64"/>
                  </a:lnTo>
                  <a:lnTo>
                    <a:pt x="559" y="64"/>
                  </a:lnTo>
                  <a:close/>
                  <a:moveTo>
                    <a:pt x="584" y="74"/>
                  </a:moveTo>
                  <a:lnTo>
                    <a:pt x="587" y="72"/>
                  </a:lnTo>
                  <a:lnTo>
                    <a:pt x="587" y="68"/>
                  </a:lnTo>
                  <a:lnTo>
                    <a:pt x="583" y="67"/>
                  </a:lnTo>
                  <a:lnTo>
                    <a:pt x="581" y="66"/>
                  </a:lnTo>
                  <a:lnTo>
                    <a:pt x="579" y="67"/>
                  </a:lnTo>
                  <a:lnTo>
                    <a:pt x="575" y="67"/>
                  </a:lnTo>
                  <a:lnTo>
                    <a:pt x="573" y="68"/>
                  </a:lnTo>
                  <a:lnTo>
                    <a:pt x="571" y="66"/>
                  </a:lnTo>
                  <a:lnTo>
                    <a:pt x="568" y="66"/>
                  </a:lnTo>
                  <a:lnTo>
                    <a:pt x="565" y="67"/>
                  </a:lnTo>
                  <a:lnTo>
                    <a:pt x="568" y="68"/>
                  </a:lnTo>
                  <a:lnTo>
                    <a:pt x="571" y="69"/>
                  </a:lnTo>
                  <a:lnTo>
                    <a:pt x="573" y="69"/>
                  </a:lnTo>
                  <a:lnTo>
                    <a:pt x="576" y="70"/>
                  </a:lnTo>
                  <a:lnTo>
                    <a:pt x="579" y="72"/>
                  </a:lnTo>
                  <a:lnTo>
                    <a:pt x="581" y="73"/>
                  </a:lnTo>
                  <a:lnTo>
                    <a:pt x="584" y="70"/>
                  </a:lnTo>
                  <a:lnTo>
                    <a:pt x="583" y="74"/>
                  </a:lnTo>
                  <a:lnTo>
                    <a:pt x="584" y="74"/>
                  </a:lnTo>
                  <a:lnTo>
                    <a:pt x="584" y="74"/>
                  </a:lnTo>
                  <a:close/>
                  <a:moveTo>
                    <a:pt x="658" y="95"/>
                  </a:moveTo>
                  <a:lnTo>
                    <a:pt x="661" y="95"/>
                  </a:lnTo>
                  <a:lnTo>
                    <a:pt x="659" y="95"/>
                  </a:lnTo>
                  <a:lnTo>
                    <a:pt x="658" y="95"/>
                  </a:lnTo>
                  <a:lnTo>
                    <a:pt x="658" y="95"/>
                  </a:lnTo>
                  <a:close/>
                  <a:moveTo>
                    <a:pt x="735" y="48"/>
                  </a:moveTo>
                  <a:lnTo>
                    <a:pt x="733" y="50"/>
                  </a:lnTo>
                  <a:lnTo>
                    <a:pt x="734" y="48"/>
                  </a:lnTo>
                  <a:lnTo>
                    <a:pt x="735" y="48"/>
                  </a:lnTo>
                  <a:lnTo>
                    <a:pt x="735" y="48"/>
                  </a:lnTo>
                  <a:close/>
                  <a:moveTo>
                    <a:pt x="729" y="138"/>
                  </a:moveTo>
                  <a:lnTo>
                    <a:pt x="728" y="141"/>
                  </a:lnTo>
                  <a:lnTo>
                    <a:pt x="729" y="138"/>
                  </a:lnTo>
                  <a:lnTo>
                    <a:pt x="729" y="138"/>
                  </a:lnTo>
                  <a:lnTo>
                    <a:pt x="729" y="138"/>
                  </a:lnTo>
                  <a:close/>
                  <a:moveTo>
                    <a:pt x="700" y="154"/>
                  </a:moveTo>
                  <a:lnTo>
                    <a:pt x="696" y="154"/>
                  </a:lnTo>
                  <a:lnTo>
                    <a:pt x="694" y="155"/>
                  </a:lnTo>
                  <a:lnTo>
                    <a:pt x="691" y="155"/>
                  </a:lnTo>
                  <a:lnTo>
                    <a:pt x="692" y="153"/>
                  </a:lnTo>
                  <a:lnTo>
                    <a:pt x="694" y="152"/>
                  </a:lnTo>
                  <a:lnTo>
                    <a:pt x="698" y="150"/>
                  </a:lnTo>
                  <a:lnTo>
                    <a:pt x="700" y="151"/>
                  </a:lnTo>
                  <a:lnTo>
                    <a:pt x="703" y="150"/>
                  </a:lnTo>
                  <a:lnTo>
                    <a:pt x="706" y="150"/>
                  </a:lnTo>
                  <a:lnTo>
                    <a:pt x="708" y="150"/>
                  </a:lnTo>
                  <a:lnTo>
                    <a:pt x="711" y="149"/>
                  </a:lnTo>
                  <a:lnTo>
                    <a:pt x="713" y="147"/>
                  </a:lnTo>
                  <a:lnTo>
                    <a:pt x="711" y="150"/>
                  </a:lnTo>
                  <a:lnTo>
                    <a:pt x="713" y="149"/>
                  </a:lnTo>
                  <a:lnTo>
                    <a:pt x="716" y="147"/>
                  </a:lnTo>
                  <a:lnTo>
                    <a:pt x="719" y="149"/>
                  </a:lnTo>
                  <a:lnTo>
                    <a:pt x="713" y="151"/>
                  </a:lnTo>
                  <a:lnTo>
                    <a:pt x="711" y="152"/>
                  </a:lnTo>
                  <a:lnTo>
                    <a:pt x="708" y="152"/>
                  </a:lnTo>
                  <a:lnTo>
                    <a:pt x="706" y="153"/>
                  </a:lnTo>
                  <a:lnTo>
                    <a:pt x="703" y="154"/>
                  </a:lnTo>
                  <a:lnTo>
                    <a:pt x="700" y="154"/>
                  </a:lnTo>
                  <a:lnTo>
                    <a:pt x="700" y="154"/>
                  </a:lnTo>
                  <a:lnTo>
                    <a:pt x="700" y="154"/>
                  </a:lnTo>
                  <a:close/>
                  <a:moveTo>
                    <a:pt x="871" y="73"/>
                  </a:moveTo>
                  <a:lnTo>
                    <a:pt x="867" y="74"/>
                  </a:lnTo>
                  <a:lnTo>
                    <a:pt x="871" y="73"/>
                  </a:lnTo>
                  <a:lnTo>
                    <a:pt x="871" y="73"/>
                  </a:lnTo>
                  <a:lnTo>
                    <a:pt x="87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9" name="Freeform 209">
              <a:extLst>
                <a:ext uri="{FF2B5EF4-FFF2-40B4-BE49-F238E27FC236}">
                  <a16:creationId xmlns:a16="http://schemas.microsoft.com/office/drawing/2014/main" id="{0C101803-4D1A-4137-B686-6F779CCB904E}"/>
                </a:ext>
              </a:extLst>
            </p:cNvPr>
            <p:cNvSpPr>
              <a:spLocks noEditPoints="1"/>
            </p:cNvSpPr>
            <p:nvPr/>
          </p:nvSpPr>
          <p:spPr bwMode="auto">
            <a:xfrm>
              <a:off x="2484438" y="3016250"/>
              <a:ext cx="534987" cy="109538"/>
            </a:xfrm>
            <a:custGeom>
              <a:avLst/>
              <a:gdLst>
                <a:gd name="T0" fmla="*/ 22 w 337"/>
                <a:gd name="T1" fmla="*/ 23 h 69"/>
                <a:gd name="T2" fmla="*/ 27 w 337"/>
                <a:gd name="T3" fmla="*/ 21 h 69"/>
                <a:gd name="T4" fmla="*/ 27 w 337"/>
                <a:gd name="T5" fmla="*/ 17 h 69"/>
                <a:gd name="T6" fmla="*/ 27 w 337"/>
                <a:gd name="T7" fmla="*/ 17 h 69"/>
                <a:gd name="T8" fmla="*/ 33 w 337"/>
                <a:gd name="T9" fmla="*/ 18 h 69"/>
                <a:gd name="T10" fmla="*/ 33 w 337"/>
                <a:gd name="T11" fmla="*/ 15 h 69"/>
                <a:gd name="T12" fmla="*/ 32 w 337"/>
                <a:gd name="T13" fmla="*/ 9 h 69"/>
                <a:gd name="T14" fmla="*/ 26 w 337"/>
                <a:gd name="T15" fmla="*/ 11 h 69"/>
                <a:gd name="T16" fmla="*/ 21 w 337"/>
                <a:gd name="T17" fmla="*/ 7 h 69"/>
                <a:gd name="T18" fmla="*/ 22 w 337"/>
                <a:gd name="T19" fmla="*/ 13 h 69"/>
                <a:gd name="T20" fmla="*/ 18 w 337"/>
                <a:gd name="T21" fmla="*/ 13 h 69"/>
                <a:gd name="T22" fmla="*/ 14 w 337"/>
                <a:gd name="T23" fmla="*/ 9 h 69"/>
                <a:gd name="T24" fmla="*/ 14 w 337"/>
                <a:gd name="T25" fmla="*/ 13 h 69"/>
                <a:gd name="T26" fmla="*/ 13 w 337"/>
                <a:gd name="T27" fmla="*/ 18 h 69"/>
                <a:gd name="T28" fmla="*/ 13 w 337"/>
                <a:gd name="T29" fmla="*/ 20 h 69"/>
                <a:gd name="T30" fmla="*/ 10 w 337"/>
                <a:gd name="T31" fmla="*/ 14 h 69"/>
                <a:gd name="T32" fmla="*/ 3 w 337"/>
                <a:gd name="T33" fmla="*/ 17 h 69"/>
                <a:gd name="T34" fmla="*/ 3 w 337"/>
                <a:gd name="T35" fmla="*/ 22 h 69"/>
                <a:gd name="T36" fmla="*/ 6 w 337"/>
                <a:gd name="T37" fmla="*/ 28 h 69"/>
                <a:gd name="T38" fmla="*/ 9 w 337"/>
                <a:gd name="T39" fmla="*/ 25 h 69"/>
                <a:gd name="T40" fmla="*/ 9 w 337"/>
                <a:gd name="T41" fmla="*/ 24 h 69"/>
                <a:gd name="T42" fmla="*/ 12 w 337"/>
                <a:gd name="T43" fmla="*/ 25 h 69"/>
                <a:gd name="T44" fmla="*/ 12 w 337"/>
                <a:gd name="T45" fmla="*/ 26 h 69"/>
                <a:gd name="T46" fmla="*/ 8 w 337"/>
                <a:gd name="T47" fmla="*/ 32 h 69"/>
                <a:gd name="T48" fmla="*/ 14 w 337"/>
                <a:gd name="T49" fmla="*/ 30 h 69"/>
                <a:gd name="T50" fmla="*/ 14 w 337"/>
                <a:gd name="T51" fmla="*/ 26 h 69"/>
                <a:gd name="T52" fmla="*/ 19 w 337"/>
                <a:gd name="T53" fmla="*/ 24 h 69"/>
                <a:gd name="T54" fmla="*/ 278 w 337"/>
                <a:gd name="T55" fmla="*/ 0 h 69"/>
                <a:gd name="T56" fmla="*/ 278 w 337"/>
                <a:gd name="T57" fmla="*/ 3 h 69"/>
                <a:gd name="T58" fmla="*/ 278 w 337"/>
                <a:gd name="T59" fmla="*/ 0 h 69"/>
                <a:gd name="T60" fmla="*/ 252 w 337"/>
                <a:gd name="T61" fmla="*/ 8 h 69"/>
                <a:gd name="T62" fmla="*/ 251 w 337"/>
                <a:gd name="T63" fmla="*/ 5 h 69"/>
                <a:gd name="T64" fmla="*/ 302 w 337"/>
                <a:gd name="T65" fmla="*/ 31 h 69"/>
                <a:gd name="T66" fmla="*/ 303 w 337"/>
                <a:gd name="T67" fmla="*/ 37 h 69"/>
                <a:gd name="T68" fmla="*/ 299 w 337"/>
                <a:gd name="T69" fmla="*/ 33 h 69"/>
                <a:gd name="T70" fmla="*/ 302 w 337"/>
                <a:gd name="T71" fmla="*/ 31 h 69"/>
                <a:gd name="T72" fmla="*/ 303 w 337"/>
                <a:gd name="T73" fmla="*/ 38 h 69"/>
                <a:gd name="T74" fmla="*/ 300 w 337"/>
                <a:gd name="T75" fmla="*/ 42 h 69"/>
                <a:gd name="T76" fmla="*/ 300 w 337"/>
                <a:gd name="T77" fmla="*/ 38 h 69"/>
                <a:gd name="T78" fmla="*/ 303 w 337"/>
                <a:gd name="T79" fmla="*/ 38 h 69"/>
                <a:gd name="T80" fmla="*/ 311 w 337"/>
                <a:gd name="T81" fmla="*/ 40 h 69"/>
                <a:gd name="T82" fmla="*/ 309 w 337"/>
                <a:gd name="T83" fmla="*/ 43 h 69"/>
                <a:gd name="T84" fmla="*/ 307 w 337"/>
                <a:gd name="T85" fmla="*/ 39 h 69"/>
                <a:gd name="T86" fmla="*/ 307 w 337"/>
                <a:gd name="T87" fmla="*/ 37 h 69"/>
                <a:gd name="T88" fmla="*/ 305 w 337"/>
                <a:gd name="T89" fmla="*/ 42 h 69"/>
                <a:gd name="T90" fmla="*/ 309 w 337"/>
                <a:gd name="T91" fmla="*/ 46 h 69"/>
                <a:gd name="T92" fmla="*/ 304 w 337"/>
                <a:gd name="T93" fmla="*/ 45 h 69"/>
                <a:gd name="T94" fmla="*/ 305 w 337"/>
                <a:gd name="T95" fmla="*/ 40 h 69"/>
                <a:gd name="T96" fmla="*/ 307 w 337"/>
                <a:gd name="T97" fmla="*/ 40 h 69"/>
                <a:gd name="T98" fmla="*/ 337 w 337"/>
                <a:gd name="T99" fmla="*/ 68 h 69"/>
                <a:gd name="T100" fmla="*/ 336 w 337"/>
                <a:gd name="T101" fmla="*/ 67 h 69"/>
                <a:gd name="T102" fmla="*/ 337 w 337"/>
                <a:gd name="T103"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 h="69">
                  <a:moveTo>
                    <a:pt x="19" y="24"/>
                  </a:moveTo>
                  <a:lnTo>
                    <a:pt x="22" y="23"/>
                  </a:lnTo>
                  <a:lnTo>
                    <a:pt x="25" y="22"/>
                  </a:lnTo>
                  <a:lnTo>
                    <a:pt x="27" y="21"/>
                  </a:lnTo>
                  <a:lnTo>
                    <a:pt x="30" y="20"/>
                  </a:lnTo>
                  <a:lnTo>
                    <a:pt x="27" y="17"/>
                  </a:lnTo>
                  <a:lnTo>
                    <a:pt x="25" y="18"/>
                  </a:lnTo>
                  <a:lnTo>
                    <a:pt x="27" y="17"/>
                  </a:lnTo>
                  <a:lnTo>
                    <a:pt x="30" y="17"/>
                  </a:lnTo>
                  <a:lnTo>
                    <a:pt x="33" y="18"/>
                  </a:lnTo>
                  <a:lnTo>
                    <a:pt x="35" y="16"/>
                  </a:lnTo>
                  <a:lnTo>
                    <a:pt x="33" y="15"/>
                  </a:lnTo>
                  <a:lnTo>
                    <a:pt x="32" y="12"/>
                  </a:lnTo>
                  <a:lnTo>
                    <a:pt x="32" y="9"/>
                  </a:lnTo>
                  <a:lnTo>
                    <a:pt x="30" y="9"/>
                  </a:lnTo>
                  <a:lnTo>
                    <a:pt x="26" y="11"/>
                  </a:lnTo>
                  <a:lnTo>
                    <a:pt x="24" y="8"/>
                  </a:lnTo>
                  <a:lnTo>
                    <a:pt x="21" y="7"/>
                  </a:lnTo>
                  <a:lnTo>
                    <a:pt x="23" y="9"/>
                  </a:lnTo>
                  <a:lnTo>
                    <a:pt x="22" y="13"/>
                  </a:lnTo>
                  <a:lnTo>
                    <a:pt x="19" y="11"/>
                  </a:lnTo>
                  <a:lnTo>
                    <a:pt x="18" y="13"/>
                  </a:lnTo>
                  <a:lnTo>
                    <a:pt x="17" y="11"/>
                  </a:lnTo>
                  <a:lnTo>
                    <a:pt x="14" y="9"/>
                  </a:lnTo>
                  <a:lnTo>
                    <a:pt x="12" y="12"/>
                  </a:lnTo>
                  <a:lnTo>
                    <a:pt x="14" y="13"/>
                  </a:lnTo>
                  <a:lnTo>
                    <a:pt x="15" y="16"/>
                  </a:lnTo>
                  <a:lnTo>
                    <a:pt x="13" y="18"/>
                  </a:lnTo>
                  <a:lnTo>
                    <a:pt x="16" y="21"/>
                  </a:lnTo>
                  <a:lnTo>
                    <a:pt x="13" y="20"/>
                  </a:lnTo>
                  <a:lnTo>
                    <a:pt x="12" y="16"/>
                  </a:lnTo>
                  <a:lnTo>
                    <a:pt x="10" y="14"/>
                  </a:lnTo>
                  <a:lnTo>
                    <a:pt x="7" y="14"/>
                  </a:lnTo>
                  <a:lnTo>
                    <a:pt x="3" y="17"/>
                  </a:lnTo>
                  <a:lnTo>
                    <a:pt x="0" y="20"/>
                  </a:lnTo>
                  <a:lnTo>
                    <a:pt x="3" y="22"/>
                  </a:lnTo>
                  <a:lnTo>
                    <a:pt x="4" y="25"/>
                  </a:lnTo>
                  <a:lnTo>
                    <a:pt x="6" y="28"/>
                  </a:lnTo>
                  <a:lnTo>
                    <a:pt x="8" y="28"/>
                  </a:lnTo>
                  <a:lnTo>
                    <a:pt x="9" y="25"/>
                  </a:lnTo>
                  <a:lnTo>
                    <a:pt x="7" y="24"/>
                  </a:lnTo>
                  <a:lnTo>
                    <a:pt x="9" y="24"/>
                  </a:lnTo>
                  <a:lnTo>
                    <a:pt x="9" y="26"/>
                  </a:lnTo>
                  <a:lnTo>
                    <a:pt x="12" y="25"/>
                  </a:lnTo>
                  <a:lnTo>
                    <a:pt x="14" y="24"/>
                  </a:lnTo>
                  <a:lnTo>
                    <a:pt x="12" y="26"/>
                  </a:lnTo>
                  <a:lnTo>
                    <a:pt x="10" y="29"/>
                  </a:lnTo>
                  <a:lnTo>
                    <a:pt x="8" y="32"/>
                  </a:lnTo>
                  <a:lnTo>
                    <a:pt x="12" y="32"/>
                  </a:lnTo>
                  <a:lnTo>
                    <a:pt x="14" y="30"/>
                  </a:lnTo>
                  <a:lnTo>
                    <a:pt x="17" y="28"/>
                  </a:lnTo>
                  <a:lnTo>
                    <a:pt x="14" y="26"/>
                  </a:lnTo>
                  <a:lnTo>
                    <a:pt x="17" y="25"/>
                  </a:lnTo>
                  <a:lnTo>
                    <a:pt x="19" y="24"/>
                  </a:lnTo>
                  <a:lnTo>
                    <a:pt x="19" y="24"/>
                  </a:lnTo>
                  <a:close/>
                  <a:moveTo>
                    <a:pt x="278" y="0"/>
                  </a:moveTo>
                  <a:lnTo>
                    <a:pt x="280" y="3"/>
                  </a:lnTo>
                  <a:lnTo>
                    <a:pt x="278" y="3"/>
                  </a:lnTo>
                  <a:lnTo>
                    <a:pt x="278" y="0"/>
                  </a:lnTo>
                  <a:lnTo>
                    <a:pt x="278" y="0"/>
                  </a:lnTo>
                  <a:close/>
                  <a:moveTo>
                    <a:pt x="251" y="5"/>
                  </a:moveTo>
                  <a:lnTo>
                    <a:pt x="252" y="8"/>
                  </a:lnTo>
                  <a:lnTo>
                    <a:pt x="251" y="5"/>
                  </a:lnTo>
                  <a:lnTo>
                    <a:pt x="251" y="5"/>
                  </a:lnTo>
                  <a:lnTo>
                    <a:pt x="251" y="5"/>
                  </a:lnTo>
                  <a:close/>
                  <a:moveTo>
                    <a:pt x="302" y="31"/>
                  </a:moveTo>
                  <a:lnTo>
                    <a:pt x="304" y="33"/>
                  </a:lnTo>
                  <a:lnTo>
                    <a:pt x="303" y="37"/>
                  </a:lnTo>
                  <a:lnTo>
                    <a:pt x="299" y="37"/>
                  </a:lnTo>
                  <a:lnTo>
                    <a:pt x="299" y="33"/>
                  </a:lnTo>
                  <a:lnTo>
                    <a:pt x="299" y="31"/>
                  </a:lnTo>
                  <a:lnTo>
                    <a:pt x="302" y="31"/>
                  </a:lnTo>
                  <a:lnTo>
                    <a:pt x="302" y="31"/>
                  </a:lnTo>
                  <a:close/>
                  <a:moveTo>
                    <a:pt x="303" y="38"/>
                  </a:moveTo>
                  <a:lnTo>
                    <a:pt x="304" y="40"/>
                  </a:lnTo>
                  <a:lnTo>
                    <a:pt x="300" y="42"/>
                  </a:lnTo>
                  <a:lnTo>
                    <a:pt x="298" y="40"/>
                  </a:lnTo>
                  <a:lnTo>
                    <a:pt x="300" y="38"/>
                  </a:lnTo>
                  <a:lnTo>
                    <a:pt x="303" y="38"/>
                  </a:lnTo>
                  <a:lnTo>
                    <a:pt x="303" y="38"/>
                  </a:lnTo>
                  <a:close/>
                  <a:moveTo>
                    <a:pt x="307" y="37"/>
                  </a:moveTo>
                  <a:lnTo>
                    <a:pt x="311" y="40"/>
                  </a:lnTo>
                  <a:lnTo>
                    <a:pt x="313" y="42"/>
                  </a:lnTo>
                  <a:lnTo>
                    <a:pt x="309" y="43"/>
                  </a:lnTo>
                  <a:lnTo>
                    <a:pt x="307" y="41"/>
                  </a:lnTo>
                  <a:lnTo>
                    <a:pt x="307" y="39"/>
                  </a:lnTo>
                  <a:lnTo>
                    <a:pt x="307" y="37"/>
                  </a:lnTo>
                  <a:lnTo>
                    <a:pt x="307" y="37"/>
                  </a:lnTo>
                  <a:close/>
                  <a:moveTo>
                    <a:pt x="307" y="40"/>
                  </a:moveTo>
                  <a:lnTo>
                    <a:pt x="305" y="42"/>
                  </a:lnTo>
                  <a:lnTo>
                    <a:pt x="308" y="42"/>
                  </a:lnTo>
                  <a:lnTo>
                    <a:pt x="309" y="46"/>
                  </a:lnTo>
                  <a:lnTo>
                    <a:pt x="307" y="47"/>
                  </a:lnTo>
                  <a:lnTo>
                    <a:pt x="304" y="45"/>
                  </a:lnTo>
                  <a:lnTo>
                    <a:pt x="303" y="42"/>
                  </a:lnTo>
                  <a:lnTo>
                    <a:pt x="305" y="40"/>
                  </a:lnTo>
                  <a:lnTo>
                    <a:pt x="307" y="40"/>
                  </a:lnTo>
                  <a:lnTo>
                    <a:pt x="307" y="40"/>
                  </a:lnTo>
                  <a:close/>
                  <a:moveTo>
                    <a:pt x="337" y="65"/>
                  </a:moveTo>
                  <a:lnTo>
                    <a:pt x="337" y="68"/>
                  </a:lnTo>
                  <a:lnTo>
                    <a:pt x="333" y="69"/>
                  </a:lnTo>
                  <a:lnTo>
                    <a:pt x="336" y="67"/>
                  </a:lnTo>
                  <a:lnTo>
                    <a:pt x="337" y="65"/>
                  </a:lnTo>
                  <a:lnTo>
                    <a:pt x="33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0" name="Freeform 210">
              <a:extLst>
                <a:ext uri="{FF2B5EF4-FFF2-40B4-BE49-F238E27FC236}">
                  <a16:creationId xmlns:a16="http://schemas.microsoft.com/office/drawing/2014/main" id="{5B336565-924E-4550-9E60-A2D00953E6E5}"/>
                </a:ext>
              </a:extLst>
            </p:cNvPr>
            <p:cNvSpPr>
              <a:spLocks noEditPoints="1"/>
            </p:cNvSpPr>
            <p:nvPr/>
          </p:nvSpPr>
          <p:spPr bwMode="auto">
            <a:xfrm>
              <a:off x="2346325" y="2619375"/>
              <a:ext cx="2997200" cy="390525"/>
            </a:xfrm>
            <a:custGeom>
              <a:avLst/>
              <a:gdLst>
                <a:gd name="T0" fmla="*/ 1622 w 1888"/>
                <a:gd name="T1" fmla="*/ 198 h 246"/>
                <a:gd name="T2" fmla="*/ 1619 w 1888"/>
                <a:gd name="T3" fmla="*/ 198 h 246"/>
                <a:gd name="T4" fmla="*/ 1575 w 1888"/>
                <a:gd name="T5" fmla="*/ 198 h 246"/>
                <a:gd name="T6" fmla="*/ 1569 w 1888"/>
                <a:gd name="T7" fmla="*/ 201 h 246"/>
                <a:gd name="T8" fmla="*/ 1569 w 1888"/>
                <a:gd name="T9" fmla="*/ 199 h 246"/>
                <a:gd name="T10" fmla="*/ 1575 w 1888"/>
                <a:gd name="T11" fmla="*/ 197 h 246"/>
                <a:gd name="T12" fmla="*/ 1575 w 1888"/>
                <a:gd name="T13" fmla="*/ 198 h 246"/>
                <a:gd name="T14" fmla="*/ 1550 w 1888"/>
                <a:gd name="T15" fmla="*/ 203 h 246"/>
                <a:gd name="T16" fmla="*/ 1550 w 1888"/>
                <a:gd name="T17" fmla="*/ 199 h 246"/>
                <a:gd name="T18" fmla="*/ 1553 w 1888"/>
                <a:gd name="T19" fmla="*/ 201 h 246"/>
                <a:gd name="T20" fmla="*/ 1570 w 1888"/>
                <a:gd name="T21" fmla="*/ 203 h 246"/>
                <a:gd name="T22" fmla="*/ 1573 w 1888"/>
                <a:gd name="T23" fmla="*/ 201 h 246"/>
                <a:gd name="T24" fmla="*/ 1575 w 1888"/>
                <a:gd name="T25" fmla="*/ 204 h 246"/>
                <a:gd name="T26" fmla="*/ 1578 w 1888"/>
                <a:gd name="T27" fmla="*/ 203 h 246"/>
                <a:gd name="T28" fmla="*/ 1577 w 1888"/>
                <a:gd name="T29" fmla="*/ 204 h 246"/>
                <a:gd name="T30" fmla="*/ 1579 w 1888"/>
                <a:gd name="T31" fmla="*/ 203 h 246"/>
                <a:gd name="T32" fmla="*/ 1587 w 1888"/>
                <a:gd name="T33" fmla="*/ 212 h 246"/>
                <a:gd name="T34" fmla="*/ 1588 w 1888"/>
                <a:gd name="T35" fmla="*/ 210 h 246"/>
                <a:gd name="T36" fmla="*/ 1704 w 1888"/>
                <a:gd name="T37" fmla="*/ 93 h 246"/>
                <a:gd name="T38" fmla="*/ 1706 w 1888"/>
                <a:gd name="T39" fmla="*/ 88 h 246"/>
                <a:gd name="T40" fmla="*/ 1704 w 1888"/>
                <a:gd name="T41" fmla="*/ 93 h 246"/>
                <a:gd name="T42" fmla="*/ 1703 w 1888"/>
                <a:gd name="T43" fmla="*/ 94 h 246"/>
                <a:gd name="T44" fmla="*/ 1703 w 1888"/>
                <a:gd name="T45" fmla="*/ 94 h 246"/>
                <a:gd name="T46" fmla="*/ 1700 w 1888"/>
                <a:gd name="T47" fmla="*/ 97 h 246"/>
                <a:gd name="T48" fmla="*/ 1700 w 1888"/>
                <a:gd name="T49" fmla="*/ 95 h 246"/>
                <a:gd name="T50" fmla="*/ 1700 w 1888"/>
                <a:gd name="T51" fmla="*/ 97 h 246"/>
                <a:gd name="T52" fmla="*/ 1687 w 1888"/>
                <a:gd name="T53" fmla="*/ 96 h 246"/>
                <a:gd name="T54" fmla="*/ 1688 w 1888"/>
                <a:gd name="T55" fmla="*/ 92 h 246"/>
                <a:gd name="T56" fmla="*/ 1693 w 1888"/>
                <a:gd name="T57" fmla="*/ 92 h 246"/>
                <a:gd name="T58" fmla="*/ 1690 w 1888"/>
                <a:gd name="T59" fmla="*/ 95 h 246"/>
                <a:gd name="T60" fmla="*/ 1690 w 1888"/>
                <a:gd name="T61" fmla="*/ 97 h 246"/>
                <a:gd name="T62" fmla="*/ 1662 w 1888"/>
                <a:gd name="T63" fmla="*/ 103 h 246"/>
                <a:gd name="T64" fmla="*/ 1664 w 1888"/>
                <a:gd name="T65" fmla="*/ 104 h 246"/>
                <a:gd name="T66" fmla="*/ 1888 w 1888"/>
                <a:gd name="T67" fmla="*/ 0 h 246"/>
                <a:gd name="T68" fmla="*/ 1888 w 1888"/>
                <a:gd name="T69" fmla="*/ 0 h 246"/>
                <a:gd name="T70" fmla="*/ 1888 w 1888"/>
                <a:gd name="T71" fmla="*/ 0 h 246"/>
                <a:gd name="T72" fmla="*/ 3 w 1888"/>
                <a:gd name="T73" fmla="*/ 242 h 246"/>
                <a:gd name="T74" fmla="*/ 5 w 1888"/>
                <a:gd name="T75" fmla="*/ 244 h 246"/>
                <a:gd name="T76" fmla="*/ 0 w 1888"/>
                <a:gd name="T77"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8" h="246">
                  <a:moveTo>
                    <a:pt x="1619" y="198"/>
                  </a:moveTo>
                  <a:lnTo>
                    <a:pt x="1622" y="198"/>
                  </a:lnTo>
                  <a:lnTo>
                    <a:pt x="1619" y="199"/>
                  </a:lnTo>
                  <a:lnTo>
                    <a:pt x="1619" y="198"/>
                  </a:lnTo>
                  <a:lnTo>
                    <a:pt x="1619" y="198"/>
                  </a:lnTo>
                  <a:close/>
                  <a:moveTo>
                    <a:pt x="1575" y="198"/>
                  </a:moveTo>
                  <a:lnTo>
                    <a:pt x="1571" y="199"/>
                  </a:lnTo>
                  <a:lnTo>
                    <a:pt x="1569" y="201"/>
                  </a:lnTo>
                  <a:lnTo>
                    <a:pt x="1565" y="202"/>
                  </a:lnTo>
                  <a:lnTo>
                    <a:pt x="1569" y="199"/>
                  </a:lnTo>
                  <a:lnTo>
                    <a:pt x="1571" y="198"/>
                  </a:lnTo>
                  <a:lnTo>
                    <a:pt x="1575" y="197"/>
                  </a:lnTo>
                  <a:lnTo>
                    <a:pt x="1575" y="198"/>
                  </a:lnTo>
                  <a:lnTo>
                    <a:pt x="1575" y="198"/>
                  </a:lnTo>
                  <a:close/>
                  <a:moveTo>
                    <a:pt x="1553" y="201"/>
                  </a:moveTo>
                  <a:lnTo>
                    <a:pt x="1550" y="203"/>
                  </a:lnTo>
                  <a:lnTo>
                    <a:pt x="1547" y="202"/>
                  </a:lnTo>
                  <a:lnTo>
                    <a:pt x="1550" y="199"/>
                  </a:lnTo>
                  <a:lnTo>
                    <a:pt x="1553" y="201"/>
                  </a:lnTo>
                  <a:lnTo>
                    <a:pt x="1553" y="201"/>
                  </a:lnTo>
                  <a:close/>
                  <a:moveTo>
                    <a:pt x="1573" y="201"/>
                  </a:moveTo>
                  <a:lnTo>
                    <a:pt x="1570" y="203"/>
                  </a:lnTo>
                  <a:lnTo>
                    <a:pt x="1573" y="201"/>
                  </a:lnTo>
                  <a:lnTo>
                    <a:pt x="1573" y="201"/>
                  </a:lnTo>
                  <a:close/>
                  <a:moveTo>
                    <a:pt x="1578" y="203"/>
                  </a:moveTo>
                  <a:lnTo>
                    <a:pt x="1575" y="204"/>
                  </a:lnTo>
                  <a:lnTo>
                    <a:pt x="1578" y="203"/>
                  </a:lnTo>
                  <a:lnTo>
                    <a:pt x="1578" y="203"/>
                  </a:lnTo>
                  <a:close/>
                  <a:moveTo>
                    <a:pt x="1579" y="203"/>
                  </a:moveTo>
                  <a:lnTo>
                    <a:pt x="1577" y="204"/>
                  </a:lnTo>
                  <a:lnTo>
                    <a:pt x="1579" y="203"/>
                  </a:lnTo>
                  <a:lnTo>
                    <a:pt x="1579" y="203"/>
                  </a:lnTo>
                  <a:close/>
                  <a:moveTo>
                    <a:pt x="1588" y="210"/>
                  </a:moveTo>
                  <a:lnTo>
                    <a:pt x="1587" y="212"/>
                  </a:lnTo>
                  <a:lnTo>
                    <a:pt x="1586" y="210"/>
                  </a:lnTo>
                  <a:lnTo>
                    <a:pt x="1588" y="210"/>
                  </a:lnTo>
                  <a:lnTo>
                    <a:pt x="1588" y="210"/>
                  </a:lnTo>
                  <a:close/>
                  <a:moveTo>
                    <a:pt x="1704" y="93"/>
                  </a:moveTo>
                  <a:lnTo>
                    <a:pt x="1704" y="90"/>
                  </a:lnTo>
                  <a:lnTo>
                    <a:pt x="1706" y="88"/>
                  </a:lnTo>
                  <a:lnTo>
                    <a:pt x="1706" y="92"/>
                  </a:lnTo>
                  <a:lnTo>
                    <a:pt x="1704" y="93"/>
                  </a:lnTo>
                  <a:lnTo>
                    <a:pt x="1704" y="93"/>
                  </a:lnTo>
                  <a:close/>
                  <a:moveTo>
                    <a:pt x="1703" y="94"/>
                  </a:moveTo>
                  <a:lnTo>
                    <a:pt x="1701" y="91"/>
                  </a:lnTo>
                  <a:lnTo>
                    <a:pt x="1703" y="94"/>
                  </a:lnTo>
                  <a:lnTo>
                    <a:pt x="1703" y="94"/>
                  </a:lnTo>
                  <a:close/>
                  <a:moveTo>
                    <a:pt x="1700" y="97"/>
                  </a:moveTo>
                  <a:lnTo>
                    <a:pt x="1698" y="94"/>
                  </a:lnTo>
                  <a:lnTo>
                    <a:pt x="1700" y="95"/>
                  </a:lnTo>
                  <a:lnTo>
                    <a:pt x="1700" y="97"/>
                  </a:lnTo>
                  <a:lnTo>
                    <a:pt x="1700" y="97"/>
                  </a:lnTo>
                  <a:close/>
                  <a:moveTo>
                    <a:pt x="1690" y="97"/>
                  </a:moveTo>
                  <a:lnTo>
                    <a:pt x="1687" y="96"/>
                  </a:lnTo>
                  <a:lnTo>
                    <a:pt x="1687" y="94"/>
                  </a:lnTo>
                  <a:lnTo>
                    <a:pt x="1688" y="92"/>
                  </a:lnTo>
                  <a:lnTo>
                    <a:pt x="1691" y="90"/>
                  </a:lnTo>
                  <a:lnTo>
                    <a:pt x="1693" y="92"/>
                  </a:lnTo>
                  <a:lnTo>
                    <a:pt x="1693" y="94"/>
                  </a:lnTo>
                  <a:lnTo>
                    <a:pt x="1690" y="95"/>
                  </a:lnTo>
                  <a:lnTo>
                    <a:pt x="1690" y="97"/>
                  </a:lnTo>
                  <a:lnTo>
                    <a:pt x="1690" y="97"/>
                  </a:lnTo>
                  <a:close/>
                  <a:moveTo>
                    <a:pt x="1664" y="104"/>
                  </a:moveTo>
                  <a:lnTo>
                    <a:pt x="1662" y="103"/>
                  </a:lnTo>
                  <a:lnTo>
                    <a:pt x="1664" y="103"/>
                  </a:lnTo>
                  <a:lnTo>
                    <a:pt x="1664" y="104"/>
                  </a:lnTo>
                  <a:lnTo>
                    <a:pt x="1664" y="104"/>
                  </a:lnTo>
                  <a:close/>
                  <a:moveTo>
                    <a:pt x="1888" y="0"/>
                  </a:moveTo>
                  <a:lnTo>
                    <a:pt x="1885" y="2"/>
                  </a:lnTo>
                  <a:lnTo>
                    <a:pt x="1888" y="0"/>
                  </a:lnTo>
                  <a:lnTo>
                    <a:pt x="1888" y="0"/>
                  </a:lnTo>
                  <a:lnTo>
                    <a:pt x="1888" y="0"/>
                  </a:lnTo>
                  <a:close/>
                  <a:moveTo>
                    <a:pt x="0" y="244"/>
                  </a:moveTo>
                  <a:lnTo>
                    <a:pt x="3" y="242"/>
                  </a:lnTo>
                  <a:lnTo>
                    <a:pt x="6" y="241"/>
                  </a:lnTo>
                  <a:lnTo>
                    <a:pt x="5" y="244"/>
                  </a:lnTo>
                  <a:lnTo>
                    <a:pt x="2" y="246"/>
                  </a:lnTo>
                  <a:lnTo>
                    <a:pt x="0" y="244"/>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1" name="Freeform 211">
              <a:extLst>
                <a:ext uri="{FF2B5EF4-FFF2-40B4-BE49-F238E27FC236}">
                  <a16:creationId xmlns:a16="http://schemas.microsoft.com/office/drawing/2014/main" id="{0823EA6E-69D3-4AD5-90CC-291E0409C298}"/>
                </a:ext>
              </a:extLst>
            </p:cNvPr>
            <p:cNvSpPr>
              <a:spLocks noEditPoints="1"/>
            </p:cNvSpPr>
            <p:nvPr/>
          </p:nvSpPr>
          <p:spPr bwMode="auto">
            <a:xfrm>
              <a:off x="4165600" y="2620963"/>
              <a:ext cx="331787" cy="258763"/>
            </a:xfrm>
            <a:custGeom>
              <a:avLst/>
              <a:gdLst>
                <a:gd name="T0" fmla="*/ 8 w 209"/>
                <a:gd name="T1" fmla="*/ 139 h 163"/>
                <a:gd name="T2" fmla="*/ 3 w 209"/>
                <a:gd name="T3" fmla="*/ 138 h 163"/>
                <a:gd name="T4" fmla="*/ 3 w 209"/>
                <a:gd name="T5" fmla="*/ 141 h 163"/>
                <a:gd name="T6" fmla="*/ 7 w 209"/>
                <a:gd name="T7" fmla="*/ 144 h 163"/>
                <a:gd name="T8" fmla="*/ 11 w 209"/>
                <a:gd name="T9" fmla="*/ 143 h 163"/>
                <a:gd name="T10" fmla="*/ 33 w 209"/>
                <a:gd name="T11" fmla="*/ 33 h 163"/>
                <a:gd name="T12" fmla="*/ 29 w 209"/>
                <a:gd name="T13" fmla="*/ 29 h 163"/>
                <a:gd name="T14" fmla="*/ 31 w 209"/>
                <a:gd name="T15" fmla="*/ 24 h 163"/>
                <a:gd name="T16" fmla="*/ 34 w 209"/>
                <a:gd name="T17" fmla="*/ 27 h 163"/>
                <a:gd name="T18" fmla="*/ 37 w 209"/>
                <a:gd name="T19" fmla="*/ 33 h 163"/>
                <a:gd name="T20" fmla="*/ 33 w 209"/>
                <a:gd name="T21" fmla="*/ 33 h 163"/>
                <a:gd name="T22" fmla="*/ 97 w 209"/>
                <a:gd name="T23" fmla="*/ 159 h 163"/>
                <a:gd name="T24" fmla="*/ 97 w 209"/>
                <a:gd name="T25" fmla="*/ 163 h 163"/>
                <a:gd name="T26" fmla="*/ 91 w 209"/>
                <a:gd name="T27" fmla="*/ 161 h 163"/>
                <a:gd name="T28" fmla="*/ 88 w 209"/>
                <a:gd name="T29" fmla="*/ 158 h 163"/>
                <a:gd name="T30" fmla="*/ 93 w 209"/>
                <a:gd name="T31" fmla="*/ 156 h 163"/>
                <a:gd name="T32" fmla="*/ 94 w 209"/>
                <a:gd name="T33" fmla="*/ 158 h 163"/>
                <a:gd name="T34" fmla="*/ 49 w 209"/>
                <a:gd name="T35" fmla="*/ 40 h 163"/>
                <a:gd name="T36" fmla="*/ 43 w 209"/>
                <a:gd name="T37" fmla="*/ 39 h 163"/>
                <a:gd name="T38" fmla="*/ 40 w 209"/>
                <a:gd name="T39" fmla="*/ 39 h 163"/>
                <a:gd name="T40" fmla="*/ 37 w 209"/>
                <a:gd name="T41" fmla="*/ 42 h 163"/>
                <a:gd name="T42" fmla="*/ 41 w 209"/>
                <a:gd name="T43" fmla="*/ 46 h 163"/>
                <a:gd name="T44" fmla="*/ 47 w 209"/>
                <a:gd name="T45" fmla="*/ 46 h 163"/>
                <a:gd name="T46" fmla="*/ 52 w 209"/>
                <a:gd name="T47" fmla="*/ 46 h 163"/>
                <a:gd name="T48" fmla="*/ 56 w 209"/>
                <a:gd name="T49" fmla="*/ 43 h 163"/>
                <a:gd name="T50" fmla="*/ 52 w 209"/>
                <a:gd name="T51" fmla="*/ 41 h 163"/>
                <a:gd name="T52" fmla="*/ 132 w 209"/>
                <a:gd name="T53" fmla="*/ 0 h 163"/>
                <a:gd name="T54" fmla="*/ 128 w 209"/>
                <a:gd name="T55" fmla="*/ 4 h 163"/>
                <a:gd name="T56" fmla="*/ 128 w 209"/>
                <a:gd name="T57" fmla="*/ 0 h 163"/>
                <a:gd name="T58" fmla="*/ 132 w 209"/>
                <a:gd name="T59" fmla="*/ 0 h 163"/>
                <a:gd name="T60" fmla="*/ 124 w 209"/>
                <a:gd name="T61" fmla="*/ 22 h 163"/>
                <a:gd name="T62" fmla="*/ 132 w 209"/>
                <a:gd name="T63" fmla="*/ 23 h 163"/>
                <a:gd name="T64" fmla="*/ 126 w 209"/>
                <a:gd name="T65" fmla="*/ 23 h 163"/>
                <a:gd name="T66" fmla="*/ 124 w 209"/>
                <a:gd name="T67" fmla="*/ 22 h 163"/>
                <a:gd name="T68" fmla="*/ 185 w 209"/>
                <a:gd name="T69" fmla="*/ 49 h 163"/>
                <a:gd name="T70" fmla="*/ 185 w 209"/>
                <a:gd name="T71" fmla="*/ 52 h 163"/>
                <a:gd name="T72" fmla="*/ 185 w 209"/>
                <a:gd name="T73" fmla="*/ 49 h 163"/>
                <a:gd name="T74" fmla="*/ 192 w 209"/>
                <a:gd name="T75" fmla="*/ 58 h 163"/>
                <a:gd name="T76" fmla="*/ 192 w 209"/>
                <a:gd name="T77" fmla="*/ 56 h 163"/>
                <a:gd name="T78" fmla="*/ 192 w 209"/>
                <a:gd name="T79" fmla="*/ 58 h 163"/>
                <a:gd name="T80" fmla="*/ 202 w 209"/>
                <a:gd name="T81" fmla="*/ 61 h 163"/>
                <a:gd name="T82" fmla="*/ 203 w 209"/>
                <a:gd name="T83" fmla="*/ 62 h 163"/>
                <a:gd name="T84" fmla="*/ 200 w 209"/>
                <a:gd name="T85" fmla="*/ 62 h 163"/>
                <a:gd name="T86" fmla="*/ 208 w 209"/>
                <a:gd name="T87" fmla="*/ 93 h 163"/>
                <a:gd name="T88" fmla="*/ 207 w 209"/>
                <a:gd name="T89" fmla="*/ 94 h 163"/>
                <a:gd name="T90" fmla="*/ 208 w 209"/>
                <a:gd name="T91" fmla="*/ 93 h 163"/>
                <a:gd name="T92" fmla="*/ 166 w 209"/>
                <a:gd name="T93" fmla="*/ 119 h 163"/>
                <a:gd name="T94" fmla="*/ 163 w 209"/>
                <a:gd name="T95" fmla="*/ 117 h 163"/>
                <a:gd name="T96" fmla="*/ 167 w 209"/>
                <a:gd name="T97" fmla="*/ 116 h 163"/>
                <a:gd name="T98" fmla="*/ 179 w 209"/>
                <a:gd name="T99" fmla="*/ 139 h 163"/>
                <a:gd name="T100" fmla="*/ 182 w 209"/>
                <a:gd name="T101" fmla="*/ 145 h 163"/>
                <a:gd name="T102" fmla="*/ 177 w 209"/>
                <a:gd name="T103" fmla="*/ 139 h 163"/>
                <a:gd name="T104" fmla="*/ 179 w 209"/>
                <a:gd name="T105" fmla="*/ 13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163">
                  <a:moveTo>
                    <a:pt x="11" y="143"/>
                  </a:moveTo>
                  <a:lnTo>
                    <a:pt x="8" y="139"/>
                  </a:lnTo>
                  <a:lnTo>
                    <a:pt x="6" y="138"/>
                  </a:lnTo>
                  <a:lnTo>
                    <a:pt x="3" y="138"/>
                  </a:lnTo>
                  <a:lnTo>
                    <a:pt x="0" y="138"/>
                  </a:lnTo>
                  <a:lnTo>
                    <a:pt x="3" y="141"/>
                  </a:lnTo>
                  <a:lnTo>
                    <a:pt x="5" y="143"/>
                  </a:lnTo>
                  <a:lnTo>
                    <a:pt x="7" y="144"/>
                  </a:lnTo>
                  <a:lnTo>
                    <a:pt x="11" y="145"/>
                  </a:lnTo>
                  <a:lnTo>
                    <a:pt x="11" y="143"/>
                  </a:lnTo>
                  <a:lnTo>
                    <a:pt x="11" y="143"/>
                  </a:lnTo>
                  <a:close/>
                  <a:moveTo>
                    <a:pt x="33" y="33"/>
                  </a:moveTo>
                  <a:lnTo>
                    <a:pt x="31" y="31"/>
                  </a:lnTo>
                  <a:lnTo>
                    <a:pt x="29" y="29"/>
                  </a:lnTo>
                  <a:lnTo>
                    <a:pt x="29" y="26"/>
                  </a:lnTo>
                  <a:lnTo>
                    <a:pt x="31" y="24"/>
                  </a:lnTo>
                  <a:lnTo>
                    <a:pt x="33" y="25"/>
                  </a:lnTo>
                  <a:lnTo>
                    <a:pt x="34" y="27"/>
                  </a:lnTo>
                  <a:lnTo>
                    <a:pt x="35" y="30"/>
                  </a:lnTo>
                  <a:lnTo>
                    <a:pt x="37" y="33"/>
                  </a:lnTo>
                  <a:lnTo>
                    <a:pt x="33" y="33"/>
                  </a:lnTo>
                  <a:lnTo>
                    <a:pt x="33" y="33"/>
                  </a:lnTo>
                  <a:close/>
                  <a:moveTo>
                    <a:pt x="94" y="158"/>
                  </a:moveTo>
                  <a:lnTo>
                    <a:pt x="97" y="159"/>
                  </a:lnTo>
                  <a:lnTo>
                    <a:pt x="99" y="161"/>
                  </a:lnTo>
                  <a:lnTo>
                    <a:pt x="97" y="163"/>
                  </a:lnTo>
                  <a:lnTo>
                    <a:pt x="93" y="162"/>
                  </a:lnTo>
                  <a:lnTo>
                    <a:pt x="91" y="161"/>
                  </a:lnTo>
                  <a:lnTo>
                    <a:pt x="90" y="159"/>
                  </a:lnTo>
                  <a:lnTo>
                    <a:pt x="88" y="158"/>
                  </a:lnTo>
                  <a:lnTo>
                    <a:pt x="90" y="156"/>
                  </a:lnTo>
                  <a:lnTo>
                    <a:pt x="93" y="156"/>
                  </a:lnTo>
                  <a:lnTo>
                    <a:pt x="94" y="158"/>
                  </a:lnTo>
                  <a:lnTo>
                    <a:pt x="94" y="158"/>
                  </a:lnTo>
                  <a:close/>
                  <a:moveTo>
                    <a:pt x="52" y="41"/>
                  </a:moveTo>
                  <a:lnTo>
                    <a:pt x="49" y="40"/>
                  </a:lnTo>
                  <a:lnTo>
                    <a:pt x="47" y="40"/>
                  </a:lnTo>
                  <a:lnTo>
                    <a:pt x="43" y="39"/>
                  </a:lnTo>
                  <a:lnTo>
                    <a:pt x="42" y="36"/>
                  </a:lnTo>
                  <a:lnTo>
                    <a:pt x="40" y="39"/>
                  </a:lnTo>
                  <a:lnTo>
                    <a:pt x="38" y="39"/>
                  </a:lnTo>
                  <a:lnTo>
                    <a:pt x="37" y="42"/>
                  </a:lnTo>
                  <a:lnTo>
                    <a:pt x="39" y="44"/>
                  </a:lnTo>
                  <a:lnTo>
                    <a:pt x="41" y="46"/>
                  </a:lnTo>
                  <a:lnTo>
                    <a:pt x="45" y="46"/>
                  </a:lnTo>
                  <a:lnTo>
                    <a:pt x="47" y="46"/>
                  </a:lnTo>
                  <a:lnTo>
                    <a:pt x="50" y="46"/>
                  </a:lnTo>
                  <a:lnTo>
                    <a:pt x="52" y="46"/>
                  </a:lnTo>
                  <a:lnTo>
                    <a:pt x="55" y="47"/>
                  </a:lnTo>
                  <a:lnTo>
                    <a:pt x="56" y="43"/>
                  </a:lnTo>
                  <a:lnTo>
                    <a:pt x="55" y="41"/>
                  </a:lnTo>
                  <a:lnTo>
                    <a:pt x="52" y="41"/>
                  </a:lnTo>
                  <a:lnTo>
                    <a:pt x="52" y="41"/>
                  </a:lnTo>
                  <a:close/>
                  <a:moveTo>
                    <a:pt x="132" y="0"/>
                  </a:moveTo>
                  <a:lnTo>
                    <a:pt x="132" y="2"/>
                  </a:lnTo>
                  <a:lnTo>
                    <a:pt x="128" y="4"/>
                  </a:lnTo>
                  <a:lnTo>
                    <a:pt x="126" y="4"/>
                  </a:lnTo>
                  <a:lnTo>
                    <a:pt x="128" y="0"/>
                  </a:lnTo>
                  <a:lnTo>
                    <a:pt x="132" y="1"/>
                  </a:lnTo>
                  <a:lnTo>
                    <a:pt x="132" y="0"/>
                  </a:lnTo>
                  <a:lnTo>
                    <a:pt x="132" y="0"/>
                  </a:lnTo>
                  <a:close/>
                  <a:moveTo>
                    <a:pt x="124" y="22"/>
                  </a:moveTo>
                  <a:lnTo>
                    <a:pt x="126" y="22"/>
                  </a:lnTo>
                  <a:lnTo>
                    <a:pt x="132" y="23"/>
                  </a:lnTo>
                  <a:lnTo>
                    <a:pt x="129" y="23"/>
                  </a:lnTo>
                  <a:lnTo>
                    <a:pt x="126" y="23"/>
                  </a:lnTo>
                  <a:lnTo>
                    <a:pt x="124" y="22"/>
                  </a:lnTo>
                  <a:lnTo>
                    <a:pt x="124" y="22"/>
                  </a:lnTo>
                  <a:lnTo>
                    <a:pt x="124" y="22"/>
                  </a:lnTo>
                  <a:close/>
                  <a:moveTo>
                    <a:pt x="185" y="49"/>
                  </a:moveTo>
                  <a:lnTo>
                    <a:pt x="187" y="52"/>
                  </a:lnTo>
                  <a:lnTo>
                    <a:pt x="185" y="52"/>
                  </a:lnTo>
                  <a:lnTo>
                    <a:pt x="185" y="50"/>
                  </a:lnTo>
                  <a:lnTo>
                    <a:pt x="185" y="49"/>
                  </a:lnTo>
                  <a:lnTo>
                    <a:pt x="185" y="49"/>
                  </a:lnTo>
                  <a:close/>
                  <a:moveTo>
                    <a:pt x="192" y="58"/>
                  </a:moveTo>
                  <a:lnTo>
                    <a:pt x="190" y="58"/>
                  </a:lnTo>
                  <a:lnTo>
                    <a:pt x="192" y="56"/>
                  </a:lnTo>
                  <a:lnTo>
                    <a:pt x="192" y="58"/>
                  </a:lnTo>
                  <a:lnTo>
                    <a:pt x="192" y="58"/>
                  </a:lnTo>
                  <a:close/>
                  <a:moveTo>
                    <a:pt x="200" y="62"/>
                  </a:moveTo>
                  <a:lnTo>
                    <a:pt x="202" y="61"/>
                  </a:lnTo>
                  <a:lnTo>
                    <a:pt x="204" y="60"/>
                  </a:lnTo>
                  <a:lnTo>
                    <a:pt x="203" y="62"/>
                  </a:lnTo>
                  <a:lnTo>
                    <a:pt x="200" y="64"/>
                  </a:lnTo>
                  <a:lnTo>
                    <a:pt x="200" y="62"/>
                  </a:lnTo>
                  <a:lnTo>
                    <a:pt x="200" y="62"/>
                  </a:lnTo>
                  <a:close/>
                  <a:moveTo>
                    <a:pt x="208" y="93"/>
                  </a:moveTo>
                  <a:lnTo>
                    <a:pt x="209" y="95"/>
                  </a:lnTo>
                  <a:lnTo>
                    <a:pt x="207" y="94"/>
                  </a:lnTo>
                  <a:lnTo>
                    <a:pt x="208" y="93"/>
                  </a:lnTo>
                  <a:lnTo>
                    <a:pt x="208" y="93"/>
                  </a:lnTo>
                  <a:close/>
                  <a:moveTo>
                    <a:pt x="167" y="116"/>
                  </a:moveTo>
                  <a:lnTo>
                    <a:pt x="166" y="119"/>
                  </a:lnTo>
                  <a:lnTo>
                    <a:pt x="163" y="120"/>
                  </a:lnTo>
                  <a:lnTo>
                    <a:pt x="163" y="117"/>
                  </a:lnTo>
                  <a:lnTo>
                    <a:pt x="166" y="116"/>
                  </a:lnTo>
                  <a:lnTo>
                    <a:pt x="167" y="116"/>
                  </a:lnTo>
                  <a:lnTo>
                    <a:pt x="167" y="116"/>
                  </a:lnTo>
                  <a:close/>
                  <a:moveTo>
                    <a:pt x="179" y="139"/>
                  </a:moveTo>
                  <a:lnTo>
                    <a:pt x="180" y="142"/>
                  </a:lnTo>
                  <a:lnTo>
                    <a:pt x="182" y="145"/>
                  </a:lnTo>
                  <a:lnTo>
                    <a:pt x="178" y="143"/>
                  </a:lnTo>
                  <a:lnTo>
                    <a:pt x="177" y="139"/>
                  </a:lnTo>
                  <a:lnTo>
                    <a:pt x="179" y="139"/>
                  </a:lnTo>
                  <a:lnTo>
                    <a:pt x="17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2" name="Freeform 212">
              <a:extLst>
                <a:ext uri="{FF2B5EF4-FFF2-40B4-BE49-F238E27FC236}">
                  <a16:creationId xmlns:a16="http://schemas.microsoft.com/office/drawing/2014/main" id="{A2BF80C5-77D7-4B29-ABE7-2EB04025FA39}"/>
                </a:ext>
              </a:extLst>
            </p:cNvPr>
            <p:cNvSpPr>
              <a:spLocks noEditPoints="1"/>
            </p:cNvSpPr>
            <p:nvPr/>
          </p:nvSpPr>
          <p:spPr bwMode="auto">
            <a:xfrm>
              <a:off x="3686175" y="2614613"/>
              <a:ext cx="381000" cy="269875"/>
            </a:xfrm>
            <a:custGeom>
              <a:avLst/>
              <a:gdLst>
                <a:gd name="T0" fmla="*/ 58 w 240"/>
                <a:gd name="T1" fmla="*/ 62 h 170"/>
                <a:gd name="T2" fmla="*/ 120 w 240"/>
                <a:gd name="T3" fmla="*/ 146 h 170"/>
                <a:gd name="T4" fmla="*/ 120 w 240"/>
                <a:gd name="T5" fmla="*/ 146 h 170"/>
                <a:gd name="T6" fmla="*/ 117 w 240"/>
                <a:gd name="T7" fmla="*/ 164 h 170"/>
                <a:gd name="T8" fmla="*/ 101 w 240"/>
                <a:gd name="T9" fmla="*/ 170 h 170"/>
                <a:gd name="T10" fmla="*/ 101 w 240"/>
                <a:gd name="T11" fmla="*/ 170 h 170"/>
                <a:gd name="T12" fmla="*/ 43 w 240"/>
                <a:gd name="T13" fmla="*/ 34 h 170"/>
                <a:gd name="T14" fmla="*/ 51 w 240"/>
                <a:gd name="T15" fmla="*/ 27 h 170"/>
                <a:gd name="T16" fmla="*/ 59 w 240"/>
                <a:gd name="T17" fmla="*/ 25 h 170"/>
                <a:gd name="T18" fmla="*/ 50 w 240"/>
                <a:gd name="T19" fmla="*/ 23 h 170"/>
                <a:gd name="T20" fmla="*/ 47 w 240"/>
                <a:gd name="T21" fmla="*/ 16 h 170"/>
                <a:gd name="T22" fmla="*/ 44 w 240"/>
                <a:gd name="T23" fmla="*/ 13 h 170"/>
                <a:gd name="T24" fmla="*/ 36 w 240"/>
                <a:gd name="T25" fmla="*/ 9 h 170"/>
                <a:gd name="T26" fmla="*/ 28 w 240"/>
                <a:gd name="T27" fmla="*/ 5 h 170"/>
                <a:gd name="T28" fmla="*/ 23 w 240"/>
                <a:gd name="T29" fmla="*/ 0 h 170"/>
                <a:gd name="T30" fmla="*/ 16 w 240"/>
                <a:gd name="T31" fmla="*/ 4 h 170"/>
                <a:gd name="T32" fmla="*/ 17 w 240"/>
                <a:gd name="T33" fmla="*/ 9 h 170"/>
                <a:gd name="T34" fmla="*/ 15 w 240"/>
                <a:gd name="T35" fmla="*/ 12 h 170"/>
                <a:gd name="T36" fmla="*/ 8 w 240"/>
                <a:gd name="T37" fmla="*/ 17 h 170"/>
                <a:gd name="T38" fmla="*/ 0 w 240"/>
                <a:gd name="T39" fmla="*/ 19 h 170"/>
                <a:gd name="T40" fmla="*/ 6 w 240"/>
                <a:gd name="T41" fmla="*/ 25 h 170"/>
                <a:gd name="T42" fmla="*/ 11 w 240"/>
                <a:gd name="T43" fmla="*/ 26 h 170"/>
                <a:gd name="T44" fmla="*/ 17 w 240"/>
                <a:gd name="T45" fmla="*/ 27 h 170"/>
                <a:gd name="T46" fmla="*/ 25 w 240"/>
                <a:gd name="T47" fmla="*/ 30 h 170"/>
                <a:gd name="T48" fmla="*/ 33 w 240"/>
                <a:gd name="T49" fmla="*/ 31 h 170"/>
                <a:gd name="T50" fmla="*/ 41 w 240"/>
                <a:gd name="T51" fmla="*/ 34 h 170"/>
                <a:gd name="T52" fmla="*/ 234 w 240"/>
                <a:gd name="T53" fmla="*/ 1 h 170"/>
                <a:gd name="T54" fmla="*/ 231 w 240"/>
                <a:gd name="T55" fmla="*/ 0 h 170"/>
                <a:gd name="T56" fmla="*/ 219 w 240"/>
                <a:gd name="T57" fmla="*/ 2 h 170"/>
                <a:gd name="T58" fmla="*/ 240 w 240"/>
                <a:gd name="T59" fmla="*/ 37 h 170"/>
                <a:gd name="T60" fmla="*/ 240 w 240"/>
                <a:gd name="T61" fmla="*/ 37 h 170"/>
                <a:gd name="T62" fmla="*/ 179 w 240"/>
                <a:gd name="T63" fmla="*/ 44 h 170"/>
                <a:gd name="T64" fmla="*/ 177 w 240"/>
                <a:gd name="T65" fmla="*/ 51 h 170"/>
                <a:gd name="T66" fmla="*/ 173 w 240"/>
                <a:gd name="T67" fmla="*/ 44 h 170"/>
                <a:gd name="T68" fmla="*/ 177 w 240"/>
                <a:gd name="T69" fmla="*/ 38 h 170"/>
                <a:gd name="T70" fmla="*/ 179 w 240"/>
                <a:gd name="T71" fmla="*/ 40 h 170"/>
                <a:gd name="T72" fmla="*/ 222 w 240"/>
                <a:gd name="T73" fmla="*/ 83 h 170"/>
                <a:gd name="T74" fmla="*/ 226 w 240"/>
                <a:gd name="T75" fmla="*/ 85 h 170"/>
                <a:gd name="T76" fmla="*/ 222 w 240"/>
                <a:gd name="T77" fmla="*/ 94 h 170"/>
                <a:gd name="T78" fmla="*/ 213 w 240"/>
                <a:gd name="T79" fmla="*/ 90 h 170"/>
                <a:gd name="T80" fmla="*/ 219 w 240"/>
                <a:gd name="T81" fmla="*/ 96 h 170"/>
                <a:gd name="T82" fmla="*/ 215 w 240"/>
                <a:gd name="T83" fmla="*/ 98 h 170"/>
                <a:gd name="T84" fmla="*/ 211 w 240"/>
                <a:gd name="T85" fmla="*/ 94 h 170"/>
                <a:gd name="T86" fmla="*/ 206 w 240"/>
                <a:gd name="T87" fmla="*/ 88 h 170"/>
                <a:gd name="T88" fmla="*/ 213 w 240"/>
                <a:gd name="T89" fmla="*/ 9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0" h="170">
                  <a:moveTo>
                    <a:pt x="58" y="62"/>
                  </a:moveTo>
                  <a:lnTo>
                    <a:pt x="54" y="63"/>
                  </a:lnTo>
                  <a:lnTo>
                    <a:pt x="58" y="62"/>
                  </a:lnTo>
                  <a:lnTo>
                    <a:pt x="58" y="62"/>
                  </a:lnTo>
                  <a:lnTo>
                    <a:pt x="58" y="62"/>
                  </a:lnTo>
                  <a:close/>
                  <a:moveTo>
                    <a:pt x="120" y="146"/>
                  </a:moveTo>
                  <a:lnTo>
                    <a:pt x="118" y="146"/>
                  </a:lnTo>
                  <a:lnTo>
                    <a:pt x="120" y="146"/>
                  </a:lnTo>
                  <a:lnTo>
                    <a:pt x="120" y="146"/>
                  </a:lnTo>
                  <a:close/>
                  <a:moveTo>
                    <a:pt x="117" y="164"/>
                  </a:moveTo>
                  <a:lnTo>
                    <a:pt x="113" y="164"/>
                  </a:lnTo>
                  <a:lnTo>
                    <a:pt x="117" y="164"/>
                  </a:lnTo>
                  <a:lnTo>
                    <a:pt x="117" y="164"/>
                  </a:lnTo>
                  <a:lnTo>
                    <a:pt x="117" y="164"/>
                  </a:lnTo>
                  <a:close/>
                  <a:moveTo>
                    <a:pt x="101" y="170"/>
                  </a:moveTo>
                  <a:lnTo>
                    <a:pt x="97" y="170"/>
                  </a:lnTo>
                  <a:lnTo>
                    <a:pt x="101" y="170"/>
                  </a:lnTo>
                  <a:lnTo>
                    <a:pt x="101" y="170"/>
                  </a:lnTo>
                  <a:lnTo>
                    <a:pt x="101" y="170"/>
                  </a:lnTo>
                  <a:close/>
                  <a:moveTo>
                    <a:pt x="41" y="34"/>
                  </a:moveTo>
                  <a:lnTo>
                    <a:pt x="43" y="34"/>
                  </a:lnTo>
                  <a:lnTo>
                    <a:pt x="46" y="31"/>
                  </a:lnTo>
                  <a:lnTo>
                    <a:pt x="49" y="30"/>
                  </a:lnTo>
                  <a:lnTo>
                    <a:pt x="51" y="27"/>
                  </a:lnTo>
                  <a:lnTo>
                    <a:pt x="53" y="27"/>
                  </a:lnTo>
                  <a:lnTo>
                    <a:pt x="57" y="27"/>
                  </a:lnTo>
                  <a:lnTo>
                    <a:pt x="59" y="25"/>
                  </a:lnTo>
                  <a:lnTo>
                    <a:pt x="55" y="23"/>
                  </a:lnTo>
                  <a:lnTo>
                    <a:pt x="53" y="25"/>
                  </a:lnTo>
                  <a:lnTo>
                    <a:pt x="50" y="23"/>
                  </a:lnTo>
                  <a:lnTo>
                    <a:pt x="49" y="21"/>
                  </a:lnTo>
                  <a:lnTo>
                    <a:pt x="49" y="19"/>
                  </a:lnTo>
                  <a:lnTo>
                    <a:pt x="47" y="16"/>
                  </a:lnTo>
                  <a:lnTo>
                    <a:pt x="46" y="19"/>
                  </a:lnTo>
                  <a:lnTo>
                    <a:pt x="45" y="16"/>
                  </a:lnTo>
                  <a:lnTo>
                    <a:pt x="44" y="13"/>
                  </a:lnTo>
                  <a:lnTo>
                    <a:pt x="42" y="11"/>
                  </a:lnTo>
                  <a:lnTo>
                    <a:pt x="38" y="10"/>
                  </a:lnTo>
                  <a:lnTo>
                    <a:pt x="36" y="9"/>
                  </a:lnTo>
                  <a:lnTo>
                    <a:pt x="33" y="6"/>
                  </a:lnTo>
                  <a:lnTo>
                    <a:pt x="30" y="4"/>
                  </a:lnTo>
                  <a:lnTo>
                    <a:pt x="28" y="5"/>
                  </a:lnTo>
                  <a:lnTo>
                    <a:pt x="28" y="3"/>
                  </a:lnTo>
                  <a:lnTo>
                    <a:pt x="26" y="2"/>
                  </a:lnTo>
                  <a:lnTo>
                    <a:pt x="23" y="0"/>
                  </a:lnTo>
                  <a:lnTo>
                    <a:pt x="20" y="0"/>
                  </a:lnTo>
                  <a:lnTo>
                    <a:pt x="17" y="2"/>
                  </a:lnTo>
                  <a:lnTo>
                    <a:pt x="16" y="4"/>
                  </a:lnTo>
                  <a:lnTo>
                    <a:pt x="17" y="8"/>
                  </a:lnTo>
                  <a:lnTo>
                    <a:pt x="20" y="10"/>
                  </a:lnTo>
                  <a:lnTo>
                    <a:pt x="17" y="9"/>
                  </a:lnTo>
                  <a:lnTo>
                    <a:pt x="15" y="6"/>
                  </a:lnTo>
                  <a:lnTo>
                    <a:pt x="15" y="10"/>
                  </a:lnTo>
                  <a:lnTo>
                    <a:pt x="15" y="12"/>
                  </a:lnTo>
                  <a:lnTo>
                    <a:pt x="12" y="13"/>
                  </a:lnTo>
                  <a:lnTo>
                    <a:pt x="10" y="17"/>
                  </a:lnTo>
                  <a:lnTo>
                    <a:pt x="8" y="17"/>
                  </a:lnTo>
                  <a:lnTo>
                    <a:pt x="6" y="18"/>
                  </a:lnTo>
                  <a:lnTo>
                    <a:pt x="2" y="17"/>
                  </a:lnTo>
                  <a:lnTo>
                    <a:pt x="0" y="19"/>
                  </a:lnTo>
                  <a:lnTo>
                    <a:pt x="0" y="21"/>
                  </a:lnTo>
                  <a:lnTo>
                    <a:pt x="3" y="25"/>
                  </a:lnTo>
                  <a:lnTo>
                    <a:pt x="6" y="25"/>
                  </a:lnTo>
                  <a:lnTo>
                    <a:pt x="8" y="22"/>
                  </a:lnTo>
                  <a:lnTo>
                    <a:pt x="9" y="25"/>
                  </a:lnTo>
                  <a:lnTo>
                    <a:pt x="11" y="26"/>
                  </a:lnTo>
                  <a:lnTo>
                    <a:pt x="15" y="27"/>
                  </a:lnTo>
                  <a:lnTo>
                    <a:pt x="16" y="25"/>
                  </a:lnTo>
                  <a:lnTo>
                    <a:pt x="17" y="27"/>
                  </a:lnTo>
                  <a:lnTo>
                    <a:pt x="19" y="29"/>
                  </a:lnTo>
                  <a:lnTo>
                    <a:pt x="23" y="29"/>
                  </a:lnTo>
                  <a:lnTo>
                    <a:pt x="25" y="30"/>
                  </a:lnTo>
                  <a:lnTo>
                    <a:pt x="28" y="33"/>
                  </a:lnTo>
                  <a:lnTo>
                    <a:pt x="30" y="33"/>
                  </a:lnTo>
                  <a:lnTo>
                    <a:pt x="33" y="31"/>
                  </a:lnTo>
                  <a:lnTo>
                    <a:pt x="36" y="33"/>
                  </a:lnTo>
                  <a:lnTo>
                    <a:pt x="38" y="34"/>
                  </a:lnTo>
                  <a:lnTo>
                    <a:pt x="41" y="34"/>
                  </a:lnTo>
                  <a:lnTo>
                    <a:pt x="41" y="34"/>
                  </a:lnTo>
                  <a:close/>
                  <a:moveTo>
                    <a:pt x="231" y="0"/>
                  </a:moveTo>
                  <a:lnTo>
                    <a:pt x="234" y="1"/>
                  </a:lnTo>
                  <a:lnTo>
                    <a:pt x="231" y="1"/>
                  </a:lnTo>
                  <a:lnTo>
                    <a:pt x="231" y="0"/>
                  </a:lnTo>
                  <a:lnTo>
                    <a:pt x="231" y="0"/>
                  </a:lnTo>
                  <a:close/>
                  <a:moveTo>
                    <a:pt x="219" y="2"/>
                  </a:moveTo>
                  <a:lnTo>
                    <a:pt x="215" y="3"/>
                  </a:lnTo>
                  <a:lnTo>
                    <a:pt x="219" y="2"/>
                  </a:lnTo>
                  <a:lnTo>
                    <a:pt x="219" y="2"/>
                  </a:lnTo>
                  <a:lnTo>
                    <a:pt x="219" y="2"/>
                  </a:lnTo>
                  <a:close/>
                  <a:moveTo>
                    <a:pt x="240" y="37"/>
                  </a:moveTo>
                  <a:lnTo>
                    <a:pt x="237" y="37"/>
                  </a:lnTo>
                  <a:lnTo>
                    <a:pt x="239" y="36"/>
                  </a:lnTo>
                  <a:lnTo>
                    <a:pt x="240" y="37"/>
                  </a:lnTo>
                  <a:lnTo>
                    <a:pt x="240" y="37"/>
                  </a:lnTo>
                  <a:close/>
                  <a:moveTo>
                    <a:pt x="179" y="40"/>
                  </a:moveTo>
                  <a:lnTo>
                    <a:pt x="179" y="44"/>
                  </a:lnTo>
                  <a:lnTo>
                    <a:pt x="180" y="46"/>
                  </a:lnTo>
                  <a:lnTo>
                    <a:pt x="179" y="50"/>
                  </a:lnTo>
                  <a:lnTo>
                    <a:pt x="177" y="51"/>
                  </a:lnTo>
                  <a:lnTo>
                    <a:pt x="173" y="50"/>
                  </a:lnTo>
                  <a:lnTo>
                    <a:pt x="172" y="47"/>
                  </a:lnTo>
                  <a:lnTo>
                    <a:pt x="173" y="44"/>
                  </a:lnTo>
                  <a:lnTo>
                    <a:pt x="173" y="42"/>
                  </a:lnTo>
                  <a:lnTo>
                    <a:pt x="174" y="38"/>
                  </a:lnTo>
                  <a:lnTo>
                    <a:pt x="177" y="38"/>
                  </a:lnTo>
                  <a:lnTo>
                    <a:pt x="179" y="40"/>
                  </a:lnTo>
                  <a:lnTo>
                    <a:pt x="179" y="40"/>
                  </a:lnTo>
                  <a:lnTo>
                    <a:pt x="179" y="40"/>
                  </a:lnTo>
                  <a:close/>
                  <a:moveTo>
                    <a:pt x="226" y="85"/>
                  </a:moveTo>
                  <a:lnTo>
                    <a:pt x="224" y="86"/>
                  </a:lnTo>
                  <a:lnTo>
                    <a:pt x="222" y="83"/>
                  </a:lnTo>
                  <a:lnTo>
                    <a:pt x="225" y="85"/>
                  </a:lnTo>
                  <a:lnTo>
                    <a:pt x="226" y="85"/>
                  </a:lnTo>
                  <a:lnTo>
                    <a:pt x="226" y="85"/>
                  </a:lnTo>
                  <a:close/>
                  <a:moveTo>
                    <a:pt x="222" y="95"/>
                  </a:moveTo>
                  <a:lnTo>
                    <a:pt x="219" y="95"/>
                  </a:lnTo>
                  <a:lnTo>
                    <a:pt x="222" y="94"/>
                  </a:lnTo>
                  <a:lnTo>
                    <a:pt x="222" y="95"/>
                  </a:lnTo>
                  <a:lnTo>
                    <a:pt x="222" y="95"/>
                  </a:lnTo>
                  <a:close/>
                  <a:moveTo>
                    <a:pt x="213" y="90"/>
                  </a:moveTo>
                  <a:lnTo>
                    <a:pt x="216" y="93"/>
                  </a:lnTo>
                  <a:lnTo>
                    <a:pt x="215" y="95"/>
                  </a:lnTo>
                  <a:lnTo>
                    <a:pt x="219" y="96"/>
                  </a:lnTo>
                  <a:lnTo>
                    <a:pt x="221" y="97"/>
                  </a:lnTo>
                  <a:lnTo>
                    <a:pt x="219" y="98"/>
                  </a:lnTo>
                  <a:lnTo>
                    <a:pt x="215" y="98"/>
                  </a:lnTo>
                  <a:lnTo>
                    <a:pt x="215" y="96"/>
                  </a:lnTo>
                  <a:lnTo>
                    <a:pt x="213" y="97"/>
                  </a:lnTo>
                  <a:lnTo>
                    <a:pt x="211" y="94"/>
                  </a:lnTo>
                  <a:lnTo>
                    <a:pt x="209" y="91"/>
                  </a:lnTo>
                  <a:lnTo>
                    <a:pt x="207" y="90"/>
                  </a:lnTo>
                  <a:lnTo>
                    <a:pt x="206" y="88"/>
                  </a:lnTo>
                  <a:lnTo>
                    <a:pt x="208" y="88"/>
                  </a:lnTo>
                  <a:lnTo>
                    <a:pt x="212" y="89"/>
                  </a:lnTo>
                  <a:lnTo>
                    <a:pt x="213" y="90"/>
                  </a:lnTo>
                  <a:lnTo>
                    <a:pt x="2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3" name="Freeform 213">
              <a:extLst>
                <a:ext uri="{FF2B5EF4-FFF2-40B4-BE49-F238E27FC236}">
                  <a16:creationId xmlns:a16="http://schemas.microsoft.com/office/drawing/2014/main" id="{A2579010-E89C-4064-964A-3989EF74F9F8}"/>
                </a:ext>
              </a:extLst>
            </p:cNvPr>
            <p:cNvSpPr>
              <a:spLocks noEditPoints="1"/>
            </p:cNvSpPr>
            <p:nvPr/>
          </p:nvSpPr>
          <p:spPr bwMode="auto">
            <a:xfrm>
              <a:off x="3308350" y="2622550"/>
              <a:ext cx="468312" cy="306388"/>
            </a:xfrm>
            <a:custGeom>
              <a:avLst/>
              <a:gdLst>
                <a:gd name="T0" fmla="*/ 65 w 295"/>
                <a:gd name="T1" fmla="*/ 175 h 193"/>
                <a:gd name="T2" fmla="*/ 59 w 295"/>
                <a:gd name="T3" fmla="*/ 178 h 193"/>
                <a:gd name="T4" fmla="*/ 59 w 295"/>
                <a:gd name="T5" fmla="*/ 177 h 193"/>
                <a:gd name="T6" fmla="*/ 65 w 295"/>
                <a:gd name="T7" fmla="*/ 174 h 193"/>
                <a:gd name="T8" fmla="*/ 68 w 295"/>
                <a:gd name="T9" fmla="*/ 174 h 193"/>
                <a:gd name="T10" fmla="*/ 60 w 295"/>
                <a:gd name="T11" fmla="*/ 178 h 193"/>
                <a:gd name="T12" fmla="*/ 60 w 295"/>
                <a:gd name="T13" fmla="*/ 178 h 193"/>
                <a:gd name="T14" fmla="*/ 63 w 295"/>
                <a:gd name="T15" fmla="*/ 177 h 193"/>
                <a:gd name="T16" fmla="*/ 59 w 295"/>
                <a:gd name="T17" fmla="*/ 182 h 193"/>
                <a:gd name="T18" fmla="*/ 63 w 295"/>
                <a:gd name="T19" fmla="*/ 178 h 193"/>
                <a:gd name="T20" fmla="*/ 63 w 295"/>
                <a:gd name="T21" fmla="*/ 177 h 193"/>
                <a:gd name="T22" fmla="*/ 6 w 295"/>
                <a:gd name="T23" fmla="*/ 192 h 193"/>
                <a:gd name="T24" fmla="*/ 0 w 295"/>
                <a:gd name="T25" fmla="*/ 192 h 193"/>
                <a:gd name="T26" fmla="*/ 3 w 295"/>
                <a:gd name="T27" fmla="*/ 191 h 193"/>
                <a:gd name="T28" fmla="*/ 227 w 295"/>
                <a:gd name="T29" fmla="*/ 16 h 193"/>
                <a:gd name="T30" fmla="*/ 228 w 295"/>
                <a:gd name="T31" fmla="*/ 21 h 193"/>
                <a:gd name="T32" fmla="*/ 223 w 295"/>
                <a:gd name="T33" fmla="*/ 22 h 193"/>
                <a:gd name="T34" fmla="*/ 225 w 295"/>
                <a:gd name="T35" fmla="*/ 15 h 193"/>
                <a:gd name="T36" fmla="*/ 227 w 295"/>
                <a:gd name="T37" fmla="*/ 16 h 193"/>
                <a:gd name="T38" fmla="*/ 208 w 295"/>
                <a:gd name="T39" fmla="*/ 24 h 193"/>
                <a:gd name="T40" fmla="*/ 203 w 295"/>
                <a:gd name="T41" fmla="*/ 25 h 193"/>
                <a:gd name="T42" fmla="*/ 203 w 295"/>
                <a:gd name="T43" fmla="*/ 22 h 193"/>
                <a:gd name="T44" fmla="*/ 208 w 295"/>
                <a:gd name="T45" fmla="*/ 22 h 193"/>
                <a:gd name="T46" fmla="*/ 168 w 295"/>
                <a:gd name="T47" fmla="*/ 26 h 193"/>
                <a:gd name="T48" fmla="*/ 169 w 295"/>
                <a:gd name="T49" fmla="*/ 30 h 193"/>
                <a:gd name="T50" fmla="*/ 164 w 295"/>
                <a:gd name="T51" fmla="*/ 29 h 193"/>
                <a:gd name="T52" fmla="*/ 168 w 295"/>
                <a:gd name="T53" fmla="*/ 26 h 193"/>
                <a:gd name="T54" fmla="*/ 293 w 295"/>
                <a:gd name="T55" fmla="*/ 3 h 193"/>
                <a:gd name="T56" fmla="*/ 293 w 295"/>
                <a:gd name="T57" fmla="*/ 7 h 193"/>
                <a:gd name="T58" fmla="*/ 290 w 295"/>
                <a:gd name="T59" fmla="*/ 6 h 193"/>
                <a:gd name="T60" fmla="*/ 289 w 295"/>
                <a:gd name="T61" fmla="*/ 5 h 193"/>
                <a:gd name="T62" fmla="*/ 287 w 295"/>
                <a:gd name="T63" fmla="*/ 3 h 193"/>
                <a:gd name="T64" fmla="*/ 292 w 295"/>
                <a:gd name="T65" fmla="*/ 3 h 193"/>
                <a:gd name="T66" fmla="*/ 293 w 295"/>
                <a:gd name="T67" fmla="*/ 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193">
                  <a:moveTo>
                    <a:pt x="68" y="174"/>
                  </a:moveTo>
                  <a:lnTo>
                    <a:pt x="65" y="175"/>
                  </a:lnTo>
                  <a:lnTo>
                    <a:pt x="62" y="177"/>
                  </a:lnTo>
                  <a:lnTo>
                    <a:pt x="59" y="178"/>
                  </a:lnTo>
                  <a:lnTo>
                    <a:pt x="57" y="178"/>
                  </a:lnTo>
                  <a:lnTo>
                    <a:pt x="59" y="177"/>
                  </a:lnTo>
                  <a:lnTo>
                    <a:pt x="62" y="175"/>
                  </a:lnTo>
                  <a:lnTo>
                    <a:pt x="65" y="174"/>
                  </a:lnTo>
                  <a:lnTo>
                    <a:pt x="68" y="174"/>
                  </a:lnTo>
                  <a:lnTo>
                    <a:pt x="68" y="174"/>
                  </a:lnTo>
                  <a:lnTo>
                    <a:pt x="68" y="174"/>
                  </a:lnTo>
                  <a:close/>
                  <a:moveTo>
                    <a:pt x="60" y="178"/>
                  </a:moveTo>
                  <a:lnTo>
                    <a:pt x="58" y="180"/>
                  </a:lnTo>
                  <a:lnTo>
                    <a:pt x="60" y="178"/>
                  </a:lnTo>
                  <a:lnTo>
                    <a:pt x="60" y="178"/>
                  </a:lnTo>
                  <a:close/>
                  <a:moveTo>
                    <a:pt x="63" y="177"/>
                  </a:moveTo>
                  <a:lnTo>
                    <a:pt x="62" y="180"/>
                  </a:lnTo>
                  <a:lnTo>
                    <a:pt x="59" y="182"/>
                  </a:lnTo>
                  <a:lnTo>
                    <a:pt x="60" y="179"/>
                  </a:lnTo>
                  <a:lnTo>
                    <a:pt x="63" y="178"/>
                  </a:lnTo>
                  <a:lnTo>
                    <a:pt x="63" y="177"/>
                  </a:lnTo>
                  <a:lnTo>
                    <a:pt x="63" y="177"/>
                  </a:lnTo>
                  <a:close/>
                  <a:moveTo>
                    <a:pt x="3" y="191"/>
                  </a:moveTo>
                  <a:lnTo>
                    <a:pt x="6" y="192"/>
                  </a:lnTo>
                  <a:lnTo>
                    <a:pt x="3" y="193"/>
                  </a:lnTo>
                  <a:lnTo>
                    <a:pt x="0" y="192"/>
                  </a:lnTo>
                  <a:lnTo>
                    <a:pt x="3" y="191"/>
                  </a:lnTo>
                  <a:lnTo>
                    <a:pt x="3" y="191"/>
                  </a:lnTo>
                  <a:lnTo>
                    <a:pt x="3" y="191"/>
                  </a:lnTo>
                  <a:close/>
                  <a:moveTo>
                    <a:pt x="227" y="16"/>
                  </a:moveTo>
                  <a:lnTo>
                    <a:pt x="229" y="18"/>
                  </a:lnTo>
                  <a:lnTo>
                    <a:pt x="228" y="21"/>
                  </a:lnTo>
                  <a:lnTo>
                    <a:pt x="225" y="23"/>
                  </a:lnTo>
                  <a:lnTo>
                    <a:pt x="223" y="22"/>
                  </a:lnTo>
                  <a:lnTo>
                    <a:pt x="223" y="16"/>
                  </a:lnTo>
                  <a:lnTo>
                    <a:pt x="225" y="15"/>
                  </a:lnTo>
                  <a:lnTo>
                    <a:pt x="227" y="16"/>
                  </a:lnTo>
                  <a:lnTo>
                    <a:pt x="227" y="16"/>
                  </a:lnTo>
                  <a:close/>
                  <a:moveTo>
                    <a:pt x="208" y="22"/>
                  </a:moveTo>
                  <a:lnTo>
                    <a:pt x="208" y="24"/>
                  </a:lnTo>
                  <a:lnTo>
                    <a:pt x="205" y="26"/>
                  </a:lnTo>
                  <a:lnTo>
                    <a:pt x="203" y="25"/>
                  </a:lnTo>
                  <a:lnTo>
                    <a:pt x="199" y="24"/>
                  </a:lnTo>
                  <a:lnTo>
                    <a:pt x="203" y="22"/>
                  </a:lnTo>
                  <a:lnTo>
                    <a:pt x="205" y="21"/>
                  </a:lnTo>
                  <a:lnTo>
                    <a:pt x="208" y="22"/>
                  </a:lnTo>
                  <a:lnTo>
                    <a:pt x="208" y="22"/>
                  </a:lnTo>
                  <a:close/>
                  <a:moveTo>
                    <a:pt x="168" y="26"/>
                  </a:moveTo>
                  <a:lnTo>
                    <a:pt x="170" y="28"/>
                  </a:lnTo>
                  <a:lnTo>
                    <a:pt x="169" y="30"/>
                  </a:lnTo>
                  <a:lnTo>
                    <a:pt x="167" y="30"/>
                  </a:lnTo>
                  <a:lnTo>
                    <a:pt x="164" y="29"/>
                  </a:lnTo>
                  <a:lnTo>
                    <a:pt x="163" y="26"/>
                  </a:lnTo>
                  <a:lnTo>
                    <a:pt x="168" y="26"/>
                  </a:lnTo>
                  <a:lnTo>
                    <a:pt x="168" y="26"/>
                  </a:lnTo>
                  <a:close/>
                  <a:moveTo>
                    <a:pt x="293" y="3"/>
                  </a:moveTo>
                  <a:lnTo>
                    <a:pt x="295" y="5"/>
                  </a:lnTo>
                  <a:lnTo>
                    <a:pt x="293" y="7"/>
                  </a:lnTo>
                  <a:lnTo>
                    <a:pt x="290" y="8"/>
                  </a:lnTo>
                  <a:lnTo>
                    <a:pt x="290" y="6"/>
                  </a:lnTo>
                  <a:lnTo>
                    <a:pt x="290" y="3"/>
                  </a:lnTo>
                  <a:lnTo>
                    <a:pt x="289" y="5"/>
                  </a:lnTo>
                  <a:lnTo>
                    <a:pt x="285" y="5"/>
                  </a:lnTo>
                  <a:lnTo>
                    <a:pt x="287" y="3"/>
                  </a:lnTo>
                  <a:lnTo>
                    <a:pt x="290" y="0"/>
                  </a:lnTo>
                  <a:lnTo>
                    <a:pt x="292" y="3"/>
                  </a:lnTo>
                  <a:lnTo>
                    <a:pt x="293" y="3"/>
                  </a:lnTo>
                  <a:lnTo>
                    <a:pt x="29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4" name="Freeform 214">
              <a:extLst>
                <a:ext uri="{FF2B5EF4-FFF2-40B4-BE49-F238E27FC236}">
                  <a16:creationId xmlns:a16="http://schemas.microsoft.com/office/drawing/2014/main" id="{458904B7-FB9B-487B-A761-A7031ADCE582}"/>
                </a:ext>
              </a:extLst>
            </p:cNvPr>
            <p:cNvSpPr>
              <a:spLocks noEditPoints="1"/>
            </p:cNvSpPr>
            <p:nvPr/>
          </p:nvSpPr>
          <p:spPr bwMode="auto">
            <a:xfrm>
              <a:off x="5246688" y="2574925"/>
              <a:ext cx="36512" cy="15875"/>
            </a:xfrm>
            <a:custGeom>
              <a:avLst/>
              <a:gdLst>
                <a:gd name="T0" fmla="*/ 6 w 23"/>
                <a:gd name="T1" fmla="*/ 0 h 10"/>
                <a:gd name="T2" fmla="*/ 4 w 23"/>
                <a:gd name="T3" fmla="*/ 2 h 10"/>
                <a:gd name="T4" fmla="*/ 0 w 23"/>
                <a:gd name="T5" fmla="*/ 3 h 10"/>
                <a:gd name="T6" fmla="*/ 0 w 23"/>
                <a:gd name="T7" fmla="*/ 1 h 10"/>
                <a:gd name="T8" fmla="*/ 2 w 23"/>
                <a:gd name="T9" fmla="*/ 0 h 10"/>
                <a:gd name="T10" fmla="*/ 5 w 23"/>
                <a:gd name="T11" fmla="*/ 0 h 10"/>
                <a:gd name="T12" fmla="*/ 6 w 23"/>
                <a:gd name="T13" fmla="*/ 0 h 10"/>
                <a:gd name="T14" fmla="*/ 6 w 23"/>
                <a:gd name="T15" fmla="*/ 0 h 10"/>
                <a:gd name="T16" fmla="*/ 23 w 23"/>
                <a:gd name="T17" fmla="*/ 9 h 10"/>
                <a:gd name="T18" fmla="*/ 19 w 23"/>
                <a:gd name="T19" fmla="*/ 10 h 10"/>
                <a:gd name="T20" fmla="*/ 22 w 23"/>
                <a:gd name="T21" fmla="*/ 9 h 10"/>
                <a:gd name="T22" fmla="*/ 23 w 23"/>
                <a:gd name="T23" fmla="*/ 9 h 10"/>
                <a:gd name="T24" fmla="*/ 23 w 23"/>
                <a:gd name="T2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0">
                  <a:moveTo>
                    <a:pt x="6" y="0"/>
                  </a:moveTo>
                  <a:lnTo>
                    <a:pt x="4" y="2"/>
                  </a:lnTo>
                  <a:lnTo>
                    <a:pt x="0" y="3"/>
                  </a:lnTo>
                  <a:lnTo>
                    <a:pt x="0" y="1"/>
                  </a:lnTo>
                  <a:lnTo>
                    <a:pt x="2" y="0"/>
                  </a:lnTo>
                  <a:lnTo>
                    <a:pt x="5" y="0"/>
                  </a:lnTo>
                  <a:lnTo>
                    <a:pt x="6" y="0"/>
                  </a:lnTo>
                  <a:lnTo>
                    <a:pt x="6" y="0"/>
                  </a:lnTo>
                  <a:close/>
                  <a:moveTo>
                    <a:pt x="23" y="9"/>
                  </a:moveTo>
                  <a:lnTo>
                    <a:pt x="19" y="10"/>
                  </a:lnTo>
                  <a:lnTo>
                    <a:pt x="22" y="9"/>
                  </a:lnTo>
                  <a:lnTo>
                    <a:pt x="23" y="9"/>
                  </a:lnTo>
                  <a:lnTo>
                    <a:pt x="2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5" name="Freeform 215">
              <a:extLst>
                <a:ext uri="{FF2B5EF4-FFF2-40B4-BE49-F238E27FC236}">
                  <a16:creationId xmlns:a16="http://schemas.microsoft.com/office/drawing/2014/main" id="{1DCD93EB-88A5-4C54-B6AD-55B91DFCD12B}"/>
                </a:ext>
              </a:extLst>
            </p:cNvPr>
            <p:cNvSpPr>
              <a:spLocks/>
            </p:cNvSpPr>
            <p:nvPr/>
          </p:nvSpPr>
          <p:spPr bwMode="auto">
            <a:xfrm>
              <a:off x="3892550" y="2454275"/>
              <a:ext cx="623887" cy="447675"/>
            </a:xfrm>
            <a:custGeom>
              <a:avLst/>
              <a:gdLst>
                <a:gd name="T0" fmla="*/ 17 w 393"/>
                <a:gd name="T1" fmla="*/ 72 h 282"/>
                <a:gd name="T2" fmla="*/ 43 w 393"/>
                <a:gd name="T3" fmla="*/ 88 h 282"/>
                <a:gd name="T4" fmla="*/ 79 w 393"/>
                <a:gd name="T5" fmla="*/ 98 h 282"/>
                <a:gd name="T6" fmla="*/ 108 w 393"/>
                <a:gd name="T7" fmla="*/ 95 h 282"/>
                <a:gd name="T8" fmla="*/ 139 w 393"/>
                <a:gd name="T9" fmla="*/ 100 h 282"/>
                <a:gd name="T10" fmla="*/ 159 w 393"/>
                <a:gd name="T11" fmla="*/ 89 h 282"/>
                <a:gd name="T12" fmla="*/ 185 w 393"/>
                <a:gd name="T13" fmla="*/ 110 h 282"/>
                <a:gd name="T14" fmla="*/ 207 w 393"/>
                <a:gd name="T15" fmla="*/ 120 h 282"/>
                <a:gd name="T16" fmla="*/ 234 w 393"/>
                <a:gd name="T17" fmla="*/ 144 h 282"/>
                <a:gd name="T18" fmla="*/ 258 w 393"/>
                <a:gd name="T19" fmla="*/ 169 h 282"/>
                <a:gd name="T20" fmla="*/ 265 w 393"/>
                <a:gd name="T21" fmla="*/ 184 h 282"/>
                <a:gd name="T22" fmla="*/ 227 w 393"/>
                <a:gd name="T23" fmla="*/ 180 h 282"/>
                <a:gd name="T24" fmla="*/ 195 w 393"/>
                <a:gd name="T25" fmla="*/ 209 h 282"/>
                <a:gd name="T26" fmla="*/ 168 w 393"/>
                <a:gd name="T27" fmla="*/ 212 h 282"/>
                <a:gd name="T28" fmla="*/ 203 w 393"/>
                <a:gd name="T29" fmla="*/ 226 h 282"/>
                <a:gd name="T30" fmla="*/ 229 w 393"/>
                <a:gd name="T31" fmla="*/ 224 h 282"/>
                <a:gd name="T32" fmla="*/ 249 w 393"/>
                <a:gd name="T33" fmla="*/ 252 h 282"/>
                <a:gd name="T34" fmla="*/ 301 w 393"/>
                <a:gd name="T35" fmla="*/ 275 h 282"/>
                <a:gd name="T36" fmla="*/ 312 w 393"/>
                <a:gd name="T37" fmla="*/ 261 h 282"/>
                <a:gd name="T38" fmla="*/ 306 w 393"/>
                <a:gd name="T39" fmla="*/ 246 h 282"/>
                <a:gd name="T40" fmla="*/ 340 w 393"/>
                <a:gd name="T41" fmla="*/ 267 h 282"/>
                <a:gd name="T42" fmla="*/ 349 w 393"/>
                <a:gd name="T43" fmla="*/ 249 h 282"/>
                <a:gd name="T44" fmla="*/ 331 w 393"/>
                <a:gd name="T45" fmla="*/ 220 h 282"/>
                <a:gd name="T46" fmla="*/ 303 w 393"/>
                <a:gd name="T47" fmla="*/ 201 h 282"/>
                <a:gd name="T48" fmla="*/ 305 w 393"/>
                <a:gd name="T49" fmla="*/ 184 h 282"/>
                <a:gd name="T50" fmla="*/ 329 w 393"/>
                <a:gd name="T51" fmla="*/ 189 h 282"/>
                <a:gd name="T52" fmla="*/ 339 w 393"/>
                <a:gd name="T53" fmla="*/ 194 h 282"/>
                <a:gd name="T54" fmla="*/ 350 w 393"/>
                <a:gd name="T55" fmla="*/ 208 h 282"/>
                <a:gd name="T56" fmla="*/ 369 w 393"/>
                <a:gd name="T57" fmla="*/ 200 h 282"/>
                <a:gd name="T58" fmla="*/ 379 w 393"/>
                <a:gd name="T59" fmla="*/ 186 h 282"/>
                <a:gd name="T60" fmla="*/ 386 w 393"/>
                <a:gd name="T61" fmla="*/ 172 h 282"/>
                <a:gd name="T62" fmla="*/ 363 w 393"/>
                <a:gd name="T63" fmla="*/ 171 h 282"/>
                <a:gd name="T64" fmla="*/ 350 w 393"/>
                <a:gd name="T65" fmla="*/ 164 h 282"/>
                <a:gd name="T66" fmla="*/ 342 w 393"/>
                <a:gd name="T67" fmla="*/ 152 h 282"/>
                <a:gd name="T68" fmla="*/ 320 w 393"/>
                <a:gd name="T69" fmla="*/ 148 h 282"/>
                <a:gd name="T70" fmla="*/ 312 w 393"/>
                <a:gd name="T71" fmla="*/ 136 h 282"/>
                <a:gd name="T72" fmla="*/ 297 w 393"/>
                <a:gd name="T73" fmla="*/ 129 h 282"/>
                <a:gd name="T74" fmla="*/ 300 w 393"/>
                <a:gd name="T75" fmla="*/ 119 h 282"/>
                <a:gd name="T76" fmla="*/ 291 w 393"/>
                <a:gd name="T77" fmla="*/ 114 h 282"/>
                <a:gd name="T78" fmla="*/ 289 w 393"/>
                <a:gd name="T79" fmla="*/ 109 h 282"/>
                <a:gd name="T80" fmla="*/ 312 w 393"/>
                <a:gd name="T81" fmla="*/ 100 h 282"/>
                <a:gd name="T82" fmla="*/ 284 w 393"/>
                <a:gd name="T83" fmla="*/ 100 h 282"/>
                <a:gd name="T84" fmla="*/ 282 w 393"/>
                <a:gd name="T85" fmla="*/ 92 h 282"/>
                <a:gd name="T86" fmla="*/ 274 w 393"/>
                <a:gd name="T87" fmla="*/ 77 h 282"/>
                <a:gd name="T88" fmla="*/ 253 w 393"/>
                <a:gd name="T89" fmla="*/ 84 h 282"/>
                <a:gd name="T90" fmla="*/ 238 w 393"/>
                <a:gd name="T91" fmla="*/ 78 h 282"/>
                <a:gd name="T92" fmla="*/ 228 w 393"/>
                <a:gd name="T93" fmla="*/ 73 h 282"/>
                <a:gd name="T94" fmla="*/ 220 w 393"/>
                <a:gd name="T95" fmla="*/ 59 h 282"/>
                <a:gd name="T96" fmla="*/ 205 w 393"/>
                <a:gd name="T97" fmla="*/ 57 h 282"/>
                <a:gd name="T98" fmla="*/ 201 w 393"/>
                <a:gd name="T99" fmla="*/ 45 h 282"/>
                <a:gd name="T100" fmla="*/ 184 w 393"/>
                <a:gd name="T101" fmla="*/ 32 h 282"/>
                <a:gd name="T102" fmla="*/ 166 w 393"/>
                <a:gd name="T103" fmla="*/ 41 h 282"/>
                <a:gd name="T104" fmla="*/ 156 w 393"/>
                <a:gd name="T105" fmla="*/ 44 h 282"/>
                <a:gd name="T106" fmla="*/ 137 w 393"/>
                <a:gd name="T107" fmla="*/ 43 h 282"/>
                <a:gd name="T108" fmla="*/ 127 w 393"/>
                <a:gd name="T109" fmla="*/ 34 h 282"/>
                <a:gd name="T110" fmla="*/ 95 w 393"/>
                <a:gd name="T111" fmla="*/ 4 h 282"/>
                <a:gd name="T112" fmla="*/ 83 w 393"/>
                <a:gd name="T113" fmla="*/ 20 h 282"/>
                <a:gd name="T114" fmla="*/ 67 w 393"/>
                <a:gd name="T115" fmla="*/ 24 h 282"/>
                <a:gd name="T116" fmla="*/ 69 w 393"/>
                <a:gd name="T117" fmla="*/ 42 h 282"/>
                <a:gd name="T118" fmla="*/ 69 w 393"/>
                <a:gd name="T119" fmla="*/ 72 h 282"/>
                <a:gd name="T120" fmla="*/ 64 w 393"/>
                <a:gd name="T121" fmla="*/ 61 h 282"/>
                <a:gd name="T122" fmla="*/ 70 w 393"/>
                <a:gd name="T123" fmla="*/ 2 h 282"/>
                <a:gd name="T124" fmla="*/ 9 w 393"/>
                <a:gd name="T125" fmla="*/ 2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3" h="282">
                  <a:moveTo>
                    <a:pt x="0" y="61"/>
                  </a:moveTo>
                  <a:lnTo>
                    <a:pt x="1" y="64"/>
                  </a:lnTo>
                  <a:lnTo>
                    <a:pt x="5" y="66"/>
                  </a:lnTo>
                  <a:lnTo>
                    <a:pt x="7" y="66"/>
                  </a:lnTo>
                  <a:lnTo>
                    <a:pt x="10" y="66"/>
                  </a:lnTo>
                  <a:lnTo>
                    <a:pt x="18" y="67"/>
                  </a:lnTo>
                  <a:lnTo>
                    <a:pt x="21" y="67"/>
                  </a:lnTo>
                  <a:lnTo>
                    <a:pt x="24" y="67"/>
                  </a:lnTo>
                  <a:lnTo>
                    <a:pt x="26" y="68"/>
                  </a:lnTo>
                  <a:lnTo>
                    <a:pt x="30" y="67"/>
                  </a:lnTo>
                  <a:lnTo>
                    <a:pt x="31" y="69"/>
                  </a:lnTo>
                  <a:lnTo>
                    <a:pt x="33" y="70"/>
                  </a:lnTo>
                  <a:lnTo>
                    <a:pt x="36" y="72"/>
                  </a:lnTo>
                  <a:lnTo>
                    <a:pt x="39" y="72"/>
                  </a:lnTo>
                  <a:lnTo>
                    <a:pt x="36" y="75"/>
                  </a:lnTo>
                  <a:lnTo>
                    <a:pt x="33" y="75"/>
                  </a:lnTo>
                  <a:lnTo>
                    <a:pt x="31" y="73"/>
                  </a:lnTo>
                  <a:lnTo>
                    <a:pt x="27" y="75"/>
                  </a:lnTo>
                  <a:lnTo>
                    <a:pt x="25" y="75"/>
                  </a:lnTo>
                  <a:lnTo>
                    <a:pt x="22" y="72"/>
                  </a:lnTo>
                  <a:lnTo>
                    <a:pt x="19" y="72"/>
                  </a:lnTo>
                  <a:lnTo>
                    <a:pt x="17" y="72"/>
                  </a:lnTo>
                  <a:lnTo>
                    <a:pt x="14" y="72"/>
                  </a:lnTo>
                  <a:lnTo>
                    <a:pt x="11" y="72"/>
                  </a:lnTo>
                  <a:lnTo>
                    <a:pt x="8" y="71"/>
                  </a:lnTo>
                  <a:lnTo>
                    <a:pt x="10" y="73"/>
                  </a:lnTo>
                  <a:lnTo>
                    <a:pt x="8" y="75"/>
                  </a:lnTo>
                  <a:lnTo>
                    <a:pt x="9" y="78"/>
                  </a:lnTo>
                  <a:lnTo>
                    <a:pt x="11" y="80"/>
                  </a:lnTo>
                  <a:lnTo>
                    <a:pt x="14" y="83"/>
                  </a:lnTo>
                  <a:lnTo>
                    <a:pt x="16" y="85"/>
                  </a:lnTo>
                  <a:lnTo>
                    <a:pt x="18" y="87"/>
                  </a:lnTo>
                  <a:lnTo>
                    <a:pt x="22" y="87"/>
                  </a:lnTo>
                  <a:lnTo>
                    <a:pt x="24" y="87"/>
                  </a:lnTo>
                  <a:lnTo>
                    <a:pt x="27" y="89"/>
                  </a:lnTo>
                  <a:lnTo>
                    <a:pt x="24" y="89"/>
                  </a:lnTo>
                  <a:lnTo>
                    <a:pt x="27" y="90"/>
                  </a:lnTo>
                  <a:lnTo>
                    <a:pt x="30" y="92"/>
                  </a:lnTo>
                  <a:lnTo>
                    <a:pt x="35" y="89"/>
                  </a:lnTo>
                  <a:lnTo>
                    <a:pt x="38" y="90"/>
                  </a:lnTo>
                  <a:lnTo>
                    <a:pt x="41" y="90"/>
                  </a:lnTo>
                  <a:lnTo>
                    <a:pt x="39" y="88"/>
                  </a:lnTo>
                  <a:lnTo>
                    <a:pt x="41" y="86"/>
                  </a:lnTo>
                  <a:lnTo>
                    <a:pt x="43" y="88"/>
                  </a:lnTo>
                  <a:lnTo>
                    <a:pt x="47" y="88"/>
                  </a:lnTo>
                  <a:lnTo>
                    <a:pt x="49" y="86"/>
                  </a:lnTo>
                  <a:lnTo>
                    <a:pt x="48" y="89"/>
                  </a:lnTo>
                  <a:lnTo>
                    <a:pt x="48" y="92"/>
                  </a:lnTo>
                  <a:lnTo>
                    <a:pt x="50" y="94"/>
                  </a:lnTo>
                  <a:lnTo>
                    <a:pt x="53" y="96"/>
                  </a:lnTo>
                  <a:lnTo>
                    <a:pt x="57" y="97"/>
                  </a:lnTo>
                  <a:lnTo>
                    <a:pt x="59" y="97"/>
                  </a:lnTo>
                  <a:lnTo>
                    <a:pt x="62" y="97"/>
                  </a:lnTo>
                  <a:lnTo>
                    <a:pt x="62" y="97"/>
                  </a:lnTo>
                  <a:lnTo>
                    <a:pt x="65" y="97"/>
                  </a:lnTo>
                  <a:lnTo>
                    <a:pt x="62" y="96"/>
                  </a:lnTo>
                  <a:lnTo>
                    <a:pt x="59" y="96"/>
                  </a:lnTo>
                  <a:lnTo>
                    <a:pt x="57" y="96"/>
                  </a:lnTo>
                  <a:lnTo>
                    <a:pt x="59" y="95"/>
                  </a:lnTo>
                  <a:lnTo>
                    <a:pt x="62" y="95"/>
                  </a:lnTo>
                  <a:lnTo>
                    <a:pt x="65" y="95"/>
                  </a:lnTo>
                  <a:lnTo>
                    <a:pt x="68" y="96"/>
                  </a:lnTo>
                  <a:lnTo>
                    <a:pt x="70" y="95"/>
                  </a:lnTo>
                  <a:lnTo>
                    <a:pt x="74" y="97"/>
                  </a:lnTo>
                  <a:lnTo>
                    <a:pt x="76" y="97"/>
                  </a:lnTo>
                  <a:lnTo>
                    <a:pt x="79" y="98"/>
                  </a:lnTo>
                  <a:lnTo>
                    <a:pt x="82" y="98"/>
                  </a:lnTo>
                  <a:lnTo>
                    <a:pt x="85" y="98"/>
                  </a:lnTo>
                  <a:lnTo>
                    <a:pt x="87" y="100"/>
                  </a:lnTo>
                  <a:lnTo>
                    <a:pt x="90" y="98"/>
                  </a:lnTo>
                  <a:lnTo>
                    <a:pt x="92" y="97"/>
                  </a:lnTo>
                  <a:lnTo>
                    <a:pt x="95" y="97"/>
                  </a:lnTo>
                  <a:lnTo>
                    <a:pt x="99" y="100"/>
                  </a:lnTo>
                  <a:lnTo>
                    <a:pt x="101" y="100"/>
                  </a:lnTo>
                  <a:lnTo>
                    <a:pt x="103" y="102"/>
                  </a:lnTo>
                  <a:lnTo>
                    <a:pt x="107" y="102"/>
                  </a:lnTo>
                  <a:lnTo>
                    <a:pt x="109" y="101"/>
                  </a:lnTo>
                  <a:lnTo>
                    <a:pt x="112" y="101"/>
                  </a:lnTo>
                  <a:lnTo>
                    <a:pt x="111" y="98"/>
                  </a:lnTo>
                  <a:lnTo>
                    <a:pt x="110" y="97"/>
                  </a:lnTo>
                  <a:lnTo>
                    <a:pt x="108" y="96"/>
                  </a:lnTo>
                  <a:lnTo>
                    <a:pt x="102" y="94"/>
                  </a:lnTo>
                  <a:lnTo>
                    <a:pt x="99" y="93"/>
                  </a:lnTo>
                  <a:lnTo>
                    <a:pt x="96" y="90"/>
                  </a:lnTo>
                  <a:lnTo>
                    <a:pt x="99" y="92"/>
                  </a:lnTo>
                  <a:lnTo>
                    <a:pt x="102" y="93"/>
                  </a:lnTo>
                  <a:lnTo>
                    <a:pt x="104" y="94"/>
                  </a:lnTo>
                  <a:lnTo>
                    <a:pt x="108" y="95"/>
                  </a:lnTo>
                  <a:lnTo>
                    <a:pt x="110" y="96"/>
                  </a:lnTo>
                  <a:lnTo>
                    <a:pt x="112" y="97"/>
                  </a:lnTo>
                  <a:lnTo>
                    <a:pt x="115" y="98"/>
                  </a:lnTo>
                  <a:lnTo>
                    <a:pt x="118" y="100"/>
                  </a:lnTo>
                  <a:lnTo>
                    <a:pt x="120" y="102"/>
                  </a:lnTo>
                  <a:lnTo>
                    <a:pt x="124" y="104"/>
                  </a:lnTo>
                  <a:lnTo>
                    <a:pt x="126" y="104"/>
                  </a:lnTo>
                  <a:lnTo>
                    <a:pt x="125" y="101"/>
                  </a:lnTo>
                  <a:lnTo>
                    <a:pt x="123" y="100"/>
                  </a:lnTo>
                  <a:lnTo>
                    <a:pt x="120" y="97"/>
                  </a:lnTo>
                  <a:lnTo>
                    <a:pt x="118" y="97"/>
                  </a:lnTo>
                  <a:lnTo>
                    <a:pt x="115" y="96"/>
                  </a:lnTo>
                  <a:lnTo>
                    <a:pt x="118" y="95"/>
                  </a:lnTo>
                  <a:lnTo>
                    <a:pt x="120" y="95"/>
                  </a:lnTo>
                  <a:lnTo>
                    <a:pt x="123" y="96"/>
                  </a:lnTo>
                  <a:lnTo>
                    <a:pt x="126" y="96"/>
                  </a:lnTo>
                  <a:lnTo>
                    <a:pt x="128" y="96"/>
                  </a:lnTo>
                  <a:lnTo>
                    <a:pt x="132" y="97"/>
                  </a:lnTo>
                  <a:lnTo>
                    <a:pt x="132" y="97"/>
                  </a:lnTo>
                  <a:lnTo>
                    <a:pt x="135" y="97"/>
                  </a:lnTo>
                  <a:lnTo>
                    <a:pt x="137" y="100"/>
                  </a:lnTo>
                  <a:lnTo>
                    <a:pt x="139" y="100"/>
                  </a:lnTo>
                  <a:lnTo>
                    <a:pt x="143" y="102"/>
                  </a:lnTo>
                  <a:lnTo>
                    <a:pt x="145" y="101"/>
                  </a:lnTo>
                  <a:lnTo>
                    <a:pt x="151" y="101"/>
                  </a:lnTo>
                  <a:lnTo>
                    <a:pt x="153" y="101"/>
                  </a:lnTo>
                  <a:lnTo>
                    <a:pt x="155" y="98"/>
                  </a:lnTo>
                  <a:lnTo>
                    <a:pt x="155" y="97"/>
                  </a:lnTo>
                  <a:lnTo>
                    <a:pt x="154" y="95"/>
                  </a:lnTo>
                  <a:lnTo>
                    <a:pt x="153" y="92"/>
                  </a:lnTo>
                  <a:lnTo>
                    <a:pt x="151" y="89"/>
                  </a:lnTo>
                  <a:lnTo>
                    <a:pt x="147" y="90"/>
                  </a:lnTo>
                  <a:lnTo>
                    <a:pt x="145" y="88"/>
                  </a:lnTo>
                  <a:lnTo>
                    <a:pt x="145" y="86"/>
                  </a:lnTo>
                  <a:lnTo>
                    <a:pt x="147" y="87"/>
                  </a:lnTo>
                  <a:lnTo>
                    <a:pt x="149" y="85"/>
                  </a:lnTo>
                  <a:lnTo>
                    <a:pt x="149" y="81"/>
                  </a:lnTo>
                  <a:lnTo>
                    <a:pt x="152" y="83"/>
                  </a:lnTo>
                  <a:lnTo>
                    <a:pt x="154" y="84"/>
                  </a:lnTo>
                  <a:lnTo>
                    <a:pt x="152" y="84"/>
                  </a:lnTo>
                  <a:lnTo>
                    <a:pt x="150" y="86"/>
                  </a:lnTo>
                  <a:lnTo>
                    <a:pt x="153" y="86"/>
                  </a:lnTo>
                  <a:lnTo>
                    <a:pt x="155" y="88"/>
                  </a:lnTo>
                  <a:lnTo>
                    <a:pt x="159" y="89"/>
                  </a:lnTo>
                  <a:lnTo>
                    <a:pt x="159" y="92"/>
                  </a:lnTo>
                  <a:lnTo>
                    <a:pt x="162" y="93"/>
                  </a:lnTo>
                  <a:lnTo>
                    <a:pt x="164" y="92"/>
                  </a:lnTo>
                  <a:lnTo>
                    <a:pt x="167" y="92"/>
                  </a:lnTo>
                  <a:lnTo>
                    <a:pt x="169" y="95"/>
                  </a:lnTo>
                  <a:lnTo>
                    <a:pt x="169" y="97"/>
                  </a:lnTo>
                  <a:lnTo>
                    <a:pt x="169" y="101"/>
                  </a:lnTo>
                  <a:lnTo>
                    <a:pt x="169" y="103"/>
                  </a:lnTo>
                  <a:lnTo>
                    <a:pt x="172" y="103"/>
                  </a:lnTo>
                  <a:lnTo>
                    <a:pt x="175" y="101"/>
                  </a:lnTo>
                  <a:lnTo>
                    <a:pt x="178" y="100"/>
                  </a:lnTo>
                  <a:lnTo>
                    <a:pt x="175" y="101"/>
                  </a:lnTo>
                  <a:lnTo>
                    <a:pt x="178" y="101"/>
                  </a:lnTo>
                  <a:lnTo>
                    <a:pt x="180" y="102"/>
                  </a:lnTo>
                  <a:lnTo>
                    <a:pt x="180" y="105"/>
                  </a:lnTo>
                  <a:lnTo>
                    <a:pt x="178" y="105"/>
                  </a:lnTo>
                  <a:lnTo>
                    <a:pt x="178" y="107"/>
                  </a:lnTo>
                  <a:lnTo>
                    <a:pt x="181" y="109"/>
                  </a:lnTo>
                  <a:lnTo>
                    <a:pt x="184" y="107"/>
                  </a:lnTo>
                  <a:lnTo>
                    <a:pt x="187" y="105"/>
                  </a:lnTo>
                  <a:lnTo>
                    <a:pt x="184" y="107"/>
                  </a:lnTo>
                  <a:lnTo>
                    <a:pt x="185" y="110"/>
                  </a:lnTo>
                  <a:lnTo>
                    <a:pt x="188" y="112"/>
                  </a:lnTo>
                  <a:lnTo>
                    <a:pt x="190" y="113"/>
                  </a:lnTo>
                  <a:lnTo>
                    <a:pt x="193" y="113"/>
                  </a:lnTo>
                  <a:lnTo>
                    <a:pt x="196" y="115"/>
                  </a:lnTo>
                  <a:lnTo>
                    <a:pt x="197" y="118"/>
                  </a:lnTo>
                  <a:lnTo>
                    <a:pt x="193" y="121"/>
                  </a:lnTo>
                  <a:lnTo>
                    <a:pt x="189" y="121"/>
                  </a:lnTo>
                  <a:lnTo>
                    <a:pt x="187" y="121"/>
                  </a:lnTo>
                  <a:lnTo>
                    <a:pt x="184" y="121"/>
                  </a:lnTo>
                  <a:lnTo>
                    <a:pt x="184" y="123"/>
                  </a:lnTo>
                  <a:lnTo>
                    <a:pt x="184" y="127"/>
                  </a:lnTo>
                  <a:lnTo>
                    <a:pt x="184" y="129"/>
                  </a:lnTo>
                  <a:lnTo>
                    <a:pt x="186" y="130"/>
                  </a:lnTo>
                  <a:lnTo>
                    <a:pt x="188" y="129"/>
                  </a:lnTo>
                  <a:lnTo>
                    <a:pt x="192" y="128"/>
                  </a:lnTo>
                  <a:lnTo>
                    <a:pt x="194" y="126"/>
                  </a:lnTo>
                  <a:lnTo>
                    <a:pt x="197" y="124"/>
                  </a:lnTo>
                  <a:lnTo>
                    <a:pt x="197" y="122"/>
                  </a:lnTo>
                  <a:lnTo>
                    <a:pt x="201" y="122"/>
                  </a:lnTo>
                  <a:lnTo>
                    <a:pt x="203" y="124"/>
                  </a:lnTo>
                  <a:lnTo>
                    <a:pt x="205" y="122"/>
                  </a:lnTo>
                  <a:lnTo>
                    <a:pt x="207" y="120"/>
                  </a:lnTo>
                  <a:lnTo>
                    <a:pt x="211" y="121"/>
                  </a:lnTo>
                  <a:lnTo>
                    <a:pt x="207" y="121"/>
                  </a:lnTo>
                  <a:lnTo>
                    <a:pt x="210" y="124"/>
                  </a:lnTo>
                  <a:lnTo>
                    <a:pt x="207" y="126"/>
                  </a:lnTo>
                  <a:lnTo>
                    <a:pt x="210" y="127"/>
                  </a:lnTo>
                  <a:lnTo>
                    <a:pt x="211" y="130"/>
                  </a:lnTo>
                  <a:lnTo>
                    <a:pt x="213" y="132"/>
                  </a:lnTo>
                  <a:lnTo>
                    <a:pt x="217" y="134"/>
                  </a:lnTo>
                  <a:lnTo>
                    <a:pt x="219" y="134"/>
                  </a:lnTo>
                  <a:lnTo>
                    <a:pt x="219" y="130"/>
                  </a:lnTo>
                  <a:lnTo>
                    <a:pt x="222" y="129"/>
                  </a:lnTo>
                  <a:lnTo>
                    <a:pt x="222" y="132"/>
                  </a:lnTo>
                  <a:lnTo>
                    <a:pt x="221" y="135"/>
                  </a:lnTo>
                  <a:lnTo>
                    <a:pt x="221" y="137"/>
                  </a:lnTo>
                  <a:lnTo>
                    <a:pt x="224" y="138"/>
                  </a:lnTo>
                  <a:lnTo>
                    <a:pt x="224" y="139"/>
                  </a:lnTo>
                  <a:lnTo>
                    <a:pt x="227" y="139"/>
                  </a:lnTo>
                  <a:lnTo>
                    <a:pt x="229" y="137"/>
                  </a:lnTo>
                  <a:lnTo>
                    <a:pt x="228" y="139"/>
                  </a:lnTo>
                  <a:lnTo>
                    <a:pt x="230" y="140"/>
                  </a:lnTo>
                  <a:lnTo>
                    <a:pt x="234" y="141"/>
                  </a:lnTo>
                  <a:lnTo>
                    <a:pt x="234" y="144"/>
                  </a:lnTo>
                  <a:lnTo>
                    <a:pt x="235" y="146"/>
                  </a:lnTo>
                  <a:lnTo>
                    <a:pt x="236" y="149"/>
                  </a:lnTo>
                  <a:lnTo>
                    <a:pt x="238" y="151"/>
                  </a:lnTo>
                  <a:lnTo>
                    <a:pt x="238" y="153"/>
                  </a:lnTo>
                  <a:lnTo>
                    <a:pt x="240" y="156"/>
                  </a:lnTo>
                  <a:lnTo>
                    <a:pt x="240" y="158"/>
                  </a:lnTo>
                  <a:lnTo>
                    <a:pt x="241" y="161"/>
                  </a:lnTo>
                  <a:lnTo>
                    <a:pt x="243" y="164"/>
                  </a:lnTo>
                  <a:lnTo>
                    <a:pt x="240" y="166"/>
                  </a:lnTo>
                  <a:lnTo>
                    <a:pt x="238" y="167"/>
                  </a:lnTo>
                  <a:lnTo>
                    <a:pt x="236" y="170"/>
                  </a:lnTo>
                  <a:lnTo>
                    <a:pt x="234" y="172"/>
                  </a:lnTo>
                  <a:lnTo>
                    <a:pt x="234" y="174"/>
                  </a:lnTo>
                  <a:lnTo>
                    <a:pt x="236" y="175"/>
                  </a:lnTo>
                  <a:lnTo>
                    <a:pt x="241" y="175"/>
                  </a:lnTo>
                  <a:lnTo>
                    <a:pt x="247" y="177"/>
                  </a:lnTo>
                  <a:lnTo>
                    <a:pt x="249" y="177"/>
                  </a:lnTo>
                  <a:lnTo>
                    <a:pt x="253" y="178"/>
                  </a:lnTo>
                  <a:lnTo>
                    <a:pt x="255" y="177"/>
                  </a:lnTo>
                  <a:lnTo>
                    <a:pt x="256" y="174"/>
                  </a:lnTo>
                  <a:lnTo>
                    <a:pt x="258" y="171"/>
                  </a:lnTo>
                  <a:lnTo>
                    <a:pt x="258" y="169"/>
                  </a:lnTo>
                  <a:lnTo>
                    <a:pt x="261" y="170"/>
                  </a:lnTo>
                  <a:lnTo>
                    <a:pt x="264" y="171"/>
                  </a:lnTo>
                  <a:lnTo>
                    <a:pt x="265" y="173"/>
                  </a:lnTo>
                  <a:lnTo>
                    <a:pt x="269" y="174"/>
                  </a:lnTo>
                  <a:lnTo>
                    <a:pt x="271" y="175"/>
                  </a:lnTo>
                  <a:lnTo>
                    <a:pt x="274" y="175"/>
                  </a:lnTo>
                  <a:lnTo>
                    <a:pt x="277" y="177"/>
                  </a:lnTo>
                  <a:lnTo>
                    <a:pt x="279" y="178"/>
                  </a:lnTo>
                  <a:lnTo>
                    <a:pt x="282" y="180"/>
                  </a:lnTo>
                  <a:lnTo>
                    <a:pt x="284" y="179"/>
                  </a:lnTo>
                  <a:lnTo>
                    <a:pt x="282" y="180"/>
                  </a:lnTo>
                  <a:lnTo>
                    <a:pt x="279" y="182"/>
                  </a:lnTo>
                  <a:lnTo>
                    <a:pt x="282" y="181"/>
                  </a:lnTo>
                  <a:lnTo>
                    <a:pt x="284" y="183"/>
                  </a:lnTo>
                  <a:lnTo>
                    <a:pt x="282" y="184"/>
                  </a:lnTo>
                  <a:lnTo>
                    <a:pt x="279" y="187"/>
                  </a:lnTo>
                  <a:lnTo>
                    <a:pt x="277" y="187"/>
                  </a:lnTo>
                  <a:lnTo>
                    <a:pt x="274" y="186"/>
                  </a:lnTo>
                  <a:lnTo>
                    <a:pt x="274" y="186"/>
                  </a:lnTo>
                  <a:lnTo>
                    <a:pt x="271" y="187"/>
                  </a:lnTo>
                  <a:lnTo>
                    <a:pt x="269" y="187"/>
                  </a:lnTo>
                  <a:lnTo>
                    <a:pt x="265" y="184"/>
                  </a:lnTo>
                  <a:lnTo>
                    <a:pt x="264" y="187"/>
                  </a:lnTo>
                  <a:lnTo>
                    <a:pt x="262" y="189"/>
                  </a:lnTo>
                  <a:lnTo>
                    <a:pt x="260" y="191"/>
                  </a:lnTo>
                  <a:lnTo>
                    <a:pt x="256" y="192"/>
                  </a:lnTo>
                  <a:lnTo>
                    <a:pt x="256" y="191"/>
                  </a:lnTo>
                  <a:lnTo>
                    <a:pt x="260" y="190"/>
                  </a:lnTo>
                  <a:lnTo>
                    <a:pt x="256" y="190"/>
                  </a:lnTo>
                  <a:lnTo>
                    <a:pt x="258" y="187"/>
                  </a:lnTo>
                  <a:lnTo>
                    <a:pt x="258" y="184"/>
                  </a:lnTo>
                  <a:lnTo>
                    <a:pt x="257" y="182"/>
                  </a:lnTo>
                  <a:lnTo>
                    <a:pt x="256" y="179"/>
                  </a:lnTo>
                  <a:lnTo>
                    <a:pt x="253" y="179"/>
                  </a:lnTo>
                  <a:lnTo>
                    <a:pt x="251" y="178"/>
                  </a:lnTo>
                  <a:lnTo>
                    <a:pt x="247" y="177"/>
                  </a:lnTo>
                  <a:lnTo>
                    <a:pt x="245" y="177"/>
                  </a:lnTo>
                  <a:lnTo>
                    <a:pt x="241" y="177"/>
                  </a:lnTo>
                  <a:lnTo>
                    <a:pt x="239" y="177"/>
                  </a:lnTo>
                  <a:lnTo>
                    <a:pt x="237" y="177"/>
                  </a:lnTo>
                  <a:lnTo>
                    <a:pt x="234" y="175"/>
                  </a:lnTo>
                  <a:lnTo>
                    <a:pt x="231" y="175"/>
                  </a:lnTo>
                  <a:lnTo>
                    <a:pt x="228" y="177"/>
                  </a:lnTo>
                  <a:lnTo>
                    <a:pt x="227" y="180"/>
                  </a:lnTo>
                  <a:lnTo>
                    <a:pt x="223" y="181"/>
                  </a:lnTo>
                  <a:lnTo>
                    <a:pt x="218" y="184"/>
                  </a:lnTo>
                  <a:lnTo>
                    <a:pt x="215" y="187"/>
                  </a:lnTo>
                  <a:lnTo>
                    <a:pt x="213" y="189"/>
                  </a:lnTo>
                  <a:lnTo>
                    <a:pt x="215" y="191"/>
                  </a:lnTo>
                  <a:lnTo>
                    <a:pt x="218" y="194"/>
                  </a:lnTo>
                  <a:lnTo>
                    <a:pt x="221" y="196"/>
                  </a:lnTo>
                  <a:lnTo>
                    <a:pt x="223" y="198"/>
                  </a:lnTo>
                  <a:lnTo>
                    <a:pt x="224" y="201"/>
                  </a:lnTo>
                  <a:lnTo>
                    <a:pt x="224" y="204"/>
                  </a:lnTo>
                  <a:lnTo>
                    <a:pt x="222" y="203"/>
                  </a:lnTo>
                  <a:lnTo>
                    <a:pt x="219" y="203"/>
                  </a:lnTo>
                  <a:lnTo>
                    <a:pt x="217" y="204"/>
                  </a:lnTo>
                  <a:lnTo>
                    <a:pt x="213" y="206"/>
                  </a:lnTo>
                  <a:lnTo>
                    <a:pt x="211" y="207"/>
                  </a:lnTo>
                  <a:lnTo>
                    <a:pt x="209" y="206"/>
                  </a:lnTo>
                  <a:lnTo>
                    <a:pt x="205" y="206"/>
                  </a:lnTo>
                  <a:lnTo>
                    <a:pt x="204" y="206"/>
                  </a:lnTo>
                  <a:lnTo>
                    <a:pt x="203" y="208"/>
                  </a:lnTo>
                  <a:lnTo>
                    <a:pt x="201" y="208"/>
                  </a:lnTo>
                  <a:lnTo>
                    <a:pt x="197" y="208"/>
                  </a:lnTo>
                  <a:lnTo>
                    <a:pt x="195" y="209"/>
                  </a:lnTo>
                  <a:lnTo>
                    <a:pt x="197" y="211"/>
                  </a:lnTo>
                  <a:lnTo>
                    <a:pt x="201" y="213"/>
                  </a:lnTo>
                  <a:lnTo>
                    <a:pt x="203" y="213"/>
                  </a:lnTo>
                  <a:lnTo>
                    <a:pt x="202" y="215"/>
                  </a:lnTo>
                  <a:lnTo>
                    <a:pt x="200" y="217"/>
                  </a:lnTo>
                  <a:lnTo>
                    <a:pt x="200" y="218"/>
                  </a:lnTo>
                  <a:lnTo>
                    <a:pt x="197" y="215"/>
                  </a:lnTo>
                  <a:lnTo>
                    <a:pt x="200" y="214"/>
                  </a:lnTo>
                  <a:lnTo>
                    <a:pt x="198" y="212"/>
                  </a:lnTo>
                  <a:lnTo>
                    <a:pt x="196" y="211"/>
                  </a:lnTo>
                  <a:lnTo>
                    <a:pt x="193" y="208"/>
                  </a:lnTo>
                  <a:lnTo>
                    <a:pt x="190" y="208"/>
                  </a:lnTo>
                  <a:lnTo>
                    <a:pt x="187" y="207"/>
                  </a:lnTo>
                  <a:lnTo>
                    <a:pt x="185" y="206"/>
                  </a:lnTo>
                  <a:lnTo>
                    <a:pt x="183" y="205"/>
                  </a:lnTo>
                  <a:lnTo>
                    <a:pt x="179" y="205"/>
                  </a:lnTo>
                  <a:lnTo>
                    <a:pt x="177" y="205"/>
                  </a:lnTo>
                  <a:lnTo>
                    <a:pt x="176" y="204"/>
                  </a:lnTo>
                  <a:lnTo>
                    <a:pt x="173" y="205"/>
                  </a:lnTo>
                  <a:lnTo>
                    <a:pt x="171" y="208"/>
                  </a:lnTo>
                  <a:lnTo>
                    <a:pt x="173" y="211"/>
                  </a:lnTo>
                  <a:lnTo>
                    <a:pt x="168" y="212"/>
                  </a:lnTo>
                  <a:lnTo>
                    <a:pt x="166" y="213"/>
                  </a:lnTo>
                  <a:lnTo>
                    <a:pt x="162" y="215"/>
                  </a:lnTo>
                  <a:lnTo>
                    <a:pt x="163" y="217"/>
                  </a:lnTo>
                  <a:lnTo>
                    <a:pt x="161" y="221"/>
                  </a:lnTo>
                  <a:lnTo>
                    <a:pt x="162" y="223"/>
                  </a:lnTo>
                  <a:lnTo>
                    <a:pt x="164" y="225"/>
                  </a:lnTo>
                  <a:lnTo>
                    <a:pt x="167" y="229"/>
                  </a:lnTo>
                  <a:lnTo>
                    <a:pt x="169" y="228"/>
                  </a:lnTo>
                  <a:lnTo>
                    <a:pt x="172" y="230"/>
                  </a:lnTo>
                  <a:lnTo>
                    <a:pt x="175" y="231"/>
                  </a:lnTo>
                  <a:lnTo>
                    <a:pt x="177" y="231"/>
                  </a:lnTo>
                  <a:lnTo>
                    <a:pt x="180" y="231"/>
                  </a:lnTo>
                  <a:lnTo>
                    <a:pt x="183" y="230"/>
                  </a:lnTo>
                  <a:lnTo>
                    <a:pt x="186" y="230"/>
                  </a:lnTo>
                  <a:lnTo>
                    <a:pt x="188" y="230"/>
                  </a:lnTo>
                  <a:lnTo>
                    <a:pt x="190" y="229"/>
                  </a:lnTo>
                  <a:lnTo>
                    <a:pt x="194" y="228"/>
                  </a:lnTo>
                  <a:lnTo>
                    <a:pt x="196" y="226"/>
                  </a:lnTo>
                  <a:lnTo>
                    <a:pt x="195" y="224"/>
                  </a:lnTo>
                  <a:lnTo>
                    <a:pt x="197" y="224"/>
                  </a:lnTo>
                  <a:lnTo>
                    <a:pt x="201" y="225"/>
                  </a:lnTo>
                  <a:lnTo>
                    <a:pt x="203" y="226"/>
                  </a:lnTo>
                  <a:lnTo>
                    <a:pt x="205" y="226"/>
                  </a:lnTo>
                  <a:lnTo>
                    <a:pt x="209" y="228"/>
                  </a:lnTo>
                  <a:lnTo>
                    <a:pt x="211" y="226"/>
                  </a:lnTo>
                  <a:lnTo>
                    <a:pt x="213" y="224"/>
                  </a:lnTo>
                  <a:lnTo>
                    <a:pt x="210" y="222"/>
                  </a:lnTo>
                  <a:lnTo>
                    <a:pt x="207" y="220"/>
                  </a:lnTo>
                  <a:lnTo>
                    <a:pt x="210" y="217"/>
                  </a:lnTo>
                  <a:lnTo>
                    <a:pt x="210" y="220"/>
                  </a:lnTo>
                  <a:lnTo>
                    <a:pt x="212" y="223"/>
                  </a:lnTo>
                  <a:lnTo>
                    <a:pt x="214" y="222"/>
                  </a:lnTo>
                  <a:lnTo>
                    <a:pt x="218" y="222"/>
                  </a:lnTo>
                  <a:lnTo>
                    <a:pt x="218" y="224"/>
                  </a:lnTo>
                  <a:lnTo>
                    <a:pt x="220" y="225"/>
                  </a:lnTo>
                  <a:lnTo>
                    <a:pt x="218" y="226"/>
                  </a:lnTo>
                  <a:lnTo>
                    <a:pt x="218" y="229"/>
                  </a:lnTo>
                  <a:lnTo>
                    <a:pt x="220" y="226"/>
                  </a:lnTo>
                  <a:lnTo>
                    <a:pt x="220" y="223"/>
                  </a:lnTo>
                  <a:lnTo>
                    <a:pt x="223" y="224"/>
                  </a:lnTo>
                  <a:lnTo>
                    <a:pt x="226" y="223"/>
                  </a:lnTo>
                  <a:lnTo>
                    <a:pt x="228" y="225"/>
                  </a:lnTo>
                  <a:lnTo>
                    <a:pt x="229" y="222"/>
                  </a:lnTo>
                  <a:lnTo>
                    <a:pt x="229" y="224"/>
                  </a:lnTo>
                  <a:lnTo>
                    <a:pt x="227" y="226"/>
                  </a:lnTo>
                  <a:lnTo>
                    <a:pt x="229" y="229"/>
                  </a:lnTo>
                  <a:lnTo>
                    <a:pt x="231" y="231"/>
                  </a:lnTo>
                  <a:lnTo>
                    <a:pt x="235" y="233"/>
                  </a:lnTo>
                  <a:lnTo>
                    <a:pt x="235" y="235"/>
                  </a:lnTo>
                  <a:lnTo>
                    <a:pt x="238" y="237"/>
                  </a:lnTo>
                  <a:lnTo>
                    <a:pt x="238" y="239"/>
                  </a:lnTo>
                  <a:lnTo>
                    <a:pt x="240" y="240"/>
                  </a:lnTo>
                  <a:lnTo>
                    <a:pt x="244" y="239"/>
                  </a:lnTo>
                  <a:lnTo>
                    <a:pt x="241" y="241"/>
                  </a:lnTo>
                  <a:lnTo>
                    <a:pt x="244" y="242"/>
                  </a:lnTo>
                  <a:lnTo>
                    <a:pt x="247" y="242"/>
                  </a:lnTo>
                  <a:lnTo>
                    <a:pt x="249" y="242"/>
                  </a:lnTo>
                  <a:lnTo>
                    <a:pt x="253" y="243"/>
                  </a:lnTo>
                  <a:lnTo>
                    <a:pt x="255" y="244"/>
                  </a:lnTo>
                  <a:lnTo>
                    <a:pt x="257" y="244"/>
                  </a:lnTo>
                  <a:lnTo>
                    <a:pt x="255" y="248"/>
                  </a:lnTo>
                  <a:lnTo>
                    <a:pt x="252" y="249"/>
                  </a:lnTo>
                  <a:lnTo>
                    <a:pt x="249" y="249"/>
                  </a:lnTo>
                  <a:lnTo>
                    <a:pt x="247" y="248"/>
                  </a:lnTo>
                  <a:lnTo>
                    <a:pt x="249" y="250"/>
                  </a:lnTo>
                  <a:lnTo>
                    <a:pt x="249" y="252"/>
                  </a:lnTo>
                  <a:lnTo>
                    <a:pt x="253" y="255"/>
                  </a:lnTo>
                  <a:lnTo>
                    <a:pt x="255" y="256"/>
                  </a:lnTo>
                  <a:lnTo>
                    <a:pt x="257" y="257"/>
                  </a:lnTo>
                  <a:lnTo>
                    <a:pt x="257" y="257"/>
                  </a:lnTo>
                  <a:lnTo>
                    <a:pt x="261" y="256"/>
                  </a:lnTo>
                  <a:lnTo>
                    <a:pt x="261" y="258"/>
                  </a:lnTo>
                  <a:lnTo>
                    <a:pt x="264" y="260"/>
                  </a:lnTo>
                  <a:lnTo>
                    <a:pt x="266" y="260"/>
                  </a:lnTo>
                  <a:lnTo>
                    <a:pt x="270" y="263"/>
                  </a:lnTo>
                  <a:lnTo>
                    <a:pt x="272" y="264"/>
                  </a:lnTo>
                  <a:lnTo>
                    <a:pt x="274" y="263"/>
                  </a:lnTo>
                  <a:lnTo>
                    <a:pt x="277" y="264"/>
                  </a:lnTo>
                  <a:lnTo>
                    <a:pt x="279" y="263"/>
                  </a:lnTo>
                  <a:lnTo>
                    <a:pt x="282" y="263"/>
                  </a:lnTo>
                  <a:lnTo>
                    <a:pt x="280" y="266"/>
                  </a:lnTo>
                  <a:lnTo>
                    <a:pt x="283" y="268"/>
                  </a:lnTo>
                  <a:lnTo>
                    <a:pt x="286" y="271"/>
                  </a:lnTo>
                  <a:lnTo>
                    <a:pt x="288" y="271"/>
                  </a:lnTo>
                  <a:lnTo>
                    <a:pt x="291" y="273"/>
                  </a:lnTo>
                  <a:lnTo>
                    <a:pt x="294" y="274"/>
                  </a:lnTo>
                  <a:lnTo>
                    <a:pt x="296" y="274"/>
                  </a:lnTo>
                  <a:lnTo>
                    <a:pt x="301" y="275"/>
                  </a:lnTo>
                  <a:lnTo>
                    <a:pt x="305" y="276"/>
                  </a:lnTo>
                  <a:lnTo>
                    <a:pt x="307" y="275"/>
                  </a:lnTo>
                  <a:lnTo>
                    <a:pt x="309" y="276"/>
                  </a:lnTo>
                  <a:lnTo>
                    <a:pt x="313" y="277"/>
                  </a:lnTo>
                  <a:lnTo>
                    <a:pt x="315" y="278"/>
                  </a:lnTo>
                  <a:lnTo>
                    <a:pt x="318" y="278"/>
                  </a:lnTo>
                  <a:lnTo>
                    <a:pt x="321" y="281"/>
                  </a:lnTo>
                  <a:lnTo>
                    <a:pt x="323" y="282"/>
                  </a:lnTo>
                  <a:lnTo>
                    <a:pt x="324" y="282"/>
                  </a:lnTo>
                  <a:lnTo>
                    <a:pt x="328" y="282"/>
                  </a:lnTo>
                  <a:lnTo>
                    <a:pt x="328" y="280"/>
                  </a:lnTo>
                  <a:lnTo>
                    <a:pt x="326" y="276"/>
                  </a:lnTo>
                  <a:lnTo>
                    <a:pt x="329" y="275"/>
                  </a:lnTo>
                  <a:lnTo>
                    <a:pt x="326" y="274"/>
                  </a:lnTo>
                  <a:lnTo>
                    <a:pt x="323" y="273"/>
                  </a:lnTo>
                  <a:lnTo>
                    <a:pt x="323" y="271"/>
                  </a:lnTo>
                  <a:lnTo>
                    <a:pt x="322" y="271"/>
                  </a:lnTo>
                  <a:lnTo>
                    <a:pt x="322" y="268"/>
                  </a:lnTo>
                  <a:lnTo>
                    <a:pt x="318" y="266"/>
                  </a:lnTo>
                  <a:lnTo>
                    <a:pt x="316" y="265"/>
                  </a:lnTo>
                  <a:lnTo>
                    <a:pt x="314" y="263"/>
                  </a:lnTo>
                  <a:lnTo>
                    <a:pt x="312" y="261"/>
                  </a:lnTo>
                  <a:lnTo>
                    <a:pt x="309" y="258"/>
                  </a:lnTo>
                  <a:lnTo>
                    <a:pt x="306" y="259"/>
                  </a:lnTo>
                  <a:lnTo>
                    <a:pt x="307" y="257"/>
                  </a:lnTo>
                  <a:lnTo>
                    <a:pt x="305" y="259"/>
                  </a:lnTo>
                  <a:lnTo>
                    <a:pt x="307" y="256"/>
                  </a:lnTo>
                  <a:lnTo>
                    <a:pt x="305" y="256"/>
                  </a:lnTo>
                  <a:lnTo>
                    <a:pt x="301" y="255"/>
                  </a:lnTo>
                  <a:lnTo>
                    <a:pt x="299" y="254"/>
                  </a:lnTo>
                  <a:lnTo>
                    <a:pt x="297" y="251"/>
                  </a:lnTo>
                  <a:lnTo>
                    <a:pt x="296" y="248"/>
                  </a:lnTo>
                  <a:lnTo>
                    <a:pt x="292" y="247"/>
                  </a:lnTo>
                  <a:lnTo>
                    <a:pt x="290" y="244"/>
                  </a:lnTo>
                  <a:lnTo>
                    <a:pt x="288" y="242"/>
                  </a:lnTo>
                  <a:lnTo>
                    <a:pt x="291" y="242"/>
                  </a:lnTo>
                  <a:lnTo>
                    <a:pt x="294" y="242"/>
                  </a:lnTo>
                  <a:lnTo>
                    <a:pt x="296" y="243"/>
                  </a:lnTo>
                  <a:lnTo>
                    <a:pt x="299" y="244"/>
                  </a:lnTo>
                  <a:lnTo>
                    <a:pt x="301" y="247"/>
                  </a:lnTo>
                  <a:lnTo>
                    <a:pt x="304" y="249"/>
                  </a:lnTo>
                  <a:lnTo>
                    <a:pt x="305" y="247"/>
                  </a:lnTo>
                  <a:lnTo>
                    <a:pt x="304" y="243"/>
                  </a:lnTo>
                  <a:lnTo>
                    <a:pt x="306" y="246"/>
                  </a:lnTo>
                  <a:lnTo>
                    <a:pt x="308" y="249"/>
                  </a:lnTo>
                  <a:lnTo>
                    <a:pt x="312" y="250"/>
                  </a:lnTo>
                  <a:lnTo>
                    <a:pt x="314" y="252"/>
                  </a:lnTo>
                  <a:lnTo>
                    <a:pt x="315" y="249"/>
                  </a:lnTo>
                  <a:lnTo>
                    <a:pt x="315" y="252"/>
                  </a:lnTo>
                  <a:lnTo>
                    <a:pt x="316" y="255"/>
                  </a:lnTo>
                  <a:lnTo>
                    <a:pt x="320" y="257"/>
                  </a:lnTo>
                  <a:lnTo>
                    <a:pt x="321" y="255"/>
                  </a:lnTo>
                  <a:lnTo>
                    <a:pt x="318" y="251"/>
                  </a:lnTo>
                  <a:lnTo>
                    <a:pt x="321" y="254"/>
                  </a:lnTo>
                  <a:lnTo>
                    <a:pt x="322" y="257"/>
                  </a:lnTo>
                  <a:lnTo>
                    <a:pt x="325" y="258"/>
                  </a:lnTo>
                  <a:lnTo>
                    <a:pt x="326" y="259"/>
                  </a:lnTo>
                  <a:lnTo>
                    <a:pt x="326" y="257"/>
                  </a:lnTo>
                  <a:lnTo>
                    <a:pt x="329" y="258"/>
                  </a:lnTo>
                  <a:lnTo>
                    <a:pt x="331" y="260"/>
                  </a:lnTo>
                  <a:lnTo>
                    <a:pt x="332" y="258"/>
                  </a:lnTo>
                  <a:lnTo>
                    <a:pt x="333" y="260"/>
                  </a:lnTo>
                  <a:lnTo>
                    <a:pt x="337" y="261"/>
                  </a:lnTo>
                  <a:lnTo>
                    <a:pt x="339" y="261"/>
                  </a:lnTo>
                  <a:lnTo>
                    <a:pt x="338" y="264"/>
                  </a:lnTo>
                  <a:lnTo>
                    <a:pt x="340" y="267"/>
                  </a:lnTo>
                  <a:lnTo>
                    <a:pt x="342" y="266"/>
                  </a:lnTo>
                  <a:lnTo>
                    <a:pt x="342" y="264"/>
                  </a:lnTo>
                  <a:lnTo>
                    <a:pt x="340" y="261"/>
                  </a:lnTo>
                  <a:lnTo>
                    <a:pt x="339" y="258"/>
                  </a:lnTo>
                  <a:lnTo>
                    <a:pt x="341" y="259"/>
                  </a:lnTo>
                  <a:lnTo>
                    <a:pt x="345" y="260"/>
                  </a:lnTo>
                  <a:lnTo>
                    <a:pt x="347" y="260"/>
                  </a:lnTo>
                  <a:lnTo>
                    <a:pt x="346" y="257"/>
                  </a:lnTo>
                  <a:lnTo>
                    <a:pt x="345" y="255"/>
                  </a:lnTo>
                  <a:lnTo>
                    <a:pt x="341" y="252"/>
                  </a:lnTo>
                  <a:lnTo>
                    <a:pt x="345" y="252"/>
                  </a:lnTo>
                  <a:lnTo>
                    <a:pt x="343" y="250"/>
                  </a:lnTo>
                  <a:lnTo>
                    <a:pt x="341" y="248"/>
                  </a:lnTo>
                  <a:lnTo>
                    <a:pt x="342" y="244"/>
                  </a:lnTo>
                  <a:lnTo>
                    <a:pt x="340" y="242"/>
                  </a:lnTo>
                  <a:lnTo>
                    <a:pt x="342" y="243"/>
                  </a:lnTo>
                  <a:lnTo>
                    <a:pt x="345" y="247"/>
                  </a:lnTo>
                  <a:lnTo>
                    <a:pt x="346" y="249"/>
                  </a:lnTo>
                  <a:lnTo>
                    <a:pt x="347" y="252"/>
                  </a:lnTo>
                  <a:lnTo>
                    <a:pt x="349" y="252"/>
                  </a:lnTo>
                  <a:lnTo>
                    <a:pt x="349" y="251"/>
                  </a:lnTo>
                  <a:lnTo>
                    <a:pt x="349" y="249"/>
                  </a:lnTo>
                  <a:lnTo>
                    <a:pt x="349" y="246"/>
                  </a:lnTo>
                  <a:lnTo>
                    <a:pt x="349" y="243"/>
                  </a:lnTo>
                  <a:lnTo>
                    <a:pt x="347" y="242"/>
                  </a:lnTo>
                  <a:lnTo>
                    <a:pt x="343" y="241"/>
                  </a:lnTo>
                  <a:lnTo>
                    <a:pt x="345" y="239"/>
                  </a:lnTo>
                  <a:lnTo>
                    <a:pt x="347" y="237"/>
                  </a:lnTo>
                  <a:lnTo>
                    <a:pt x="345" y="237"/>
                  </a:lnTo>
                  <a:lnTo>
                    <a:pt x="341" y="235"/>
                  </a:lnTo>
                  <a:lnTo>
                    <a:pt x="340" y="233"/>
                  </a:lnTo>
                  <a:lnTo>
                    <a:pt x="338" y="233"/>
                  </a:lnTo>
                  <a:lnTo>
                    <a:pt x="338" y="231"/>
                  </a:lnTo>
                  <a:lnTo>
                    <a:pt x="335" y="231"/>
                  </a:lnTo>
                  <a:lnTo>
                    <a:pt x="338" y="230"/>
                  </a:lnTo>
                  <a:lnTo>
                    <a:pt x="340" y="228"/>
                  </a:lnTo>
                  <a:lnTo>
                    <a:pt x="340" y="225"/>
                  </a:lnTo>
                  <a:lnTo>
                    <a:pt x="337" y="226"/>
                  </a:lnTo>
                  <a:lnTo>
                    <a:pt x="334" y="225"/>
                  </a:lnTo>
                  <a:lnTo>
                    <a:pt x="334" y="223"/>
                  </a:lnTo>
                  <a:lnTo>
                    <a:pt x="334" y="220"/>
                  </a:lnTo>
                  <a:lnTo>
                    <a:pt x="332" y="218"/>
                  </a:lnTo>
                  <a:lnTo>
                    <a:pt x="330" y="217"/>
                  </a:lnTo>
                  <a:lnTo>
                    <a:pt x="331" y="220"/>
                  </a:lnTo>
                  <a:lnTo>
                    <a:pt x="331" y="222"/>
                  </a:lnTo>
                  <a:lnTo>
                    <a:pt x="330" y="220"/>
                  </a:lnTo>
                  <a:lnTo>
                    <a:pt x="326" y="221"/>
                  </a:lnTo>
                  <a:lnTo>
                    <a:pt x="326" y="222"/>
                  </a:lnTo>
                  <a:lnTo>
                    <a:pt x="326" y="218"/>
                  </a:lnTo>
                  <a:lnTo>
                    <a:pt x="324" y="216"/>
                  </a:lnTo>
                  <a:lnTo>
                    <a:pt x="322" y="215"/>
                  </a:lnTo>
                  <a:lnTo>
                    <a:pt x="320" y="217"/>
                  </a:lnTo>
                  <a:lnTo>
                    <a:pt x="318" y="215"/>
                  </a:lnTo>
                  <a:lnTo>
                    <a:pt x="316" y="213"/>
                  </a:lnTo>
                  <a:lnTo>
                    <a:pt x="318" y="211"/>
                  </a:lnTo>
                  <a:lnTo>
                    <a:pt x="316" y="213"/>
                  </a:lnTo>
                  <a:lnTo>
                    <a:pt x="316" y="211"/>
                  </a:lnTo>
                  <a:lnTo>
                    <a:pt x="313" y="209"/>
                  </a:lnTo>
                  <a:lnTo>
                    <a:pt x="312" y="206"/>
                  </a:lnTo>
                  <a:lnTo>
                    <a:pt x="314" y="205"/>
                  </a:lnTo>
                  <a:lnTo>
                    <a:pt x="314" y="204"/>
                  </a:lnTo>
                  <a:lnTo>
                    <a:pt x="312" y="204"/>
                  </a:lnTo>
                  <a:lnTo>
                    <a:pt x="311" y="201"/>
                  </a:lnTo>
                  <a:lnTo>
                    <a:pt x="308" y="200"/>
                  </a:lnTo>
                  <a:lnTo>
                    <a:pt x="305" y="200"/>
                  </a:lnTo>
                  <a:lnTo>
                    <a:pt x="303" y="201"/>
                  </a:lnTo>
                  <a:lnTo>
                    <a:pt x="303" y="199"/>
                  </a:lnTo>
                  <a:lnTo>
                    <a:pt x="304" y="197"/>
                  </a:lnTo>
                  <a:lnTo>
                    <a:pt x="300" y="197"/>
                  </a:lnTo>
                  <a:lnTo>
                    <a:pt x="299" y="195"/>
                  </a:lnTo>
                  <a:lnTo>
                    <a:pt x="297" y="191"/>
                  </a:lnTo>
                  <a:lnTo>
                    <a:pt x="299" y="192"/>
                  </a:lnTo>
                  <a:lnTo>
                    <a:pt x="300" y="190"/>
                  </a:lnTo>
                  <a:lnTo>
                    <a:pt x="297" y="190"/>
                  </a:lnTo>
                  <a:lnTo>
                    <a:pt x="295" y="188"/>
                  </a:lnTo>
                  <a:lnTo>
                    <a:pt x="292" y="188"/>
                  </a:lnTo>
                  <a:lnTo>
                    <a:pt x="295" y="187"/>
                  </a:lnTo>
                  <a:lnTo>
                    <a:pt x="297" y="187"/>
                  </a:lnTo>
                  <a:lnTo>
                    <a:pt x="300" y="189"/>
                  </a:lnTo>
                  <a:lnTo>
                    <a:pt x="301" y="191"/>
                  </a:lnTo>
                  <a:lnTo>
                    <a:pt x="304" y="195"/>
                  </a:lnTo>
                  <a:lnTo>
                    <a:pt x="306" y="194"/>
                  </a:lnTo>
                  <a:lnTo>
                    <a:pt x="309" y="194"/>
                  </a:lnTo>
                  <a:lnTo>
                    <a:pt x="312" y="194"/>
                  </a:lnTo>
                  <a:lnTo>
                    <a:pt x="313" y="191"/>
                  </a:lnTo>
                  <a:lnTo>
                    <a:pt x="311" y="189"/>
                  </a:lnTo>
                  <a:lnTo>
                    <a:pt x="307" y="188"/>
                  </a:lnTo>
                  <a:lnTo>
                    <a:pt x="305" y="184"/>
                  </a:lnTo>
                  <a:lnTo>
                    <a:pt x="304" y="182"/>
                  </a:lnTo>
                  <a:lnTo>
                    <a:pt x="306" y="182"/>
                  </a:lnTo>
                  <a:lnTo>
                    <a:pt x="307" y="182"/>
                  </a:lnTo>
                  <a:lnTo>
                    <a:pt x="309" y="186"/>
                  </a:lnTo>
                  <a:lnTo>
                    <a:pt x="313" y="184"/>
                  </a:lnTo>
                  <a:lnTo>
                    <a:pt x="309" y="182"/>
                  </a:lnTo>
                  <a:lnTo>
                    <a:pt x="313" y="183"/>
                  </a:lnTo>
                  <a:lnTo>
                    <a:pt x="312" y="181"/>
                  </a:lnTo>
                  <a:lnTo>
                    <a:pt x="309" y="179"/>
                  </a:lnTo>
                  <a:lnTo>
                    <a:pt x="306" y="179"/>
                  </a:lnTo>
                  <a:lnTo>
                    <a:pt x="309" y="179"/>
                  </a:lnTo>
                  <a:lnTo>
                    <a:pt x="312" y="179"/>
                  </a:lnTo>
                  <a:lnTo>
                    <a:pt x="314" y="180"/>
                  </a:lnTo>
                  <a:lnTo>
                    <a:pt x="314" y="178"/>
                  </a:lnTo>
                  <a:lnTo>
                    <a:pt x="316" y="179"/>
                  </a:lnTo>
                  <a:lnTo>
                    <a:pt x="318" y="181"/>
                  </a:lnTo>
                  <a:lnTo>
                    <a:pt x="321" y="183"/>
                  </a:lnTo>
                  <a:lnTo>
                    <a:pt x="322" y="186"/>
                  </a:lnTo>
                  <a:lnTo>
                    <a:pt x="324" y="186"/>
                  </a:lnTo>
                  <a:lnTo>
                    <a:pt x="326" y="186"/>
                  </a:lnTo>
                  <a:lnTo>
                    <a:pt x="326" y="188"/>
                  </a:lnTo>
                  <a:lnTo>
                    <a:pt x="329" y="189"/>
                  </a:lnTo>
                  <a:lnTo>
                    <a:pt x="332" y="188"/>
                  </a:lnTo>
                  <a:lnTo>
                    <a:pt x="334" y="186"/>
                  </a:lnTo>
                  <a:lnTo>
                    <a:pt x="335" y="183"/>
                  </a:lnTo>
                  <a:lnTo>
                    <a:pt x="335" y="183"/>
                  </a:lnTo>
                  <a:lnTo>
                    <a:pt x="335" y="186"/>
                  </a:lnTo>
                  <a:lnTo>
                    <a:pt x="333" y="188"/>
                  </a:lnTo>
                  <a:lnTo>
                    <a:pt x="330" y="190"/>
                  </a:lnTo>
                  <a:lnTo>
                    <a:pt x="330" y="192"/>
                  </a:lnTo>
                  <a:lnTo>
                    <a:pt x="331" y="192"/>
                  </a:lnTo>
                  <a:lnTo>
                    <a:pt x="333" y="192"/>
                  </a:lnTo>
                  <a:lnTo>
                    <a:pt x="335" y="192"/>
                  </a:lnTo>
                  <a:lnTo>
                    <a:pt x="339" y="191"/>
                  </a:lnTo>
                  <a:lnTo>
                    <a:pt x="341" y="191"/>
                  </a:lnTo>
                  <a:lnTo>
                    <a:pt x="345" y="189"/>
                  </a:lnTo>
                  <a:lnTo>
                    <a:pt x="346" y="187"/>
                  </a:lnTo>
                  <a:lnTo>
                    <a:pt x="348" y="184"/>
                  </a:lnTo>
                  <a:lnTo>
                    <a:pt x="350" y="184"/>
                  </a:lnTo>
                  <a:lnTo>
                    <a:pt x="348" y="186"/>
                  </a:lnTo>
                  <a:lnTo>
                    <a:pt x="346" y="189"/>
                  </a:lnTo>
                  <a:lnTo>
                    <a:pt x="345" y="191"/>
                  </a:lnTo>
                  <a:lnTo>
                    <a:pt x="342" y="192"/>
                  </a:lnTo>
                  <a:lnTo>
                    <a:pt x="339" y="194"/>
                  </a:lnTo>
                  <a:lnTo>
                    <a:pt x="337" y="196"/>
                  </a:lnTo>
                  <a:lnTo>
                    <a:pt x="337" y="198"/>
                  </a:lnTo>
                  <a:lnTo>
                    <a:pt x="340" y="199"/>
                  </a:lnTo>
                  <a:lnTo>
                    <a:pt x="342" y="198"/>
                  </a:lnTo>
                  <a:lnTo>
                    <a:pt x="346" y="198"/>
                  </a:lnTo>
                  <a:lnTo>
                    <a:pt x="342" y="198"/>
                  </a:lnTo>
                  <a:lnTo>
                    <a:pt x="340" y="200"/>
                  </a:lnTo>
                  <a:lnTo>
                    <a:pt x="342" y="201"/>
                  </a:lnTo>
                  <a:lnTo>
                    <a:pt x="346" y="199"/>
                  </a:lnTo>
                  <a:lnTo>
                    <a:pt x="343" y="203"/>
                  </a:lnTo>
                  <a:lnTo>
                    <a:pt x="341" y="203"/>
                  </a:lnTo>
                  <a:lnTo>
                    <a:pt x="341" y="205"/>
                  </a:lnTo>
                  <a:lnTo>
                    <a:pt x="345" y="205"/>
                  </a:lnTo>
                  <a:lnTo>
                    <a:pt x="347" y="205"/>
                  </a:lnTo>
                  <a:lnTo>
                    <a:pt x="349" y="204"/>
                  </a:lnTo>
                  <a:lnTo>
                    <a:pt x="347" y="206"/>
                  </a:lnTo>
                  <a:lnTo>
                    <a:pt x="345" y="206"/>
                  </a:lnTo>
                  <a:lnTo>
                    <a:pt x="347" y="207"/>
                  </a:lnTo>
                  <a:lnTo>
                    <a:pt x="345" y="207"/>
                  </a:lnTo>
                  <a:lnTo>
                    <a:pt x="347" y="208"/>
                  </a:lnTo>
                  <a:lnTo>
                    <a:pt x="348" y="212"/>
                  </a:lnTo>
                  <a:lnTo>
                    <a:pt x="350" y="208"/>
                  </a:lnTo>
                  <a:lnTo>
                    <a:pt x="351" y="206"/>
                  </a:lnTo>
                  <a:lnTo>
                    <a:pt x="351" y="208"/>
                  </a:lnTo>
                  <a:lnTo>
                    <a:pt x="354" y="209"/>
                  </a:lnTo>
                  <a:lnTo>
                    <a:pt x="354" y="213"/>
                  </a:lnTo>
                  <a:lnTo>
                    <a:pt x="357" y="212"/>
                  </a:lnTo>
                  <a:lnTo>
                    <a:pt x="359" y="213"/>
                  </a:lnTo>
                  <a:lnTo>
                    <a:pt x="362" y="216"/>
                  </a:lnTo>
                  <a:lnTo>
                    <a:pt x="364" y="214"/>
                  </a:lnTo>
                  <a:lnTo>
                    <a:pt x="364" y="211"/>
                  </a:lnTo>
                  <a:lnTo>
                    <a:pt x="365" y="208"/>
                  </a:lnTo>
                  <a:lnTo>
                    <a:pt x="364" y="206"/>
                  </a:lnTo>
                  <a:lnTo>
                    <a:pt x="366" y="205"/>
                  </a:lnTo>
                  <a:lnTo>
                    <a:pt x="364" y="204"/>
                  </a:lnTo>
                  <a:lnTo>
                    <a:pt x="366" y="200"/>
                  </a:lnTo>
                  <a:lnTo>
                    <a:pt x="363" y="200"/>
                  </a:lnTo>
                  <a:lnTo>
                    <a:pt x="360" y="199"/>
                  </a:lnTo>
                  <a:lnTo>
                    <a:pt x="363" y="199"/>
                  </a:lnTo>
                  <a:lnTo>
                    <a:pt x="364" y="196"/>
                  </a:lnTo>
                  <a:lnTo>
                    <a:pt x="363" y="194"/>
                  </a:lnTo>
                  <a:lnTo>
                    <a:pt x="365" y="196"/>
                  </a:lnTo>
                  <a:lnTo>
                    <a:pt x="367" y="199"/>
                  </a:lnTo>
                  <a:lnTo>
                    <a:pt x="369" y="200"/>
                  </a:lnTo>
                  <a:lnTo>
                    <a:pt x="371" y="201"/>
                  </a:lnTo>
                  <a:lnTo>
                    <a:pt x="371" y="198"/>
                  </a:lnTo>
                  <a:lnTo>
                    <a:pt x="374" y="200"/>
                  </a:lnTo>
                  <a:lnTo>
                    <a:pt x="372" y="197"/>
                  </a:lnTo>
                  <a:lnTo>
                    <a:pt x="375" y="198"/>
                  </a:lnTo>
                  <a:lnTo>
                    <a:pt x="373" y="196"/>
                  </a:lnTo>
                  <a:lnTo>
                    <a:pt x="375" y="196"/>
                  </a:lnTo>
                  <a:lnTo>
                    <a:pt x="379" y="196"/>
                  </a:lnTo>
                  <a:lnTo>
                    <a:pt x="377" y="194"/>
                  </a:lnTo>
                  <a:lnTo>
                    <a:pt x="375" y="191"/>
                  </a:lnTo>
                  <a:lnTo>
                    <a:pt x="372" y="191"/>
                  </a:lnTo>
                  <a:lnTo>
                    <a:pt x="371" y="189"/>
                  </a:lnTo>
                  <a:lnTo>
                    <a:pt x="374" y="191"/>
                  </a:lnTo>
                  <a:lnTo>
                    <a:pt x="376" y="191"/>
                  </a:lnTo>
                  <a:lnTo>
                    <a:pt x="379" y="192"/>
                  </a:lnTo>
                  <a:lnTo>
                    <a:pt x="382" y="191"/>
                  </a:lnTo>
                  <a:lnTo>
                    <a:pt x="382" y="189"/>
                  </a:lnTo>
                  <a:lnTo>
                    <a:pt x="379" y="188"/>
                  </a:lnTo>
                  <a:lnTo>
                    <a:pt x="376" y="187"/>
                  </a:lnTo>
                  <a:lnTo>
                    <a:pt x="373" y="187"/>
                  </a:lnTo>
                  <a:lnTo>
                    <a:pt x="376" y="187"/>
                  </a:lnTo>
                  <a:lnTo>
                    <a:pt x="379" y="186"/>
                  </a:lnTo>
                  <a:lnTo>
                    <a:pt x="377" y="182"/>
                  </a:lnTo>
                  <a:lnTo>
                    <a:pt x="374" y="182"/>
                  </a:lnTo>
                  <a:lnTo>
                    <a:pt x="377" y="182"/>
                  </a:lnTo>
                  <a:lnTo>
                    <a:pt x="379" y="182"/>
                  </a:lnTo>
                  <a:lnTo>
                    <a:pt x="382" y="184"/>
                  </a:lnTo>
                  <a:lnTo>
                    <a:pt x="384" y="186"/>
                  </a:lnTo>
                  <a:lnTo>
                    <a:pt x="388" y="184"/>
                  </a:lnTo>
                  <a:lnTo>
                    <a:pt x="390" y="183"/>
                  </a:lnTo>
                  <a:lnTo>
                    <a:pt x="388" y="182"/>
                  </a:lnTo>
                  <a:lnTo>
                    <a:pt x="384" y="182"/>
                  </a:lnTo>
                  <a:lnTo>
                    <a:pt x="388" y="181"/>
                  </a:lnTo>
                  <a:lnTo>
                    <a:pt x="388" y="179"/>
                  </a:lnTo>
                  <a:lnTo>
                    <a:pt x="384" y="178"/>
                  </a:lnTo>
                  <a:lnTo>
                    <a:pt x="382" y="178"/>
                  </a:lnTo>
                  <a:lnTo>
                    <a:pt x="384" y="177"/>
                  </a:lnTo>
                  <a:lnTo>
                    <a:pt x="388" y="177"/>
                  </a:lnTo>
                  <a:lnTo>
                    <a:pt x="390" y="179"/>
                  </a:lnTo>
                  <a:lnTo>
                    <a:pt x="392" y="179"/>
                  </a:lnTo>
                  <a:lnTo>
                    <a:pt x="393" y="178"/>
                  </a:lnTo>
                  <a:lnTo>
                    <a:pt x="392" y="175"/>
                  </a:lnTo>
                  <a:lnTo>
                    <a:pt x="389" y="173"/>
                  </a:lnTo>
                  <a:lnTo>
                    <a:pt x="386" y="172"/>
                  </a:lnTo>
                  <a:lnTo>
                    <a:pt x="383" y="172"/>
                  </a:lnTo>
                  <a:lnTo>
                    <a:pt x="386" y="171"/>
                  </a:lnTo>
                  <a:lnTo>
                    <a:pt x="383" y="171"/>
                  </a:lnTo>
                  <a:lnTo>
                    <a:pt x="383" y="167"/>
                  </a:lnTo>
                  <a:lnTo>
                    <a:pt x="381" y="169"/>
                  </a:lnTo>
                  <a:lnTo>
                    <a:pt x="377" y="171"/>
                  </a:lnTo>
                  <a:lnTo>
                    <a:pt x="379" y="173"/>
                  </a:lnTo>
                  <a:lnTo>
                    <a:pt x="376" y="171"/>
                  </a:lnTo>
                  <a:lnTo>
                    <a:pt x="374" y="170"/>
                  </a:lnTo>
                  <a:lnTo>
                    <a:pt x="373" y="173"/>
                  </a:lnTo>
                  <a:lnTo>
                    <a:pt x="372" y="175"/>
                  </a:lnTo>
                  <a:lnTo>
                    <a:pt x="372" y="177"/>
                  </a:lnTo>
                  <a:lnTo>
                    <a:pt x="372" y="174"/>
                  </a:lnTo>
                  <a:lnTo>
                    <a:pt x="372" y="171"/>
                  </a:lnTo>
                  <a:lnTo>
                    <a:pt x="369" y="170"/>
                  </a:lnTo>
                  <a:lnTo>
                    <a:pt x="366" y="171"/>
                  </a:lnTo>
                  <a:lnTo>
                    <a:pt x="365" y="174"/>
                  </a:lnTo>
                  <a:lnTo>
                    <a:pt x="364" y="171"/>
                  </a:lnTo>
                  <a:lnTo>
                    <a:pt x="362" y="173"/>
                  </a:lnTo>
                  <a:lnTo>
                    <a:pt x="358" y="173"/>
                  </a:lnTo>
                  <a:lnTo>
                    <a:pt x="362" y="173"/>
                  </a:lnTo>
                  <a:lnTo>
                    <a:pt x="363" y="171"/>
                  </a:lnTo>
                  <a:lnTo>
                    <a:pt x="366" y="170"/>
                  </a:lnTo>
                  <a:lnTo>
                    <a:pt x="366" y="167"/>
                  </a:lnTo>
                  <a:lnTo>
                    <a:pt x="369" y="165"/>
                  </a:lnTo>
                  <a:lnTo>
                    <a:pt x="371" y="162"/>
                  </a:lnTo>
                  <a:lnTo>
                    <a:pt x="367" y="162"/>
                  </a:lnTo>
                  <a:lnTo>
                    <a:pt x="365" y="164"/>
                  </a:lnTo>
                  <a:lnTo>
                    <a:pt x="364" y="166"/>
                  </a:lnTo>
                  <a:lnTo>
                    <a:pt x="362" y="167"/>
                  </a:lnTo>
                  <a:lnTo>
                    <a:pt x="364" y="165"/>
                  </a:lnTo>
                  <a:lnTo>
                    <a:pt x="360" y="164"/>
                  </a:lnTo>
                  <a:lnTo>
                    <a:pt x="358" y="164"/>
                  </a:lnTo>
                  <a:lnTo>
                    <a:pt x="356" y="165"/>
                  </a:lnTo>
                  <a:lnTo>
                    <a:pt x="352" y="165"/>
                  </a:lnTo>
                  <a:lnTo>
                    <a:pt x="350" y="165"/>
                  </a:lnTo>
                  <a:lnTo>
                    <a:pt x="348" y="169"/>
                  </a:lnTo>
                  <a:lnTo>
                    <a:pt x="347" y="169"/>
                  </a:lnTo>
                  <a:lnTo>
                    <a:pt x="348" y="166"/>
                  </a:lnTo>
                  <a:lnTo>
                    <a:pt x="350" y="165"/>
                  </a:lnTo>
                  <a:lnTo>
                    <a:pt x="352" y="164"/>
                  </a:lnTo>
                  <a:lnTo>
                    <a:pt x="356" y="164"/>
                  </a:lnTo>
                  <a:lnTo>
                    <a:pt x="352" y="163"/>
                  </a:lnTo>
                  <a:lnTo>
                    <a:pt x="350" y="164"/>
                  </a:lnTo>
                  <a:lnTo>
                    <a:pt x="347" y="164"/>
                  </a:lnTo>
                  <a:lnTo>
                    <a:pt x="350" y="163"/>
                  </a:lnTo>
                  <a:lnTo>
                    <a:pt x="352" y="163"/>
                  </a:lnTo>
                  <a:lnTo>
                    <a:pt x="350" y="162"/>
                  </a:lnTo>
                  <a:lnTo>
                    <a:pt x="347" y="161"/>
                  </a:lnTo>
                  <a:lnTo>
                    <a:pt x="350" y="161"/>
                  </a:lnTo>
                  <a:lnTo>
                    <a:pt x="356" y="162"/>
                  </a:lnTo>
                  <a:lnTo>
                    <a:pt x="357" y="160"/>
                  </a:lnTo>
                  <a:lnTo>
                    <a:pt x="354" y="158"/>
                  </a:lnTo>
                  <a:lnTo>
                    <a:pt x="351" y="158"/>
                  </a:lnTo>
                  <a:lnTo>
                    <a:pt x="354" y="157"/>
                  </a:lnTo>
                  <a:lnTo>
                    <a:pt x="355" y="155"/>
                  </a:lnTo>
                  <a:lnTo>
                    <a:pt x="356" y="155"/>
                  </a:lnTo>
                  <a:lnTo>
                    <a:pt x="352" y="155"/>
                  </a:lnTo>
                  <a:lnTo>
                    <a:pt x="352" y="152"/>
                  </a:lnTo>
                  <a:lnTo>
                    <a:pt x="349" y="153"/>
                  </a:lnTo>
                  <a:lnTo>
                    <a:pt x="349" y="151"/>
                  </a:lnTo>
                  <a:lnTo>
                    <a:pt x="347" y="151"/>
                  </a:lnTo>
                  <a:lnTo>
                    <a:pt x="346" y="153"/>
                  </a:lnTo>
                  <a:lnTo>
                    <a:pt x="343" y="152"/>
                  </a:lnTo>
                  <a:lnTo>
                    <a:pt x="340" y="154"/>
                  </a:lnTo>
                  <a:lnTo>
                    <a:pt x="342" y="152"/>
                  </a:lnTo>
                  <a:lnTo>
                    <a:pt x="342" y="148"/>
                  </a:lnTo>
                  <a:lnTo>
                    <a:pt x="346" y="147"/>
                  </a:lnTo>
                  <a:lnTo>
                    <a:pt x="342" y="145"/>
                  </a:lnTo>
                  <a:lnTo>
                    <a:pt x="340" y="147"/>
                  </a:lnTo>
                  <a:lnTo>
                    <a:pt x="338" y="147"/>
                  </a:lnTo>
                  <a:lnTo>
                    <a:pt x="335" y="151"/>
                  </a:lnTo>
                  <a:lnTo>
                    <a:pt x="338" y="153"/>
                  </a:lnTo>
                  <a:lnTo>
                    <a:pt x="335" y="152"/>
                  </a:lnTo>
                  <a:lnTo>
                    <a:pt x="335" y="148"/>
                  </a:lnTo>
                  <a:lnTo>
                    <a:pt x="337" y="146"/>
                  </a:lnTo>
                  <a:lnTo>
                    <a:pt x="334" y="146"/>
                  </a:lnTo>
                  <a:lnTo>
                    <a:pt x="330" y="152"/>
                  </a:lnTo>
                  <a:lnTo>
                    <a:pt x="329" y="154"/>
                  </a:lnTo>
                  <a:lnTo>
                    <a:pt x="329" y="152"/>
                  </a:lnTo>
                  <a:lnTo>
                    <a:pt x="330" y="148"/>
                  </a:lnTo>
                  <a:lnTo>
                    <a:pt x="329" y="147"/>
                  </a:lnTo>
                  <a:lnTo>
                    <a:pt x="331" y="144"/>
                  </a:lnTo>
                  <a:lnTo>
                    <a:pt x="328" y="145"/>
                  </a:lnTo>
                  <a:lnTo>
                    <a:pt x="325" y="147"/>
                  </a:lnTo>
                  <a:lnTo>
                    <a:pt x="324" y="149"/>
                  </a:lnTo>
                  <a:lnTo>
                    <a:pt x="322" y="149"/>
                  </a:lnTo>
                  <a:lnTo>
                    <a:pt x="320" y="148"/>
                  </a:lnTo>
                  <a:lnTo>
                    <a:pt x="322" y="149"/>
                  </a:lnTo>
                  <a:lnTo>
                    <a:pt x="324" y="146"/>
                  </a:lnTo>
                  <a:lnTo>
                    <a:pt x="325" y="144"/>
                  </a:lnTo>
                  <a:lnTo>
                    <a:pt x="322" y="144"/>
                  </a:lnTo>
                  <a:lnTo>
                    <a:pt x="320" y="146"/>
                  </a:lnTo>
                  <a:lnTo>
                    <a:pt x="320" y="143"/>
                  </a:lnTo>
                  <a:lnTo>
                    <a:pt x="317" y="144"/>
                  </a:lnTo>
                  <a:lnTo>
                    <a:pt x="317" y="141"/>
                  </a:lnTo>
                  <a:lnTo>
                    <a:pt x="315" y="139"/>
                  </a:lnTo>
                  <a:lnTo>
                    <a:pt x="313" y="139"/>
                  </a:lnTo>
                  <a:lnTo>
                    <a:pt x="311" y="143"/>
                  </a:lnTo>
                  <a:lnTo>
                    <a:pt x="308" y="143"/>
                  </a:lnTo>
                  <a:lnTo>
                    <a:pt x="311" y="141"/>
                  </a:lnTo>
                  <a:lnTo>
                    <a:pt x="312" y="139"/>
                  </a:lnTo>
                  <a:lnTo>
                    <a:pt x="314" y="138"/>
                  </a:lnTo>
                  <a:lnTo>
                    <a:pt x="312" y="137"/>
                  </a:lnTo>
                  <a:lnTo>
                    <a:pt x="309" y="138"/>
                  </a:lnTo>
                  <a:lnTo>
                    <a:pt x="306" y="140"/>
                  </a:lnTo>
                  <a:lnTo>
                    <a:pt x="304" y="139"/>
                  </a:lnTo>
                  <a:lnTo>
                    <a:pt x="306" y="138"/>
                  </a:lnTo>
                  <a:lnTo>
                    <a:pt x="309" y="137"/>
                  </a:lnTo>
                  <a:lnTo>
                    <a:pt x="312" y="136"/>
                  </a:lnTo>
                  <a:lnTo>
                    <a:pt x="314" y="137"/>
                  </a:lnTo>
                  <a:lnTo>
                    <a:pt x="317" y="136"/>
                  </a:lnTo>
                  <a:lnTo>
                    <a:pt x="314" y="135"/>
                  </a:lnTo>
                  <a:lnTo>
                    <a:pt x="312" y="136"/>
                  </a:lnTo>
                  <a:lnTo>
                    <a:pt x="309" y="135"/>
                  </a:lnTo>
                  <a:lnTo>
                    <a:pt x="307" y="137"/>
                  </a:lnTo>
                  <a:lnTo>
                    <a:pt x="306" y="134"/>
                  </a:lnTo>
                  <a:lnTo>
                    <a:pt x="304" y="132"/>
                  </a:lnTo>
                  <a:lnTo>
                    <a:pt x="303" y="136"/>
                  </a:lnTo>
                  <a:lnTo>
                    <a:pt x="303" y="132"/>
                  </a:lnTo>
                  <a:lnTo>
                    <a:pt x="300" y="134"/>
                  </a:lnTo>
                  <a:lnTo>
                    <a:pt x="297" y="131"/>
                  </a:lnTo>
                  <a:lnTo>
                    <a:pt x="295" y="132"/>
                  </a:lnTo>
                  <a:lnTo>
                    <a:pt x="292" y="132"/>
                  </a:lnTo>
                  <a:lnTo>
                    <a:pt x="295" y="131"/>
                  </a:lnTo>
                  <a:lnTo>
                    <a:pt x="292" y="131"/>
                  </a:lnTo>
                  <a:lnTo>
                    <a:pt x="289" y="131"/>
                  </a:lnTo>
                  <a:lnTo>
                    <a:pt x="292" y="130"/>
                  </a:lnTo>
                  <a:lnTo>
                    <a:pt x="295" y="130"/>
                  </a:lnTo>
                  <a:lnTo>
                    <a:pt x="297" y="130"/>
                  </a:lnTo>
                  <a:lnTo>
                    <a:pt x="300" y="130"/>
                  </a:lnTo>
                  <a:lnTo>
                    <a:pt x="297" y="129"/>
                  </a:lnTo>
                  <a:lnTo>
                    <a:pt x="292" y="128"/>
                  </a:lnTo>
                  <a:lnTo>
                    <a:pt x="289" y="128"/>
                  </a:lnTo>
                  <a:lnTo>
                    <a:pt x="287" y="127"/>
                  </a:lnTo>
                  <a:lnTo>
                    <a:pt x="283" y="127"/>
                  </a:lnTo>
                  <a:lnTo>
                    <a:pt x="287" y="126"/>
                  </a:lnTo>
                  <a:lnTo>
                    <a:pt x="289" y="127"/>
                  </a:lnTo>
                  <a:lnTo>
                    <a:pt x="295" y="127"/>
                  </a:lnTo>
                  <a:lnTo>
                    <a:pt x="297" y="126"/>
                  </a:lnTo>
                  <a:lnTo>
                    <a:pt x="300" y="127"/>
                  </a:lnTo>
                  <a:lnTo>
                    <a:pt x="303" y="127"/>
                  </a:lnTo>
                  <a:lnTo>
                    <a:pt x="304" y="127"/>
                  </a:lnTo>
                  <a:lnTo>
                    <a:pt x="300" y="126"/>
                  </a:lnTo>
                  <a:lnTo>
                    <a:pt x="298" y="124"/>
                  </a:lnTo>
                  <a:lnTo>
                    <a:pt x="295" y="124"/>
                  </a:lnTo>
                  <a:lnTo>
                    <a:pt x="298" y="124"/>
                  </a:lnTo>
                  <a:lnTo>
                    <a:pt x="300" y="126"/>
                  </a:lnTo>
                  <a:lnTo>
                    <a:pt x="298" y="122"/>
                  </a:lnTo>
                  <a:lnTo>
                    <a:pt x="295" y="122"/>
                  </a:lnTo>
                  <a:lnTo>
                    <a:pt x="298" y="122"/>
                  </a:lnTo>
                  <a:lnTo>
                    <a:pt x="300" y="122"/>
                  </a:lnTo>
                  <a:lnTo>
                    <a:pt x="304" y="121"/>
                  </a:lnTo>
                  <a:lnTo>
                    <a:pt x="300" y="119"/>
                  </a:lnTo>
                  <a:lnTo>
                    <a:pt x="298" y="118"/>
                  </a:lnTo>
                  <a:lnTo>
                    <a:pt x="296" y="118"/>
                  </a:lnTo>
                  <a:lnTo>
                    <a:pt x="292" y="119"/>
                  </a:lnTo>
                  <a:lnTo>
                    <a:pt x="290" y="120"/>
                  </a:lnTo>
                  <a:lnTo>
                    <a:pt x="288" y="122"/>
                  </a:lnTo>
                  <a:lnTo>
                    <a:pt x="289" y="120"/>
                  </a:lnTo>
                  <a:lnTo>
                    <a:pt x="291" y="119"/>
                  </a:lnTo>
                  <a:lnTo>
                    <a:pt x="295" y="118"/>
                  </a:lnTo>
                  <a:lnTo>
                    <a:pt x="291" y="117"/>
                  </a:lnTo>
                  <a:lnTo>
                    <a:pt x="289" y="117"/>
                  </a:lnTo>
                  <a:lnTo>
                    <a:pt x="288" y="117"/>
                  </a:lnTo>
                  <a:lnTo>
                    <a:pt x="291" y="117"/>
                  </a:lnTo>
                  <a:lnTo>
                    <a:pt x="294" y="117"/>
                  </a:lnTo>
                  <a:lnTo>
                    <a:pt x="297" y="117"/>
                  </a:lnTo>
                  <a:lnTo>
                    <a:pt x="299" y="118"/>
                  </a:lnTo>
                  <a:lnTo>
                    <a:pt x="297" y="115"/>
                  </a:lnTo>
                  <a:lnTo>
                    <a:pt x="294" y="115"/>
                  </a:lnTo>
                  <a:lnTo>
                    <a:pt x="291" y="114"/>
                  </a:lnTo>
                  <a:lnTo>
                    <a:pt x="288" y="114"/>
                  </a:lnTo>
                  <a:lnTo>
                    <a:pt x="286" y="114"/>
                  </a:lnTo>
                  <a:lnTo>
                    <a:pt x="288" y="113"/>
                  </a:lnTo>
                  <a:lnTo>
                    <a:pt x="291" y="114"/>
                  </a:lnTo>
                  <a:lnTo>
                    <a:pt x="294" y="114"/>
                  </a:lnTo>
                  <a:lnTo>
                    <a:pt x="297" y="114"/>
                  </a:lnTo>
                  <a:lnTo>
                    <a:pt x="299" y="114"/>
                  </a:lnTo>
                  <a:lnTo>
                    <a:pt x="303" y="117"/>
                  </a:lnTo>
                  <a:lnTo>
                    <a:pt x="305" y="118"/>
                  </a:lnTo>
                  <a:lnTo>
                    <a:pt x="308" y="118"/>
                  </a:lnTo>
                  <a:lnTo>
                    <a:pt x="311" y="118"/>
                  </a:lnTo>
                  <a:lnTo>
                    <a:pt x="314" y="118"/>
                  </a:lnTo>
                  <a:lnTo>
                    <a:pt x="316" y="118"/>
                  </a:lnTo>
                  <a:lnTo>
                    <a:pt x="318" y="119"/>
                  </a:lnTo>
                  <a:lnTo>
                    <a:pt x="320" y="115"/>
                  </a:lnTo>
                  <a:lnTo>
                    <a:pt x="317" y="113"/>
                  </a:lnTo>
                  <a:lnTo>
                    <a:pt x="314" y="112"/>
                  </a:lnTo>
                  <a:lnTo>
                    <a:pt x="312" y="111"/>
                  </a:lnTo>
                  <a:lnTo>
                    <a:pt x="308" y="111"/>
                  </a:lnTo>
                  <a:lnTo>
                    <a:pt x="306" y="110"/>
                  </a:lnTo>
                  <a:lnTo>
                    <a:pt x="303" y="111"/>
                  </a:lnTo>
                  <a:lnTo>
                    <a:pt x="300" y="110"/>
                  </a:lnTo>
                  <a:lnTo>
                    <a:pt x="297" y="109"/>
                  </a:lnTo>
                  <a:lnTo>
                    <a:pt x="295" y="109"/>
                  </a:lnTo>
                  <a:lnTo>
                    <a:pt x="292" y="107"/>
                  </a:lnTo>
                  <a:lnTo>
                    <a:pt x="289" y="109"/>
                  </a:lnTo>
                  <a:lnTo>
                    <a:pt x="287" y="109"/>
                  </a:lnTo>
                  <a:lnTo>
                    <a:pt x="283" y="110"/>
                  </a:lnTo>
                  <a:lnTo>
                    <a:pt x="280" y="109"/>
                  </a:lnTo>
                  <a:lnTo>
                    <a:pt x="278" y="109"/>
                  </a:lnTo>
                  <a:lnTo>
                    <a:pt x="275" y="110"/>
                  </a:lnTo>
                  <a:lnTo>
                    <a:pt x="274" y="110"/>
                  </a:lnTo>
                  <a:lnTo>
                    <a:pt x="274" y="109"/>
                  </a:lnTo>
                  <a:lnTo>
                    <a:pt x="277" y="109"/>
                  </a:lnTo>
                  <a:lnTo>
                    <a:pt x="280" y="109"/>
                  </a:lnTo>
                  <a:lnTo>
                    <a:pt x="282" y="109"/>
                  </a:lnTo>
                  <a:lnTo>
                    <a:pt x="284" y="109"/>
                  </a:lnTo>
                  <a:lnTo>
                    <a:pt x="290" y="106"/>
                  </a:lnTo>
                  <a:lnTo>
                    <a:pt x="294" y="106"/>
                  </a:lnTo>
                  <a:lnTo>
                    <a:pt x="296" y="106"/>
                  </a:lnTo>
                  <a:lnTo>
                    <a:pt x="298" y="104"/>
                  </a:lnTo>
                  <a:lnTo>
                    <a:pt x="301" y="103"/>
                  </a:lnTo>
                  <a:lnTo>
                    <a:pt x="304" y="103"/>
                  </a:lnTo>
                  <a:lnTo>
                    <a:pt x="307" y="104"/>
                  </a:lnTo>
                  <a:lnTo>
                    <a:pt x="309" y="104"/>
                  </a:lnTo>
                  <a:lnTo>
                    <a:pt x="313" y="104"/>
                  </a:lnTo>
                  <a:lnTo>
                    <a:pt x="313" y="102"/>
                  </a:lnTo>
                  <a:lnTo>
                    <a:pt x="312" y="100"/>
                  </a:lnTo>
                  <a:lnTo>
                    <a:pt x="311" y="97"/>
                  </a:lnTo>
                  <a:lnTo>
                    <a:pt x="308" y="95"/>
                  </a:lnTo>
                  <a:lnTo>
                    <a:pt x="306" y="93"/>
                  </a:lnTo>
                  <a:lnTo>
                    <a:pt x="303" y="90"/>
                  </a:lnTo>
                  <a:lnTo>
                    <a:pt x="300" y="89"/>
                  </a:lnTo>
                  <a:lnTo>
                    <a:pt x="297" y="92"/>
                  </a:lnTo>
                  <a:lnTo>
                    <a:pt x="299" y="95"/>
                  </a:lnTo>
                  <a:lnTo>
                    <a:pt x="296" y="96"/>
                  </a:lnTo>
                  <a:lnTo>
                    <a:pt x="294" y="97"/>
                  </a:lnTo>
                  <a:lnTo>
                    <a:pt x="290" y="98"/>
                  </a:lnTo>
                  <a:lnTo>
                    <a:pt x="288" y="100"/>
                  </a:lnTo>
                  <a:lnTo>
                    <a:pt x="284" y="101"/>
                  </a:lnTo>
                  <a:lnTo>
                    <a:pt x="282" y="103"/>
                  </a:lnTo>
                  <a:lnTo>
                    <a:pt x="280" y="102"/>
                  </a:lnTo>
                  <a:lnTo>
                    <a:pt x="277" y="103"/>
                  </a:lnTo>
                  <a:lnTo>
                    <a:pt x="274" y="105"/>
                  </a:lnTo>
                  <a:lnTo>
                    <a:pt x="274" y="107"/>
                  </a:lnTo>
                  <a:lnTo>
                    <a:pt x="274" y="106"/>
                  </a:lnTo>
                  <a:lnTo>
                    <a:pt x="275" y="103"/>
                  </a:lnTo>
                  <a:lnTo>
                    <a:pt x="279" y="102"/>
                  </a:lnTo>
                  <a:lnTo>
                    <a:pt x="281" y="102"/>
                  </a:lnTo>
                  <a:lnTo>
                    <a:pt x="284" y="100"/>
                  </a:lnTo>
                  <a:lnTo>
                    <a:pt x="287" y="98"/>
                  </a:lnTo>
                  <a:lnTo>
                    <a:pt x="288" y="97"/>
                  </a:lnTo>
                  <a:lnTo>
                    <a:pt x="291" y="96"/>
                  </a:lnTo>
                  <a:lnTo>
                    <a:pt x="292" y="94"/>
                  </a:lnTo>
                  <a:lnTo>
                    <a:pt x="290" y="93"/>
                  </a:lnTo>
                  <a:lnTo>
                    <a:pt x="287" y="93"/>
                  </a:lnTo>
                  <a:lnTo>
                    <a:pt x="284" y="93"/>
                  </a:lnTo>
                  <a:lnTo>
                    <a:pt x="281" y="94"/>
                  </a:lnTo>
                  <a:lnTo>
                    <a:pt x="279" y="94"/>
                  </a:lnTo>
                  <a:lnTo>
                    <a:pt x="277" y="97"/>
                  </a:lnTo>
                  <a:lnTo>
                    <a:pt x="278" y="97"/>
                  </a:lnTo>
                  <a:lnTo>
                    <a:pt x="274" y="98"/>
                  </a:lnTo>
                  <a:lnTo>
                    <a:pt x="274" y="98"/>
                  </a:lnTo>
                  <a:lnTo>
                    <a:pt x="269" y="102"/>
                  </a:lnTo>
                  <a:lnTo>
                    <a:pt x="271" y="98"/>
                  </a:lnTo>
                  <a:lnTo>
                    <a:pt x="274" y="98"/>
                  </a:lnTo>
                  <a:lnTo>
                    <a:pt x="277" y="97"/>
                  </a:lnTo>
                  <a:lnTo>
                    <a:pt x="274" y="96"/>
                  </a:lnTo>
                  <a:lnTo>
                    <a:pt x="274" y="96"/>
                  </a:lnTo>
                  <a:lnTo>
                    <a:pt x="277" y="94"/>
                  </a:lnTo>
                  <a:lnTo>
                    <a:pt x="280" y="93"/>
                  </a:lnTo>
                  <a:lnTo>
                    <a:pt x="282" y="92"/>
                  </a:lnTo>
                  <a:lnTo>
                    <a:pt x="288" y="90"/>
                  </a:lnTo>
                  <a:lnTo>
                    <a:pt x="291" y="90"/>
                  </a:lnTo>
                  <a:lnTo>
                    <a:pt x="292" y="87"/>
                  </a:lnTo>
                  <a:lnTo>
                    <a:pt x="295" y="88"/>
                  </a:lnTo>
                  <a:lnTo>
                    <a:pt x="297" y="86"/>
                  </a:lnTo>
                  <a:lnTo>
                    <a:pt x="296" y="83"/>
                  </a:lnTo>
                  <a:lnTo>
                    <a:pt x="290" y="81"/>
                  </a:lnTo>
                  <a:lnTo>
                    <a:pt x="288" y="80"/>
                  </a:lnTo>
                  <a:lnTo>
                    <a:pt x="286" y="79"/>
                  </a:lnTo>
                  <a:lnTo>
                    <a:pt x="282" y="78"/>
                  </a:lnTo>
                  <a:lnTo>
                    <a:pt x="280" y="79"/>
                  </a:lnTo>
                  <a:lnTo>
                    <a:pt x="277" y="80"/>
                  </a:lnTo>
                  <a:lnTo>
                    <a:pt x="274" y="83"/>
                  </a:lnTo>
                  <a:lnTo>
                    <a:pt x="271" y="83"/>
                  </a:lnTo>
                  <a:lnTo>
                    <a:pt x="269" y="83"/>
                  </a:lnTo>
                  <a:lnTo>
                    <a:pt x="270" y="86"/>
                  </a:lnTo>
                  <a:lnTo>
                    <a:pt x="267" y="83"/>
                  </a:lnTo>
                  <a:lnTo>
                    <a:pt x="270" y="83"/>
                  </a:lnTo>
                  <a:lnTo>
                    <a:pt x="273" y="80"/>
                  </a:lnTo>
                  <a:lnTo>
                    <a:pt x="274" y="80"/>
                  </a:lnTo>
                  <a:lnTo>
                    <a:pt x="277" y="78"/>
                  </a:lnTo>
                  <a:lnTo>
                    <a:pt x="274" y="77"/>
                  </a:lnTo>
                  <a:lnTo>
                    <a:pt x="271" y="78"/>
                  </a:lnTo>
                  <a:lnTo>
                    <a:pt x="269" y="78"/>
                  </a:lnTo>
                  <a:lnTo>
                    <a:pt x="265" y="79"/>
                  </a:lnTo>
                  <a:lnTo>
                    <a:pt x="263" y="81"/>
                  </a:lnTo>
                  <a:lnTo>
                    <a:pt x="261" y="83"/>
                  </a:lnTo>
                  <a:lnTo>
                    <a:pt x="260" y="85"/>
                  </a:lnTo>
                  <a:lnTo>
                    <a:pt x="258" y="87"/>
                  </a:lnTo>
                  <a:lnTo>
                    <a:pt x="257" y="90"/>
                  </a:lnTo>
                  <a:lnTo>
                    <a:pt x="256" y="93"/>
                  </a:lnTo>
                  <a:lnTo>
                    <a:pt x="255" y="95"/>
                  </a:lnTo>
                  <a:lnTo>
                    <a:pt x="256" y="93"/>
                  </a:lnTo>
                  <a:lnTo>
                    <a:pt x="256" y="89"/>
                  </a:lnTo>
                  <a:lnTo>
                    <a:pt x="257" y="87"/>
                  </a:lnTo>
                  <a:lnTo>
                    <a:pt x="258" y="85"/>
                  </a:lnTo>
                  <a:lnTo>
                    <a:pt x="255" y="84"/>
                  </a:lnTo>
                  <a:lnTo>
                    <a:pt x="253" y="86"/>
                  </a:lnTo>
                  <a:lnTo>
                    <a:pt x="252" y="88"/>
                  </a:lnTo>
                  <a:lnTo>
                    <a:pt x="249" y="90"/>
                  </a:lnTo>
                  <a:lnTo>
                    <a:pt x="251" y="87"/>
                  </a:lnTo>
                  <a:lnTo>
                    <a:pt x="247" y="87"/>
                  </a:lnTo>
                  <a:lnTo>
                    <a:pt x="251" y="87"/>
                  </a:lnTo>
                  <a:lnTo>
                    <a:pt x="253" y="84"/>
                  </a:lnTo>
                  <a:lnTo>
                    <a:pt x="255" y="83"/>
                  </a:lnTo>
                  <a:lnTo>
                    <a:pt x="258" y="84"/>
                  </a:lnTo>
                  <a:lnTo>
                    <a:pt x="261" y="81"/>
                  </a:lnTo>
                  <a:lnTo>
                    <a:pt x="263" y="79"/>
                  </a:lnTo>
                  <a:lnTo>
                    <a:pt x="265" y="77"/>
                  </a:lnTo>
                  <a:lnTo>
                    <a:pt x="266" y="73"/>
                  </a:lnTo>
                  <a:lnTo>
                    <a:pt x="265" y="71"/>
                  </a:lnTo>
                  <a:lnTo>
                    <a:pt x="263" y="70"/>
                  </a:lnTo>
                  <a:lnTo>
                    <a:pt x="261" y="71"/>
                  </a:lnTo>
                  <a:lnTo>
                    <a:pt x="257" y="72"/>
                  </a:lnTo>
                  <a:lnTo>
                    <a:pt x="257" y="76"/>
                  </a:lnTo>
                  <a:lnTo>
                    <a:pt x="254" y="76"/>
                  </a:lnTo>
                  <a:lnTo>
                    <a:pt x="252" y="77"/>
                  </a:lnTo>
                  <a:lnTo>
                    <a:pt x="248" y="78"/>
                  </a:lnTo>
                  <a:lnTo>
                    <a:pt x="246" y="78"/>
                  </a:lnTo>
                  <a:lnTo>
                    <a:pt x="243" y="80"/>
                  </a:lnTo>
                  <a:lnTo>
                    <a:pt x="240" y="83"/>
                  </a:lnTo>
                  <a:lnTo>
                    <a:pt x="238" y="83"/>
                  </a:lnTo>
                  <a:lnTo>
                    <a:pt x="240" y="81"/>
                  </a:lnTo>
                  <a:lnTo>
                    <a:pt x="243" y="78"/>
                  </a:lnTo>
                  <a:lnTo>
                    <a:pt x="240" y="77"/>
                  </a:lnTo>
                  <a:lnTo>
                    <a:pt x="238" y="78"/>
                  </a:lnTo>
                  <a:lnTo>
                    <a:pt x="240" y="77"/>
                  </a:lnTo>
                  <a:lnTo>
                    <a:pt x="244" y="73"/>
                  </a:lnTo>
                  <a:lnTo>
                    <a:pt x="246" y="71"/>
                  </a:lnTo>
                  <a:lnTo>
                    <a:pt x="248" y="70"/>
                  </a:lnTo>
                  <a:lnTo>
                    <a:pt x="251" y="71"/>
                  </a:lnTo>
                  <a:lnTo>
                    <a:pt x="254" y="71"/>
                  </a:lnTo>
                  <a:lnTo>
                    <a:pt x="256" y="69"/>
                  </a:lnTo>
                  <a:lnTo>
                    <a:pt x="258" y="67"/>
                  </a:lnTo>
                  <a:lnTo>
                    <a:pt x="257" y="64"/>
                  </a:lnTo>
                  <a:lnTo>
                    <a:pt x="254" y="61"/>
                  </a:lnTo>
                  <a:lnTo>
                    <a:pt x="252" y="60"/>
                  </a:lnTo>
                  <a:lnTo>
                    <a:pt x="248" y="59"/>
                  </a:lnTo>
                  <a:lnTo>
                    <a:pt x="246" y="59"/>
                  </a:lnTo>
                  <a:lnTo>
                    <a:pt x="244" y="58"/>
                  </a:lnTo>
                  <a:lnTo>
                    <a:pt x="240" y="57"/>
                  </a:lnTo>
                  <a:lnTo>
                    <a:pt x="238" y="59"/>
                  </a:lnTo>
                  <a:lnTo>
                    <a:pt x="236" y="60"/>
                  </a:lnTo>
                  <a:lnTo>
                    <a:pt x="234" y="63"/>
                  </a:lnTo>
                  <a:lnTo>
                    <a:pt x="234" y="66"/>
                  </a:lnTo>
                  <a:lnTo>
                    <a:pt x="231" y="68"/>
                  </a:lnTo>
                  <a:lnTo>
                    <a:pt x="230" y="70"/>
                  </a:lnTo>
                  <a:lnTo>
                    <a:pt x="228" y="73"/>
                  </a:lnTo>
                  <a:lnTo>
                    <a:pt x="229" y="70"/>
                  </a:lnTo>
                  <a:lnTo>
                    <a:pt x="229" y="68"/>
                  </a:lnTo>
                  <a:lnTo>
                    <a:pt x="232" y="67"/>
                  </a:lnTo>
                  <a:lnTo>
                    <a:pt x="229" y="64"/>
                  </a:lnTo>
                  <a:lnTo>
                    <a:pt x="227" y="66"/>
                  </a:lnTo>
                  <a:lnTo>
                    <a:pt x="224" y="68"/>
                  </a:lnTo>
                  <a:lnTo>
                    <a:pt x="223" y="71"/>
                  </a:lnTo>
                  <a:lnTo>
                    <a:pt x="221" y="71"/>
                  </a:lnTo>
                  <a:lnTo>
                    <a:pt x="223" y="69"/>
                  </a:lnTo>
                  <a:lnTo>
                    <a:pt x="224" y="66"/>
                  </a:lnTo>
                  <a:lnTo>
                    <a:pt x="227" y="63"/>
                  </a:lnTo>
                  <a:lnTo>
                    <a:pt x="224" y="61"/>
                  </a:lnTo>
                  <a:lnTo>
                    <a:pt x="224" y="58"/>
                  </a:lnTo>
                  <a:lnTo>
                    <a:pt x="221" y="60"/>
                  </a:lnTo>
                  <a:lnTo>
                    <a:pt x="220" y="62"/>
                  </a:lnTo>
                  <a:lnTo>
                    <a:pt x="219" y="64"/>
                  </a:lnTo>
                  <a:lnTo>
                    <a:pt x="217" y="68"/>
                  </a:lnTo>
                  <a:lnTo>
                    <a:pt x="218" y="64"/>
                  </a:lnTo>
                  <a:lnTo>
                    <a:pt x="219" y="62"/>
                  </a:lnTo>
                  <a:lnTo>
                    <a:pt x="217" y="62"/>
                  </a:lnTo>
                  <a:lnTo>
                    <a:pt x="219" y="61"/>
                  </a:lnTo>
                  <a:lnTo>
                    <a:pt x="220" y="59"/>
                  </a:lnTo>
                  <a:lnTo>
                    <a:pt x="222" y="57"/>
                  </a:lnTo>
                  <a:lnTo>
                    <a:pt x="223" y="53"/>
                  </a:lnTo>
                  <a:lnTo>
                    <a:pt x="220" y="53"/>
                  </a:lnTo>
                  <a:lnTo>
                    <a:pt x="218" y="57"/>
                  </a:lnTo>
                  <a:lnTo>
                    <a:pt x="218" y="59"/>
                  </a:lnTo>
                  <a:lnTo>
                    <a:pt x="218" y="57"/>
                  </a:lnTo>
                  <a:lnTo>
                    <a:pt x="214" y="55"/>
                  </a:lnTo>
                  <a:lnTo>
                    <a:pt x="212" y="57"/>
                  </a:lnTo>
                  <a:lnTo>
                    <a:pt x="210" y="60"/>
                  </a:lnTo>
                  <a:lnTo>
                    <a:pt x="211" y="62"/>
                  </a:lnTo>
                  <a:lnTo>
                    <a:pt x="209" y="66"/>
                  </a:lnTo>
                  <a:lnTo>
                    <a:pt x="206" y="68"/>
                  </a:lnTo>
                  <a:lnTo>
                    <a:pt x="209" y="64"/>
                  </a:lnTo>
                  <a:lnTo>
                    <a:pt x="209" y="62"/>
                  </a:lnTo>
                  <a:lnTo>
                    <a:pt x="206" y="60"/>
                  </a:lnTo>
                  <a:lnTo>
                    <a:pt x="205" y="60"/>
                  </a:lnTo>
                  <a:lnTo>
                    <a:pt x="209" y="59"/>
                  </a:lnTo>
                  <a:lnTo>
                    <a:pt x="211" y="57"/>
                  </a:lnTo>
                  <a:lnTo>
                    <a:pt x="209" y="57"/>
                  </a:lnTo>
                  <a:lnTo>
                    <a:pt x="205" y="58"/>
                  </a:lnTo>
                  <a:lnTo>
                    <a:pt x="203" y="59"/>
                  </a:lnTo>
                  <a:lnTo>
                    <a:pt x="205" y="57"/>
                  </a:lnTo>
                  <a:lnTo>
                    <a:pt x="203" y="55"/>
                  </a:lnTo>
                  <a:lnTo>
                    <a:pt x="205" y="55"/>
                  </a:lnTo>
                  <a:lnTo>
                    <a:pt x="209" y="54"/>
                  </a:lnTo>
                  <a:lnTo>
                    <a:pt x="211" y="53"/>
                  </a:lnTo>
                  <a:lnTo>
                    <a:pt x="213" y="52"/>
                  </a:lnTo>
                  <a:lnTo>
                    <a:pt x="217" y="52"/>
                  </a:lnTo>
                  <a:lnTo>
                    <a:pt x="218" y="49"/>
                  </a:lnTo>
                  <a:lnTo>
                    <a:pt x="217" y="46"/>
                  </a:lnTo>
                  <a:lnTo>
                    <a:pt x="213" y="45"/>
                  </a:lnTo>
                  <a:lnTo>
                    <a:pt x="211" y="45"/>
                  </a:lnTo>
                  <a:lnTo>
                    <a:pt x="209" y="45"/>
                  </a:lnTo>
                  <a:lnTo>
                    <a:pt x="205" y="44"/>
                  </a:lnTo>
                  <a:lnTo>
                    <a:pt x="203" y="47"/>
                  </a:lnTo>
                  <a:lnTo>
                    <a:pt x="201" y="47"/>
                  </a:lnTo>
                  <a:lnTo>
                    <a:pt x="197" y="49"/>
                  </a:lnTo>
                  <a:lnTo>
                    <a:pt x="197" y="52"/>
                  </a:lnTo>
                  <a:lnTo>
                    <a:pt x="195" y="54"/>
                  </a:lnTo>
                  <a:lnTo>
                    <a:pt x="192" y="55"/>
                  </a:lnTo>
                  <a:lnTo>
                    <a:pt x="195" y="53"/>
                  </a:lnTo>
                  <a:lnTo>
                    <a:pt x="196" y="51"/>
                  </a:lnTo>
                  <a:lnTo>
                    <a:pt x="197" y="47"/>
                  </a:lnTo>
                  <a:lnTo>
                    <a:pt x="201" y="45"/>
                  </a:lnTo>
                  <a:lnTo>
                    <a:pt x="197" y="44"/>
                  </a:lnTo>
                  <a:lnTo>
                    <a:pt x="195" y="45"/>
                  </a:lnTo>
                  <a:lnTo>
                    <a:pt x="192" y="46"/>
                  </a:lnTo>
                  <a:lnTo>
                    <a:pt x="189" y="49"/>
                  </a:lnTo>
                  <a:lnTo>
                    <a:pt x="187" y="51"/>
                  </a:lnTo>
                  <a:lnTo>
                    <a:pt x="189" y="47"/>
                  </a:lnTo>
                  <a:lnTo>
                    <a:pt x="192" y="45"/>
                  </a:lnTo>
                  <a:lnTo>
                    <a:pt x="195" y="44"/>
                  </a:lnTo>
                  <a:lnTo>
                    <a:pt x="197" y="44"/>
                  </a:lnTo>
                  <a:lnTo>
                    <a:pt x="201" y="44"/>
                  </a:lnTo>
                  <a:lnTo>
                    <a:pt x="203" y="44"/>
                  </a:lnTo>
                  <a:lnTo>
                    <a:pt x="205" y="42"/>
                  </a:lnTo>
                  <a:lnTo>
                    <a:pt x="205" y="38"/>
                  </a:lnTo>
                  <a:lnTo>
                    <a:pt x="203" y="36"/>
                  </a:lnTo>
                  <a:lnTo>
                    <a:pt x="201" y="35"/>
                  </a:lnTo>
                  <a:lnTo>
                    <a:pt x="197" y="34"/>
                  </a:lnTo>
                  <a:lnTo>
                    <a:pt x="195" y="33"/>
                  </a:lnTo>
                  <a:lnTo>
                    <a:pt x="192" y="33"/>
                  </a:lnTo>
                  <a:lnTo>
                    <a:pt x="192" y="35"/>
                  </a:lnTo>
                  <a:lnTo>
                    <a:pt x="189" y="33"/>
                  </a:lnTo>
                  <a:lnTo>
                    <a:pt x="187" y="32"/>
                  </a:lnTo>
                  <a:lnTo>
                    <a:pt x="184" y="32"/>
                  </a:lnTo>
                  <a:lnTo>
                    <a:pt x="181" y="29"/>
                  </a:lnTo>
                  <a:lnTo>
                    <a:pt x="178" y="28"/>
                  </a:lnTo>
                  <a:lnTo>
                    <a:pt x="173" y="28"/>
                  </a:lnTo>
                  <a:lnTo>
                    <a:pt x="170" y="28"/>
                  </a:lnTo>
                  <a:lnTo>
                    <a:pt x="168" y="29"/>
                  </a:lnTo>
                  <a:lnTo>
                    <a:pt x="164" y="29"/>
                  </a:lnTo>
                  <a:lnTo>
                    <a:pt x="162" y="30"/>
                  </a:lnTo>
                  <a:lnTo>
                    <a:pt x="159" y="33"/>
                  </a:lnTo>
                  <a:lnTo>
                    <a:pt x="156" y="35"/>
                  </a:lnTo>
                  <a:lnTo>
                    <a:pt x="159" y="38"/>
                  </a:lnTo>
                  <a:lnTo>
                    <a:pt x="162" y="38"/>
                  </a:lnTo>
                  <a:lnTo>
                    <a:pt x="164" y="40"/>
                  </a:lnTo>
                  <a:lnTo>
                    <a:pt x="167" y="41"/>
                  </a:lnTo>
                  <a:lnTo>
                    <a:pt x="170" y="42"/>
                  </a:lnTo>
                  <a:lnTo>
                    <a:pt x="172" y="43"/>
                  </a:lnTo>
                  <a:lnTo>
                    <a:pt x="176" y="43"/>
                  </a:lnTo>
                  <a:lnTo>
                    <a:pt x="178" y="44"/>
                  </a:lnTo>
                  <a:lnTo>
                    <a:pt x="176" y="44"/>
                  </a:lnTo>
                  <a:lnTo>
                    <a:pt x="173" y="43"/>
                  </a:lnTo>
                  <a:lnTo>
                    <a:pt x="171" y="43"/>
                  </a:lnTo>
                  <a:lnTo>
                    <a:pt x="168" y="42"/>
                  </a:lnTo>
                  <a:lnTo>
                    <a:pt x="166" y="41"/>
                  </a:lnTo>
                  <a:lnTo>
                    <a:pt x="162" y="41"/>
                  </a:lnTo>
                  <a:lnTo>
                    <a:pt x="160" y="40"/>
                  </a:lnTo>
                  <a:lnTo>
                    <a:pt x="159" y="42"/>
                  </a:lnTo>
                  <a:lnTo>
                    <a:pt x="158" y="40"/>
                  </a:lnTo>
                  <a:lnTo>
                    <a:pt x="154" y="40"/>
                  </a:lnTo>
                  <a:lnTo>
                    <a:pt x="152" y="42"/>
                  </a:lnTo>
                  <a:lnTo>
                    <a:pt x="155" y="44"/>
                  </a:lnTo>
                  <a:lnTo>
                    <a:pt x="159" y="44"/>
                  </a:lnTo>
                  <a:lnTo>
                    <a:pt x="160" y="47"/>
                  </a:lnTo>
                  <a:lnTo>
                    <a:pt x="162" y="49"/>
                  </a:lnTo>
                  <a:lnTo>
                    <a:pt x="166" y="51"/>
                  </a:lnTo>
                  <a:lnTo>
                    <a:pt x="168" y="52"/>
                  </a:lnTo>
                  <a:lnTo>
                    <a:pt x="166" y="52"/>
                  </a:lnTo>
                  <a:lnTo>
                    <a:pt x="163" y="50"/>
                  </a:lnTo>
                  <a:lnTo>
                    <a:pt x="160" y="50"/>
                  </a:lnTo>
                  <a:lnTo>
                    <a:pt x="162" y="52"/>
                  </a:lnTo>
                  <a:lnTo>
                    <a:pt x="166" y="53"/>
                  </a:lnTo>
                  <a:lnTo>
                    <a:pt x="162" y="52"/>
                  </a:lnTo>
                  <a:lnTo>
                    <a:pt x="162" y="52"/>
                  </a:lnTo>
                  <a:lnTo>
                    <a:pt x="160" y="50"/>
                  </a:lnTo>
                  <a:lnTo>
                    <a:pt x="159" y="47"/>
                  </a:lnTo>
                  <a:lnTo>
                    <a:pt x="156" y="44"/>
                  </a:lnTo>
                  <a:lnTo>
                    <a:pt x="153" y="44"/>
                  </a:lnTo>
                  <a:lnTo>
                    <a:pt x="152" y="46"/>
                  </a:lnTo>
                  <a:lnTo>
                    <a:pt x="155" y="49"/>
                  </a:lnTo>
                  <a:lnTo>
                    <a:pt x="158" y="51"/>
                  </a:lnTo>
                  <a:lnTo>
                    <a:pt x="154" y="50"/>
                  </a:lnTo>
                  <a:lnTo>
                    <a:pt x="152" y="49"/>
                  </a:lnTo>
                  <a:lnTo>
                    <a:pt x="149" y="49"/>
                  </a:lnTo>
                  <a:lnTo>
                    <a:pt x="150" y="46"/>
                  </a:lnTo>
                  <a:lnTo>
                    <a:pt x="151" y="43"/>
                  </a:lnTo>
                  <a:lnTo>
                    <a:pt x="152" y="41"/>
                  </a:lnTo>
                  <a:lnTo>
                    <a:pt x="149" y="38"/>
                  </a:lnTo>
                  <a:lnTo>
                    <a:pt x="146" y="37"/>
                  </a:lnTo>
                  <a:lnTo>
                    <a:pt x="144" y="40"/>
                  </a:lnTo>
                  <a:lnTo>
                    <a:pt x="141" y="42"/>
                  </a:lnTo>
                  <a:lnTo>
                    <a:pt x="143" y="38"/>
                  </a:lnTo>
                  <a:lnTo>
                    <a:pt x="141" y="36"/>
                  </a:lnTo>
                  <a:lnTo>
                    <a:pt x="138" y="37"/>
                  </a:lnTo>
                  <a:lnTo>
                    <a:pt x="137" y="37"/>
                  </a:lnTo>
                  <a:lnTo>
                    <a:pt x="135" y="40"/>
                  </a:lnTo>
                  <a:lnTo>
                    <a:pt x="137" y="42"/>
                  </a:lnTo>
                  <a:lnTo>
                    <a:pt x="139" y="44"/>
                  </a:lnTo>
                  <a:lnTo>
                    <a:pt x="137" y="43"/>
                  </a:lnTo>
                  <a:lnTo>
                    <a:pt x="137" y="43"/>
                  </a:lnTo>
                  <a:lnTo>
                    <a:pt x="135" y="41"/>
                  </a:lnTo>
                  <a:lnTo>
                    <a:pt x="133" y="43"/>
                  </a:lnTo>
                  <a:lnTo>
                    <a:pt x="133" y="45"/>
                  </a:lnTo>
                  <a:lnTo>
                    <a:pt x="129" y="47"/>
                  </a:lnTo>
                  <a:lnTo>
                    <a:pt x="127" y="47"/>
                  </a:lnTo>
                  <a:lnTo>
                    <a:pt x="124" y="51"/>
                  </a:lnTo>
                  <a:lnTo>
                    <a:pt x="126" y="47"/>
                  </a:lnTo>
                  <a:lnTo>
                    <a:pt x="123" y="46"/>
                  </a:lnTo>
                  <a:lnTo>
                    <a:pt x="126" y="45"/>
                  </a:lnTo>
                  <a:lnTo>
                    <a:pt x="128" y="46"/>
                  </a:lnTo>
                  <a:lnTo>
                    <a:pt x="126" y="44"/>
                  </a:lnTo>
                  <a:lnTo>
                    <a:pt x="126" y="41"/>
                  </a:lnTo>
                  <a:lnTo>
                    <a:pt x="128" y="38"/>
                  </a:lnTo>
                  <a:lnTo>
                    <a:pt x="130" y="36"/>
                  </a:lnTo>
                  <a:lnTo>
                    <a:pt x="127" y="35"/>
                  </a:lnTo>
                  <a:lnTo>
                    <a:pt x="125" y="37"/>
                  </a:lnTo>
                  <a:lnTo>
                    <a:pt x="123" y="40"/>
                  </a:lnTo>
                  <a:lnTo>
                    <a:pt x="119" y="42"/>
                  </a:lnTo>
                  <a:lnTo>
                    <a:pt x="123" y="38"/>
                  </a:lnTo>
                  <a:lnTo>
                    <a:pt x="125" y="36"/>
                  </a:lnTo>
                  <a:lnTo>
                    <a:pt x="127" y="34"/>
                  </a:lnTo>
                  <a:lnTo>
                    <a:pt x="130" y="33"/>
                  </a:lnTo>
                  <a:lnTo>
                    <a:pt x="132" y="30"/>
                  </a:lnTo>
                  <a:lnTo>
                    <a:pt x="133" y="27"/>
                  </a:lnTo>
                  <a:lnTo>
                    <a:pt x="130" y="26"/>
                  </a:lnTo>
                  <a:lnTo>
                    <a:pt x="128" y="24"/>
                  </a:lnTo>
                  <a:lnTo>
                    <a:pt x="129" y="21"/>
                  </a:lnTo>
                  <a:lnTo>
                    <a:pt x="129" y="18"/>
                  </a:lnTo>
                  <a:lnTo>
                    <a:pt x="126" y="17"/>
                  </a:lnTo>
                  <a:lnTo>
                    <a:pt x="124" y="16"/>
                  </a:lnTo>
                  <a:lnTo>
                    <a:pt x="120" y="15"/>
                  </a:lnTo>
                  <a:lnTo>
                    <a:pt x="121" y="12"/>
                  </a:lnTo>
                  <a:lnTo>
                    <a:pt x="120" y="9"/>
                  </a:lnTo>
                  <a:lnTo>
                    <a:pt x="119" y="7"/>
                  </a:lnTo>
                  <a:lnTo>
                    <a:pt x="117" y="4"/>
                  </a:lnTo>
                  <a:lnTo>
                    <a:pt x="115" y="3"/>
                  </a:lnTo>
                  <a:lnTo>
                    <a:pt x="111" y="3"/>
                  </a:lnTo>
                  <a:lnTo>
                    <a:pt x="109" y="2"/>
                  </a:lnTo>
                  <a:lnTo>
                    <a:pt x="106" y="3"/>
                  </a:lnTo>
                  <a:lnTo>
                    <a:pt x="103" y="3"/>
                  </a:lnTo>
                  <a:lnTo>
                    <a:pt x="100" y="2"/>
                  </a:lnTo>
                  <a:lnTo>
                    <a:pt x="98" y="3"/>
                  </a:lnTo>
                  <a:lnTo>
                    <a:pt x="95" y="4"/>
                  </a:lnTo>
                  <a:lnTo>
                    <a:pt x="92" y="4"/>
                  </a:lnTo>
                  <a:lnTo>
                    <a:pt x="90" y="6"/>
                  </a:lnTo>
                  <a:lnTo>
                    <a:pt x="86" y="7"/>
                  </a:lnTo>
                  <a:lnTo>
                    <a:pt x="84" y="8"/>
                  </a:lnTo>
                  <a:lnTo>
                    <a:pt x="86" y="10"/>
                  </a:lnTo>
                  <a:lnTo>
                    <a:pt x="87" y="12"/>
                  </a:lnTo>
                  <a:lnTo>
                    <a:pt x="84" y="10"/>
                  </a:lnTo>
                  <a:lnTo>
                    <a:pt x="82" y="10"/>
                  </a:lnTo>
                  <a:lnTo>
                    <a:pt x="78" y="10"/>
                  </a:lnTo>
                  <a:lnTo>
                    <a:pt x="76" y="10"/>
                  </a:lnTo>
                  <a:lnTo>
                    <a:pt x="74" y="13"/>
                  </a:lnTo>
                  <a:lnTo>
                    <a:pt x="77" y="16"/>
                  </a:lnTo>
                  <a:lnTo>
                    <a:pt x="74" y="15"/>
                  </a:lnTo>
                  <a:lnTo>
                    <a:pt x="72" y="11"/>
                  </a:lnTo>
                  <a:lnTo>
                    <a:pt x="68" y="12"/>
                  </a:lnTo>
                  <a:lnTo>
                    <a:pt x="66" y="16"/>
                  </a:lnTo>
                  <a:lnTo>
                    <a:pt x="69" y="17"/>
                  </a:lnTo>
                  <a:lnTo>
                    <a:pt x="72" y="18"/>
                  </a:lnTo>
                  <a:lnTo>
                    <a:pt x="75" y="19"/>
                  </a:lnTo>
                  <a:lnTo>
                    <a:pt x="77" y="19"/>
                  </a:lnTo>
                  <a:lnTo>
                    <a:pt x="81" y="20"/>
                  </a:lnTo>
                  <a:lnTo>
                    <a:pt x="83" y="20"/>
                  </a:lnTo>
                  <a:lnTo>
                    <a:pt x="86" y="21"/>
                  </a:lnTo>
                  <a:lnTo>
                    <a:pt x="83" y="21"/>
                  </a:lnTo>
                  <a:lnTo>
                    <a:pt x="79" y="21"/>
                  </a:lnTo>
                  <a:lnTo>
                    <a:pt x="77" y="20"/>
                  </a:lnTo>
                  <a:lnTo>
                    <a:pt x="74" y="20"/>
                  </a:lnTo>
                  <a:lnTo>
                    <a:pt x="72" y="19"/>
                  </a:lnTo>
                  <a:lnTo>
                    <a:pt x="69" y="19"/>
                  </a:lnTo>
                  <a:lnTo>
                    <a:pt x="66" y="18"/>
                  </a:lnTo>
                  <a:lnTo>
                    <a:pt x="64" y="18"/>
                  </a:lnTo>
                  <a:lnTo>
                    <a:pt x="61" y="21"/>
                  </a:lnTo>
                  <a:lnTo>
                    <a:pt x="65" y="21"/>
                  </a:lnTo>
                  <a:lnTo>
                    <a:pt x="67" y="21"/>
                  </a:lnTo>
                  <a:lnTo>
                    <a:pt x="69" y="23"/>
                  </a:lnTo>
                  <a:lnTo>
                    <a:pt x="73" y="25"/>
                  </a:lnTo>
                  <a:lnTo>
                    <a:pt x="75" y="25"/>
                  </a:lnTo>
                  <a:lnTo>
                    <a:pt x="78" y="26"/>
                  </a:lnTo>
                  <a:lnTo>
                    <a:pt x="81" y="27"/>
                  </a:lnTo>
                  <a:lnTo>
                    <a:pt x="78" y="27"/>
                  </a:lnTo>
                  <a:lnTo>
                    <a:pt x="75" y="26"/>
                  </a:lnTo>
                  <a:lnTo>
                    <a:pt x="73" y="25"/>
                  </a:lnTo>
                  <a:lnTo>
                    <a:pt x="69" y="25"/>
                  </a:lnTo>
                  <a:lnTo>
                    <a:pt x="67" y="24"/>
                  </a:lnTo>
                  <a:lnTo>
                    <a:pt x="65" y="23"/>
                  </a:lnTo>
                  <a:lnTo>
                    <a:pt x="61" y="23"/>
                  </a:lnTo>
                  <a:lnTo>
                    <a:pt x="60" y="25"/>
                  </a:lnTo>
                  <a:lnTo>
                    <a:pt x="59" y="28"/>
                  </a:lnTo>
                  <a:lnTo>
                    <a:pt x="59" y="30"/>
                  </a:lnTo>
                  <a:lnTo>
                    <a:pt x="61" y="33"/>
                  </a:lnTo>
                  <a:lnTo>
                    <a:pt x="61" y="35"/>
                  </a:lnTo>
                  <a:lnTo>
                    <a:pt x="64" y="37"/>
                  </a:lnTo>
                  <a:lnTo>
                    <a:pt x="67" y="37"/>
                  </a:lnTo>
                  <a:lnTo>
                    <a:pt x="69" y="37"/>
                  </a:lnTo>
                  <a:lnTo>
                    <a:pt x="73" y="38"/>
                  </a:lnTo>
                  <a:lnTo>
                    <a:pt x="75" y="38"/>
                  </a:lnTo>
                  <a:lnTo>
                    <a:pt x="73" y="38"/>
                  </a:lnTo>
                  <a:lnTo>
                    <a:pt x="69" y="40"/>
                  </a:lnTo>
                  <a:lnTo>
                    <a:pt x="73" y="42"/>
                  </a:lnTo>
                  <a:lnTo>
                    <a:pt x="75" y="44"/>
                  </a:lnTo>
                  <a:lnTo>
                    <a:pt x="78" y="46"/>
                  </a:lnTo>
                  <a:lnTo>
                    <a:pt x="79" y="49"/>
                  </a:lnTo>
                  <a:lnTo>
                    <a:pt x="77" y="46"/>
                  </a:lnTo>
                  <a:lnTo>
                    <a:pt x="74" y="44"/>
                  </a:lnTo>
                  <a:lnTo>
                    <a:pt x="72" y="43"/>
                  </a:lnTo>
                  <a:lnTo>
                    <a:pt x="69" y="42"/>
                  </a:lnTo>
                  <a:lnTo>
                    <a:pt x="66" y="41"/>
                  </a:lnTo>
                  <a:lnTo>
                    <a:pt x="64" y="41"/>
                  </a:lnTo>
                  <a:lnTo>
                    <a:pt x="62" y="44"/>
                  </a:lnTo>
                  <a:lnTo>
                    <a:pt x="60" y="46"/>
                  </a:lnTo>
                  <a:lnTo>
                    <a:pt x="58" y="47"/>
                  </a:lnTo>
                  <a:lnTo>
                    <a:pt x="55" y="47"/>
                  </a:lnTo>
                  <a:lnTo>
                    <a:pt x="58" y="49"/>
                  </a:lnTo>
                  <a:lnTo>
                    <a:pt x="60" y="50"/>
                  </a:lnTo>
                  <a:lnTo>
                    <a:pt x="62" y="53"/>
                  </a:lnTo>
                  <a:lnTo>
                    <a:pt x="64" y="55"/>
                  </a:lnTo>
                  <a:lnTo>
                    <a:pt x="67" y="57"/>
                  </a:lnTo>
                  <a:lnTo>
                    <a:pt x="69" y="57"/>
                  </a:lnTo>
                  <a:lnTo>
                    <a:pt x="73" y="57"/>
                  </a:lnTo>
                  <a:lnTo>
                    <a:pt x="74" y="59"/>
                  </a:lnTo>
                  <a:lnTo>
                    <a:pt x="75" y="61"/>
                  </a:lnTo>
                  <a:lnTo>
                    <a:pt x="73" y="62"/>
                  </a:lnTo>
                  <a:lnTo>
                    <a:pt x="72" y="66"/>
                  </a:lnTo>
                  <a:lnTo>
                    <a:pt x="73" y="68"/>
                  </a:lnTo>
                  <a:lnTo>
                    <a:pt x="72" y="70"/>
                  </a:lnTo>
                  <a:lnTo>
                    <a:pt x="72" y="73"/>
                  </a:lnTo>
                  <a:lnTo>
                    <a:pt x="69" y="75"/>
                  </a:lnTo>
                  <a:lnTo>
                    <a:pt x="69" y="72"/>
                  </a:lnTo>
                  <a:lnTo>
                    <a:pt x="67" y="70"/>
                  </a:lnTo>
                  <a:lnTo>
                    <a:pt x="68" y="69"/>
                  </a:lnTo>
                  <a:lnTo>
                    <a:pt x="66" y="69"/>
                  </a:lnTo>
                  <a:lnTo>
                    <a:pt x="62" y="69"/>
                  </a:lnTo>
                  <a:lnTo>
                    <a:pt x="60" y="69"/>
                  </a:lnTo>
                  <a:lnTo>
                    <a:pt x="57" y="70"/>
                  </a:lnTo>
                  <a:lnTo>
                    <a:pt x="55" y="71"/>
                  </a:lnTo>
                  <a:lnTo>
                    <a:pt x="51" y="72"/>
                  </a:lnTo>
                  <a:lnTo>
                    <a:pt x="49" y="73"/>
                  </a:lnTo>
                  <a:lnTo>
                    <a:pt x="45" y="72"/>
                  </a:lnTo>
                  <a:lnTo>
                    <a:pt x="49" y="72"/>
                  </a:lnTo>
                  <a:lnTo>
                    <a:pt x="51" y="71"/>
                  </a:lnTo>
                  <a:lnTo>
                    <a:pt x="55" y="69"/>
                  </a:lnTo>
                  <a:lnTo>
                    <a:pt x="57" y="68"/>
                  </a:lnTo>
                  <a:lnTo>
                    <a:pt x="60" y="68"/>
                  </a:lnTo>
                  <a:lnTo>
                    <a:pt x="62" y="67"/>
                  </a:lnTo>
                  <a:lnTo>
                    <a:pt x="65" y="66"/>
                  </a:lnTo>
                  <a:lnTo>
                    <a:pt x="68" y="66"/>
                  </a:lnTo>
                  <a:lnTo>
                    <a:pt x="70" y="64"/>
                  </a:lnTo>
                  <a:lnTo>
                    <a:pt x="68" y="62"/>
                  </a:lnTo>
                  <a:lnTo>
                    <a:pt x="66" y="62"/>
                  </a:lnTo>
                  <a:lnTo>
                    <a:pt x="64" y="61"/>
                  </a:lnTo>
                  <a:lnTo>
                    <a:pt x="60" y="59"/>
                  </a:lnTo>
                  <a:lnTo>
                    <a:pt x="58" y="57"/>
                  </a:lnTo>
                  <a:lnTo>
                    <a:pt x="56" y="54"/>
                  </a:lnTo>
                  <a:lnTo>
                    <a:pt x="52" y="52"/>
                  </a:lnTo>
                  <a:lnTo>
                    <a:pt x="50" y="49"/>
                  </a:lnTo>
                  <a:lnTo>
                    <a:pt x="49" y="46"/>
                  </a:lnTo>
                  <a:lnTo>
                    <a:pt x="49" y="41"/>
                  </a:lnTo>
                  <a:lnTo>
                    <a:pt x="51" y="38"/>
                  </a:lnTo>
                  <a:lnTo>
                    <a:pt x="51" y="35"/>
                  </a:lnTo>
                  <a:lnTo>
                    <a:pt x="48" y="33"/>
                  </a:lnTo>
                  <a:lnTo>
                    <a:pt x="45" y="30"/>
                  </a:lnTo>
                  <a:lnTo>
                    <a:pt x="45" y="28"/>
                  </a:lnTo>
                  <a:lnTo>
                    <a:pt x="47" y="25"/>
                  </a:lnTo>
                  <a:lnTo>
                    <a:pt x="49" y="23"/>
                  </a:lnTo>
                  <a:lnTo>
                    <a:pt x="51" y="20"/>
                  </a:lnTo>
                  <a:lnTo>
                    <a:pt x="52" y="17"/>
                  </a:lnTo>
                  <a:lnTo>
                    <a:pt x="55" y="15"/>
                  </a:lnTo>
                  <a:lnTo>
                    <a:pt x="57" y="11"/>
                  </a:lnTo>
                  <a:lnTo>
                    <a:pt x="62" y="8"/>
                  </a:lnTo>
                  <a:lnTo>
                    <a:pt x="66" y="7"/>
                  </a:lnTo>
                  <a:lnTo>
                    <a:pt x="68" y="4"/>
                  </a:lnTo>
                  <a:lnTo>
                    <a:pt x="70" y="2"/>
                  </a:lnTo>
                  <a:lnTo>
                    <a:pt x="68" y="1"/>
                  </a:lnTo>
                  <a:lnTo>
                    <a:pt x="66" y="0"/>
                  </a:lnTo>
                  <a:lnTo>
                    <a:pt x="62" y="0"/>
                  </a:lnTo>
                  <a:lnTo>
                    <a:pt x="57" y="0"/>
                  </a:lnTo>
                  <a:lnTo>
                    <a:pt x="53" y="0"/>
                  </a:lnTo>
                  <a:lnTo>
                    <a:pt x="51" y="0"/>
                  </a:lnTo>
                  <a:lnTo>
                    <a:pt x="48" y="0"/>
                  </a:lnTo>
                  <a:lnTo>
                    <a:pt x="45" y="0"/>
                  </a:lnTo>
                  <a:lnTo>
                    <a:pt x="40" y="1"/>
                  </a:lnTo>
                  <a:lnTo>
                    <a:pt x="38" y="1"/>
                  </a:lnTo>
                  <a:lnTo>
                    <a:pt x="34" y="2"/>
                  </a:lnTo>
                  <a:lnTo>
                    <a:pt x="32" y="3"/>
                  </a:lnTo>
                  <a:lnTo>
                    <a:pt x="28" y="4"/>
                  </a:lnTo>
                  <a:lnTo>
                    <a:pt x="26" y="6"/>
                  </a:lnTo>
                  <a:lnTo>
                    <a:pt x="23" y="8"/>
                  </a:lnTo>
                  <a:lnTo>
                    <a:pt x="21" y="10"/>
                  </a:lnTo>
                  <a:lnTo>
                    <a:pt x="17" y="11"/>
                  </a:lnTo>
                  <a:lnTo>
                    <a:pt x="17" y="15"/>
                  </a:lnTo>
                  <a:lnTo>
                    <a:pt x="15" y="17"/>
                  </a:lnTo>
                  <a:lnTo>
                    <a:pt x="11" y="17"/>
                  </a:lnTo>
                  <a:lnTo>
                    <a:pt x="10" y="20"/>
                  </a:lnTo>
                  <a:lnTo>
                    <a:pt x="9" y="23"/>
                  </a:lnTo>
                  <a:lnTo>
                    <a:pt x="9" y="26"/>
                  </a:lnTo>
                  <a:lnTo>
                    <a:pt x="9" y="28"/>
                  </a:lnTo>
                  <a:lnTo>
                    <a:pt x="6" y="29"/>
                  </a:lnTo>
                  <a:lnTo>
                    <a:pt x="6" y="32"/>
                  </a:lnTo>
                  <a:lnTo>
                    <a:pt x="4" y="33"/>
                  </a:lnTo>
                  <a:lnTo>
                    <a:pt x="4" y="35"/>
                  </a:lnTo>
                  <a:lnTo>
                    <a:pt x="1" y="38"/>
                  </a:lnTo>
                  <a:lnTo>
                    <a:pt x="1" y="41"/>
                  </a:lnTo>
                  <a:lnTo>
                    <a:pt x="2" y="44"/>
                  </a:lnTo>
                  <a:lnTo>
                    <a:pt x="6" y="44"/>
                  </a:lnTo>
                  <a:lnTo>
                    <a:pt x="4" y="45"/>
                  </a:lnTo>
                  <a:lnTo>
                    <a:pt x="0" y="46"/>
                  </a:lnTo>
                  <a:lnTo>
                    <a:pt x="0" y="51"/>
                  </a:lnTo>
                  <a:lnTo>
                    <a:pt x="2" y="54"/>
                  </a:lnTo>
                  <a:lnTo>
                    <a:pt x="0" y="57"/>
                  </a:lnTo>
                  <a:lnTo>
                    <a:pt x="0" y="57"/>
                  </a:lnTo>
                  <a:lnTo>
                    <a:pt x="0" y="61"/>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6" name="Freeform 216">
              <a:extLst>
                <a:ext uri="{FF2B5EF4-FFF2-40B4-BE49-F238E27FC236}">
                  <a16:creationId xmlns:a16="http://schemas.microsoft.com/office/drawing/2014/main" id="{35A96843-D6B8-4483-9589-84800230C528}"/>
                </a:ext>
              </a:extLst>
            </p:cNvPr>
            <p:cNvSpPr>
              <a:spLocks noEditPoints="1"/>
            </p:cNvSpPr>
            <p:nvPr/>
          </p:nvSpPr>
          <p:spPr bwMode="auto">
            <a:xfrm>
              <a:off x="3690938" y="2228850"/>
              <a:ext cx="128587" cy="311150"/>
            </a:xfrm>
            <a:custGeom>
              <a:avLst/>
              <a:gdLst>
                <a:gd name="T0" fmla="*/ 55 w 81"/>
                <a:gd name="T1" fmla="*/ 196 h 196"/>
                <a:gd name="T2" fmla="*/ 55 w 81"/>
                <a:gd name="T3" fmla="*/ 194 h 196"/>
                <a:gd name="T4" fmla="*/ 35 w 81"/>
                <a:gd name="T5" fmla="*/ 30 h 196"/>
                <a:gd name="T6" fmla="*/ 41 w 81"/>
                <a:gd name="T7" fmla="*/ 29 h 196"/>
                <a:gd name="T8" fmla="*/ 48 w 81"/>
                <a:gd name="T9" fmla="*/ 28 h 196"/>
                <a:gd name="T10" fmla="*/ 54 w 81"/>
                <a:gd name="T11" fmla="*/ 26 h 196"/>
                <a:gd name="T12" fmla="*/ 58 w 81"/>
                <a:gd name="T13" fmla="*/ 25 h 196"/>
                <a:gd name="T14" fmla="*/ 57 w 81"/>
                <a:gd name="T15" fmla="*/ 20 h 196"/>
                <a:gd name="T16" fmla="*/ 57 w 81"/>
                <a:gd name="T17" fmla="*/ 16 h 196"/>
                <a:gd name="T18" fmla="*/ 59 w 81"/>
                <a:gd name="T19" fmla="*/ 13 h 196"/>
                <a:gd name="T20" fmla="*/ 54 w 81"/>
                <a:gd name="T21" fmla="*/ 11 h 196"/>
                <a:gd name="T22" fmla="*/ 48 w 81"/>
                <a:gd name="T23" fmla="*/ 11 h 196"/>
                <a:gd name="T24" fmla="*/ 42 w 81"/>
                <a:gd name="T25" fmla="*/ 9 h 196"/>
                <a:gd name="T26" fmla="*/ 40 w 81"/>
                <a:gd name="T27" fmla="*/ 6 h 196"/>
                <a:gd name="T28" fmla="*/ 34 w 81"/>
                <a:gd name="T29" fmla="*/ 5 h 196"/>
                <a:gd name="T30" fmla="*/ 29 w 81"/>
                <a:gd name="T31" fmla="*/ 3 h 196"/>
                <a:gd name="T32" fmla="*/ 23 w 81"/>
                <a:gd name="T33" fmla="*/ 1 h 196"/>
                <a:gd name="T34" fmla="*/ 17 w 81"/>
                <a:gd name="T35" fmla="*/ 0 h 196"/>
                <a:gd name="T36" fmla="*/ 13 w 81"/>
                <a:gd name="T37" fmla="*/ 4 h 196"/>
                <a:gd name="T38" fmla="*/ 17 w 81"/>
                <a:gd name="T39" fmla="*/ 8 h 196"/>
                <a:gd name="T40" fmla="*/ 13 w 81"/>
                <a:gd name="T41" fmla="*/ 12 h 196"/>
                <a:gd name="T42" fmla="*/ 16 w 81"/>
                <a:gd name="T43" fmla="*/ 16 h 196"/>
                <a:gd name="T44" fmla="*/ 22 w 81"/>
                <a:gd name="T45" fmla="*/ 18 h 196"/>
                <a:gd name="T46" fmla="*/ 27 w 81"/>
                <a:gd name="T47" fmla="*/ 20 h 196"/>
                <a:gd name="T48" fmla="*/ 33 w 81"/>
                <a:gd name="T49" fmla="*/ 22 h 196"/>
                <a:gd name="T50" fmla="*/ 27 w 81"/>
                <a:gd name="T51" fmla="*/ 23 h 196"/>
                <a:gd name="T52" fmla="*/ 22 w 81"/>
                <a:gd name="T53" fmla="*/ 24 h 196"/>
                <a:gd name="T54" fmla="*/ 27 w 81"/>
                <a:gd name="T55" fmla="*/ 26 h 196"/>
                <a:gd name="T56" fmla="*/ 30 w 81"/>
                <a:gd name="T57" fmla="*/ 30 h 196"/>
                <a:gd name="T58" fmla="*/ 33 w 81"/>
                <a:gd name="T59" fmla="*/ 31 h 196"/>
                <a:gd name="T60" fmla="*/ 57 w 81"/>
                <a:gd name="T61" fmla="*/ 93 h 196"/>
                <a:gd name="T62" fmla="*/ 52 w 81"/>
                <a:gd name="T63" fmla="*/ 94 h 196"/>
                <a:gd name="T64" fmla="*/ 49 w 81"/>
                <a:gd name="T65" fmla="*/ 99 h 196"/>
                <a:gd name="T66" fmla="*/ 44 w 81"/>
                <a:gd name="T67" fmla="*/ 99 h 196"/>
                <a:gd name="T68" fmla="*/ 44 w 81"/>
                <a:gd name="T69" fmla="*/ 102 h 196"/>
                <a:gd name="T70" fmla="*/ 39 w 81"/>
                <a:gd name="T71" fmla="*/ 106 h 196"/>
                <a:gd name="T72" fmla="*/ 40 w 81"/>
                <a:gd name="T73" fmla="*/ 110 h 196"/>
                <a:gd name="T74" fmla="*/ 43 w 81"/>
                <a:gd name="T75" fmla="*/ 110 h 196"/>
                <a:gd name="T76" fmla="*/ 47 w 81"/>
                <a:gd name="T77" fmla="*/ 115 h 196"/>
                <a:gd name="T78" fmla="*/ 52 w 81"/>
                <a:gd name="T79" fmla="*/ 117 h 196"/>
                <a:gd name="T80" fmla="*/ 58 w 81"/>
                <a:gd name="T81" fmla="*/ 117 h 196"/>
                <a:gd name="T82" fmla="*/ 64 w 81"/>
                <a:gd name="T83" fmla="*/ 120 h 196"/>
                <a:gd name="T84" fmla="*/ 68 w 81"/>
                <a:gd name="T85" fmla="*/ 120 h 196"/>
                <a:gd name="T86" fmla="*/ 75 w 81"/>
                <a:gd name="T87" fmla="*/ 120 h 196"/>
                <a:gd name="T88" fmla="*/ 80 w 81"/>
                <a:gd name="T89" fmla="*/ 117 h 196"/>
                <a:gd name="T90" fmla="*/ 80 w 81"/>
                <a:gd name="T91" fmla="*/ 111 h 196"/>
                <a:gd name="T92" fmla="*/ 80 w 81"/>
                <a:gd name="T93" fmla="*/ 107 h 196"/>
                <a:gd name="T94" fmla="*/ 76 w 81"/>
                <a:gd name="T95" fmla="*/ 102 h 196"/>
                <a:gd name="T96" fmla="*/ 72 w 81"/>
                <a:gd name="T97" fmla="*/ 97 h 196"/>
                <a:gd name="T98" fmla="*/ 66 w 81"/>
                <a:gd name="T99" fmla="*/ 93 h 196"/>
                <a:gd name="T100" fmla="*/ 60 w 81"/>
                <a:gd name="T101" fmla="*/ 93 h 196"/>
                <a:gd name="T102" fmla="*/ 23 w 81"/>
                <a:gd name="T103" fmla="*/ 135 h 196"/>
                <a:gd name="T104" fmla="*/ 17 w 81"/>
                <a:gd name="T105" fmla="*/ 135 h 196"/>
                <a:gd name="T106" fmla="*/ 10 w 81"/>
                <a:gd name="T107" fmla="*/ 136 h 196"/>
                <a:gd name="T108" fmla="*/ 5 w 81"/>
                <a:gd name="T109" fmla="*/ 137 h 196"/>
                <a:gd name="T110" fmla="*/ 0 w 81"/>
                <a:gd name="T111" fmla="*/ 138 h 196"/>
                <a:gd name="T112" fmla="*/ 5 w 81"/>
                <a:gd name="T113" fmla="*/ 142 h 196"/>
                <a:gd name="T114" fmla="*/ 5 w 81"/>
                <a:gd name="T115" fmla="*/ 142 h 196"/>
                <a:gd name="T116" fmla="*/ 10 w 81"/>
                <a:gd name="T117" fmla="*/ 142 h 196"/>
                <a:gd name="T118" fmla="*/ 16 w 81"/>
                <a:gd name="T119" fmla="*/ 141 h 196"/>
                <a:gd name="T120" fmla="*/ 22 w 81"/>
                <a:gd name="T121" fmla="*/ 137 h 196"/>
                <a:gd name="T122" fmla="*/ 23 w 81"/>
                <a:gd name="T123" fmla="*/ 13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196">
                  <a:moveTo>
                    <a:pt x="55" y="194"/>
                  </a:moveTo>
                  <a:lnTo>
                    <a:pt x="55" y="196"/>
                  </a:lnTo>
                  <a:lnTo>
                    <a:pt x="55" y="194"/>
                  </a:lnTo>
                  <a:lnTo>
                    <a:pt x="55" y="194"/>
                  </a:lnTo>
                  <a:close/>
                  <a:moveTo>
                    <a:pt x="33" y="31"/>
                  </a:moveTo>
                  <a:lnTo>
                    <a:pt x="35" y="30"/>
                  </a:lnTo>
                  <a:lnTo>
                    <a:pt x="39" y="28"/>
                  </a:lnTo>
                  <a:lnTo>
                    <a:pt x="41" y="29"/>
                  </a:lnTo>
                  <a:lnTo>
                    <a:pt x="44" y="29"/>
                  </a:lnTo>
                  <a:lnTo>
                    <a:pt x="48" y="28"/>
                  </a:lnTo>
                  <a:lnTo>
                    <a:pt x="50" y="28"/>
                  </a:lnTo>
                  <a:lnTo>
                    <a:pt x="54" y="26"/>
                  </a:lnTo>
                  <a:lnTo>
                    <a:pt x="56" y="26"/>
                  </a:lnTo>
                  <a:lnTo>
                    <a:pt x="58" y="25"/>
                  </a:lnTo>
                  <a:lnTo>
                    <a:pt x="59" y="23"/>
                  </a:lnTo>
                  <a:lnTo>
                    <a:pt x="57" y="20"/>
                  </a:lnTo>
                  <a:lnTo>
                    <a:pt x="55" y="18"/>
                  </a:lnTo>
                  <a:lnTo>
                    <a:pt x="57" y="16"/>
                  </a:lnTo>
                  <a:lnTo>
                    <a:pt x="60" y="15"/>
                  </a:lnTo>
                  <a:lnTo>
                    <a:pt x="59" y="13"/>
                  </a:lnTo>
                  <a:lnTo>
                    <a:pt x="56" y="12"/>
                  </a:lnTo>
                  <a:lnTo>
                    <a:pt x="54" y="11"/>
                  </a:lnTo>
                  <a:lnTo>
                    <a:pt x="50" y="9"/>
                  </a:lnTo>
                  <a:lnTo>
                    <a:pt x="48" y="11"/>
                  </a:lnTo>
                  <a:lnTo>
                    <a:pt x="44" y="11"/>
                  </a:lnTo>
                  <a:lnTo>
                    <a:pt x="42" y="9"/>
                  </a:lnTo>
                  <a:lnTo>
                    <a:pt x="43" y="7"/>
                  </a:lnTo>
                  <a:lnTo>
                    <a:pt x="40" y="6"/>
                  </a:lnTo>
                  <a:lnTo>
                    <a:pt x="38" y="5"/>
                  </a:lnTo>
                  <a:lnTo>
                    <a:pt x="34" y="5"/>
                  </a:lnTo>
                  <a:lnTo>
                    <a:pt x="32" y="3"/>
                  </a:lnTo>
                  <a:lnTo>
                    <a:pt x="29" y="3"/>
                  </a:lnTo>
                  <a:lnTo>
                    <a:pt x="26" y="1"/>
                  </a:lnTo>
                  <a:lnTo>
                    <a:pt x="23" y="1"/>
                  </a:lnTo>
                  <a:lnTo>
                    <a:pt x="21" y="0"/>
                  </a:lnTo>
                  <a:lnTo>
                    <a:pt x="17" y="0"/>
                  </a:lnTo>
                  <a:lnTo>
                    <a:pt x="15" y="1"/>
                  </a:lnTo>
                  <a:lnTo>
                    <a:pt x="13" y="4"/>
                  </a:lnTo>
                  <a:lnTo>
                    <a:pt x="14" y="6"/>
                  </a:lnTo>
                  <a:lnTo>
                    <a:pt x="17" y="8"/>
                  </a:lnTo>
                  <a:lnTo>
                    <a:pt x="14" y="9"/>
                  </a:lnTo>
                  <a:lnTo>
                    <a:pt x="13" y="12"/>
                  </a:lnTo>
                  <a:lnTo>
                    <a:pt x="15" y="13"/>
                  </a:lnTo>
                  <a:lnTo>
                    <a:pt x="16" y="16"/>
                  </a:lnTo>
                  <a:lnTo>
                    <a:pt x="20" y="16"/>
                  </a:lnTo>
                  <a:lnTo>
                    <a:pt x="22" y="18"/>
                  </a:lnTo>
                  <a:lnTo>
                    <a:pt x="25" y="18"/>
                  </a:lnTo>
                  <a:lnTo>
                    <a:pt x="27" y="20"/>
                  </a:lnTo>
                  <a:lnTo>
                    <a:pt x="31" y="21"/>
                  </a:lnTo>
                  <a:lnTo>
                    <a:pt x="33" y="22"/>
                  </a:lnTo>
                  <a:lnTo>
                    <a:pt x="31" y="23"/>
                  </a:lnTo>
                  <a:lnTo>
                    <a:pt x="27" y="23"/>
                  </a:lnTo>
                  <a:lnTo>
                    <a:pt x="24" y="23"/>
                  </a:lnTo>
                  <a:lnTo>
                    <a:pt x="22" y="24"/>
                  </a:lnTo>
                  <a:lnTo>
                    <a:pt x="24" y="25"/>
                  </a:lnTo>
                  <a:lnTo>
                    <a:pt x="27" y="26"/>
                  </a:lnTo>
                  <a:lnTo>
                    <a:pt x="30" y="28"/>
                  </a:lnTo>
                  <a:lnTo>
                    <a:pt x="30" y="30"/>
                  </a:lnTo>
                  <a:lnTo>
                    <a:pt x="33" y="31"/>
                  </a:lnTo>
                  <a:lnTo>
                    <a:pt x="33" y="31"/>
                  </a:lnTo>
                  <a:close/>
                  <a:moveTo>
                    <a:pt x="60" y="93"/>
                  </a:moveTo>
                  <a:lnTo>
                    <a:pt x="57" y="93"/>
                  </a:lnTo>
                  <a:lnTo>
                    <a:pt x="55" y="94"/>
                  </a:lnTo>
                  <a:lnTo>
                    <a:pt x="52" y="94"/>
                  </a:lnTo>
                  <a:lnTo>
                    <a:pt x="49" y="95"/>
                  </a:lnTo>
                  <a:lnTo>
                    <a:pt x="49" y="99"/>
                  </a:lnTo>
                  <a:lnTo>
                    <a:pt x="47" y="99"/>
                  </a:lnTo>
                  <a:lnTo>
                    <a:pt x="44" y="99"/>
                  </a:lnTo>
                  <a:lnTo>
                    <a:pt x="47" y="100"/>
                  </a:lnTo>
                  <a:lnTo>
                    <a:pt x="44" y="102"/>
                  </a:lnTo>
                  <a:lnTo>
                    <a:pt x="41" y="103"/>
                  </a:lnTo>
                  <a:lnTo>
                    <a:pt x="39" y="106"/>
                  </a:lnTo>
                  <a:lnTo>
                    <a:pt x="37" y="109"/>
                  </a:lnTo>
                  <a:lnTo>
                    <a:pt x="40" y="110"/>
                  </a:lnTo>
                  <a:lnTo>
                    <a:pt x="41" y="112"/>
                  </a:lnTo>
                  <a:lnTo>
                    <a:pt x="43" y="110"/>
                  </a:lnTo>
                  <a:lnTo>
                    <a:pt x="44" y="112"/>
                  </a:lnTo>
                  <a:lnTo>
                    <a:pt x="47" y="115"/>
                  </a:lnTo>
                  <a:lnTo>
                    <a:pt x="49" y="116"/>
                  </a:lnTo>
                  <a:lnTo>
                    <a:pt x="52" y="117"/>
                  </a:lnTo>
                  <a:lnTo>
                    <a:pt x="55" y="116"/>
                  </a:lnTo>
                  <a:lnTo>
                    <a:pt x="58" y="117"/>
                  </a:lnTo>
                  <a:lnTo>
                    <a:pt x="60" y="119"/>
                  </a:lnTo>
                  <a:lnTo>
                    <a:pt x="64" y="120"/>
                  </a:lnTo>
                  <a:lnTo>
                    <a:pt x="66" y="120"/>
                  </a:lnTo>
                  <a:lnTo>
                    <a:pt x="68" y="120"/>
                  </a:lnTo>
                  <a:lnTo>
                    <a:pt x="72" y="120"/>
                  </a:lnTo>
                  <a:lnTo>
                    <a:pt x="75" y="120"/>
                  </a:lnTo>
                  <a:lnTo>
                    <a:pt x="77" y="120"/>
                  </a:lnTo>
                  <a:lnTo>
                    <a:pt x="80" y="117"/>
                  </a:lnTo>
                  <a:lnTo>
                    <a:pt x="81" y="115"/>
                  </a:lnTo>
                  <a:lnTo>
                    <a:pt x="80" y="111"/>
                  </a:lnTo>
                  <a:lnTo>
                    <a:pt x="77" y="109"/>
                  </a:lnTo>
                  <a:lnTo>
                    <a:pt x="80" y="107"/>
                  </a:lnTo>
                  <a:lnTo>
                    <a:pt x="80" y="103"/>
                  </a:lnTo>
                  <a:lnTo>
                    <a:pt x="76" y="102"/>
                  </a:lnTo>
                  <a:lnTo>
                    <a:pt x="74" y="99"/>
                  </a:lnTo>
                  <a:lnTo>
                    <a:pt x="72" y="97"/>
                  </a:lnTo>
                  <a:lnTo>
                    <a:pt x="68" y="94"/>
                  </a:lnTo>
                  <a:lnTo>
                    <a:pt x="66" y="93"/>
                  </a:lnTo>
                  <a:lnTo>
                    <a:pt x="63" y="93"/>
                  </a:lnTo>
                  <a:lnTo>
                    <a:pt x="60" y="93"/>
                  </a:lnTo>
                  <a:lnTo>
                    <a:pt x="60" y="93"/>
                  </a:lnTo>
                  <a:close/>
                  <a:moveTo>
                    <a:pt x="23" y="135"/>
                  </a:moveTo>
                  <a:lnTo>
                    <a:pt x="20" y="134"/>
                  </a:lnTo>
                  <a:lnTo>
                    <a:pt x="17" y="135"/>
                  </a:lnTo>
                  <a:lnTo>
                    <a:pt x="14" y="135"/>
                  </a:lnTo>
                  <a:lnTo>
                    <a:pt x="10" y="136"/>
                  </a:lnTo>
                  <a:lnTo>
                    <a:pt x="8" y="136"/>
                  </a:lnTo>
                  <a:lnTo>
                    <a:pt x="5" y="137"/>
                  </a:lnTo>
                  <a:lnTo>
                    <a:pt x="3" y="138"/>
                  </a:lnTo>
                  <a:lnTo>
                    <a:pt x="0" y="138"/>
                  </a:lnTo>
                  <a:lnTo>
                    <a:pt x="3" y="142"/>
                  </a:lnTo>
                  <a:lnTo>
                    <a:pt x="5" y="142"/>
                  </a:lnTo>
                  <a:lnTo>
                    <a:pt x="3" y="142"/>
                  </a:lnTo>
                  <a:lnTo>
                    <a:pt x="5" y="142"/>
                  </a:lnTo>
                  <a:lnTo>
                    <a:pt x="8" y="142"/>
                  </a:lnTo>
                  <a:lnTo>
                    <a:pt x="10" y="142"/>
                  </a:lnTo>
                  <a:lnTo>
                    <a:pt x="14" y="141"/>
                  </a:lnTo>
                  <a:lnTo>
                    <a:pt x="16" y="141"/>
                  </a:lnTo>
                  <a:lnTo>
                    <a:pt x="18" y="138"/>
                  </a:lnTo>
                  <a:lnTo>
                    <a:pt x="22" y="137"/>
                  </a:lnTo>
                  <a:lnTo>
                    <a:pt x="23" y="135"/>
                  </a:lnTo>
                  <a:lnTo>
                    <a:pt x="23"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7" name="Freeform 217">
              <a:extLst>
                <a:ext uri="{FF2B5EF4-FFF2-40B4-BE49-F238E27FC236}">
                  <a16:creationId xmlns:a16="http://schemas.microsoft.com/office/drawing/2014/main" id="{F9EAAFFA-9246-4AC8-BF31-01A1F48A5AED}"/>
                </a:ext>
              </a:extLst>
            </p:cNvPr>
            <p:cNvSpPr>
              <a:spLocks noEditPoints="1"/>
            </p:cNvSpPr>
            <p:nvPr/>
          </p:nvSpPr>
          <p:spPr bwMode="auto">
            <a:xfrm>
              <a:off x="3621088" y="2274888"/>
              <a:ext cx="203200" cy="104775"/>
            </a:xfrm>
            <a:custGeom>
              <a:avLst/>
              <a:gdLst>
                <a:gd name="T0" fmla="*/ 27 w 128"/>
                <a:gd name="T1" fmla="*/ 66 h 66"/>
                <a:gd name="T2" fmla="*/ 25 w 128"/>
                <a:gd name="T3" fmla="*/ 65 h 66"/>
                <a:gd name="T4" fmla="*/ 22 w 128"/>
                <a:gd name="T5" fmla="*/ 66 h 66"/>
                <a:gd name="T6" fmla="*/ 25 w 128"/>
                <a:gd name="T7" fmla="*/ 65 h 66"/>
                <a:gd name="T8" fmla="*/ 27 w 128"/>
                <a:gd name="T9" fmla="*/ 64 h 66"/>
                <a:gd name="T10" fmla="*/ 31 w 128"/>
                <a:gd name="T11" fmla="*/ 64 h 66"/>
                <a:gd name="T12" fmla="*/ 27 w 128"/>
                <a:gd name="T13" fmla="*/ 66 h 66"/>
                <a:gd name="T14" fmla="*/ 27 w 128"/>
                <a:gd name="T15" fmla="*/ 66 h 66"/>
                <a:gd name="T16" fmla="*/ 11 w 128"/>
                <a:gd name="T17" fmla="*/ 0 h 66"/>
                <a:gd name="T18" fmla="*/ 6 w 128"/>
                <a:gd name="T19" fmla="*/ 0 h 66"/>
                <a:gd name="T20" fmla="*/ 2 w 128"/>
                <a:gd name="T21" fmla="*/ 0 h 66"/>
                <a:gd name="T22" fmla="*/ 0 w 128"/>
                <a:gd name="T23" fmla="*/ 0 h 66"/>
                <a:gd name="T24" fmla="*/ 1 w 128"/>
                <a:gd name="T25" fmla="*/ 3 h 66"/>
                <a:gd name="T26" fmla="*/ 4 w 128"/>
                <a:gd name="T27" fmla="*/ 4 h 66"/>
                <a:gd name="T28" fmla="*/ 6 w 128"/>
                <a:gd name="T29" fmla="*/ 5 h 66"/>
                <a:gd name="T30" fmla="*/ 9 w 128"/>
                <a:gd name="T31" fmla="*/ 5 h 66"/>
                <a:gd name="T32" fmla="*/ 11 w 128"/>
                <a:gd name="T33" fmla="*/ 5 h 66"/>
                <a:gd name="T34" fmla="*/ 15 w 128"/>
                <a:gd name="T35" fmla="*/ 4 h 66"/>
                <a:gd name="T36" fmla="*/ 17 w 128"/>
                <a:gd name="T37" fmla="*/ 4 h 66"/>
                <a:gd name="T38" fmla="*/ 21 w 128"/>
                <a:gd name="T39" fmla="*/ 4 h 66"/>
                <a:gd name="T40" fmla="*/ 18 w 128"/>
                <a:gd name="T41" fmla="*/ 1 h 66"/>
                <a:gd name="T42" fmla="*/ 16 w 128"/>
                <a:gd name="T43" fmla="*/ 0 h 66"/>
                <a:gd name="T44" fmla="*/ 13 w 128"/>
                <a:gd name="T45" fmla="*/ 0 h 66"/>
                <a:gd name="T46" fmla="*/ 11 w 128"/>
                <a:gd name="T47" fmla="*/ 0 h 66"/>
                <a:gd name="T48" fmla="*/ 11 w 128"/>
                <a:gd name="T49" fmla="*/ 0 h 66"/>
                <a:gd name="T50" fmla="*/ 128 w 128"/>
                <a:gd name="T51" fmla="*/ 4 h 66"/>
                <a:gd name="T52" fmla="*/ 125 w 128"/>
                <a:gd name="T53" fmla="*/ 6 h 66"/>
                <a:gd name="T54" fmla="*/ 124 w 128"/>
                <a:gd name="T55" fmla="*/ 10 h 66"/>
                <a:gd name="T56" fmla="*/ 122 w 128"/>
                <a:gd name="T57" fmla="*/ 12 h 66"/>
                <a:gd name="T58" fmla="*/ 119 w 128"/>
                <a:gd name="T59" fmla="*/ 12 h 66"/>
                <a:gd name="T60" fmla="*/ 115 w 128"/>
                <a:gd name="T61" fmla="*/ 12 h 66"/>
                <a:gd name="T62" fmla="*/ 111 w 128"/>
                <a:gd name="T63" fmla="*/ 11 h 66"/>
                <a:gd name="T64" fmla="*/ 103 w 128"/>
                <a:gd name="T65" fmla="*/ 11 h 66"/>
                <a:gd name="T66" fmla="*/ 100 w 128"/>
                <a:gd name="T67" fmla="*/ 12 h 66"/>
                <a:gd name="T68" fmla="*/ 98 w 128"/>
                <a:gd name="T69" fmla="*/ 12 h 66"/>
                <a:gd name="T70" fmla="*/ 92 w 128"/>
                <a:gd name="T71" fmla="*/ 12 h 66"/>
                <a:gd name="T72" fmla="*/ 88 w 128"/>
                <a:gd name="T73" fmla="*/ 11 h 66"/>
                <a:gd name="T74" fmla="*/ 86 w 128"/>
                <a:gd name="T75" fmla="*/ 9 h 66"/>
                <a:gd name="T76" fmla="*/ 85 w 128"/>
                <a:gd name="T77" fmla="*/ 6 h 66"/>
                <a:gd name="T78" fmla="*/ 87 w 128"/>
                <a:gd name="T79" fmla="*/ 4 h 66"/>
                <a:gd name="T80" fmla="*/ 91 w 128"/>
                <a:gd name="T81" fmla="*/ 3 h 66"/>
                <a:gd name="T82" fmla="*/ 93 w 128"/>
                <a:gd name="T83" fmla="*/ 3 h 66"/>
                <a:gd name="T84" fmla="*/ 96 w 128"/>
                <a:gd name="T85" fmla="*/ 2 h 66"/>
                <a:gd name="T86" fmla="*/ 99 w 128"/>
                <a:gd name="T87" fmla="*/ 3 h 66"/>
                <a:gd name="T88" fmla="*/ 102 w 128"/>
                <a:gd name="T89" fmla="*/ 3 h 66"/>
                <a:gd name="T90" fmla="*/ 105 w 128"/>
                <a:gd name="T91" fmla="*/ 3 h 66"/>
                <a:gd name="T92" fmla="*/ 108 w 128"/>
                <a:gd name="T93" fmla="*/ 2 h 66"/>
                <a:gd name="T94" fmla="*/ 110 w 128"/>
                <a:gd name="T95" fmla="*/ 3 h 66"/>
                <a:gd name="T96" fmla="*/ 113 w 128"/>
                <a:gd name="T97" fmla="*/ 3 h 66"/>
                <a:gd name="T98" fmla="*/ 116 w 128"/>
                <a:gd name="T99" fmla="*/ 3 h 66"/>
                <a:gd name="T100" fmla="*/ 119 w 128"/>
                <a:gd name="T101" fmla="*/ 4 h 66"/>
                <a:gd name="T102" fmla="*/ 122 w 128"/>
                <a:gd name="T103" fmla="*/ 3 h 66"/>
                <a:gd name="T104" fmla="*/ 125 w 128"/>
                <a:gd name="T105" fmla="*/ 3 h 66"/>
                <a:gd name="T106" fmla="*/ 127 w 128"/>
                <a:gd name="T107" fmla="*/ 4 h 66"/>
                <a:gd name="T108" fmla="*/ 128 w 128"/>
                <a:gd name="T109" fmla="*/ 4 h 66"/>
                <a:gd name="T110" fmla="*/ 128 w 128"/>
                <a:gd name="T111"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66">
                  <a:moveTo>
                    <a:pt x="27" y="66"/>
                  </a:moveTo>
                  <a:lnTo>
                    <a:pt x="25" y="65"/>
                  </a:lnTo>
                  <a:lnTo>
                    <a:pt x="22" y="66"/>
                  </a:lnTo>
                  <a:lnTo>
                    <a:pt x="25" y="65"/>
                  </a:lnTo>
                  <a:lnTo>
                    <a:pt x="27" y="64"/>
                  </a:lnTo>
                  <a:lnTo>
                    <a:pt x="31" y="64"/>
                  </a:lnTo>
                  <a:lnTo>
                    <a:pt x="27" y="66"/>
                  </a:lnTo>
                  <a:lnTo>
                    <a:pt x="27" y="66"/>
                  </a:lnTo>
                  <a:close/>
                  <a:moveTo>
                    <a:pt x="11" y="0"/>
                  </a:moveTo>
                  <a:lnTo>
                    <a:pt x="6" y="0"/>
                  </a:lnTo>
                  <a:lnTo>
                    <a:pt x="2" y="0"/>
                  </a:lnTo>
                  <a:lnTo>
                    <a:pt x="0" y="0"/>
                  </a:lnTo>
                  <a:lnTo>
                    <a:pt x="1" y="3"/>
                  </a:lnTo>
                  <a:lnTo>
                    <a:pt x="4" y="4"/>
                  </a:lnTo>
                  <a:lnTo>
                    <a:pt x="6" y="5"/>
                  </a:lnTo>
                  <a:lnTo>
                    <a:pt x="9" y="5"/>
                  </a:lnTo>
                  <a:lnTo>
                    <a:pt x="11" y="5"/>
                  </a:lnTo>
                  <a:lnTo>
                    <a:pt x="15" y="4"/>
                  </a:lnTo>
                  <a:lnTo>
                    <a:pt x="17" y="4"/>
                  </a:lnTo>
                  <a:lnTo>
                    <a:pt x="21" y="4"/>
                  </a:lnTo>
                  <a:lnTo>
                    <a:pt x="18" y="1"/>
                  </a:lnTo>
                  <a:lnTo>
                    <a:pt x="16" y="0"/>
                  </a:lnTo>
                  <a:lnTo>
                    <a:pt x="13" y="0"/>
                  </a:lnTo>
                  <a:lnTo>
                    <a:pt x="11" y="0"/>
                  </a:lnTo>
                  <a:lnTo>
                    <a:pt x="11" y="0"/>
                  </a:lnTo>
                  <a:close/>
                  <a:moveTo>
                    <a:pt x="128" y="4"/>
                  </a:moveTo>
                  <a:lnTo>
                    <a:pt x="125" y="6"/>
                  </a:lnTo>
                  <a:lnTo>
                    <a:pt x="124" y="10"/>
                  </a:lnTo>
                  <a:lnTo>
                    <a:pt x="122" y="12"/>
                  </a:lnTo>
                  <a:lnTo>
                    <a:pt x="119" y="12"/>
                  </a:lnTo>
                  <a:lnTo>
                    <a:pt x="115" y="12"/>
                  </a:lnTo>
                  <a:lnTo>
                    <a:pt x="111" y="11"/>
                  </a:lnTo>
                  <a:lnTo>
                    <a:pt x="103" y="11"/>
                  </a:lnTo>
                  <a:lnTo>
                    <a:pt x="100" y="12"/>
                  </a:lnTo>
                  <a:lnTo>
                    <a:pt x="98" y="12"/>
                  </a:lnTo>
                  <a:lnTo>
                    <a:pt x="92" y="12"/>
                  </a:lnTo>
                  <a:lnTo>
                    <a:pt x="88" y="11"/>
                  </a:lnTo>
                  <a:lnTo>
                    <a:pt x="86" y="9"/>
                  </a:lnTo>
                  <a:lnTo>
                    <a:pt x="85" y="6"/>
                  </a:lnTo>
                  <a:lnTo>
                    <a:pt x="87" y="4"/>
                  </a:lnTo>
                  <a:lnTo>
                    <a:pt x="91" y="3"/>
                  </a:lnTo>
                  <a:lnTo>
                    <a:pt x="93" y="3"/>
                  </a:lnTo>
                  <a:lnTo>
                    <a:pt x="96" y="2"/>
                  </a:lnTo>
                  <a:lnTo>
                    <a:pt x="99" y="3"/>
                  </a:lnTo>
                  <a:lnTo>
                    <a:pt x="102" y="3"/>
                  </a:lnTo>
                  <a:lnTo>
                    <a:pt x="105" y="3"/>
                  </a:lnTo>
                  <a:lnTo>
                    <a:pt x="108" y="2"/>
                  </a:lnTo>
                  <a:lnTo>
                    <a:pt x="110" y="3"/>
                  </a:lnTo>
                  <a:lnTo>
                    <a:pt x="113" y="3"/>
                  </a:lnTo>
                  <a:lnTo>
                    <a:pt x="116" y="3"/>
                  </a:lnTo>
                  <a:lnTo>
                    <a:pt x="119" y="4"/>
                  </a:lnTo>
                  <a:lnTo>
                    <a:pt x="122" y="3"/>
                  </a:lnTo>
                  <a:lnTo>
                    <a:pt x="125" y="3"/>
                  </a:lnTo>
                  <a:lnTo>
                    <a:pt x="127" y="4"/>
                  </a:lnTo>
                  <a:lnTo>
                    <a:pt x="128" y="4"/>
                  </a:lnTo>
                  <a:lnTo>
                    <a:pt x="12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8" name="Freeform 218">
              <a:extLst>
                <a:ext uri="{FF2B5EF4-FFF2-40B4-BE49-F238E27FC236}">
                  <a16:creationId xmlns:a16="http://schemas.microsoft.com/office/drawing/2014/main" id="{695A1E9C-3242-419D-ADB1-86E45A8AAB41}"/>
                </a:ext>
              </a:extLst>
            </p:cNvPr>
            <p:cNvSpPr>
              <a:spLocks/>
            </p:cNvSpPr>
            <p:nvPr/>
          </p:nvSpPr>
          <p:spPr bwMode="auto">
            <a:xfrm>
              <a:off x="4260850" y="1982788"/>
              <a:ext cx="1325562" cy="979488"/>
            </a:xfrm>
            <a:custGeom>
              <a:avLst/>
              <a:gdLst>
                <a:gd name="T0" fmla="*/ 711 w 835"/>
                <a:gd name="T1" fmla="*/ 101 h 617"/>
                <a:gd name="T2" fmla="*/ 827 w 835"/>
                <a:gd name="T3" fmla="*/ 64 h 617"/>
                <a:gd name="T4" fmla="*/ 721 w 835"/>
                <a:gd name="T5" fmla="*/ 67 h 617"/>
                <a:gd name="T6" fmla="*/ 682 w 835"/>
                <a:gd name="T7" fmla="*/ 53 h 617"/>
                <a:gd name="T8" fmla="*/ 597 w 835"/>
                <a:gd name="T9" fmla="*/ 57 h 617"/>
                <a:gd name="T10" fmla="*/ 612 w 835"/>
                <a:gd name="T11" fmla="*/ 49 h 617"/>
                <a:gd name="T12" fmla="*/ 648 w 835"/>
                <a:gd name="T13" fmla="*/ 30 h 617"/>
                <a:gd name="T14" fmla="*/ 537 w 835"/>
                <a:gd name="T15" fmla="*/ 26 h 617"/>
                <a:gd name="T16" fmla="*/ 637 w 835"/>
                <a:gd name="T17" fmla="*/ 15 h 617"/>
                <a:gd name="T18" fmla="*/ 527 w 835"/>
                <a:gd name="T19" fmla="*/ 2 h 617"/>
                <a:gd name="T20" fmla="*/ 483 w 835"/>
                <a:gd name="T21" fmla="*/ 21 h 617"/>
                <a:gd name="T22" fmla="*/ 380 w 835"/>
                <a:gd name="T23" fmla="*/ 17 h 617"/>
                <a:gd name="T24" fmla="*/ 423 w 835"/>
                <a:gd name="T25" fmla="*/ 26 h 617"/>
                <a:gd name="T26" fmla="*/ 392 w 835"/>
                <a:gd name="T27" fmla="*/ 39 h 617"/>
                <a:gd name="T28" fmla="*/ 344 w 835"/>
                <a:gd name="T29" fmla="*/ 45 h 617"/>
                <a:gd name="T30" fmla="*/ 285 w 835"/>
                <a:gd name="T31" fmla="*/ 56 h 617"/>
                <a:gd name="T32" fmla="*/ 199 w 835"/>
                <a:gd name="T33" fmla="*/ 51 h 617"/>
                <a:gd name="T34" fmla="*/ 166 w 835"/>
                <a:gd name="T35" fmla="*/ 83 h 617"/>
                <a:gd name="T36" fmla="*/ 84 w 835"/>
                <a:gd name="T37" fmla="*/ 118 h 617"/>
                <a:gd name="T38" fmla="*/ 49 w 835"/>
                <a:gd name="T39" fmla="*/ 156 h 617"/>
                <a:gd name="T40" fmla="*/ 39 w 835"/>
                <a:gd name="T41" fmla="*/ 193 h 617"/>
                <a:gd name="T42" fmla="*/ 89 w 835"/>
                <a:gd name="T43" fmla="*/ 205 h 617"/>
                <a:gd name="T44" fmla="*/ 65 w 835"/>
                <a:gd name="T45" fmla="*/ 219 h 617"/>
                <a:gd name="T46" fmla="*/ 122 w 835"/>
                <a:gd name="T47" fmla="*/ 230 h 617"/>
                <a:gd name="T48" fmla="*/ 221 w 835"/>
                <a:gd name="T49" fmla="*/ 270 h 617"/>
                <a:gd name="T50" fmla="*/ 252 w 835"/>
                <a:gd name="T51" fmla="*/ 321 h 617"/>
                <a:gd name="T52" fmla="*/ 262 w 835"/>
                <a:gd name="T53" fmla="*/ 354 h 617"/>
                <a:gd name="T54" fmla="*/ 282 w 835"/>
                <a:gd name="T55" fmla="*/ 364 h 617"/>
                <a:gd name="T56" fmla="*/ 277 w 835"/>
                <a:gd name="T57" fmla="*/ 376 h 617"/>
                <a:gd name="T58" fmla="*/ 307 w 835"/>
                <a:gd name="T59" fmla="*/ 407 h 617"/>
                <a:gd name="T60" fmla="*/ 280 w 835"/>
                <a:gd name="T61" fmla="*/ 436 h 617"/>
                <a:gd name="T62" fmla="*/ 286 w 835"/>
                <a:gd name="T63" fmla="*/ 444 h 617"/>
                <a:gd name="T64" fmla="*/ 311 w 835"/>
                <a:gd name="T65" fmla="*/ 449 h 617"/>
                <a:gd name="T66" fmla="*/ 311 w 835"/>
                <a:gd name="T67" fmla="*/ 461 h 617"/>
                <a:gd name="T68" fmla="*/ 277 w 835"/>
                <a:gd name="T69" fmla="*/ 476 h 617"/>
                <a:gd name="T70" fmla="*/ 288 w 835"/>
                <a:gd name="T71" fmla="*/ 477 h 617"/>
                <a:gd name="T72" fmla="*/ 298 w 835"/>
                <a:gd name="T73" fmla="*/ 494 h 617"/>
                <a:gd name="T74" fmla="*/ 315 w 835"/>
                <a:gd name="T75" fmla="*/ 514 h 617"/>
                <a:gd name="T76" fmla="*/ 297 w 835"/>
                <a:gd name="T77" fmla="*/ 537 h 617"/>
                <a:gd name="T78" fmla="*/ 318 w 835"/>
                <a:gd name="T79" fmla="*/ 569 h 617"/>
                <a:gd name="T80" fmla="*/ 340 w 835"/>
                <a:gd name="T81" fmla="*/ 602 h 617"/>
                <a:gd name="T82" fmla="*/ 380 w 835"/>
                <a:gd name="T83" fmla="*/ 607 h 617"/>
                <a:gd name="T84" fmla="*/ 413 w 835"/>
                <a:gd name="T85" fmla="*/ 600 h 617"/>
                <a:gd name="T86" fmla="*/ 413 w 835"/>
                <a:gd name="T87" fmla="*/ 562 h 617"/>
                <a:gd name="T88" fmla="*/ 442 w 835"/>
                <a:gd name="T89" fmla="*/ 530 h 617"/>
                <a:gd name="T90" fmla="*/ 483 w 835"/>
                <a:gd name="T91" fmla="*/ 480 h 617"/>
                <a:gd name="T92" fmla="*/ 551 w 835"/>
                <a:gd name="T93" fmla="*/ 449 h 617"/>
                <a:gd name="T94" fmla="*/ 631 w 835"/>
                <a:gd name="T95" fmla="*/ 427 h 617"/>
                <a:gd name="T96" fmla="*/ 668 w 835"/>
                <a:gd name="T97" fmla="*/ 390 h 617"/>
                <a:gd name="T98" fmla="*/ 611 w 835"/>
                <a:gd name="T99" fmla="*/ 382 h 617"/>
                <a:gd name="T100" fmla="*/ 617 w 835"/>
                <a:gd name="T101" fmla="*/ 355 h 617"/>
                <a:gd name="T102" fmla="*/ 694 w 835"/>
                <a:gd name="T103" fmla="*/ 381 h 617"/>
                <a:gd name="T104" fmla="*/ 668 w 835"/>
                <a:gd name="T105" fmla="*/ 337 h 617"/>
                <a:gd name="T106" fmla="*/ 653 w 835"/>
                <a:gd name="T107" fmla="*/ 316 h 617"/>
                <a:gd name="T108" fmla="*/ 668 w 835"/>
                <a:gd name="T109" fmla="*/ 299 h 617"/>
                <a:gd name="T110" fmla="*/ 700 w 835"/>
                <a:gd name="T111" fmla="*/ 295 h 617"/>
                <a:gd name="T112" fmla="*/ 717 w 835"/>
                <a:gd name="T113" fmla="*/ 267 h 617"/>
                <a:gd name="T114" fmla="*/ 730 w 835"/>
                <a:gd name="T115" fmla="*/ 262 h 617"/>
                <a:gd name="T116" fmla="*/ 704 w 835"/>
                <a:gd name="T117" fmla="*/ 228 h 617"/>
                <a:gd name="T118" fmla="*/ 748 w 835"/>
                <a:gd name="T119" fmla="*/ 214 h 617"/>
                <a:gd name="T120" fmla="*/ 724 w 835"/>
                <a:gd name="T121" fmla="*/ 184 h 617"/>
                <a:gd name="T122" fmla="*/ 732 w 835"/>
                <a:gd name="T123" fmla="*/ 14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5" h="617">
                  <a:moveTo>
                    <a:pt x="721" y="119"/>
                  </a:moveTo>
                  <a:lnTo>
                    <a:pt x="719" y="118"/>
                  </a:lnTo>
                  <a:lnTo>
                    <a:pt x="720" y="116"/>
                  </a:lnTo>
                  <a:lnTo>
                    <a:pt x="723" y="115"/>
                  </a:lnTo>
                  <a:lnTo>
                    <a:pt x="726" y="113"/>
                  </a:lnTo>
                  <a:lnTo>
                    <a:pt x="729" y="111"/>
                  </a:lnTo>
                  <a:lnTo>
                    <a:pt x="731" y="110"/>
                  </a:lnTo>
                  <a:lnTo>
                    <a:pt x="734" y="110"/>
                  </a:lnTo>
                  <a:lnTo>
                    <a:pt x="738" y="111"/>
                  </a:lnTo>
                  <a:lnTo>
                    <a:pt x="740" y="111"/>
                  </a:lnTo>
                  <a:lnTo>
                    <a:pt x="742" y="112"/>
                  </a:lnTo>
                  <a:lnTo>
                    <a:pt x="746" y="112"/>
                  </a:lnTo>
                  <a:lnTo>
                    <a:pt x="749" y="112"/>
                  </a:lnTo>
                  <a:lnTo>
                    <a:pt x="751" y="112"/>
                  </a:lnTo>
                  <a:lnTo>
                    <a:pt x="755" y="112"/>
                  </a:lnTo>
                  <a:lnTo>
                    <a:pt x="757" y="112"/>
                  </a:lnTo>
                  <a:lnTo>
                    <a:pt x="760" y="112"/>
                  </a:lnTo>
                  <a:lnTo>
                    <a:pt x="766" y="112"/>
                  </a:lnTo>
                  <a:lnTo>
                    <a:pt x="768" y="111"/>
                  </a:lnTo>
                  <a:lnTo>
                    <a:pt x="772" y="110"/>
                  </a:lnTo>
                  <a:lnTo>
                    <a:pt x="774" y="109"/>
                  </a:lnTo>
                  <a:lnTo>
                    <a:pt x="773" y="107"/>
                  </a:lnTo>
                  <a:lnTo>
                    <a:pt x="775" y="108"/>
                  </a:lnTo>
                  <a:lnTo>
                    <a:pt x="779" y="106"/>
                  </a:lnTo>
                  <a:lnTo>
                    <a:pt x="780" y="102"/>
                  </a:lnTo>
                  <a:lnTo>
                    <a:pt x="777" y="102"/>
                  </a:lnTo>
                  <a:lnTo>
                    <a:pt x="772" y="101"/>
                  </a:lnTo>
                  <a:lnTo>
                    <a:pt x="768" y="101"/>
                  </a:lnTo>
                  <a:lnTo>
                    <a:pt x="765" y="100"/>
                  </a:lnTo>
                  <a:lnTo>
                    <a:pt x="763" y="100"/>
                  </a:lnTo>
                  <a:lnTo>
                    <a:pt x="759" y="101"/>
                  </a:lnTo>
                  <a:lnTo>
                    <a:pt x="757" y="101"/>
                  </a:lnTo>
                  <a:lnTo>
                    <a:pt x="754" y="102"/>
                  </a:lnTo>
                  <a:lnTo>
                    <a:pt x="751" y="102"/>
                  </a:lnTo>
                  <a:lnTo>
                    <a:pt x="748" y="102"/>
                  </a:lnTo>
                  <a:lnTo>
                    <a:pt x="746" y="101"/>
                  </a:lnTo>
                  <a:lnTo>
                    <a:pt x="742" y="101"/>
                  </a:lnTo>
                  <a:lnTo>
                    <a:pt x="739" y="101"/>
                  </a:lnTo>
                  <a:lnTo>
                    <a:pt x="737" y="101"/>
                  </a:lnTo>
                  <a:lnTo>
                    <a:pt x="733" y="100"/>
                  </a:lnTo>
                  <a:lnTo>
                    <a:pt x="730" y="99"/>
                  </a:lnTo>
                  <a:lnTo>
                    <a:pt x="728" y="99"/>
                  </a:lnTo>
                  <a:lnTo>
                    <a:pt x="725" y="100"/>
                  </a:lnTo>
                  <a:lnTo>
                    <a:pt x="722" y="101"/>
                  </a:lnTo>
                  <a:lnTo>
                    <a:pt x="720" y="102"/>
                  </a:lnTo>
                  <a:lnTo>
                    <a:pt x="716" y="103"/>
                  </a:lnTo>
                  <a:lnTo>
                    <a:pt x="713" y="102"/>
                  </a:lnTo>
                  <a:lnTo>
                    <a:pt x="711" y="101"/>
                  </a:lnTo>
                  <a:lnTo>
                    <a:pt x="713" y="101"/>
                  </a:lnTo>
                  <a:lnTo>
                    <a:pt x="716" y="101"/>
                  </a:lnTo>
                  <a:lnTo>
                    <a:pt x="720" y="101"/>
                  </a:lnTo>
                  <a:lnTo>
                    <a:pt x="722" y="100"/>
                  </a:lnTo>
                  <a:lnTo>
                    <a:pt x="724" y="98"/>
                  </a:lnTo>
                  <a:lnTo>
                    <a:pt x="728" y="98"/>
                  </a:lnTo>
                  <a:lnTo>
                    <a:pt x="733" y="99"/>
                  </a:lnTo>
                  <a:lnTo>
                    <a:pt x="737" y="99"/>
                  </a:lnTo>
                  <a:lnTo>
                    <a:pt x="739" y="99"/>
                  </a:lnTo>
                  <a:lnTo>
                    <a:pt x="742" y="100"/>
                  </a:lnTo>
                  <a:lnTo>
                    <a:pt x="746" y="100"/>
                  </a:lnTo>
                  <a:lnTo>
                    <a:pt x="748" y="99"/>
                  </a:lnTo>
                  <a:lnTo>
                    <a:pt x="751" y="98"/>
                  </a:lnTo>
                  <a:lnTo>
                    <a:pt x="754" y="96"/>
                  </a:lnTo>
                  <a:lnTo>
                    <a:pt x="755" y="94"/>
                  </a:lnTo>
                  <a:lnTo>
                    <a:pt x="757" y="94"/>
                  </a:lnTo>
                  <a:lnTo>
                    <a:pt x="760" y="96"/>
                  </a:lnTo>
                  <a:lnTo>
                    <a:pt x="763" y="96"/>
                  </a:lnTo>
                  <a:lnTo>
                    <a:pt x="766" y="95"/>
                  </a:lnTo>
                  <a:lnTo>
                    <a:pt x="768" y="96"/>
                  </a:lnTo>
                  <a:lnTo>
                    <a:pt x="772" y="96"/>
                  </a:lnTo>
                  <a:lnTo>
                    <a:pt x="774" y="96"/>
                  </a:lnTo>
                  <a:lnTo>
                    <a:pt x="777" y="96"/>
                  </a:lnTo>
                  <a:lnTo>
                    <a:pt x="780" y="96"/>
                  </a:lnTo>
                  <a:lnTo>
                    <a:pt x="783" y="96"/>
                  </a:lnTo>
                  <a:lnTo>
                    <a:pt x="785" y="93"/>
                  </a:lnTo>
                  <a:lnTo>
                    <a:pt x="788" y="92"/>
                  </a:lnTo>
                  <a:lnTo>
                    <a:pt x="797" y="92"/>
                  </a:lnTo>
                  <a:lnTo>
                    <a:pt x="800" y="91"/>
                  </a:lnTo>
                  <a:lnTo>
                    <a:pt x="800" y="89"/>
                  </a:lnTo>
                  <a:lnTo>
                    <a:pt x="797" y="86"/>
                  </a:lnTo>
                  <a:lnTo>
                    <a:pt x="797" y="84"/>
                  </a:lnTo>
                  <a:lnTo>
                    <a:pt x="800" y="83"/>
                  </a:lnTo>
                  <a:lnTo>
                    <a:pt x="808" y="83"/>
                  </a:lnTo>
                  <a:lnTo>
                    <a:pt x="811" y="83"/>
                  </a:lnTo>
                  <a:lnTo>
                    <a:pt x="815" y="81"/>
                  </a:lnTo>
                  <a:lnTo>
                    <a:pt x="817" y="78"/>
                  </a:lnTo>
                  <a:lnTo>
                    <a:pt x="819" y="78"/>
                  </a:lnTo>
                  <a:lnTo>
                    <a:pt x="823" y="77"/>
                  </a:lnTo>
                  <a:lnTo>
                    <a:pt x="825" y="75"/>
                  </a:lnTo>
                  <a:lnTo>
                    <a:pt x="827" y="74"/>
                  </a:lnTo>
                  <a:lnTo>
                    <a:pt x="831" y="73"/>
                  </a:lnTo>
                  <a:lnTo>
                    <a:pt x="833" y="72"/>
                  </a:lnTo>
                  <a:lnTo>
                    <a:pt x="835" y="70"/>
                  </a:lnTo>
                  <a:lnTo>
                    <a:pt x="835" y="67"/>
                  </a:lnTo>
                  <a:lnTo>
                    <a:pt x="833" y="67"/>
                  </a:lnTo>
                  <a:lnTo>
                    <a:pt x="830" y="65"/>
                  </a:lnTo>
                  <a:lnTo>
                    <a:pt x="827" y="64"/>
                  </a:lnTo>
                  <a:lnTo>
                    <a:pt x="825" y="62"/>
                  </a:lnTo>
                  <a:lnTo>
                    <a:pt x="822" y="61"/>
                  </a:lnTo>
                  <a:lnTo>
                    <a:pt x="819" y="61"/>
                  </a:lnTo>
                  <a:lnTo>
                    <a:pt x="816" y="61"/>
                  </a:lnTo>
                  <a:lnTo>
                    <a:pt x="814" y="61"/>
                  </a:lnTo>
                  <a:lnTo>
                    <a:pt x="810" y="60"/>
                  </a:lnTo>
                  <a:lnTo>
                    <a:pt x="808" y="59"/>
                  </a:lnTo>
                  <a:lnTo>
                    <a:pt x="805" y="59"/>
                  </a:lnTo>
                  <a:lnTo>
                    <a:pt x="801" y="58"/>
                  </a:lnTo>
                  <a:lnTo>
                    <a:pt x="799" y="58"/>
                  </a:lnTo>
                  <a:lnTo>
                    <a:pt x="796" y="57"/>
                  </a:lnTo>
                  <a:lnTo>
                    <a:pt x="793" y="58"/>
                  </a:lnTo>
                  <a:lnTo>
                    <a:pt x="790" y="58"/>
                  </a:lnTo>
                  <a:lnTo>
                    <a:pt x="786" y="58"/>
                  </a:lnTo>
                  <a:lnTo>
                    <a:pt x="784" y="58"/>
                  </a:lnTo>
                  <a:lnTo>
                    <a:pt x="782" y="57"/>
                  </a:lnTo>
                  <a:lnTo>
                    <a:pt x="779" y="58"/>
                  </a:lnTo>
                  <a:lnTo>
                    <a:pt x="776" y="58"/>
                  </a:lnTo>
                  <a:lnTo>
                    <a:pt x="773" y="57"/>
                  </a:lnTo>
                  <a:lnTo>
                    <a:pt x="770" y="60"/>
                  </a:lnTo>
                  <a:lnTo>
                    <a:pt x="767" y="59"/>
                  </a:lnTo>
                  <a:lnTo>
                    <a:pt x="765" y="60"/>
                  </a:lnTo>
                  <a:lnTo>
                    <a:pt x="762" y="60"/>
                  </a:lnTo>
                  <a:lnTo>
                    <a:pt x="763" y="62"/>
                  </a:lnTo>
                  <a:lnTo>
                    <a:pt x="764" y="65"/>
                  </a:lnTo>
                  <a:lnTo>
                    <a:pt x="760" y="64"/>
                  </a:lnTo>
                  <a:lnTo>
                    <a:pt x="757" y="65"/>
                  </a:lnTo>
                  <a:lnTo>
                    <a:pt x="757" y="67"/>
                  </a:lnTo>
                  <a:lnTo>
                    <a:pt x="759" y="68"/>
                  </a:lnTo>
                  <a:lnTo>
                    <a:pt x="757" y="69"/>
                  </a:lnTo>
                  <a:lnTo>
                    <a:pt x="754" y="70"/>
                  </a:lnTo>
                  <a:lnTo>
                    <a:pt x="755" y="73"/>
                  </a:lnTo>
                  <a:lnTo>
                    <a:pt x="753" y="73"/>
                  </a:lnTo>
                  <a:lnTo>
                    <a:pt x="750" y="73"/>
                  </a:lnTo>
                  <a:lnTo>
                    <a:pt x="747" y="72"/>
                  </a:lnTo>
                  <a:lnTo>
                    <a:pt x="743" y="72"/>
                  </a:lnTo>
                  <a:lnTo>
                    <a:pt x="741" y="70"/>
                  </a:lnTo>
                  <a:lnTo>
                    <a:pt x="739" y="69"/>
                  </a:lnTo>
                  <a:lnTo>
                    <a:pt x="736" y="69"/>
                  </a:lnTo>
                  <a:lnTo>
                    <a:pt x="732" y="70"/>
                  </a:lnTo>
                  <a:lnTo>
                    <a:pt x="730" y="72"/>
                  </a:lnTo>
                  <a:lnTo>
                    <a:pt x="726" y="73"/>
                  </a:lnTo>
                  <a:lnTo>
                    <a:pt x="724" y="74"/>
                  </a:lnTo>
                  <a:lnTo>
                    <a:pt x="724" y="72"/>
                  </a:lnTo>
                  <a:lnTo>
                    <a:pt x="724" y="68"/>
                  </a:lnTo>
                  <a:lnTo>
                    <a:pt x="728" y="67"/>
                  </a:lnTo>
                  <a:lnTo>
                    <a:pt x="724" y="67"/>
                  </a:lnTo>
                  <a:lnTo>
                    <a:pt x="721" y="67"/>
                  </a:lnTo>
                  <a:lnTo>
                    <a:pt x="719" y="68"/>
                  </a:lnTo>
                  <a:lnTo>
                    <a:pt x="715" y="69"/>
                  </a:lnTo>
                  <a:lnTo>
                    <a:pt x="713" y="72"/>
                  </a:lnTo>
                  <a:lnTo>
                    <a:pt x="709" y="73"/>
                  </a:lnTo>
                  <a:lnTo>
                    <a:pt x="707" y="76"/>
                  </a:lnTo>
                  <a:lnTo>
                    <a:pt x="704" y="77"/>
                  </a:lnTo>
                  <a:lnTo>
                    <a:pt x="702" y="81"/>
                  </a:lnTo>
                  <a:lnTo>
                    <a:pt x="698" y="81"/>
                  </a:lnTo>
                  <a:lnTo>
                    <a:pt x="695" y="83"/>
                  </a:lnTo>
                  <a:lnTo>
                    <a:pt x="692" y="84"/>
                  </a:lnTo>
                  <a:lnTo>
                    <a:pt x="690" y="86"/>
                  </a:lnTo>
                  <a:lnTo>
                    <a:pt x="687" y="89"/>
                  </a:lnTo>
                  <a:lnTo>
                    <a:pt x="685" y="90"/>
                  </a:lnTo>
                  <a:lnTo>
                    <a:pt x="681" y="91"/>
                  </a:lnTo>
                  <a:lnTo>
                    <a:pt x="679" y="91"/>
                  </a:lnTo>
                  <a:lnTo>
                    <a:pt x="679" y="94"/>
                  </a:lnTo>
                  <a:lnTo>
                    <a:pt x="677" y="95"/>
                  </a:lnTo>
                  <a:lnTo>
                    <a:pt x="674" y="98"/>
                  </a:lnTo>
                  <a:lnTo>
                    <a:pt x="672" y="100"/>
                  </a:lnTo>
                  <a:lnTo>
                    <a:pt x="669" y="101"/>
                  </a:lnTo>
                  <a:lnTo>
                    <a:pt x="666" y="102"/>
                  </a:lnTo>
                  <a:lnTo>
                    <a:pt x="668" y="100"/>
                  </a:lnTo>
                  <a:lnTo>
                    <a:pt x="670" y="98"/>
                  </a:lnTo>
                  <a:lnTo>
                    <a:pt x="668" y="98"/>
                  </a:lnTo>
                  <a:lnTo>
                    <a:pt x="671" y="96"/>
                  </a:lnTo>
                  <a:lnTo>
                    <a:pt x="673" y="95"/>
                  </a:lnTo>
                  <a:lnTo>
                    <a:pt x="673" y="92"/>
                  </a:lnTo>
                  <a:lnTo>
                    <a:pt x="675" y="90"/>
                  </a:lnTo>
                  <a:lnTo>
                    <a:pt x="679" y="87"/>
                  </a:lnTo>
                  <a:lnTo>
                    <a:pt x="681" y="85"/>
                  </a:lnTo>
                  <a:lnTo>
                    <a:pt x="683" y="83"/>
                  </a:lnTo>
                  <a:lnTo>
                    <a:pt x="687" y="82"/>
                  </a:lnTo>
                  <a:lnTo>
                    <a:pt x="688" y="79"/>
                  </a:lnTo>
                  <a:lnTo>
                    <a:pt x="691" y="77"/>
                  </a:lnTo>
                  <a:lnTo>
                    <a:pt x="694" y="75"/>
                  </a:lnTo>
                  <a:lnTo>
                    <a:pt x="697" y="73"/>
                  </a:lnTo>
                  <a:lnTo>
                    <a:pt x="698" y="69"/>
                  </a:lnTo>
                  <a:lnTo>
                    <a:pt x="699" y="67"/>
                  </a:lnTo>
                  <a:lnTo>
                    <a:pt x="699" y="64"/>
                  </a:lnTo>
                  <a:lnTo>
                    <a:pt x="699" y="61"/>
                  </a:lnTo>
                  <a:lnTo>
                    <a:pt x="699" y="59"/>
                  </a:lnTo>
                  <a:lnTo>
                    <a:pt x="699" y="56"/>
                  </a:lnTo>
                  <a:lnTo>
                    <a:pt x="697" y="53"/>
                  </a:lnTo>
                  <a:lnTo>
                    <a:pt x="694" y="52"/>
                  </a:lnTo>
                  <a:lnTo>
                    <a:pt x="691" y="52"/>
                  </a:lnTo>
                  <a:lnTo>
                    <a:pt x="688" y="53"/>
                  </a:lnTo>
                  <a:lnTo>
                    <a:pt x="686" y="53"/>
                  </a:lnTo>
                  <a:lnTo>
                    <a:pt x="682" y="53"/>
                  </a:lnTo>
                  <a:lnTo>
                    <a:pt x="680" y="53"/>
                  </a:lnTo>
                  <a:lnTo>
                    <a:pt x="677" y="53"/>
                  </a:lnTo>
                  <a:lnTo>
                    <a:pt x="674" y="55"/>
                  </a:lnTo>
                  <a:lnTo>
                    <a:pt x="671" y="56"/>
                  </a:lnTo>
                  <a:lnTo>
                    <a:pt x="671" y="58"/>
                  </a:lnTo>
                  <a:lnTo>
                    <a:pt x="670" y="61"/>
                  </a:lnTo>
                  <a:lnTo>
                    <a:pt x="670" y="64"/>
                  </a:lnTo>
                  <a:lnTo>
                    <a:pt x="668" y="65"/>
                  </a:lnTo>
                  <a:lnTo>
                    <a:pt x="664" y="65"/>
                  </a:lnTo>
                  <a:lnTo>
                    <a:pt x="661" y="65"/>
                  </a:lnTo>
                  <a:lnTo>
                    <a:pt x="658" y="66"/>
                  </a:lnTo>
                  <a:lnTo>
                    <a:pt x="656" y="67"/>
                  </a:lnTo>
                  <a:lnTo>
                    <a:pt x="649" y="68"/>
                  </a:lnTo>
                  <a:lnTo>
                    <a:pt x="647" y="69"/>
                  </a:lnTo>
                  <a:lnTo>
                    <a:pt x="640" y="70"/>
                  </a:lnTo>
                  <a:lnTo>
                    <a:pt x="638" y="72"/>
                  </a:lnTo>
                  <a:lnTo>
                    <a:pt x="635" y="73"/>
                  </a:lnTo>
                  <a:lnTo>
                    <a:pt x="632" y="74"/>
                  </a:lnTo>
                  <a:lnTo>
                    <a:pt x="630" y="75"/>
                  </a:lnTo>
                  <a:lnTo>
                    <a:pt x="627" y="75"/>
                  </a:lnTo>
                  <a:lnTo>
                    <a:pt x="623" y="75"/>
                  </a:lnTo>
                  <a:lnTo>
                    <a:pt x="627" y="75"/>
                  </a:lnTo>
                  <a:lnTo>
                    <a:pt x="623" y="73"/>
                  </a:lnTo>
                  <a:lnTo>
                    <a:pt x="627" y="70"/>
                  </a:lnTo>
                  <a:lnTo>
                    <a:pt x="632" y="69"/>
                  </a:lnTo>
                  <a:lnTo>
                    <a:pt x="636" y="68"/>
                  </a:lnTo>
                  <a:lnTo>
                    <a:pt x="638" y="67"/>
                  </a:lnTo>
                  <a:lnTo>
                    <a:pt x="645" y="66"/>
                  </a:lnTo>
                  <a:lnTo>
                    <a:pt x="651" y="64"/>
                  </a:lnTo>
                  <a:lnTo>
                    <a:pt x="653" y="62"/>
                  </a:lnTo>
                  <a:lnTo>
                    <a:pt x="655" y="60"/>
                  </a:lnTo>
                  <a:lnTo>
                    <a:pt x="654" y="57"/>
                  </a:lnTo>
                  <a:lnTo>
                    <a:pt x="652" y="55"/>
                  </a:lnTo>
                  <a:lnTo>
                    <a:pt x="648" y="55"/>
                  </a:lnTo>
                  <a:lnTo>
                    <a:pt x="646" y="55"/>
                  </a:lnTo>
                  <a:lnTo>
                    <a:pt x="643" y="55"/>
                  </a:lnTo>
                  <a:lnTo>
                    <a:pt x="635" y="55"/>
                  </a:lnTo>
                  <a:lnTo>
                    <a:pt x="631" y="55"/>
                  </a:lnTo>
                  <a:lnTo>
                    <a:pt x="626" y="55"/>
                  </a:lnTo>
                  <a:lnTo>
                    <a:pt x="623" y="55"/>
                  </a:lnTo>
                  <a:lnTo>
                    <a:pt x="617" y="55"/>
                  </a:lnTo>
                  <a:lnTo>
                    <a:pt x="614" y="55"/>
                  </a:lnTo>
                  <a:lnTo>
                    <a:pt x="612" y="55"/>
                  </a:lnTo>
                  <a:lnTo>
                    <a:pt x="609" y="55"/>
                  </a:lnTo>
                  <a:lnTo>
                    <a:pt x="605" y="55"/>
                  </a:lnTo>
                  <a:lnTo>
                    <a:pt x="603" y="56"/>
                  </a:lnTo>
                  <a:lnTo>
                    <a:pt x="600" y="56"/>
                  </a:lnTo>
                  <a:lnTo>
                    <a:pt x="597" y="57"/>
                  </a:lnTo>
                  <a:lnTo>
                    <a:pt x="594" y="59"/>
                  </a:lnTo>
                  <a:lnTo>
                    <a:pt x="592" y="57"/>
                  </a:lnTo>
                  <a:lnTo>
                    <a:pt x="585" y="58"/>
                  </a:lnTo>
                  <a:lnTo>
                    <a:pt x="583" y="59"/>
                  </a:lnTo>
                  <a:lnTo>
                    <a:pt x="579" y="59"/>
                  </a:lnTo>
                  <a:lnTo>
                    <a:pt x="577" y="59"/>
                  </a:lnTo>
                  <a:lnTo>
                    <a:pt x="570" y="60"/>
                  </a:lnTo>
                  <a:lnTo>
                    <a:pt x="568" y="60"/>
                  </a:lnTo>
                  <a:lnTo>
                    <a:pt x="564" y="61"/>
                  </a:lnTo>
                  <a:lnTo>
                    <a:pt x="562" y="61"/>
                  </a:lnTo>
                  <a:lnTo>
                    <a:pt x="559" y="62"/>
                  </a:lnTo>
                  <a:lnTo>
                    <a:pt x="557" y="64"/>
                  </a:lnTo>
                  <a:lnTo>
                    <a:pt x="553" y="66"/>
                  </a:lnTo>
                  <a:lnTo>
                    <a:pt x="551" y="66"/>
                  </a:lnTo>
                  <a:lnTo>
                    <a:pt x="550" y="64"/>
                  </a:lnTo>
                  <a:lnTo>
                    <a:pt x="549" y="60"/>
                  </a:lnTo>
                  <a:lnTo>
                    <a:pt x="552" y="59"/>
                  </a:lnTo>
                  <a:lnTo>
                    <a:pt x="555" y="59"/>
                  </a:lnTo>
                  <a:lnTo>
                    <a:pt x="558" y="58"/>
                  </a:lnTo>
                  <a:lnTo>
                    <a:pt x="560" y="58"/>
                  </a:lnTo>
                  <a:lnTo>
                    <a:pt x="563" y="57"/>
                  </a:lnTo>
                  <a:lnTo>
                    <a:pt x="566" y="57"/>
                  </a:lnTo>
                  <a:lnTo>
                    <a:pt x="569" y="57"/>
                  </a:lnTo>
                  <a:lnTo>
                    <a:pt x="571" y="56"/>
                  </a:lnTo>
                  <a:lnTo>
                    <a:pt x="574" y="56"/>
                  </a:lnTo>
                  <a:lnTo>
                    <a:pt x="577" y="55"/>
                  </a:lnTo>
                  <a:lnTo>
                    <a:pt x="588" y="52"/>
                  </a:lnTo>
                  <a:lnTo>
                    <a:pt x="591" y="52"/>
                  </a:lnTo>
                  <a:lnTo>
                    <a:pt x="588" y="50"/>
                  </a:lnTo>
                  <a:lnTo>
                    <a:pt x="586" y="49"/>
                  </a:lnTo>
                  <a:lnTo>
                    <a:pt x="583" y="49"/>
                  </a:lnTo>
                  <a:lnTo>
                    <a:pt x="574" y="49"/>
                  </a:lnTo>
                  <a:lnTo>
                    <a:pt x="568" y="49"/>
                  </a:lnTo>
                  <a:lnTo>
                    <a:pt x="571" y="49"/>
                  </a:lnTo>
                  <a:lnTo>
                    <a:pt x="574" y="48"/>
                  </a:lnTo>
                  <a:lnTo>
                    <a:pt x="577" y="48"/>
                  </a:lnTo>
                  <a:lnTo>
                    <a:pt x="580" y="49"/>
                  </a:lnTo>
                  <a:lnTo>
                    <a:pt x="583" y="49"/>
                  </a:lnTo>
                  <a:lnTo>
                    <a:pt x="586" y="49"/>
                  </a:lnTo>
                  <a:lnTo>
                    <a:pt x="588" y="49"/>
                  </a:lnTo>
                  <a:lnTo>
                    <a:pt x="592" y="50"/>
                  </a:lnTo>
                  <a:lnTo>
                    <a:pt x="594" y="50"/>
                  </a:lnTo>
                  <a:lnTo>
                    <a:pt x="597" y="50"/>
                  </a:lnTo>
                  <a:lnTo>
                    <a:pt x="600" y="50"/>
                  </a:lnTo>
                  <a:lnTo>
                    <a:pt x="603" y="50"/>
                  </a:lnTo>
                  <a:lnTo>
                    <a:pt x="606" y="49"/>
                  </a:lnTo>
                  <a:lnTo>
                    <a:pt x="609" y="49"/>
                  </a:lnTo>
                  <a:lnTo>
                    <a:pt x="612" y="49"/>
                  </a:lnTo>
                  <a:lnTo>
                    <a:pt x="615" y="49"/>
                  </a:lnTo>
                  <a:lnTo>
                    <a:pt x="618" y="49"/>
                  </a:lnTo>
                  <a:lnTo>
                    <a:pt x="621" y="49"/>
                  </a:lnTo>
                  <a:lnTo>
                    <a:pt x="625" y="49"/>
                  </a:lnTo>
                  <a:lnTo>
                    <a:pt x="630" y="49"/>
                  </a:lnTo>
                  <a:lnTo>
                    <a:pt x="634" y="49"/>
                  </a:lnTo>
                  <a:lnTo>
                    <a:pt x="639" y="50"/>
                  </a:lnTo>
                  <a:lnTo>
                    <a:pt x="643" y="50"/>
                  </a:lnTo>
                  <a:lnTo>
                    <a:pt x="645" y="50"/>
                  </a:lnTo>
                  <a:lnTo>
                    <a:pt x="657" y="50"/>
                  </a:lnTo>
                  <a:lnTo>
                    <a:pt x="660" y="49"/>
                  </a:lnTo>
                  <a:lnTo>
                    <a:pt x="663" y="49"/>
                  </a:lnTo>
                  <a:lnTo>
                    <a:pt x="665" y="48"/>
                  </a:lnTo>
                  <a:lnTo>
                    <a:pt x="669" y="47"/>
                  </a:lnTo>
                  <a:lnTo>
                    <a:pt x="671" y="47"/>
                  </a:lnTo>
                  <a:lnTo>
                    <a:pt x="674" y="45"/>
                  </a:lnTo>
                  <a:lnTo>
                    <a:pt x="683" y="45"/>
                  </a:lnTo>
                  <a:lnTo>
                    <a:pt x="687" y="45"/>
                  </a:lnTo>
                  <a:lnTo>
                    <a:pt x="689" y="44"/>
                  </a:lnTo>
                  <a:lnTo>
                    <a:pt x="691" y="44"/>
                  </a:lnTo>
                  <a:lnTo>
                    <a:pt x="695" y="43"/>
                  </a:lnTo>
                  <a:lnTo>
                    <a:pt x="696" y="40"/>
                  </a:lnTo>
                  <a:lnTo>
                    <a:pt x="699" y="40"/>
                  </a:lnTo>
                  <a:lnTo>
                    <a:pt x="703" y="39"/>
                  </a:lnTo>
                  <a:lnTo>
                    <a:pt x="705" y="38"/>
                  </a:lnTo>
                  <a:lnTo>
                    <a:pt x="708" y="36"/>
                  </a:lnTo>
                  <a:lnTo>
                    <a:pt x="707" y="34"/>
                  </a:lnTo>
                  <a:lnTo>
                    <a:pt x="704" y="32"/>
                  </a:lnTo>
                  <a:lnTo>
                    <a:pt x="700" y="31"/>
                  </a:lnTo>
                  <a:lnTo>
                    <a:pt x="698" y="31"/>
                  </a:lnTo>
                  <a:lnTo>
                    <a:pt x="695" y="30"/>
                  </a:lnTo>
                  <a:lnTo>
                    <a:pt x="691" y="29"/>
                  </a:lnTo>
                  <a:lnTo>
                    <a:pt x="689" y="30"/>
                  </a:lnTo>
                  <a:lnTo>
                    <a:pt x="687" y="29"/>
                  </a:lnTo>
                  <a:lnTo>
                    <a:pt x="683" y="29"/>
                  </a:lnTo>
                  <a:lnTo>
                    <a:pt x="681" y="26"/>
                  </a:lnTo>
                  <a:lnTo>
                    <a:pt x="678" y="26"/>
                  </a:lnTo>
                  <a:lnTo>
                    <a:pt x="674" y="29"/>
                  </a:lnTo>
                  <a:lnTo>
                    <a:pt x="672" y="30"/>
                  </a:lnTo>
                  <a:lnTo>
                    <a:pt x="672" y="26"/>
                  </a:lnTo>
                  <a:lnTo>
                    <a:pt x="670" y="25"/>
                  </a:lnTo>
                  <a:lnTo>
                    <a:pt x="666" y="25"/>
                  </a:lnTo>
                  <a:lnTo>
                    <a:pt x="664" y="25"/>
                  </a:lnTo>
                  <a:lnTo>
                    <a:pt x="661" y="26"/>
                  </a:lnTo>
                  <a:lnTo>
                    <a:pt x="657" y="27"/>
                  </a:lnTo>
                  <a:lnTo>
                    <a:pt x="655" y="27"/>
                  </a:lnTo>
                  <a:lnTo>
                    <a:pt x="652" y="29"/>
                  </a:lnTo>
                  <a:lnTo>
                    <a:pt x="648" y="30"/>
                  </a:lnTo>
                  <a:lnTo>
                    <a:pt x="652" y="27"/>
                  </a:lnTo>
                  <a:lnTo>
                    <a:pt x="655" y="26"/>
                  </a:lnTo>
                  <a:lnTo>
                    <a:pt x="657" y="24"/>
                  </a:lnTo>
                  <a:lnTo>
                    <a:pt x="661" y="23"/>
                  </a:lnTo>
                  <a:lnTo>
                    <a:pt x="660" y="19"/>
                  </a:lnTo>
                  <a:lnTo>
                    <a:pt x="660" y="17"/>
                  </a:lnTo>
                  <a:lnTo>
                    <a:pt x="656" y="16"/>
                  </a:lnTo>
                  <a:lnTo>
                    <a:pt x="651" y="16"/>
                  </a:lnTo>
                  <a:lnTo>
                    <a:pt x="648" y="17"/>
                  </a:lnTo>
                  <a:lnTo>
                    <a:pt x="645" y="17"/>
                  </a:lnTo>
                  <a:lnTo>
                    <a:pt x="643" y="17"/>
                  </a:lnTo>
                  <a:lnTo>
                    <a:pt x="639" y="18"/>
                  </a:lnTo>
                  <a:lnTo>
                    <a:pt x="636" y="19"/>
                  </a:lnTo>
                  <a:lnTo>
                    <a:pt x="634" y="19"/>
                  </a:lnTo>
                  <a:lnTo>
                    <a:pt x="630" y="19"/>
                  </a:lnTo>
                  <a:lnTo>
                    <a:pt x="627" y="19"/>
                  </a:lnTo>
                  <a:lnTo>
                    <a:pt x="625" y="19"/>
                  </a:lnTo>
                  <a:lnTo>
                    <a:pt x="622" y="18"/>
                  </a:lnTo>
                  <a:lnTo>
                    <a:pt x="619" y="18"/>
                  </a:lnTo>
                  <a:lnTo>
                    <a:pt x="617" y="19"/>
                  </a:lnTo>
                  <a:lnTo>
                    <a:pt x="613" y="19"/>
                  </a:lnTo>
                  <a:lnTo>
                    <a:pt x="611" y="18"/>
                  </a:lnTo>
                  <a:lnTo>
                    <a:pt x="608" y="17"/>
                  </a:lnTo>
                  <a:lnTo>
                    <a:pt x="604" y="17"/>
                  </a:lnTo>
                  <a:lnTo>
                    <a:pt x="602" y="17"/>
                  </a:lnTo>
                  <a:lnTo>
                    <a:pt x="598" y="17"/>
                  </a:lnTo>
                  <a:lnTo>
                    <a:pt x="593" y="17"/>
                  </a:lnTo>
                  <a:lnTo>
                    <a:pt x="589" y="17"/>
                  </a:lnTo>
                  <a:lnTo>
                    <a:pt x="587" y="17"/>
                  </a:lnTo>
                  <a:lnTo>
                    <a:pt x="584" y="18"/>
                  </a:lnTo>
                  <a:lnTo>
                    <a:pt x="581" y="18"/>
                  </a:lnTo>
                  <a:lnTo>
                    <a:pt x="578" y="18"/>
                  </a:lnTo>
                  <a:lnTo>
                    <a:pt x="575" y="19"/>
                  </a:lnTo>
                  <a:lnTo>
                    <a:pt x="572" y="21"/>
                  </a:lnTo>
                  <a:lnTo>
                    <a:pt x="569" y="22"/>
                  </a:lnTo>
                  <a:lnTo>
                    <a:pt x="567" y="24"/>
                  </a:lnTo>
                  <a:lnTo>
                    <a:pt x="563" y="22"/>
                  </a:lnTo>
                  <a:lnTo>
                    <a:pt x="560" y="22"/>
                  </a:lnTo>
                  <a:lnTo>
                    <a:pt x="557" y="22"/>
                  </a:lnTo>
                  <a:lnTo>
                    <a:pt x="554" y="22"/>
                  </a:lnTo>
                  <a:lnTo>
                    <a:pt x="552" y="23"/>
                  </a:lnTo>
                  <a:lnTo>
                    <a:pt x="547" y="23"/>
                  </a:lnTo>
                  <a:lnTo>
                    <a:pt x="545" y="23"/>
                  </a:lnTo>
                  <a:lnTo>
                    <a:pt x="543" y="23"/>
                  </a:lnTo>
                  <a:lnTo>
                    <a:pt x="540" y="24"/>
                  </a:lnTo>
                  <a:lnTo>
                    <a:pt x="540" y="26"/>
                  </a:lnTo>
                  <a:lnTo>
                    <a:pt x="536" y="29"/>
                  </a:lnTo>
                  <a:lnTo>
                    <a:pt x="537" y="26"/>
                  </a:lnTo>
                  <a:lnTo>
                    <a:pt x="535" y="24"/>
                  </a:lnTo>
                  <a:lnTo>
                    <a:pt x="528" y="24"/>
                  </a:lnTo>
                  <a:lnTo>
                    <a:pt x="526" y="24"/>
                  </a:lnTo>
                  <a:lnTo>
                    <a:pt x="523" y="25"/>
                  </a:lnTo>
                  <a:lnTo>
                    <a:pt x="519" y="25"/>
                  </a:lnTo>
                  <a:lnTo>
                    <a:pt x="517" y="27"/>
                  </a:lnTo>
                  <a:lnTo>
                    <a:pt x="515" y="30"/>
                  </a:lnTo>
                  <a:lnTo>
                    <a:pt x="516" y="27"/>
                  </a:lnTo>
                  <a:lnTo>
                    <a:pt x="514" y="24"/>
                  </a:lnTo>
                  <a:lnTo>
                    <a:pt x="517" y="24"/>
                  </a:lnTo>
                  <a:lnTo>
                    <a:pt x="520" y="24"/>
                  </a:lnTo>
                  <a:lnTo>
                    <a:pt x="523" y="24"/>
                  </a:lnTo>
                  <a:lnTo>
                    <a:pt x="526" y="24"/>
                  </a:lnTo>
                  <a:lnTo>
                    <a:pt x="532" y="24"/>
                  </a:lnTo>
                  <a:lnTo>
                    <a:pt x="534" y="23"/>
                  </a:lnTo>
                  <a:lnTo>
                    <a:pt x="537" y="23"/>
                  </a:lnTo>
                  <a:lnTo>
                    <a:pt x="541" y="22"/>
                  </a:lnTo>
                  <a:lnTo>
                    <a:pt x="543" y="22"/>
                  </a:lnTo>
                  <a:lnTo>
                    <a:pt x="550" y="21"/>
                  </a:lnTo>
                  <a:lnTo>
                    <a:pt x="552" y="21"/>
                  </a:lnTo>
                  <a:lnTo>
                    <a:pt x="555" y="21"/>
                  </a:lnTo>
                  <a:lnTo>
                    <a:pt x="552" y="18"/>
                  </a:lnTo>
                  <a:lnTo>
                    <a:pt x="550" y="17"/>
                  </a:lnTo>
                  <a:lnTo>
                    <a:pt x="546" y="17"/>
                  </a:lnTo>
                  <a:lnTo>
                    <a:pt x="543" y="17"/>
                  </a:lnTo>
                  <a:lnTo>
                    <a:pt x="546" y="16"/>
                  </a:lnTo>
                  <a:lnTo>
                    <a:pt x="550" y="17"/>
                  </a:lnTo>
                  <a:lnTo>
                    <a:pt x="552" y="17"/>
                  </a:lnTo>
                  <a:lnTo>
                    <a:pt x="555" y="18"/>
                  </a:lnTo>
                  <a:lnTo>
                    <a:pt x="561" y="19"/>
                  </a:lnTo>
                  <a:lnTo>
                    <a:pt x="567" y="19"/>
                  </a:lnTo>
                  <a:lnTo>
                    <a:pt x="572" y="18"/>
                  </a:lnTo>
                  <a:lnTo>
                    <a:pt x="576" y="17"/>
                  </a:lnTo>
                  <a:lnTo>
                    <a:pt x="578" y="17"/>
                  </a:lnTo>
                  <a:lnTo>
                    <a:pt x="581" y="16"/>
                  </a:lnTo>
                  <a:lnTo>
                    <a:pt x="584" y="16"/>
                  </a:lnTo>
                  <a:lnTo>
                    <a:pt x="591" y="15"/>
                  </a:lnTo>
                  <a:lnTo>
                    <a:pt x="596" y="15"/>
                  </a:lnTo>
                  <a:lnTo>
                    <a:pt x="598" y="15"/>
                  </a:lnTo>
                  <a:lnTo>
                    <a:pt x="602" y="15"/>
                  </a:lnTo>
                  <a:lnTo>
                    <a:pt x="605" y="15"/>
                  </a:lnTo>
                  <a:lnTo>
                    <a:pt x="608" y="16"/>
                  </a:lnTo>
                  <a:lnTo>
                    <a:pt x="617" y="16"/>
                  </a:lnTo>
                  <a:lnTo>
                    <a:pt x="619" y="16"/>
                  </a:lnTo>
                  <a:lnTo>
                    <a:pt x="622" y="17"/>
                  </a:lnTo>
                  <a:lnTo>
                    <a:pt x="626" y="16"/>
                  </a:lnTo>
                  <a:lnTo>
                    <a:pt x="631" y="16"/>
                  </a:lnTo>
                  <a:lnTo>
                    <a:pt x="637" y="15"/>
                  </a:lnTo>
                  <a:lnTo>
                    <a:pt x="639" y="15"/>
                  </a:lnTo>
                  <a:lnTo>
                    <a:pt x="643" y="14"/>
                  </a:lnTo>
                  <a:lnTo>
                    <a:pt x="645" y="14"/>
                  </a:lnTo>
                  <a:lnTo>
                    <a:pt x="648" y="13"/>
                  </a:lnTo>
                  <a:lnTo>
                    <a:pt x="645" y="9"/>
                  </a:lnTo>
                  <a:lnTo>
                    <a:pt x="642" y="8"/>
                  </a:lnTo>
                  <a:lnTo>
                    <a:pt x="639" y="8"/>
                  </a:lnTo>
                  <a:lnTo>
                    <a:pt x="636" y="7"/>
                  </a:lnTo>
                  <a:lnTo>
                    <a:pt x="631" y="6"/>
                  </a:lnTo>
                  <a:lnTo>
                    <a:pt x="628" y="6"/>
                  </a:lnTo>
                  <a:lnTo>
                    <a:pt x="626" y="5"/>
                  </a:lnTo>
                  <a:lnTo>
                    <a:pt x="622" y="5"/>
                  </a:lnTo>
                  <a:lnTo>
                    <a:pt x="619" y="5"/>
                  </a:lnTo>
                  <a:lnTo>
                    <a:pt x="617" y="5"/>
                  </a:lnTo>
                  <a:lnTo>
                    <a:pt x="613" y="5"/>
                  </a:lnTo>
                  <a:lnTo>
                    <a:pt x="610" y="7"/>
                  </a:lnTo>
                  <a:lnTo>
                    <a:pt x="608" y="6"/>
                  </a:lnTo>
                  <a:lnTo>
                    <a:pt x="604" y="5"/>
                  </a:lnTo>
                  <a:lnTo>
                    <a:pt x="608" y="5"/>
                  </a:lnTo>
                  <a:lnTo>
                    <a:pt x="604" y="4"/>
                  </a:lnTo>
                  <a:lnTo>
                    <a:pt x="602" y="5"/>
                  </a:lnTo>
                  <a:lnTo>
                    <a:pt x="598" y="2"/>
                  </a:lnTo>
                  <a:lnTo>
                    <a:pt x="595" y="2"/>
                  </a:lnTo>
                  <a:lnTo>
                    <a:pt x="593" y="1"/>
                  </a:lnTo>
                  <a:lnTo>
                    <a:pt x="589" y="1"/>
                  </a:lnTo>
                  <a:lnTo>
                    <a:pt x="587" y="0"/>
                  </a:lnTo>
                  <a:lnTo>
                    <a:pt x="584" y="0"/>
                  </a:lnTo>
                  <a:lnTo>
                    <a:pt x="580" y="0"/>
                  </a:lnTo>
                  <a:lnTo>
                    <a:pt x="577" y="1"/>
                  </a:lnTo>
                  <a:lnTo>
                    <a:pt x="571" y="1"/>
                  </a:lnTo>
                  <a:lnTo>
                    <a:pt x="569" y="1"/>
                  </a:lnTo>
                  <a:lnTo>
                    <a:pt x="566" y="0"/>
                  </a:lnTo>
                  <a:lnTo>
                    <a:pt x="563" y="0"/>
                  </a:lnTo>
                  <a:lnTo>
                    <a:pt x="560" y="1"/>
                  </a:lnTo>
                  <a:lnTo>
                    <a:pt x="557" y="0"/>
                  </a:lnTo>
                  <a:lnTo>
                    <a:pt x="554" y="0"/>
                  </a:lnTo>
                  <a:lnTo>
                    <a:pt x="551" y="0"/>
                  </a:lnTo>
                  <a:lnTo>
                    <a:pt x="547" y="0"/>
                  </a:lnTo>
                  <a:lnTo>
                    <a:pt x="545" y="0"/>
                  </a:lnTo>
                  <a:lnTo>
                    <a:pt x="542" y="0"/>
                  </a:lnTo>
                  <a:lnTo>
                    <a:pt x="540" y="0"/>
                  </a:lnTo>
                  <a:lnTo>
                    <a:pt x="536" y="0"/>
                  </a:lnTo>
                  <a:lnTo>
                    <a:pt x="536" y="4"/>
                  </a:lnTo>
                  <a:lnTo>
                    <a:pt x="538" y="5"/>
                  </a:lnTo>
                  <a:lnTo>
                    <a:pt x="536" y="5"/>
                  </a:lnTo>
                  <a:lnTo>
                    <a:pt x="533" y="4"/>
                  </a:lnTo>
                  <a:lnTo>
                    <a:pt x="530" y="0"/>
                  </a:lnTo>
                  <a:lnTo>
                    <a:pt x="527" y="2"/>
                  </a:lnTo>
                  <a:lnTo>
                    <a:pt x="525" y="0"/>
                  </a:lnTo>
                  <a:lnTo>
                    <a:pt x="521" y="1"/>
                  </a:lnTo>
                  <a:lnTo>
                    <a:pt x="519" y="2"/>
                  </a:lnTo>
                  <a:lnTo>
                    <a:pt x="516" y="2"/>
                  </a:lnTo>
                  <a:lnTo>
                    <a:pt x="510" y="2"/>
                  </a:lnTo>
                  <a:lnTo>
                    <a:pt x="507" y="2"/>
                  </a:lnTo>
                  <a:lnTo>
                    <a:pt x="503" y="2"/>
                  </a:lnTo>
                  <a:lnTo>
                    <a:pt x="500" y="2"/>
                  </a:lnTo>
                  <a:lnTo>
                    <a:pt x="498" y="2"/>
                  </a:lnTo>
                  <a:lnTo>
                    <a:pt x="500" y="6"/>
                  </a:lnTo>
                  <a:lnTo>
                    <a:pt x="502" y="8"/>
                  </a:lnTo>
                  <a:lnTo>
                    <a:pt x="499" y="8"/>
                  </a:lnTo>
                  <a:lnTo>
                    <a:pt x="497" y="6"/>
                  </a:lnTo>
                  <a:lnTo>
                    <a:pt x="493" y="6"/>
                  </a:lnTo>
                  <a:lnTo>
                    <a:pt x="491" y="6"/>
                  </a:lnTo>
                  <a:lnTo>
                    <a:pt x="487" y="5"/>
                  </a:lnTo>
                  <a:lnTo>
                    <a:pt x="485" y="4"/>
                  </a:lnTo>
                  <a:lnTo>
                    <a:pt x="482" y="5"/>
                  </a:lnTo>
                  <a:lnTo>
                    <a:pt x="481" y="7"/>
                  </a:lnTo>
                  <a:lnTo>
                    <a:pt x="484" y="8"/>
                  </a:lnTo>
                  <a:lnTo>
                    <a:pt x="481" y="8"/>
                  </a:lnTo>
                  <a:lnTo>
                    <a:pt x="477" y="8"/>
                  </a:lnTo>
                  <a:lnTo>
                    <a:pt x="475" y="7"/>
                  </a:lnTo>
                  <a:lnTo>
                    <a:pt x="473" y="7"/>
                  </a:lnTo>
                  <a:lnTo>
                    <a:pt x="469" y="6"/>
                  </a:lnTo>
                  <a:lnTo>
                    <a:pt x="469" y="9"/>
                  </a:lnTo>
                  <a:lnTo>
                    <a:pt x="470" y="12"/>
                  </a:lnTo>
                  <a:lnTo>
                    <a:pt x="473" y="15"/>
                  </a:lnTo>
                  <a:lnTo>
                    <a:pt x="476" y="15"/>
                  </a:lnTo>
                  <a:lnTo>
                    <a:pt x="478" y="14"/>
                  </a:lnTo>
                  <a:lnTo>
                    <a:pt x="482" y="15"/>
                  </a:lnTo>
                  <a:lnTo>
                    <a:pt x="485" y="15"/>
                  </a:lnTo>
                  <a:lnTo>
                    <a:pt x="489" y="16"/>
                  </a:lnTo>
                  <a:lnTo>
                    <a:pt x="492" y="16"/>
                  </a:lnTo>
                  <a:lnTo>
                    <a:pt x="494" y="16"/>
                  </a:lnTo>
                  <a:lnTo>
                    <a:pt x="492" y="17"/>
                  </a:lnTo>
                  <a:lnTo>
                    <a:pt x="489" y="17"/>
                  </a:lnTo>
                  <a:lnTo>
                    <a:pt x="483" y="17"/>
                  </a:lnTo>
                  <a:lnTo>
                    <a:pt x="480" y="17"/>
                  </a:lnTo>
                  <a:lnTo>
                    <a:pt x="477" y="17"/>
                  </a:lnTo>
                  <a:lnTo>
                    <a:pt x="472" y="18"/>
                  </a:lnTo>
                  <a:lnTo>
                    <a:pt x="474" y="21"/>
                  </a:lnTo>
                  <a:lnTo>
                    <a:pt x="477" y="21"/>
                  </a:lnTo>
                  <a:lnTo>
                    <a:pt x="481" y="19"/>
                  </a:lnTo>
                  <a:lnTo>
                    <a:pt x="483" y="19"/>
                  </a:lnTo>
                  <a:lnTo>
                    <a:pt x="489" y="21"/>
                  </a:lnTo>
                  <a:lnTo>
                    <a:pt x="485" y="21"/>
                  </a:lnTo>
                  <a:lnTo>
                    <a:pt x="483" y="21"/>
                  </a:lnTo>
                  <a:lnTo>
                    <a:pt x="480" y="21"/>
                  </a:lnTo>
                  <a:lnTo>
                    <a:pt x="476" y="21"/>
                  </a:lnTo>
                  <a:lnTo>
                    <a:pt x="474" y="21"/>
                  </a:lnTo>
                  <a:lnTo>
                    <a:pt x="468" y="21"/>
                  </a:lnTo>
                  <a:lnTo>
                    <a:pt x="465" y="22"/>
                  </a:lnTo>
                  <a:lnTo>
                    <a:pt x="468" y="23"/>
                  </a:lnTo>
                  <a:lnTo>
                    <a:pt x="469" y="26"/>
                  </a:lnTo>
                  <a:lnTo>
                    <a:pt x="473" y="27"/>
                  </a:lnTo>
                  <a:lnTo>
                    <a:pt x="469" y="29"/>
                  </a:lnTo>
                  <a:lnTo>
                    <a:pt x="467" y="26"/>
                  </a:lnTo>
                  <a:lnTo>
                    <a:pt x="464" y="24"/>
                  </a:lnTo>
                  <a:lnTo>
                    <a:pt x="461" y="23"/>
                  </a:lnTo>
                  <a:lnTo>
                    <a:pt x="458" y="23"/>
                  </a:lnTo>
                  <a:lnTo>
                    <a:pt x="455" y="23"/>
                  </a:lnTo>
                  <a:lnTo>
                    <a:pt x="452" y="23"/>
                  </a:lnTo>
                  <a:lnTo>
                    <a:pt x="449" y="23"/>
                  </a:lnTo>
                  <a:lnTo>
                    <a:pt x="447" y="23"/>
                  </a:lnTo>
                  <a:lnTo>
                    <a:pt x="443" y="22"/>
                  </a:lnTo>
                  <a:lnTo>
                    <a:pt x="441" y="21"/>
                  </a:lnTo>
                  <a:lnTo>
                    <a:pt x="438" y="19"/>
                  </a:lnTo>
                  <a:lnTo>
                    <a:pt x="434" y="18"/>
                  </a:lnTo>
                  <a:lnTo>
                    <a:pt x="432" y="17"/>
                  </a:lnTo>
                  <a:lnTo>
                    <a:pt x="429" y="17"/>
                  </a:lnTo>
                  <a:lnTo>
                    <a:pt x="426" y="14"/>
                  </a:lnTo>
                  <a:lnTo>
                    <a:pt x="424" y="14"/>
                  </a:lnTo>
                  <a:lnTo>
                    <a:pt x="421" y="14"/>
                  </a:lnTo>
                  <a:lnTo>
                    <a:pt x="417" y="13"/>
                  </a:lnTo>
                  <a:lnTo>
                    <a:pt x="415" y="12"/>
                  </a:lnTo>
                  <a:lnTo>
                    <a:pt x="412" y="12"/>
                  </a:lnTo>
                  <a:lnTo>
                    <a:pt x="409" y="13"/>
                  </a:lnTo>
                  <a:lnTo>
                    <a:pt x="412" y="14"/>
                  </a:lnTo>
                  <a:lnTo>
                    <a:pt x="408" y="14"/>
                  </a:lnTo>
                  <a:lnTo>
                    <a:pt x="406" y="14"/>
                  </a:lnTo>
                  <a:lnTo>
                    <a:pt x="404" y="14"/>
                  </a:lnTo>
                  <a:lnTo>
                    <a:pt x="400" y="14"/>
                  </a:lnTo>
                  <a:lnTo>
                    <a:pt x="404" y="15"/>
                  </a:lnTo>
                  <a:lnTo>
                    <a:pt x="406" y="16"/>
                  </a:lnTo>
                  <a:lnTo>
                    <a:pt x="413" y="17"/>
                  </a:lnTo>
                  <a:lnTo>
                    <a:pt x="409" y="17"/>
                  </a:lnTo>
                  <a:lnTo>
                    <a:pt x="406" y="16"/>
                  </a:lnTo>
                  <a:lnTo>
                    <a:pt x="404" y="17"/>
                  </a:lnTo>
                  <a:lnTo>
                    <a:pt x="400" y="17"/>
                  </a:lnTo>
                  <a:lnTo>
                    <a:pt x="398" y="16"/>
                  </a:lnTo>
                  <a:lnTo>
                    <a:pt x="395" y="16"/>
                  </a:lnTo>
                  <a:lnTo>
                    <a:pt x="389" y="16"/>
                  </a:lnTo>
                  <a:lnTo>
                    <a:pt x="386" y="17"/>
                  </a:lnTo>
                  <a:lnTo>
                    <a:pt x="383" y="16"/>
                  </a:lnTo>
                  <a:lnTo>
                    <a:pt x="380" y="17"/>
                  </a:lnTo>
                  <a:lnTo>
                    <a:pt x="378" y="17"/>
                  </a:lnTo>
                  <a:lnTo>
                    <a:pt x="380" y="18"/>
                  </a:lnTo>
                  <a:lnTo>
                    <a:pt x="383" y="19"/>
                  </a:lnTo>
                  <a:lnTo>
                    <a:pt x="386" y="22"/>
                  </a:lnTo>
                  <a:lnTo>
                    <a:pt x="389" y="22"/>
                  </a:lnTo>
                  <a:lnTo>
                    <a:pt x="391" y="23"/>
                  </a:lnTo>
                  <a:lnTo>
                    <a:pt x="395" y="23"/>
                  </a:lnTo>
                  <a:lnTo>
                    <a:pt x="397" y="24"/>
                  </a:lnTo>
                  <a:lnTo>
                    <a:pt x="400" y="24"/>
                  </a:lnTo>
                  <a:lnTo>
                    <a:pt x="406" y="24"/>
                  </a:lnTo>
                  <a:lnTo>
                    <a:pt x="401" y="24"/>
                  </a:lnTo>
                  <a:lnTo>
                    <a:pt x="398" y="24"/>
                  </a:lnTo>
                  <a:lnTo>
                    <a:pt x="395" y="24"/>
                  </a:lnTo>
                  <a:lnTo>
                    <a:pt x="391" y="23"/>
                  </a:lnTo>
                  <a:lnTo>
                    <a:pt x="389" y="23"/>
                  </a:lnTo>
                  <a:lnTo>
                    <a:pt x="383" y="24"/>
                  </a:lnTo>
                  <a:lnTo>
                    <a:pt x="383" y="24"/>
                  </a:lnTo>
                  <a:lnTo>
                    <a:pt x="382" y="22"/>
                  </a:lnTo>
                  <a:lnTo>
                    <a:pt x="379" y="21"/>
                  </a:lnTo>
                  <a:lnTo>
                    <a:pt x="375" y="21"/>
                  </a:lnTo>
                  <a:lnTo>
                    <a:pt x="373" y="18"/>
                  </a:lnTo>
                  <a:lnTo>
                    <a:pt x="370" y="18"/>
                  </a:lnTo>
                  <a:lnTo>
                    <a:pt x="367" y="19"/>
                  </a:lnTo>
                  <a:lnTo>
                    <a:pt x="364" y="19"/>
                  </a:lnTo>
                  <a:lnTo>
                    <a:pt x="362" y="22"/>
                  </a:lnTo>
                  <a:lnTo>
                    <a:pt x="364" y="22"/>
                  </a:lnTo>
                  <a:lnTo>
                    <a:pt x="367" y="22"/>
                  </a:lnTo>
                  <a:lnTo>
                    <a:pt x="371" y="24"/>
                  </a:lnTo>
                  <a:lnTo>
                    <a:pt x="367" y="23"/>
                  </a:lnTo>
                  <a:lnTo>
                    <a:pt x="364" y="23"/>
                  </a:lnTo>
                  <a:lnTo>
                    <a:pt x="361" y="24"/>
                  </a:lnTo>
                  <a:lnTo>
                    <a:pt x="364" y="25"/>
                  </a:lnTo>
                  <a:lnTo>
                    <a:pt x="366" y="26"/>
                  </a:lnTo>
                  <a:lnTo>
                    <a:pt x="370" y="26"/>
                  </a:lnTo>
                  <a:lnTo>
                    <a:pt x="373" y="26"/>
                  </a:lnTo>
                  <a:lnTo>
                    <a:pt x="375" y="25"/>
                  </a:lnTo>
                  <a:lnTo>
                    <a:pt x="379" y="26"/>
                  </a:lnTo>
                  <a:lnTo>
                    <a:pt x="381" y="26"/>
                  </a:lnTo>
                  <a:lnTo>
                    <a:pt x="384" y="24"/>
                  </a:lnTo>
                  <a:lnTo>
                    <a:pt x="387" y="25"/>
                  </a:lnTo>
                  <a:lnTo>
                    <a:pt x="390" y="26"/>
                  </a:lnTo>
                  <a:lnTo>
                    <a:pt x="396" y="26"/>
                  </a:lnTo>
                  <a:lnTo>
                    <a:pt x="399" y="26"/>
                  </a:lnTo>
                  <a:lnTo>
                    <a:pt x="401" y="26"/>
                  </a:lnTo>
                  <a:lnTo>
                    <a:pt x="405" y="26"/>
                  </a:lnTo>
                  <a:lnTo>
                    <a:pt x="410" y="26"/>
                  </a:lnTo>
                  <a:lnTo>
                    <a:pt x="413" y="26"/>
                  </a:lnTo>
                  <a:lnTo>
                    <a:pt x="423" y="26"/>
                  </a:lnTo>
                  <a:lnTo>
                    <a:pt x="425" y="26"/>
                  </a:lnTo>
                  <a:lnTo>
                    <a:pt x="429" y="27"/>
                  </a:lnTo>
                  <a:lnTo>
                    <a:pt x="438" y="29"/>
                  </a:lnTo>
                  <a:lnTo>
                    <a:pt x="441" y="30"/>
                  </a:lnTo>
                  <a:lnTo>
                    <a:pt x="443" y="31"/>
                  </a:lnTo>
                  <a:lnTo>
                    <a:pt x="447" y="31"/>
                  </a:lnTo>
                  <a:lnTo>
                    <a:pt x="450" y="31"/>
                  </a:lnTo>
                  <a:lnTo>
                    <a:pt x="453" y="32"/>
                  </a:lnTo>
                  <a:lnTo>
                    <a:pt x="455" y="34"/>
                  </a:lnTo>
                  <a:lnTo>
                    <a:pt x="453" y="38"/>
                  </a:lnTo>
                  <a:lnTo>
                    <a:pt x="455" y="40"/>
                  </a:lnTo>
                  <a:lnTo>
                    <a:pt x="455" y="43"/>
                  </a:lnTo>
                  <a:lnTo>
                    <a:pt x="451" y="41"/>
                  </a:lnTo>
                  <a:lnTo>
                    <a:pt x="451" y="38"/>
                  </a:lnTo>
                  <a:lnTo>
                    <a:pt x="449" y="35"/>
                  </a:lnTo>
                  <a:lnTo>
                    <a:pt x="446" y="35"/>
                  </a:lnTo>
                  <a:lnTo>
                    <a:pt x="443" y="34"/>
                  </a:lnTo>
                  <a:lnTo>
                    <a:pt x="440" y="33"/>
                  </a:lnTo>
                  <a:lnTo>
                    <a:pt x="438" y="32"/>
                  </a:lnTo>
                  <a:lnTo>
                    <a:pt x="434" y="31"/>
                  </a:lnTo>
                  <a:lnTo>
                    <a:pt x="432" y="31"/>
                  </a:lnTo>
                  <a:lnTo>
                    <a:pt x="429" y="32"/>
                  </a:lnTo>
                  <a:lnTo>
                    <a:pt x="431" y="34"/>
                  </a:lnTo>
                  <a:lnTo>
                    <a:pt x="432" y="38"/>
                  </a:lnTo>
                  <a:lnTo>
                    <a:pt x="429" y="39"/>
                  </a:lnTo>
                  <a:lnTo>
                    <a:pt x="427" y="35"/>
                  </a:lnTo>
                  <a:lnTo>
                    <a:pt x="427" y="33"/>
                  </a:lnTo>
                  <a:lnTo>
                    <a:pt x="425" y="32"/>
                  </a:lnTo>
                  <a:lnTo>
                    <a:pt x="423" y="30"/>
                  </a:lnTo>
                  <a:lnTo>
                    <a:pt x="419" y="29"/>
                  </a:lnTo>
                  <a:lnTo>
                    <a:pt x="417" y="29"/>
                  </a:lnTo>
                  <a:lnTo>
                    <a:pt x="414" y="29"/>
                  </a:lnTo>
                  <a:lnTo>
                    <a:pt x="412" y="29"/>
                  </a:lnTo>
                  <a:lnTo>
                    <a:pt x="402" y="29"/>
                  </a:lnTo>
                  <a:lnTo>
                    <a:pt x="399" y="29"/>
                  </a:lnTo>
                  <a:lnTo>
                    <a:pt x="397" y="30"/>
                  </a:lnTo>
                  <a:lnTo>
                    <a:pt x="391" y="30"/>
                  </a:lnTo>
                  <a:lnTo>
                    <a:pt x="388" y="29"/>
                  </a:lnTo>
                  <a:lnTo>
                    <a:pt x="384" y="29"/>
                  </a:lnTo>
                  <a:lnTo>
                    <a:pt x="382" y="29"/>
                  </a:lnTo>
                  <a:lnTo>
                    <a:pt x="379" y="29"/>
                  </a:lnTo>
                  <a:lnTo>
                    <a:pt x="375" y="31"/>
                  </a:lnTo>
                  <a:lnTo>
                    <a:pt x="379" y="32"/>
                  </a:lnTo>
                  <a:lnTo>
                    <a:pt x="381" y="33"/>
                  </a:lnTo>
                  <a:lnTo>
                    <a:pt x="384" y="34"/>
                  </a:lnTo>
                  <a:lnTo>
                    <a:pt x="387" y="35"/>
                  </a:lnTo>
                  <a:lnTo>
                    <a:pt x="390" y="36"/>
                  </a:lnTo>
                  <a:lnTo>
                    <a:pt x="392" y="39"/>
                  </a:lnTo>
                  <a:lnTo>
                    <a:pt x="396" y="40"/>
                  </a:lnTo>
                  <a:lnTo>
                    <a:pt x="398" y="40"/>
                  </a:lnTo>
                  <a:lnTo>
                    <a:pt x="401" y="41"/>
                  </a:lnTo>
                  <a:lnTo>
                    <a:pt x="400" y="44"/>
                  </a:lnTo>
                  <a:lnTo>
                    <a:pt x="404" y="44"/>
                  </a:lnTo>
                  <a:lnTo>
                    <a:pt x="406" y="45"/>
                  </a:lnTo>
                  <a:lnTo>
                    <a:pt x="409" y="45"/>
                  </a:lnTo>
                  <a:lnTo>
                    <a:pt x="413" y="45"/>
                  </a:lnTo>
                  <a:lnTo>
                    <a:pt x="415" y="45"/>
                  </a:lnTo>
                  <a:lnTo>
                    <a:pt x="418" y="47"/>
                  </a:lnTo>
                  <a:lnTo>
                    <a:pt x="421" y="48"/>
                  </a:lnTo>
                  <a:lnTo>
                    <a:pt x="417" y="48"/>
                  </a:lnTo>
                  <a:lnTo>
                    <a:pt x="415" y="47"/>
                  </a:lnTo>
                  <a:lnTo>
                    <a:pt x="412" y="47"/>
                  </a:lnTo>
                  <a:lnTo>
                    <a:pt x="408" y="47"/>
                  </a:lnTo>
                  <a:lnTo>
                    <a:pt x="406" y="47"/>
                  </a:lnTo>
                  <a:lnTo>
                    <a:pt x="402" y="45"/>
                  </a:lnTo>
                  <a:lnTo>
                    <a:pt x="400" y="45"/>
                  </a:lnTo>
                  <a:lnTo>
                    <a:pt x="397" y="44"/>
                  </a:lnTo>
                  <a:lnTo>
                    <a:pt x="393" y="44"/>
                  </a:lnTo>
                  <a:lnTo>
                    <a:pt x="391" y="45"/>
                  </a:lnTo>
                  <a:lnTo>
                    <a:pt x="388" y="47"/>
                  </a:lnTo>
                  <a:lnTo>
                    <a:pt x="389" y="49"/>
                  </a:lnTo>
                  <a:lnTo>
                    <a:pt x="391" y="52"/>
                  </a:lnTo>
                  <a:lnTo>
                    <a:pt x="389" y="53"/>
                  </a:lnTo>
                  <a:lnTo>
                    <a:pt x="386" y="56"/>
                  </a:lnTo>
                  <a:lnTo>
                    <a:pt x="388" y="56"/>
                  </a:lnTo>
                  <a:lnTo>
                    <a:pt x="391" y="57"/>
                  </a:lnTo>
                  <a:lnTo>
                    <a:pt x="389" y="57"/>
                  </a:lnTo>
                  <a:lnTo>
                    <a:pt x="391" y="59"/>
                  </a:lnTo>
                  <a:lnTo>
                    <a:pt x="393" y="61"/>
                  </a:lnTo>
                  <a:lnTo>
                    <a:pt x="391" y="61"/>
                  </a:lnTo>
                  <a:lnTo>
                    <a:pt x="388" y="62"/>
                  </a:lnTo>
                  <a:lnTo>
                    <a:pt x="386" y="62"/>
                  </a:lnTo>
                  <a:lnTo>
                    <a:pt x="382" y="61"/>
                  </a:lnTo>
                  <a:lnTo>
                    <a:pt x="380" y="60"/>
                  </a:lnTo>
                  <a:lnTo>
                    <a:pt x="376" y="58"/>
                  </a:lnTo>
                  <a:lnTo>
                    <a:pt x="373" y="57"/>
                  </a:lnTo>
                  <a:lnTo>
                    <a:pt x="371" y="57"/>
                  </a:lnTo>
                  <a:lnTo>
                    <a:pt x="370" y="53"/>
                  </a:lnTo>
                  <a:lnTo>
                    <a:pt x="366" y="52"/>
                  </a:lnTo>
                  <a:lnTo>
                    <a:pt x="364" y="51"/>
                  </a:lnTo>
                  <a:lnTo>
                    <a:pt x="361" y="51"/>
                  </a:lnTo>
                  <a:lnTo>
                    <a:pt x="358" y="50"/>
                  </a:lnTo>
                  <a:lnTo>
                    <a:pt x="355" y="50"/>
                  </a:lnTo>
                  <a:lnTo>
                    <a:pt x="353" y="49"/>
                  </a:lnTo>
                  <a:lnTo>
                    <a:pt x="347" y="47"/>
                  </a:lnTo>
                  <a:lnTo>
                    <a:pt x="344" y="45"/>
                  </a:lnTo>
                  <a:lnTo>
                    <a:pt x="341" y="44"/>
                  </a:lnTo>
                  <a:lnTo>
                    <a:pt x="338" y="44"/>
                  </a:lnTo>
                  <a:lnTo>
                    <a:pt x="335" y="44"/>
                  </a:lnTo>
                  <a:lnTo>
                    <a:pt x="332" y="42"/>
                  </a:lnTo>
                  <a:lnTo>
                    <a:pt x="329" y="40"/>
                  </a:lnTo>
                  <a:lnTo>
                    <a:pt x="327" y="39"/>
                  </a:lnTo>
                  <a:lnTo>
                    <a:pt x="321" y="38"/>
                  </a:lnTo>
                  <a:lnTo>
                    <a:pt x="318" y="38"/>
                  </a:lnTo>
                  <a:lnTo>
                    <a:pt x="314" y="38"/>
                  </a:lnTo>
                  <a:lnTo>
                    <a:pt x="312" y="38"/>
                  </a:lnTo>
                  <a:lnTo>
                    <a:pt x="308" y="38"/>
                  </a:lnTo>
                  <a:lnTo>
                    <a:pt x="303" y="38"/>
                  </a:lnTo>
                  <a:lnTo>
                    <a:pt x="302" y="41"/>
                  </a:lnTo>
                  <a:lnTo>
                    <a:pt x="304" y="43"/>
                  </a:lnTo>
                  <a:lnTo>
                    <a:pt x="305" y="45"/>
                  </a:lnTo>
                  <a:lnTo>
                    <a:pt x="306" y="49"/>
                  </a:lnTo>
                  <a:lnTo>
                    <a:pt x="308" y="50"/>
                  </a:lnTo>
                  <a:lnTo>
                    <a:pt x="312" y="51"/>
                  </a:lnTo>
                  <a:lnTo>
                    <a:pt x="314" y="53"/>
                  </a:lnTo>
                  <a:lnTo>
                    <a:pt x="316" y="55"/>
                  </a:lnTo>
                  <a:lnTo>
                    <a:pt x="320" y="56"/>
                  </a:lnTo>
                  <a:lnTo>
                    <a:pt x="322" y="57"/>
                  </a:lnTo>
                  <a:lnTo>
                    <a:pt x="320" y="59"/>
                  </a:lnTo>
                  <a:lnTo>
                    <a:pt x="316" y="59"/>
                  </a:lnTo>
                  <a:lnTo>
                    <a:pt x="314" y="58"/>
                  </a:lnTo>
                  <a:lnTo>
                    <a:pt x="311" y="58"/>
                  </a:lnTo>
                  <a:lnTo>
                    <a:pt x="308" y="58"/>
                  </a:lnTo>
                  <a:lnTo>
                    <a:pt x="305" y="57"/>
                  </a:lnTo>
                  <a:lnTo>
                    <a:pt x="302" y="57"/>
                  </a:lnTo>
                  <a:lnTo>
                    <a:pt x="304" y="59"/>
                  </a:lnTo>
                  <a:lnTo>
                    <a:pt x="306" y="60"/>
                  </a:lnTo>
                  <a:lnTo>
                    <a:pt x="310" y="62"/>
                  </a:lnTo>
                  <a:lnTo>
                    <a:pt x="312" y="62"/>
                  </a:lnTo>
                  <a:lnTo>
                    <a:pt x="315" y="64"/>
                  </a:lnTo>
                  <a:lnTo>
                    <a:pt x="318" y="66"/>
                  </a:lnTo>
                  <a:lnTo>
                    <a:pt x="321" y="67"/>
                  </a:lnTo>
                  <a:lnTo>
                    <a:pt x="319" y="68"/>
                  </a:lnTo>
                  <a:lnTo>
                    <a:pt x="315" y="67"/>
                  </a:lnTo>
                  <a:lnTo>
                    <a:pt x="313" y="66"/>
                  </a:lnTo>
                  <a:lnTo>
                    <a:pt x="311" y="64"/>
                  </a:lnTo>
                  <a:lnTo>
                    <a:pt x="308" y="64"/>
                  </a:lnTo>
                  <a:lnTo>
                    <a:pt x="305" y="62"/>
                  </a:lnTo>
                  <a:lnTo>
                    <a:pt x="303" y="60"/>
                  </a:lnTo>
                  <a:lnTo>
                    <a:pt x="299" y="59"/>
                  </a:lnTo>
                  <a:lnTo>
                    <a:pt x="297" y="58"/>
                  </a:lnTo>
                  <a:lnTo>
                    <a:pt x="290" y="58"/>
                  </a:lnTo>
                  <a:lnTo>
                    <a:pt x="288" y="57"/>
                  </a:lnTo>
                  <a:lnTo>
                    <a:pt x="285" y="56"/>
                  </a:lnTo>
                  <a:lnTo>
                    <a:pt x="281" y="55"/>
                  </a:lnTo>
                  <a:lnTo>
                    <a:pt x="279" y="55"/>
                  </a:lnTo>
                  <a:lnTo>
                    <a:pt x="277" y="53"/>
                  </a:lnTo>
                  <a:lnTo>
                    <a:pt x="276" y="57"/>
                  </a:lnTo>
                  <a:lnTo>
                    <a:pt x="276" y="59"/>
                  </a:lnTo>
                  <a:lnTo>
                    <a:pt x="273" y="61"/>
                  </a:lnTo>
                  <a:lnTo>
                    <a:pt x="271" y="64"/>
                  </a:lnTo>
                  <a:lnTo>
                    <a:pt x="268" y="66"/>
                  </a:lnTo>
                  <a:lnTo>
                    <a:pt x="268" y="68"/>
                  </a:lnTo>
                  <a:lnTo>
                    <a:pt x="268" y="70"/>
                  </a:lnTo>
                  <a:lnTo>
                    <a:pt x="265" y="70"/>
                  </a:lnTo>
                  <a:lnTo>
                    <a:pt x="264" y="68"/>
                  </a:lnTo>
                  <a:lnTo>
                    <a:pt x="263" y="65"/>
                  </a:lnTo>
                  <a:lnTo>
                    <a:pt x="265" y="62"/>
                  </a:lnTo>
                  <a:lnTo>
                    <a:pt x="268" y="59"/>
                  </a:lnTo>
                  <a:lnTo>
                    <a:pt x="268" y="57"/>
                  </a:lnTo>
                  <a:lnTo>
                    <a:pt x="267" y="53"/>
                  </a:lnTo>
                  <a:lnTo>
                    <a:pt x="268" y="51"/>
                  </a:lnTo>
                  <a:lnTo>
                    <a:pt x="264" y="49"/>
                  </a:lnTo>
                  <a:lnTo>
                    <a:pt x="262" y="45"/>
                  </a:lnTo>
                  <a:lnTo>
                    <a:pt x="259" y="44"/>
                  </a:lnTo>
                  <a:lnTo>
                    <a:pt x="256" y="43"/>
                  </a:lnTo>
                  <a:lnTo>
                    <a:pt x="253" y="43"/>
                  </a:lnTo>
                  <a:lnTo>
                    <a:pt x="251" y="43"/>
                  </a:lnTo>
                  <a:lnTo>
                    <a:pt x="247" y="44"/>
                  </a:lnTo>
                  <a:lnTo>
                    <a:pt x="245" y="44"/>
                  </a:lnTo>
                  <a:lnTo>
                    <a:pt x="242" y="44"/>
                  </a:lnTo>
                  <a:lnTo>
                    <a:pt x="239" y="45"/>
                  </a:lnTo>
                  <a:lnTo>
                    <a:pt x="242" y="45"/>
                  </a:lnTo>
                  <a:lnTo>
                    <a:pt x="245" y="47"/>
                  </a:lnTo>
                  <a:lnTo>
                    <a:pt x="246" y="49"/>
                  </a:lnTo>
                  <a:lnTo>
                    <a:pt x="243" y="49"/>
                  </a:lnTo>
                  <a:lnTo>
                    <a:pt x="241" y="47"/>
                  </a:lnTo>
                  <a:lnTo>
                    <a:pt x="238" y="47"/>
                  </a:lnTo>
                  <a:lnTo>
                    <a:pt x="235" y="45"/>
                  </a:lnTo>
                  <a:lnTo>
                    <a:pt x="233" y="47"/>
                  </a:lnTo>
                  <a:lnTo>
                    <a:pt x="230" y="49"/>
                  </a:lnTo>
                  <a:lnTo>
                    <a:pt x="228" y="48"/>
                  </a:lnTo>
                  <a:lnTo>
                    <a:pt x="225" y="48"/>
                  </a:lnTo>
                  <a:lnTo>
                    <a:pt x="222" y="48"/>
                  </a:lnTo>
                  <a:lnTo>
                    <a:pt x="219" y="49"/>
                  </a:lnTo>
                  <a:lnTo>
                    <a:pt x="216" y="49"/>
                  </a:lnTo>
                  <a:lnTo>
                    <a:pt x="213" y="49"/>
                  </a:lnTo>
                  <a:lnTo>
                    <a:pt x="210" y="50"/>
                  </a:lnTo>
                  <a:lnTo>
                    <a:pt x="208" y="50"/>
                  </a:lnTo>
                  <a:lnTo>
                    <a:pt x="204" y="50"/>
                  </a:lnTo>
                  <a:lnTo>
                    <a:pt x="202" y="51"/>
                  </a:lnTo>
                  <a:lnTo>
                    <a:pt x="199" y="51"/>
                  </a:lnTo>
                  <a:lnTo>
                    <a:pt x="196" y="52"/>
                  </a:lnTo>
                  <a:lnTo>
                    <a:pt x="193" y="53"/>
                  </a:lnTo>
                  <a:lnTo>
                    <a:pt x="187" y="55"/>
                  </a:lnTo>
                  <a:lnTo>
                    <a:pt x="191" y="57"/>
                  </a:lnTo>
                  <a:lnTo>
                    <a:pt x="193" y="57"/>
                  </a:lnTo>
                  <a:lnTo>
                    <a:pt x="195" y="58"/>
                  </a:lnTo>
                  <a:lnTo>
                    <a:pt x="199" y="59"/>
                  </a:lnTo>
                  <a:lnTo>
                    <a:pt x="201" y="61"/>
                  </a:lnTo>
                  <a:lnTo>
                    <a:pt x="203" y="65"/>
                  </a:lnTo>
                  <a:lnTo>
                    <a:pt x="207" y="66"/>
                  </a:lnTo>
                  <a:lnTo>
                    <a:pt x="209" y="66"/>
                  </a:lnTo>
                  <a:lnTo>
                    <a:pt x="212" y="68"/>
                  </a:lnTo>
                  <a:lnTo>
                    <a:pt x="216" y="69"/>
                  </a:lnTo>
                  <a:lnTo>
                    <a:pt x="218" y="72"/>
                  </a:lnTo>
                  <a:lnTo>
                    <a:pt x="221" y="74"/>
                  </a:lnTo>
                  <a:lnTo>
                    <a:pt x="224" y="75"/>
                  </a:lnTo>
                  <a:lnTo>
                    <a:pt x="227" y="76"/>
                  </a:lnTo>
                  <a:lnTo>
                    <a:pt x="224" y="75"/>
                  </a:lnTo>
                  <a:lnTo>
                    <a:pt x="218" y="74"/>
                  </a:lnTo>
                  <a:lnTo>
                    <a:pt x="216" y="72"/>
                  </a:lnTo>
                  <a:lnTo>
                    <a:pt x="212" y="70"/>
                  </a:lnTo>
                  <a:lnTo>
                    <a:pt x="210" y="68"/>
                  </a:lnTo>
                  <a:lnTo>
                    <a:pt x="207" y="68"/>
                  </a:lnTo>
                  <a:lnTo>
                    <a:pt x="204" y="67"/>
                  </a:lnTo>
                  <a:lnTo>
                    <a:pt x="201" y="67"/>
                  </a:lnTo>
                  <a:lnTo>
                    <a:pt x="199" y="66"/>
                  </a:lnTo>
                  <a:lnTo>
                    <a:pt x="196" y="64"/>
                  </a:lnTo>
                  <a:lnTo>
                    <a:pt x="195" y="60"/>
                  </a:lnTo>
                  <a:lnTo>
                    <a:pt x="193" y="59"/>
                  </a:lnTo>
                  <a:lnTo>
                    <a:pt x="186" y="58"/>
                  </a:lnTo>
                  <a:lnTo>
                    <a:pt x="184" y="58"/>
                  </a:lnTo>
                  <a:lnTo>
                    <a:pt x="180" y="57"/>
                  </a:lnTo>
                  <a:lnTo>
                    <a:pt x="178" y="57"/>
                  </a:lnTo>
                  <a:lnTo>
                    <a:pt x="176" y="57"/>
                  </a:lnTo>
                  <a:lnTo>
                    <a:pt x="174" y="58"/>
                  </a:lnTo>
                  <a:lnTo>
                    <a:pt x="170" y="58"/>
                  </a:lnTo>
                  <a:lnTo>
                    <a:pt x="168" y="59"/>
                  </a:lnTo>
                  <a:lnTo>
                    <a:pt x="165" y="60"/>
                  </a:lnTo>
                  <a:lnTo>
                    <a:pt x="162" y="61"/>
                  </a:lnTo>
                  <a:lnTo>
                    <a:pt x="159" y="62"/>
                  </a:lnTo>
                  <a:lnTo>
                    <a:pt x="161" y="66"/>
                  </a:lnTo>
                  <a:lnTo>
                    <a:pt x="163" y="68"/>
                  </a:lnTo>
                  <a:lnTo>
                    <a:pt x="167" y="70"/>
                  </a:lnTo>
                  <a:lnTo>
                    <a:pt x="167" y="73"/>
                  </a:lnTo>
                  <a:lnTo>
                    <a:pt x="165" y="74"/>
                  </a:lnTo>
                  <a:lnTo>
                    <a:pt x="162" y="77"/>
                  </a:lnTo>
                  <a:lnTo>
                    <a:pt x="163" y="79"/>
                  </a:lnTo>
                  <a:lnTo>
                    <a:pt x="166" y="83"/>
                  </a:lnTo>
                  <a:lnTo>
                    <a:pt x="163" y="84"/>
                  </a:lnTo>
                  <a:lnTo>
                    <a:pt x="160" y="84"/>
                  </a:lnTo>
                  <a:lnTo>
                    <a:pt x="158" y="85"/>
                  </a:lnTo>
                  <a:lnTo>
                    <a:pt x="154" y="84"/>
                  </a:lnTo>
                  <a:lnTo>
                    <a:pt x="152" y="83"/>
                  </a:lnTo>
                  <a:lnTo>
                    <a:pt x="149" y="82"/>
                  </a:lnTo>
                  <a:lnTo>
                    <a:pt x="147" y="81"/>
                  </a:lnTo>
                  <a:lnTo>
                    <a:pt x="143" y="81"/>
                  </a:lnTo>
                  <a:lnTo>
                    <a:pt x="140" y="81"/>
                  </a:lnTo>
                  <a:lnTo>
                    <a:pt x="137" y="81"/>
                  </a:lnTo>
                  <a:lnTo>
                    <a:pt x="134" y="82"/>
                  </a:lnTo>
                  <a:lnTo>
                    <a:pt x="133" y="84"/>
                  </a:lnTo>
                  <a:lnTo>
                    <a:pt x="134" y="87"/>
                  </a:lnTo>
                  <a:lnTo>
                    <a:pt x="136" y="90"/>
                  </a:lnTo>
                  <a:lnTo>
                    <a:pt x="139" y="92"/>
                  </a:lnTo>
                  <a:lnTo>
                    <a:pt x="141" y="95"/>
                  </a:lnTo>
                  <a:lnTo>
                    <a:pt x="139" y="94"/>
                  </a:lnTo>
                  <a:lnTo>
                    <a:pt x="136" y="92"/>
                  </a:lnTo>
                  <a:lnTo>
                    <a:pt x="134" y="89"/>
                  </a:lnTo>
                  <a:lnTo>
                    <a:pt x="132" y="86"/>
                  </a:lnTo>
                  <a:lnTo>
                    <a:pt x="131" y="84"/>
                  </a:lnTo>
                  <a:lnTo>
                    <a:pt x="128" y="83"/>
                  </a:lnTo>
                  <a:lnTo>
                    <a:pt x="125" y="85"/>
                  </a:lnTo>
                  <a:lnTo>
                    <a:pt x="123" y="86"/>
                  </a:lnTo>
                  <a:lnTo>
                    <a:pt x="119" y="87"/>
                  </a:lnTo>
                  <a:lnTo>
                    <a:pt x="117" y="87"/>
                  </a:lnTo>
                  <a:lnTo>
                    <a:pt x="114" y="87"/>
                  </a:lnTo>
                  <a:lnTo>
                    <a:pt x="113" y="91"/>
                  </a:lnTo>
                  <a:lnTo>
                    <a:pt x="110" y="92"/>
                  </a:lnTo>
                  <a:lnTo>
                    <a:pt x="109" y="94"/>
                  </a:lnTo>
                  <a:lnTo>
                    <a:pt x="107" y="95"/>
                  </a:lnTo>
                  <a:lnTo>
                    <a:pt x="103" y="96"/>
                  </a:lnTo>
                  <a:lnTo>
                    <a:pt x="101" y="98"/>
                  </a:lnTo>
                  <a:lnTo>
                    <a:pt x="103" y="99"/>
                  </a:lnTo>
                  <a:lnTo>
                    <a:pt x="101" y="99"/>
                  </a:lnTo>
                  <a:lnTo>
                    <a:pt x="98" y="98"/>
                  </a:lnTo>
                  <a:lnTo>
                    <a:pt x="94" y="100"/>
                  </a:lnTo>
                  <a:lnTo>
                    <a:pt x="92" y="101"/>
                  </a:lnTo>
                  <a:lnTo>
                    <a:pt x="89" y="101"/>
                  </a:lnTo>
                  <a:lnTo>
                    <a:pt x="86" y="102"/>
                  </a:lnTo>
                  <a:lnTo>
                    <a:pt x="85" y="106"/>
                  </a:lnTo>
                  <a:lnTo>
                    <a:pt x="82" y="107"/>
                  </a:lnTo>
                  <a:lnTo>
                    <a:pt x="80" y="108"/>
                  </a:lnTo>
                  <a:lnTo>
                    <a:pt x="76" y="109"/>
                  </a:lnTo>
                  <a:lnTo>
                    <a:pt x="76" y="111"/>
                  </a:lnTo>
                  <a:lnTo>
                    <a:pt x="79" y="115"/>
                  </a:lnTo>
                  <a:lnTo>
                    <a:pt x="82" y="116"/>
                  </a:lnTo>
                  <a:lnTo>
                    <a:pt x="84" y="118"/>
                  </a:lnTo>
                  <a:lnTo>
                    <a:pt x="88" y="117"/>
                  </a:lnTo>
                  <a:lnTo>
                    <a:pt x="90" y="117"/>
                  </a:lnTo>
                  <a:lnTo>
                    <a:pt x="93" y="117"/>
                  </a:lnTo>
                  <a:lnTo>
                    <a:pt x="96" y="119"/>
                  </a:lnTo>
                  <a:lnTo>
                    <a:pt x="99" y="119"/>
                  </a:lnTo>
                  <a:lnTo>
                    <a:pt x="101" y="118"/>
                  </a:lnTo>
                  <a:lnTo>
                    <a:pt x="105" y="117"/>
                  </a:lnTo>
                  <a:lnTo>
                    <a:pt x="108" y="117"/>
                  </a:lnTo>
                  <a:lnTo>
                    <a:pt x="110" y="117"/>
                  </a:lnTo>
                  <a:lnTo>
                    <a:pt x="113" y="117"/>
                  </a:lnTo>
                  <a:lnTo>
                    <a:pt x="116" y="117"/>
                  </a:lnTo>
                  <a:lnTo>
                    <a:pt x="119" y="116"/>
                  </a:lnTo>
                  <a:lnTo>
                    <a:pt x="122" y="113"/>
                  </a:lnTo>
                  <a:lnTo>
                    <a:pt x="124" y="115"/>
                  </a:lnTo>
                  <a:lnTo>
                    <a:pt x="127" y="115"/>
                  </a:lnTo>
                  <a:lnTo>
                    <a:pt x="122" y="116"/>
                  </a:lnTo>
                  <a:lnTo>
                    <a:pt x="118" y="117"/>
                  </a:lnTo>
                  <a:lnTo>
                    <a:pt x="113" y="118"/>
                  </a:lnTo>
                  <a:lnTo>
                    <a:pt x="109" y="119"/>
                  </a:lnTo>
                  <a:lnTo>
                    <a:pt x="110" y="122"/>
                  </a:lnTo>
                  <a:lnTo>
                    <a:pt x="110" y="125"/>
                  </a:lnTo>
                  <a:lnTo>
                    <a:pt x="111" y="127"/>
                  </a:lnTo>
                  <a:lnTo>
                    <a:pt x="110" y="130"/>
                  </a:lnTo>
                  <a:lnTo>
                    <a:pt x="113" y="133"/>
                  </a:lnTo>
                  <a:lnTo>
                    <a:pt x="109" y="138"/>
                  </a:lnTo>
                  <a:lnTo>
                    <a:pt x="106" y="139"/>
                  </a:lnTo>
                  <a:lnTo>
                    <a:pt x="103" y="141"/>
                  </a:lnTo>
                  <a:lnTo>
                    <a:pt x="100" y="144"/>
                  </a:lnTo>
                  <a:lnTo>
                    <a:pt x="98" y="146"/>
                  </a:lnTo>
                  <a:lnTo>
                    <a:pt x="94" y="146"/>
                  </a:lnTo>
                  <a:lnTo>
                    <a:pt x="91" y="145"/>
                  </a:lnTo>
                  <a:lnTo>
                    <a:pt x="89" y="145"/>
                  </a:lnTo>
                  <a:lnTo>
                    <a:pt x="86" y="146"/>
                  </a:lnTo>
                  <a:lnTo>
                    <a:pt x="83" y="146"/>
                  </a:lnTo>
                  <a:lnTo>
                    <a:pt x="80" y="146"/>
                  </a:lnTo>
                  <a:lnTo>
                    <a:pt x="77" y="146"/>
                  </a:lnTo>
                  <a:lnTo>
                    <a:pt x="75" y="147"/>
                  </a:lnTo>
                  <a:lnTo>
                    <a:pt x="72" y="149"/>
                  </a:lnTo>
                  <a:lnTo>
                    <a:pt x="69" y="147"/>
                  </a:lnTo>
                  <a:lnTo>
                    <a:pt x="66" y="149"/>
                  </a:lnTo>
                  <a:lnTo>
                    <a:pt x="64" y="149"/>
                  </a:lnTo>
                  <a:lnTo>
                    <a:pt x="60" y="150"/>
                  </a:lnTo>
                  <a:lnTo>
                    <a:pt x="58" y="150"/>
                  </a:lnTo>
                  <a:lnTo>
                    <a:pt x="55" y="151"/>
                  </a:lnTo>
                  <a:lnTo>
                    <a:pt x="57" y="153"/>
                  </a:lnTo>
                  <a:lnTo>
                    <a:pt x="55" y="154"/>
                  </a:lnTo>
                  <a:lnTo>
                    <a:pt x="51" y="155"/>
                  </a:lnTo>
                  <a:lnTo>
                    <a:pt x="49" y="156"/>
                  </a:lnTo>
                  <a:lnTo>
                    <a:pt x="46" y="156"/>
                  </a:lnTo>
                  <a:lnTo>
                    <a:pt x="43" y="156"/>
                  </a:lnTo>
                  <a:lnTo>
                    <a:pt x="42" y="156"/>
                  </a:lnTo>
                  <a:lnTo>
                    <a:pt x="42" y="158"/>
                  </a:lnTo>
                  <a:lnTo>
                    <a:pt x="39" y="158"/>
                  </a:lnTo>
                  <a:lnTo>
                    <a:pt x="37" y="159"/>
                  </a:lnTo>
                  <a:lnTo>
                    <a:pt x="33" y="159"/>
                  </a:lnTo>
                  <a:lnTo>
                    <a:pt x="31" y="162"/>
                  </a:lnTo>
                  <a:lnTo>
                    <a:pt x="29" y="162"/>
                  </a:lnTo>
                  <a:lnTo>
                    <a:pt x="25" y="161"/>
                  </a:lnTo>
                  <a:lnTo>
                    <a:pt x="22" y="161"/>
                  </a:lnTo>
                  <a:lnTo>
                    <a:pt x="20" y="162"/>
                  </a:lnTo>
                  <a:lnTo>
                    <a:pt x="16" y="163"/>
                  </a:lnTo>
                  <a:lnTo>
                    <a:pt x="14" y="163"/>
                  </a:lnTo>
                  <a:lnTo>
                    <a:pt x="11" y="164"/>
                  </a:lnTo>
                  <a:lnTo>
                    <a:pt x="8" y="164"/>
                  </a:lnTo>
                  <a:lnTo>
                    <a:pt x="5" y="167"/>
                  </a:lnTo>
                  <a:lnTo>
                    <a:pt x="4" y="170"/>
                  </a:lnTo>
                  <a:lnTo>
                    <a:pt x="6" y="171"/>
                  </a:lnTo>
                  <a:lnTo>
                    <a:pt x="4" y="173"/>
                  </a:lnTo>
                  <a:lnTo>
                    <a:pt x="0" y="175"/>
                  </a:lnTo>
                  <a:lnTo>
                    <a:pt x="4" y="176"/>
                  </a:lnTo>
                  <a:lnTo>
                    <a:pt x="6" y="178"/>
                  </a:lnTo>
                  <a:lnTo>
                    <a:pt x="9" y="178"/>
                  </a:lnTo>
                  <a:lnTo>
                    <a:pt x="12" y="181"/>
                  </a:lnTo>
                  <a:lnTo>
                    <a:pt x="14" y="183"/>
                  </a:lnTo>
                  <a:lnTo>
                    <a:pt x="17" y="184"/>
                  </a:lnTo>
                  <a:lnTo>
                    <a:pt x="20" y="183"/>
                  </a:lnTo>
                  <a:lnTo>
                    <a:pt x="23" y="184"/>
                  </a:lnTo>
                  <a:lnTo>
                    <a:pt x="25" y="184"/>
                  </a:lnTo>
                  <a:lnTo>
                    <a:pt x="22" y="186"/>
                  </a:lnTo>
                  <a:lnTo>
                    <a:pt x="25" y="187"/>
                  </a:lnTo>
                  <a:lnTo>
                    <a:pt x="31" y="187"/>
                  </a:lnTo>
                  <a:lnTo>
                    <a:pt x="34" y="186"/>
                  </a:lnTo>
                  <a:lnTo>
                    <a:pt x="37" y="184"/>
                  </a:lnTo>
                  <a:lnTo>
                    <a:pt x="40" y="185"/>
                  </a:lnTo>
                  <a:lnTo>
                    <a:pt x="42" y="185"/>
                  </a:lnTo>
                  <a:lnTo>
                    <a:pt x="42" y="185"/>
                  </a:lnTo>
                  <a:lnTo>
                    <a:pt x="39" y="185"/>
                  </a:lnTo>
                  <a:lnTo>
                    <a:pt x="37" y="187"/>
                  </a:lnTo>
                  <a:lnTo>
                    <a:pt x="33" y="188"/>
                  </a:lnTo>
                  <a:lnTo>
                    <a:pt x="37" y="189"/>
                  </a:lnTo>
                  <a:lnTo>
                    <a:pt x="39" y="189"/>
                  </a:lnTo>
                  <a:lnTo>
                    <a:pt x="42" y="189"/>
                  </a:lnTo>
                  <a:lnTo>
                    <a:pt x="45" y="189"/>
                  </a:lnTo>
                  <a:lnTo>
                    <a:pt x="48" y="188"/>
                  </a:lnTo>
                  <a:lnTo>
                    <a:pt x="45" y="190"/>
                  </a:lnTo>
                  <a:lnTo>
                    <a:pt x="39" y="193"/>
                  </a:lnTo>
                  <a:lnTo>
                    <a:pt x="42" y="194"/>
                  </a:lnTo>
                  <a:lnTo>
                    <a:pt x="45" y="194"/>
                  </a:lnTo>
                  <a:lnTo>
                    <a:pt x="48" y="195"/>
                  </a:lnTo>
                  <a:lnTo>
                    <a:pt x="50" y="196"/>
                  </a:lnTo>
                  <a:lnTo>
                    <a:pt x="54" y="196"/>
                  </a:lnTo>
                  <a:lnTo>
                    <a:pt x="56" y="195"/>
                  </a:lnTo>
                  <a:lnTo>
                    <a:pt x="59" y="195"/>
                  </a:lnTo>
                  <a:lnTo>
                    <a:pt x="60" y="193"/>
                  </a:lnTo>
                  <a:lnTo>
                    <a:pt x="64" y="193"/>
                  </a:lnTo>
                  <a:lnTo>
                    <a:pt x="64" y="195"/>
                  </a:lnTo>
                  <a:lnTo>
                    <a:pt x="71" y="194"/>
                  </a:lnTo>
                  <a:lnTo>
                    <a:pt x="73" y="194"/>
                  </a:lnTo>
                  <a:lnTo>
                    <a:pt x="76" y="194"/>
                  </a:lnTo>
                  <a:lnTo>
                    <a:pt x="79" y="193"/>
                  </a:lnTo>
                  <a:lnTo>
                    <a:pt x="81" y="190"/>
                  </a:lnTo>
                  <a:lnTo>
                    <a:pt x="84" y="189"/>
                  </a:lnTo>
                  <a:lnTo>
                    <a:pt x="86" y="188"/>
                  </a:lnTo>
                  <a:lnTo>
                    <a:pt x="90" y="190"/>
                  </a:lnTo>
                  <a:lnTo>
                    <a:pt x="92" y="192"/>
                  </a:lnTo>
                  <a:lnTo>
                    <a:pt x="94" y="194"/>
                  </a:lnTo>
                  <a:lnTo>
                    <a:pt x="96" y="197"/>
                  </a:lnTo>
                  <a:lnTo>
                    <a:pt x="92" y="197"/>
                  </a:lnTo>
                  <a:lnTo>
                    <a:pt x="90" y="197"/>
                  </a:lnTo>
                  <a:lnTo>
                    <a:pt x="90" y="200"/>
                  </a:lnTo>
                  <a:lnTo>
                    <a:pt x="92" y="201"/>
                  </a:lnTo>
                  <a:lnTo>
                    <a:pt x="90" y="201"/>
                  </a:lnTo>
                  <a:lnTo>
                    <a:pt x="86" y="200"/>
                  </a:lnTo>
                  <a:lnTo>
                    <a:pt x="83" y="198"/>
                  </a:lnTo>
                  <a:lnTo>
                    <a:pt x="81" y="198"/>
                  </a:lnTo>
                  <a:lnTo>
                    <a:pt x="75" y="198"/>
                  </a:lnTo>
                  <a:lnTo>
                    <a:pt x="72" y="198"/>
                  </a:lnTo>
                  <a:lnTo>
                    <a:pt x="68" y="198"/>
                  </a:lnTo>
                  <a:lnTo>
                    <a:pt x="66" y="198"/>
                  </a:lnTo>
                  <a:lnTo>
                    <a:pt x="64" y="198"/>
                  </a:lnTo>
                  <a:lnTo>
                    <a:pt x="60" y="200"/>
                  </a:lnTo>
                  <a:lnTo>
                    <a:pt x="58" y="201"/>
                  </a:lnTo>
                  <a:lnTo>
                    <a:pt x="55" y="201"/>
                  </a:lnTo>
                  <a:lnTo>
                    <a:pt x="58" y="203"/>
                  </a:lnTo>
                  <a:lnTo>
                    <a:pt x="60" y="203"/>
                  </a:lnTo>
                  <a:lnTo>
                    <a:pt x="64" y="203"/>
                  </a:lnTo>
                  <a:lnTo>
                    <a:pt x="66" y="203"/>
                  </a:lnTo>
                  <a:lnTo>
                    <a:pt x="68" y="203"/>
                  </a:lnTo>
                  <a:lnTo>
                    <a:pt x="72" y="203"/>
                  </a:lnTo>
                  <a:lnTo>
                    <a:pt x="74" y="203"/>
                  </a:lnTo>
                  <a:lnTo>
                    <a:pt x="77" y="204"/>
                  </a:lnTo>
                  <a:lnTo>
                    <a:pt x="83" y="205"/>
                  </a:lnTo>
                  <a:lnTo>
                    <a:pt x="85" y="205"/>
                  </a:lnTo>
                  <a:lnTo>
                    <a:pt x="89" y="205"/>
                  </a:lnTo>
                  <a:lnTo>
                    <a:pt x="94" y="204"/>
                  </a:lnTo>
                  <a:lnTo>
                    <a:pt x="91" y="205"/>
                  </a:lnTo>
                  <a:lnTo>
                    <a:pt x="89" y="205"/>
                  </a:lnTo>
                  <a:lnTo>
                    <a:pt x="85" y="205"/>
                  </a:lnTo>
                  <a:lnTo>
                    <a:pt x="83" y="205"/>
                  </a:lnTo>
                  <a:lnTo>
                    <a:pt x="80" y="205"/>
                  </a:lnTo>
                  <a:lnTo>
                    <a:pt x="77" y="204"/>
                  </a:lnTo>
                  <a:lnTo>
                    <a:pt x="74" y="204"/>
                  </a:lnTo>
                  <a:lnTo>
                    <a:pt x="72" y="203"/>
                  </a:lnTo>
                  <a:lnTo>
                    <a:pt x="69" y="204"/>
                  </a:lnTo>
                  <a:lnTo>
                    <a:pt x="66" y="204"/>
                  </a:lnTo>
                  <a:lnTo>
                    <a:pt x="64" y="204"/>
                  </a:lnTo>
                  <a:lnTo>
                    <a:pt x="60" y="204"/>
                  </a:lnTo>
                  <a:lnTo>
                    <a:pt x="58" y="204"/>
                  </a:lnTo>
                  <a:lnTo>
                    <a:pt x="55" y="203"/>
                  </a:lnTo>
                  <a:lnTo>
                    <a:pt x="51" y="203"/>
                  </a:lnTo>
                  <a:lnTo>
                    <a:pt x="49" y="203"/>
                  </a:lnTo>
                  <a:lnTo>
                    <a:pt x="47" y="203"/>
                  </a:lnTo>
                  <a:lnTo>
                    <a:pt x="43" y="203"/>
                  </a:lnTo>
                  <a:lnTo>
                    <a:pt x="42" y="202"/>
                  </a:lnTo>
                  <a:lnTo>
                    <a:pt x="39" y="202"/>
                  </a:lnTo>
                  <a:lnTo>
                    <a:pt x="37" y="203"/>
                  </a:lnTo>
                  <a:lnTo>
                    <a:pt x="31" y="204"/>
                  </a:lnTo>
                  <a:lnTo>
                    <a:pt x="29" y="205"/>
                  </a:lnTo>
                  <a:lnTo>
                    <a:pt x="25" y="205"/>
                  </a:lnTo>
                  <a:lnTo>
                    <a:pt x="23" y="209"/>
                  </a:lnTo>
                  <a:lnTo>
                    <a:pt x="25" y="211"/>
                  </a:lnTo>
                  <a:lnTo>
                    <a:pt x="29" y="211"/>
                  </a:lnTo>
                  <a:lnTo>
                    <a:pt x="31" y="211"/>
                  </a:lnTo>
                  <a:lnTo>
                    <a:pt x="29" y="212"/>
                  </a:lnTo>
                  <a:lnTo>
                    <a:pt x="31" y="214"/>
                  </a:lnTo>
                  <a:lnTo>
                    <a:pt x="34" y="215"/>
                  </a:lnTo>
                  <a:lnTo>
                    <a:pt x="38" y="215"/>
                  </a:lnTo>
                  <a:lnTo>
                    <a:pt x="40" y="213"/>
                  </a:lnTo>
                  <a:lnTo>
                    <a:pt x="42" y="212"/>
                  </a:lnTo>
                  <a:lnTo>
                    <a:pt x="42" y="212"/>
                  </a:lnTo>
                  <a:lnTo>
                    <a:pt x="45" y="210"/>
                  </a:lnTo>
                  <a:lnTo>
                    <a:pt x="48" y="210"/>
                  </a:lnTo>
                  <a:lnTo>
                    <a:pt x="45" y="211"/>
                  </a:lnTo>
                  <a:lnTo>
                    <a:pt x="42" y="213"/>
                  </a:lnTo>
                  <a:lnTo>
                    <a:pt x="42" y="216"/>
                  </a:lnTo>
                  <a:lnTo>
                    <a:pt x="45" y="216"/>
                  </a:lnTo>
                  <a:lnTo>
                    <a:pt x="48" y="218"/>
                  </a:lnTo>
                  <a:lnTo>
                    <a:pt x="50" y="218"/>
                  </a:lnTo>
                  <a:lnTo>
                    <a:pt x="54" y="219"/>
                  </a:lnTo>
                  <a:lnTo>
                    <a:pt x="59" y="219"/>
                  </a:lnTo>
                  <a:lnTo>
                    <a:pt x="63" y="219"/>
                  </a:lnTo>
                  <a:lnTo>
                    <a:pt x="65" y="219"/>
                  </a:lnTo>
                  <a:lnTo>
                    <a:pt x="67" y="218"/>
                  </a:lnTo>
                  <a:lnTo>
                    <a:pt x="69" y="221"/>
                  </a:lnTo>
                  <a:lnTo>
                    <a:pt x="66" y="221"/>
                  </a:lnTo>
                  <a:lnTo>
                    <a:pt x="64" y="221"/>
                  </a:lnTo>
                  <a:lnTo>
                    <a:pt x="60" y="221"/>
                  </a:lnTo>
                  <a:lnTo>
                    <a:pt x="58" y="222"/>
                  </a:lnTo>
                  <a:lnTo>
                    <a:pt x="56" y="223"/>
                  </a:lnTo>
                  <a:lnTo>
                    <a:pt x="52" y="224"/>
                  </a:lnTo>
                  <a:lnTo>
                    <a:pt x="49" y="226"/>
                  </a:lnTo>
                  <a:lnTo>
                    <a:pt x="49" y="228"/>
                  </a:lnTo>
                  <a:lnTo>
                    <a:pt x="51" y="229"/>
                  </a:lnTo>
                  <a:lnTo>
                    <a:pt x="55" y="230"/>
                  </a:lnTo>
                  <a:lnTo>
                    <a:pt x="58" y="231"/>
                  </a:lnTo>
                  <a:lnTo>
                    <a:pt x="60" y="233"/>
                  </a:lnTo>
                  <a:lnTo>
                    <a:pt x="64" y="233"/>
                  </a:lnTo>
                  <a:lnTo>
                    <a:pt x="64" y="236"/>
                  </a:lnTo>
                  <a:lnTo>
                    <a:pt x="67" y="236"/>
                  </a:lnTo>
                  <a:lnTo>
                    <a:pt x="72" y="237"/>
                  </a:lnTo>
                  <a:lnTo>
                    <a:pt x="75" y="237"/>
                  </a:lnTo>
                  <a:lnTo>
                    <a:pt x="77" y="237"/>
                  </a:lnTo>
                  <a:lnTo>
                    <a:pt x="81" y="238"/>
                  </a:lnTo>
                  <a:lnTo>
                    <a:pt x="83" y="238"/>
                  </a:lnTo>
                  <a:lnTo>
                    <a:pt x="86" y="239"/>
                  </a:lnTo>
                  <a:lnTo>
                    <a:pt x="89" y="238"/>
                  </a:lnTo>
                  <a:lnTo>
                    <a:pt x="86" y="237"/>
                  </a:lnTo>
                  <a:lnTo>
                    <a:pt x="83" y="235"/>
                  </a:lnTo>
                  <a:lnTo>
                    <a:pt x="81" y="232"/>
                  </a:lnTo>
                  <a:lnTo>
                    <a:pt x="83" y="230"/>
                  </a:lnTo>
                  <a:lnTo>
                    <a:pt x="86" y="231"/>
                  </a:lnTo>
                  <a:lnTo>
                    <a:pt x="89" y="235"/>
                  </a:lnTo>
                  <a:lnTo>
                    <a:pt x="92" y="235"/>
                  </a:lnTo>
                  <a:lnTo>
                    <a:pt x="92" y="232"/>
                  </a:lnTo>
                  <a:lnTo>
                    <a:pt x="94" y="230"/>
                  </a:lnTo>
                  <a:lnTo>
                    <a:pt x="98" y="230"/>
                  </a:lnTo>
                  <a:lnTo>
                    <a:pt x="100" y="230"/>
                  </a:lnTo>
                  <a:lnTo>
                    <a:pt x="103" y="231"/>
                  </a:lnTo>
                  <a:lnTo>
                    <a:pt x="100" y="232"/>
                  </a:lnTo>
                  <a:lnTo>
                    <a:pt x="100" y="236"/>
                  </a:lnTo>
                  <a:lnTo>
                    <a:pt x="103" y="237"/>
                  </a:lnTo>
                  <a:lnTo>
                    <a:pt x="106" y="237"/>
                  </a:lnTo>
                  <a:lnTo>
                    <a:pt x="106" y="233"/>
                  </a:lnTo>
                  <a:lnTo>
                    <a:pt x="111" y="235"/>
                  </a:lnTo>
                  <a:lnTo>
                    <a:pt x="113" y="232"/>
                  </a:lnTo>
                  <a:lnTo>
                    <a:pt x="115" y="233"/>
                  </a:lnTo>
                  <a:lnTo>
                    <a:pt x="116" y="230"/>
                  </a:lnTo>
                  <a:lnTo>
                    <a:pt x="119" y="230"/>
                  </a:lnTo>
                  <a:lnTo>
                    <a:pt x="120" y="228"/>
                  </a:lnTo>
                  <a:lnTo>
                    <a:pt x="122" y="230"/>
                  </a:lnTo>
                  <a:lnTo>
                    <a:pt x="123" y="233"/>
                  </a:lnTo>
                  <a:lnTo>
                    <a:pt x="125" y="233"/>
                  </a:lnTo>
                  <a:lnTo>
                    <a:pt x="128" y="231"/>
                  </a:lnTo>
                  <a:lnTo>
                    <a:pt x="131" y="229"/>
                  </a:lnTo>
                  <a:lnTo>
                    <a:pt x="134" y="227"/>
                  </a:lnTo>
                  <a:lnTo>
                    <a:pt x="140" y="229"/>
                  </a:lnTo>
                  <a:lnTo>
                    <a:pt x="142" y="230"/>
                  </a:lnTo>
                  <a:lnTo>
                    <a:pt x="145" y="230"/>
                  </a:lnTo>
                  <a:lnTo>
                    <a:pt x="148" y="230"/>
                  </a:lnTo>
                  <a:lnTo>
                    <a:pt x="151" y="231"/>
                  </a:lnTo>
                  <a:lnTo>
                    <a:pt x="153" y="231"/>
                  </a:lnTo>
                  <a:lnTo>
                    <a:pt x="156" y="232"/>
                  </a:lnTo>
                  <a:lnTo>
                    <a:pt x="159" y="233"/>
                  </a:lnTo>
                  <a:lnTo>
                    <a:pt x="161" y="232"/>
                  </a:lnTo>
                  <a:lnTo>
                    <a:pt x="165" y="233"/>
                  </a:lnTo>
                  <a:lnTo>
                    <a:pt x="167" y="235"/>
                  </a:lnTo>
                  <a:lnTo>
                    <a:pt x="168" y="237"/>
                  </a:lnTo>
                  <a:lnTo>
                    <a:pt x="176" y="237"/>
                  </a:lnTo>
                  <a:lnTo>
                    <a:pt x="179" y="238"/>
                  </a:lnTo>
                  <a:lnTo>
                    <a:pt x="179" y="239"/>
                  </a:lnTo>
                  <a:lnTo>
                    <a:pt x="182" y="239"/>
                  </a:lnTo>
                  <a:lnTo>
                    <a:pt x="185" y="240"/>
                  </a:lnTo>
                  <a:lnTo>
                    <a:pt x="182" y="243"/>
                  </a:lnTo>
                  <a:lnTo>
                    <a:pt x="185" y="243"/>
                  </a:lnTo>
                  <a:lnTo>
                    <a:pt x="187" y="241"/>
                  </a:lnTo>
                  <a:lnTo>
                    <a:pt x="191" y="241"/>
                  </a:lnTo>
                  <a:lnTo>
                    <a:pt x="190" y="244"/>
                  </a:lnTo>
                  <a:lnTo>
                    <a:pt x="192" y="245"/>
                  </a:lnTo>
                  <a:lnTo>
                    <a:pt x="195" y="246"/>
                  </a:lnTo>
                  <a:lnTo>
                    <a:pt x="197" y="245"/>
                  </a:lnTo>
                  <a:lnTo>
                    <a:pt x="201" y="245"/>
                  </a:lnTo>
                  <a:lnTo>
                    <a:pt x="202" y="248"/>
                  </a:lnTo>
                  <a:lnTo>
                    <a:pt x="203" y="250"/>
                  </a:lnTo>
                  <a:lnTo>
                    <a:pt x="203" y="253"/>
                  </a:lnTo>
                  <a:lnTo>
                    <a:pt x="200" y="254"/>
                  </a:lnTo>
                  <a:lnTo>
                    <a:pt x="197" y="255"/>
                  </a:lnTo>
                  <a:lnTo>
                    <a:pt x="200" y="255"/>
                  </a:lnTo>
                  <a:lnTo>
                    <a:pt x="203" y="254"/>
                  </a:lnTo>
                  <a:lnTo>
                    <a:pt x="201" y="257"/>
                  </a:lnTo>
                  <a:lnTo>
                    <a:pt x="203" y="260"/>
                  </a:lnTo>
                  <a:lnTo>
                    <a:pt x="205" y="260"/>
                  </a:lnTo>
                  <a:lnTo>
                    <a:pt x="205" y="263"/>
                  </a:lnTo>
                  <a:lnTo>
                    <a:pt x="208" y="264"/>
                  </a:lnTo>
                  <a:lnTo>
                    <a:pt x="211" y="265"/>
                  </a:lnTo>
                  <a:lnTo>
                    <a:pt x="212" y="266"/>
                  </a:lnTo>
                  <a:lnTo>
                    <a:pt x="216" y="267"/>
                  </a:lnTo>
                  <a:lnTo>
                    <a:pt x="218" y="267"/>
                  </a:lnTo>
                  <a:lnTo>
                    <a:pt x="221" y="270"/>
                  </a:lnTo>
                  <a:lnTo>
                    <a:pt x="218" y="271"/>
                  </a:lnTo>
                  <a:lnTo>
                    <a:pt x="220" y="274"/>
                  </a:lnTo>
                  <a:lnTo>
                    <a:pt x="222" y="274"/>
                  </a:lnTo>
                  <a:lnTo>
                    <a:pt x="226" y="275"/>
                  </a:lnTo>
                  <a:lnTo>
                    <a:pt x="228" y="278"/>
                  </a:lnTo>
                  <a:lnTo>
                    <a:pt x="231" y="278"/>
                  </a:lnTo>
                  <a:lnTo>
                    <a:pt x="228" y="280"/>
                  </a:lnTo>
                  <a:lnTo>
                    <a:pt x="226" y="280"/>
                  </a:lnTo>
                  <a:lnTo>
                    <a:pt x="222" y="280"/>
                  </a:lnTo>
                  <a:lnTo>
                    <a:pt x="226" y="281"/>
                  </a:lnTo>
                  <a:lnTo>
                    <a:pt x="231" y="281"/>
                  </a:lnTo>
                  <a:lnTo>
                    <a:pt x="229" y="283"/>
                  </a:lnTo>
                  <a:lnTo>
                    <a:pt x="226" y="283"/>
                  </a:lnTo>
                  <a:lnTo>
                    <a:pt x="228" y="284"/>
                  </a:lnTo>
                  <a:lnTo>
                    <a:pt x="226" y="286"/>
                  </a:lnTo>
                  <a:lnTo>
                    <a:pt x="222" y="287"/>
                  </a:lnTo>
                  <a:lnTo>
                    <a:pt x="220" y="288"/>
                  </a:lnTo>
                  <a:lnTo>
                    <a:pt x="218" y="288"/>
                  </a:lnTo>
                  <a:lnTo>
                    <a:pt x="220" y="289"/>
                  </a:lnTo>
                  <a:lnTo>
                    <a:pt x="224" y="289"/>
                  </a:lnTo>
                  <a:lnTo>
                    <a:pt x="226" y="288"/>
                  </a:lnTo>
                  <a:lnTo>
                    <a:pt x="229" y="287"/>
                  </a:lnTo>
                  <a:lnTo>
                    <a:pt x="231" y="284"/>
                  </a:lnTo>
                  <a:lnTo>
                    <a:pt x="230" y="288"/>
                  </a:lnTo>
                  <a:lnTo>
                    <a:pt x="229" y="290"/>
                  </a:lnTo>
                  <a:lnTo>
                    <a:pt x="233" y="291"/>
                  </a:lnTo>
                  <a:lnTo>
                    <a:pt x="235" y="293"/>
                  </a:lnTo>
                  <a:lnTo>
                    <a:pt x="237" y="296"/>
                  </a:lnTo>
                  <a:lnTo>
                    <a:pt x="235" y="298"/>
                  </a:lnTo>
                  <a:lnTo>
                    <a:pt x="238" y="300"/>
                  </a:lnTo>
                  <a:lnTo>
                    <a:pt x="236" y="299"/>
                  </a:lnTo>
                  <a:lnTo>
                    <a:pt x="233" y="301"/>
                  </a:lnTo>
                  <a:lnTo>
                    <a:pt x="236" y="303"/>
                  </a:lnTo>
                  <a:lnTo>
                    <a:pt x="238" y="304"/>
                  </a:lnTo>
                  <a:lnTo>
                    <a:pt x="241" y="306"/>
                  </a:lnTo>
                  <a:lnTo>
                    <a:pt x="243" y="307"/>
                  </a:lnTo>
                  <a:lnTo>
                    <a:pt x="246" y="308"/>
                  </a:lnTo>
                  <a:lnTo>
                    <a:pt x="246" y="309"/>
                  </a:lnTo>
                  <a:lnTo>
                    <a:pt x="243" y="309"/>
                  </a:lnTo>
                  <a:lnTo>
                    <a:pt x="242" y="312"/>
                  </a:lnTo>
                  <a:lnTo>
                    <a:pt x="244" y="313"/>
                  </a:lnTo>
                  <a:lnTo>
                    <a:pt x="242" y="314"/>
                  </a:lnTo>
                  <a:lnTo>
                    <a:pt x="238" y="315"/>
                  </a:lnTo>
                  <a:lnTo>
                    <a:pt x="242" y="317"/>
                  </a:lnTo>
                  <a:lnTo>
                    <a:pt x="244" y="318"/>
                  </a:lnTo>
                  <a:lnTo>
                    <a:pt x="247" y="317"/>
                  </a:lnTo>
                  <a:lnTo>
                    <a:pt x="250" y="318"/>
                  </a:lnTo>
                  <a:lnTo>
                    <a:pt x="252" y="321"/>
                  </a:lnTo>
                  <a:lnTo>
                    <a:pt x="252" y="324"/>
                  </a:lnTo>
                  <a:lnTo>
                    <a:pt x="250" y="324"/>
                  </a:lnTo>
                  <a:lnTo>
                    <a:pt x="252" y="325"/>
                  </a:lnTo>
                  <a:lnTo>
                    <a:pt x="251" y="327"/>
                  </a:lnTo>
                  <a:lnTo>
                    <a:pt x="247" y="330"/>
                  </a:lnTo>
                  <a:lnTo>
                    <a:pt x="251" y="332"/>
                  </a:lnTo>
                  <a:lnTo>
                    <a:pt x="253" y="332"/>
                  </a:lnTo>
                  <a:lnTo>
                    <a:pt x="255" y="332"/>
                  </a:lnTo>
                  <a:lnTo>
                    <a:pt x="253" y="332"/>
                  </a:lnTo>
                  <a:lnTo>
                    <a:pt x="251" y="332"/>
                  </a:lnTo>
                  <a:lnTo>
                    <a:pt x="247" y="332"/>
                  </a:lnTo>
                  <a:lnTo>
                    <a:pt x="243" y="332"/>
                  </a:lnTo>
                  <a:lnTo>
                    <a:pt x="239" y="332"/>
                  </a:lnTo>
                  <a:lnTo>
                    <a:pt x="243" y="334"/>
                  </a:lnTo>
                  <a:lnTo>
                    <a:pt x="245" y="335"/>
                  </a:lnTo>
                  <a:lnTo>
                    <a:pt x="247" y="334"/>
                  </a:lnTo>
                  <a:lnTo>
                    <a:pt x="251" y="335"/>
                  </a:lnTo>
                  <a:lnTo>
                    <a:pt x="248" y="338"/>
                  </a:lnTo>
                  <a:lnTo>
                    <a:pt x="246" y="340"/>
                  </a:lnTo>
                  <a:lnTo>
                    <a:pt x="246" y="340"/>
                  </a:lnTo>
                  <a:lnTo>
                    <a:pt x="244" y="343"/>
                  </a:lnTo>
                  <a:lnTo>
                    <a:pt x="242" y="346"/>
                  </a:lnTo>
                  <a:lnTo>
                    <a:pt x="244" y="347"/>
                  </a:lnTo>
                  <a:lnTo>
                    <a:pt x="247" y="347"/>
                  </a:lnTo>
                  <a:lnTo>
                    <a:pt x="250" y="346"/>
                  </a:lnTo>
                  <a:lnTo>
                    <a:pt x="253" y="344"/>
                  </a:lnTo>
                  <a:lnTo>
                    <a:pt x="254" y="341"/>
                  </a:lnTo>
                  <a:lnTo>
                    <a:pt x="253" y="344"/>
                  </a:lnTo>
                  <a:lnTo>
                    <a:pt x="251" y="346"/>
                  </a:lnTo>
                  <a:lnTo>
                    <a:pt x="248" y="348"/>
                  </a:lnTo>
                  <a:lnTo>
                    <a:pt x="245" y="348"/>
                  </a:lnTo>
                  <a:lnTo>
                    <a:pt x="243" y="348"/>
                  </a:lnTo>
                  <a:lnTo>
                    <a:pt x="244" y="350"/>
                  </a:lnTo>
                  <a:lnTo>
                    <a:pt x="241" y="350"/>
                  </a:lnTo>
                  <a:lnTo>
                    <a:pt x="238" y="351"/>
                  </a:lnTo>
                  <a:lnTo>
                    <a:pt x="235" y="354"/>
                  </a:lnTo>
                  <a:lnTo>
                    <a:pt x="238" y="355"/>
                  </a:lnTo>
                  <a:lnTo>
                    <a:pt x="239" y="357"/>
                  </a:lnTo>
                  <a:lnTo>
                    <a:pt x="243" y="360"/>
                  </a:lnTo>
                  <a:lnTo>
                    <a:pt x="245" y="358"/>
                  </a:lnTo>
                  <a:lnTo>
                    <a:pt x="247" y="359"/>
                  </a:lnTo>
                  <a:lnTo>
                    <a:pt x="251" y="361"/>
                  </a:lnTo>
                  <a:lnTo>
                    <a:pt x="253" y="361"/>
                  </a:lnTo>
                  <a:lnTo>
                    <a:pt x="256" y="360"/>
                  </a:lnTo>
                  <a:lnTo>
                    <a:pt x="259" y="360"/>
                  </a:lnTo>
                  <a:lnTo>
                    <a:pt x="261" y="359"/>
                  </a:lnTo>
                  <a:lnTo>
                    <a:pt x="263" y="357"/>
                  </a:lnTo>
                  <a:lnTo>
                    <a:pt x="262" y="354"/>
                  </a:lnTo>
                  <a:lnTo>
                    <a:pt x="264" y="354"/>
                  </a:lnTo>
                  <a:lnTo>
                    <a:pt x="264" y="351"/>
                  </a:lnTo>
                  <a:lnTo>
                    <a:pt x="267" y="351"/>
                  </a:lnTo>
                  <a:lnTo>
                    <a:pt x="269" y="349"/>
                  </a:lnTo>
                  <a:lnTo>
                    <a:pt x="268" y="346"/>
                  </a:lnTo>
                  <a:lnTo>
                    <a:pt x="267" y="343"/>
                  </a:lnTo>
                  <a:lnTo>
                    <a:pt x="264" y="341"/>
                  </a:lnTo>
                  <a:lnTo>
                    <a:pt x="263" y="339"/>
                  </a:lnTo>
                  <a:lnTo>
                    <a:pt x="263" y="335"/>
                  </a:lnTo>
                  <a:lnTo>
                    <a:pt x="267" y="335"/>
                  </a:lnTo>
                  <a:lnTo>
                    <a:pt x="263" y="337"/>
                  </a:lnTo>
                  <a:lnTo>
                    <a:pt x="264" y="340"/>
                  </a:lnTo>
                  <a:lnTo>
                    <a:pt x="267" y="342"/>
                  </a:lnTo>
                  <a:lnTo>
                    <a:pt x="269" y="344"/>
                  </a:lnTo>
                  <a:lnTo>
                    <a:pt x="270" y="347"/>
                  </a:lnTo>
                  <a:lnTo>
                    <a:pt x="272" y="349"/>
                  </a:lnTo>
                  <a:lnTo>
                    <a:pt x="276" y="349"/>
                  </a:lnTo>
                  <a:lnTo>
                    <a:pt x="276" y="346"/>
                  </a:lnTo>
                  <a:lnTo>
                    <a:pt x="279" y="344"/>
                  </a:lnTo>
                  <a:lnTo>
                    <a:pt x="276" y="347"/>
                  </a:lnTo>
                  <a:lnTo>
                    <a:pt x="275" y="350"/>
                  </a:lnTo>
                  <a:lnTo>
                    <a:pt x="271" y="352"/>
                  </a:lnTo>
                  <a:lnTo>
                    <a:pt x="275" y="352"/>
                  </a:lnTo>
                  <a:lnTo>
                    <a:pt x="280" y="352"/>
                  </a:lnTo>
                  <a:lnTo>
                    <a:pt x="282" y="354"/>
                  </a:lnTo>
                  <a:lnTo>
                    <a:pt x="286" y="355"/>
                  </a:lnTo>
                  <a:lnTo>
                    <a:pt x="288" y="354"/>
                  </a:lnTo>
                  <a:lnTo>
                    <a:pt x="290" y="354"/>
                  </a:lnTo>
                  <a:lnTo>
                    <a:pt x="294" y="352"/>
                  </a:lnTo>
                  <a:lnTo>
                    <a:pt x="291" y="355"/>
                  </a:lnTo>
                  <a:lnTo>
                    <a:pt x="286" y="356"/>
                  </a:lnTo>
                  <a:lnTo>
                    <a:pt x="284" y="356"/>
                  </a:lnTo>
                  <a:lnTo>
                    <a:pt x="280" y="357"/>
                  </a:lnTo>
                  <a:lnTo>
                    <a:pt x="278" y="358"/>
                  </a:lnTo>
                  <a:lnTo>
                    <a:pt x="276" y="359"/>
                  </a:lnTo>
                  <a:lnTo>
                    <a:pt x="278" y="360"/>
                  </a:lnTo>
                  <a:lnTo>
                    <a:pt x="281" y="360"/>
                  </a:lnTo>
                  <a:lnTo>
                    <a:pt x="284" y="360"/>
                  </a:lnTo>
                  <a:lnTo>
                    <a:pt x="286" y="359"/>
                  </a:lnTo>
                  <a:lnTo>
                    <a:pt x="289" y="358"/>
                  </a:lnTo>
                  <a:lnTo>
                    <a:pt x="291" y="357"/>
                  </a:lnTo>
                  <a:lnTo>
                    <a:pt x="295" y="357"/>
                  </a:lnTo>
                  <a:lnTo>
                    <a:pt x="297" y="358"/>
                  </a:lnTo>
                  <a:lnTo>
                    <a:pt x="295" y="358"/>
                  </a:lnTo>
                  <a:lnTo>
                    <a:pt x="289" y="359"/>
                  </a:lnTo>
                  <a:lnTo>
                    <a:pt x="286" y="360"/>
                  </a:lnTo>
                  <a:lnTo>
                    <a:pt x="285" y="363"/>
                  </a:lnTo>
                  <a:lnTo>
                    <a:pt x="282" y="364"/>
                  </a:lnTo>
                  <a:lnTo>
                    <a:pt x="285" y="365"/>
                  </a:lnTo>
                  <a:lnTo>
                    <a:pt x="288" y="364"/>
                  </a:lnTo>
                  <a:lnTo>
                    <a:pt x="290" y="361"/>
                  </a:lnTo>
                  <a:lnTo>
                    <a:pt x="294" y="361"/>
                  </a:lnTo>
                  <a:lnTo>
                    <a:pt x="295" y="364"/>
                  </a:lnTo>
                  <a:lnTo>
                    <a:pt x="291" y="364"/>
                  </a:lnTo>
                  <a:lnTo>
                    <a:pt x="289" y="365"/>
                  </a:lnTo>
                  <a:lnTo>
                    <a:pt x="286" y="366"/>
                  </a:lnTo>
                  <a:lnTo>
                    <a:pt x="289" y="367"/>
                  </a:lnTo>
                  <a:lnTo>
                    <a:pt x="291" y="366"/>
                  </a:lnTo>
                  <a:lnTo>
                    <a:pt x="295" y="367"/>
                  </a:lnTo>
                  <a:lnTo>
                    <a:pt x="297" y="366"/>
                  </a:lnTo>
                  <a:lnTo>
                    <a:pt x="298" y="369"/>
                  </a:lnTo>
                  <a:lnTo>
                    <a:pt x="302" y="369"/>
                  </a:lnTo>
                  <a:lnTo>
                    <a:pt x="298" y="370"/>
                  </a:lnTo>
                  <a:lnTo>
                    <a:pt x="296" y="369"/>
                  </a:lnTo>
                  <a:lnTo>
                    <a:pt x="293" y="369"/>
                  </a:lnTo>
                  <a:lnTo>
                    <a:pt x="290" y="368"/>
                  </a:lnTo>
                  <a:lnTo>
                    <a:pt x="293" y="370"/>
                  </a:lnTo>
                  <a:lnTo>
                    <a:pt x="296" y="372"/>
                  </a:lnTo>
                  <a:lnTo>
                    <a:pt x="298" y="373"/>
                  </a:lnTo>
                  <a:lnTo>
                    <a:pt x="302" y="374"/>
                  </a:lnTo>
                  <a:lnTo>
                    <a:pt x="304" y="373"/>
                  </a:lnTo>
                  <a:lnTo>
                    <a:pt x="306" y="376"/>
                  </a:lnTo>
                  <a:lnTo>
                    <a:pt x="303" y="376"/>
                  </a:lnTo>
                  <a:lnTo>
                    <a:pt x="301" y="375"/>
                  </a:lnTo>
                  <a:lnTo>
                    <a:pt x="297" y="376"/>
                  </a:lnTo>
                  <a:lnTo>
                    <a:pt x="299" y="377"/>
                  </a:lnTo>
                  <a:lnTo>
                    <a:pt x="306" y="378"/>
                  </a:lnTo>
                  <a:lnTo>
                    <a:pt x="303" y="380"/>
                  </a:lnTo>
                  <a:lnTo>
                    <a:pt x="305" y="381"/>
                  </a:lnTo>
                  <a:lnTo>
                    <a:pt x="303" y="382"/>
                  </a:lnTo>
                  <a:lnTo>
                    <a:pt x="299" y="381"/>
                  </a:lnTo>
                  <a:lnTo>
                    <a:pt x="303" y="383"/>
                  </a:lnTo>
                  <a:lnTo>
                    <a:pt x="305" y="384"/>
                  </a:lnTo>
                  <a:lnTo>
                    <a:pt x="308" y="382"/>
                  </a:lnTo>
                  <a:lnTo>
                    <a:pt x="307" y="384"/>
                  </a:lnTo>
                  <a:lnTo>
                    <a:pt x="304" y="386"/>
                  </a:lnTo>
                  <a:lnTo>
                    <a:pt x="302" y="385"/>
                  </a:lnTo>
                  <a:lnTo>
                    <a:pt x="298" y="385"/>
                  </a:lnTo>
                  <a:lnTo>
                    <a:pt x="296" y="384"/>
                  </a:lnTo>
                  <a:lnTo>
                    <a:pt x="294" y="383"/>
                  </a:lnTo>
                  <a:lnTo>
                    <a:pt x="290" y="382"/>
                  </a:lnTo>
                  <a:lnTo>
                    <a:pt x="288" y="381"/>
                  </a:lnTo>
                  <a:lnTo>
                    <a:pt x="285" y="380"/>
                  </a:lnTo>
                  <a:lnTo>
                    <a:pt x="282" y="377"/>
                  </a:lnTo>
                  <a:lnTo>
                    <a:pt x="279" y="376"/>
                  </a:lnTo>
                  <a:lnTo>
                    <a:pt x="277" y="376"/>
                  </a:lnTo>
                  <a:lnTo>
                    <a:pt x="273" y="375"/>
                  </a:lnTo>
                  <a:lnTo>
                    <a:pt x="271" y="376"/>
                  </a:lnTo>
                  <a:lnTo>
                    <a:pt x="268" y="376"/>
                  </a:lnTo>
                  <a:lnTo>
                    <a:pt x="265" y="375"/>
                  </a:lnTo>
                  <a:lnTo>
                    <a:pt x="262" y="375"/>
                  </a:lnTo>
                  <a:lnTo>
                    <a:pt x="260" y="374"/>
                  </a:lnTo>
                  <a:lnTo>
                    <a:pt x="256" y="375"/>
                  </a:lnTo>
                  <a:lnTo>
                    <a:pt x="254" y="376"/>
                  </a:lnTo>
                  <a:lnTo>
                    <a:pt x="254" y="380"/>
                  </a:lnTo>
                  <a:lnTo>
                    <a:pt x="258" y="381"/>
                  </a:lnTo>
                  <a:lnTo>
                    <a:pt x="260" y="384"/>
                  </a:lnTo>
                  <a:lnTo>
                    <a:pt x="263" y="385"/>
                  </a:lnTo>
                  <a:lnTo>
                    <a:pt x="265" y="385"/>
                  </a:lnTo>
                  <a:lnTo>
                    <a:pt x="269" y="386"/>
                  </a:lnTo>
                  <a:lnTo>
                    <a:pt x="271" y="386"/>
                  </a:lnTo>
                  <a:lnTo>
                    <a:pt x="273" y="387"/>
                  </a:lnTo>
                  <a:lnTo>
                    <a:pt x="277" y="387"/>
                  </a:lnTo>
                  <a:lnTo>
                    <a:pt x="280" y="389"/>
                  </a:lnTo>
                  <a:lnTo>
                    <a:pt x="282" y="392"/>
                  </a:lnTo>
                  <a:lnTo>
                    <a:pt x="285" y="393"/>
                  </a:lnTo>
                  <a:lnTo>
                    <a:pt x="288" y="393"/>
                  </a:lnTo>
                  <a:lnTo>
                    <a:pt x="290" y="394"/>
                  </a:lnTo>
                  <a:lnTo>
                    <a:pt x="294" y="394"/>
                  </a:lnTo>
                  <a:lnTo>
                    <a:pt x="295" y="394"/>
                  </a:lnTo>
                  <a:lnTo>
                    <a:pt x="295" y="395"/>
                  </a:lnTo>
                  <a:lnTo>
                    <a:pt x="297" y="394"/>
                  </a:lnTo>
                  <a:lnTo>
                    <a:pt x="299" y="393"/>
                  </a:lnTo>
                  <a:lnTo>
                    <a:pt x="303" y="394"/>
                  </a:lnTo>
                  <a:lnTo>
                    <a:pt x="301" y="394"/>
                  </a:lnTo>
                  <a:lnTo>
                    <a:pt x="303" y="395"/>
                  </a:lnTo>
                  <a:lnTo>
                    <a:pt x="306" y="394"/>
                  </a:lnTo>
                  <a:lnTo>
                    <a:pt x="307" y="394"/>
                  </a:lnTo>
                  <a:lnTo>
                    <a:pt x="310" y="393"/>
                  </a:lnTo>
                  <a:lnTo>
                    <a:pt x="312" y="393"/>
                  </a:lnTo>
                  <a:lnTo>
                    <a:pt x="313" y="394"/>
                  </a:lnTo>
                  <a:lnTo>
                    <a:pt x="312" y="395"/>
                  </a:lnTo>
                  <a:lnTo>
                    <a:pt x="308" y="397"/>
                  </a:lnTo>
                  <a:lnTo>
                    <a:pt x="312" y="398"/>
                  </a:lnTo>
                  <a:lnTo>
                    <a:pt x="313" y="401"/>
                  </a:lnTo>
                  <a:lnTo>
                    <a:pt x="311" y="400"/>
                  </a:lnTo>
                  <a:lnTo>
                    <a:pt x="307" y="400"/>
                  </a:lnTo>
                  <a:lnTo>
                    <a:pt x="305" y="402"/>
                  </a:lnTo>
                  <a:lnTo>
                    <a:pt x="307" y="402"/>
                  </a:lnTo>
                  <a:lnTo>
                    <a:pt x="311" y="404"/>
                  </a:lnTo>
                  <a:lnTo>
                    <a:pt x="307" y="403"/>
                  </a:lnTo>
                  <a:lnTo>
                    <a:pt x="305" y="404"/>
                  </a:lnTo>
                  <a:lnTo>
                    <a:pt x="304" y="408"/>
                  </a:lnTo>
                  <a:lnTo>
                    <a:pt x="307" y="407"/>
                  </a:lnTo>
                  <a:lnTo>
                    <a:pt x="310" y="406"/>
                  </a:lnTo>
                  <a:lnTo>
                    <a:pt x="312" y="407"/>
                  </a:lnTo>
                  <a:lnTo>
                    <a:pt x="310" y="407"/>
                  </a:lnTo>
                  <a:lnTo>
                    <a:pt x="307" y="408"/>
                  </a:lnTo>
                  <a:lnTo>
                    <a:pt x="304" y="409"/>
                  </a:lnTo>
                  <a:lnTo>
                    <a:pt x="303" y="411"/>
                  </a:lnTo>
                  <a:lnTo>
                    <a:pt x="302" y="415"/>
                  </a:lnTo>
                  <a:lnTo>
                    <a:pt x="304" y="415"/>
                  </a:lnTo>
                  <a:lnTo>
                    <a:pt x="307" y="414"/>
                  </a:lnTo>
                  <a:lnTo>
                    <a:pt x="310" y="411"/>
                  </a:lnTo>
                  <a:lnTo>
                    <a:pt x="310" y="415"/>
                  </a:lnTo>
                  <a:lnTo>
                    <a:pt x="312" y="416"/>
                  </a:lnTo>
                  <a:lnTo>
                    <a:pt x="310" y="416"/>
                  </a:lnTo>
                  <a:lnTo>
                    <a:pt x="307" y="417"/>
                  </a:lnTo>
                  <a:lnTo>
                    <a:pt x="310" y="418"/>
                  </a:lnTo>
                  <a:lnTo>
                    <a:pt x="312" y="418"/>
                  </a:lnTo>
                  <a:lnTo>
                    <a:pt x="310" y="418"/>
                  </a:lnTo>
                  <a:lnTo>
                    <a:pt x="312" y="421"/>
                  </a:lnTo>
                  <a:lnTo>
                    <a:pt x="308" y="419"/>
                  </a:lnTo>
                  <a:lnTo>
                    <a:pt x="307" y="417"/>
                  </a:lnTo>
                  <a:lnTo>
                    <a:pt x="304" y="416"/>
                  </a:lnTo>
                  <a:lnTo>
                    <a:pt x="302" y="416"/>
                  </a:lnTo>
                  <a:lnTo>
                    <a:pt x="301" y="419"/>
                  </a:lnTo>
                  <a:lnTo>
                    <a:pt x="302" y="421"/>
                  </a:lnTo>
                  <a:lnTo>
                    <a:pt x="303" y="420"/>
                  </a:lnTo>
                  <a:lnTo>
                    <a:pt x="299" y="423"/>
                  </a:lnTo>
                  <a:lnTo>
                    <a:pt x="299" y="425"/>
                  </a:lnTo>
                  <a:lnTo>
                    <a:pt x="303" y="424"/>
                  </a:lnTo>
                  <a:lnTo>
                    <a:pt x="305" y="424"/>
                  </a:lnTo>
                  <a:lnTo>
                    <a:pt x="304" y="427"/>
                  </a:lnTo>
                  <a:lnTo>
                    <a:pt x="302" y="427"/>
                  </a:lnTo>
                  <a:lnTo>
                    <a:pt x="299" y="429"/>
                  </a:lnTo>
                  <a:lnTo>
                    <a:pt x="297" y="429"/>
                  </a:lnTo>
                  <a:lnTo>
                    <a:pt x="295" y="431"/>
                  </a:lnTo>
                  <a:lnTo>
                    <a:pt x="291" y="431"/>
                  </a:lnTo>
                  <a:lnTo>
                    <a:pt x="289" y="429"/>
                  </a:lnTo>
                  <a:lnTo>
                    <a:pt x="284" y="429"/>
                  </a:lnTo>
                  <a:lnTo>
                    <a:pt x="280" y="431"/>
                  </a:lnTo>
                  <a:lnTo>
                    <a:pt x="284" y="431"/>
                  </a:lnTo>
                  <a:lnTo>
                    <a:pt x="280" y="432"/>
                  </a:lnTo>
                  <a:lnTo>
                    <a:pt x="278" y="434"/>
                  </a:lnTo>
                  <a:lnTo>
                    <a:pt x="275" y="435"/>
                  </a:lnTo>
                  <a:lnTo>
                    <a:pt x="272" y="435"/>
                  </a:lnTo>
                  <a:lnTo>
                    <a:pt x="275" y="436"/>
                  </a:lnTo>
                  <a:lnTo>
                    <a:pt x="278" y="435"/>
                  </a:lnTo>
                  <a:lnTo>
                    <a:pt x="280" y="435"/>
                  </a:lnTo>
                  <a:lnTo>
                    <a:pt x="278" y="436"/>
                  </a:lnTo>
                  <a:lnTo>
                    <a:pt x="280" y="436"/>
                  </a:lnTo>
                  <a:lnTo>
                    <a:pt x="284" y="438"/>
                  </a:lnTo>
                  <a:lnTo>
                    <a:pt x="286" y="437"/>
                  </a:lnTo>
                  <a:lnTo>
                    <a:pt x="288" y="437"/>
                  </a:lnTo>
                  <a:lnTo>
                    <a:pt x="291" y="437"/>
                  </a:lnTo>
                  <a:lnTo>
                    <a:pt x="294" y="436"/>
                  </a:lnTo>
                  <a:lnTo>
                    <a:pt x="297" y="434"/>
                  </a:lnTo>
                  <a:lnTo>
                    <a:pt x="294" y="433"/>
                  </a:lnTo>
                  <a:lnTo>
                    <a:pt x="297" y="433"/>
                  </a:lnTo>
                  <a:lnTo>
                    <a:pt x="299" y="433"/>
                  </a:lnTo>
                  <a:lnTo>
                    <a:pt x="303" y="432"/>
                  </a:lnTo>
                  <a:lnTo>
                    <a:pt x="305" y="432"/>
                  </a:lnTo>
                  <a:lnTo>
                    <a:pt x="303" y="432"/>
                  </a:lnTo>
                  <a:lnTo>
                    <a:pt x="299" y="433"/>
                  </a:lnTo>
                  <a:lnTo>
                    <a:pt x="299" y="436"/>
                  </a:lnTo>
                  <a:lnTo>
                    <a:pt x="297" y="436"/>
                  </a:lnTo>
                  <a:lnTo>
                    <a:pt x="299" y="437"/>
                  </a:lnTo>
                  <a:lnTo>
                    <a:pt x="303" y="438"/>
                  </a:lnTo>
                  <a:lnTo>
                    <a:pt x="299" y="438"/>
                  </a:lnTo>
                  <a:lnTo>
                    <a:pt x="297" y="438"/>
                  </a:lnTo>
                  <a:lnTo>
                    <a:pt x="299" y="440"/>
                  </a:lnTo>
                  <a:lnTo>
                    <a:pt x="303" y="441"/>
                  </a:lnTo>
                  <a:lnTo>
                    <a:pt x="305" y="442"/>
                  </a:lnTo>
                  <a:lnTo>
                    <a:pt x="308" y="443"/>
                  </a:lnTo>
                  <a:lnTo>
                    <a:pt x="313" y="444"/>
                  </a:lnTo>
                  <a:lnTo>
                    <a:pt x="311" y="444"/>
                  </a:lnTo>
                  <a:lnTo>
                    <a:pt x="308" y="445"/>
                  </a:lnTo>
                  <a:lnTo>
                    <a:pt x="305" y="444"/>
                  </a:lnTo>
                  <a:lnTo>
                    <a:pt x="303" y="443"/>
                  </a:lnTo>
                  <a:lnTo>
                    <a:pt x="299" y="441"/>
                  </a:lnTo>
                  <a:lnTo>
                    <a:pt x="294" y="441"/>
                  </a:lnTo>
                  <a:lnTo>
                    <a:pt x="291" y="442"/>
                  </a:lnTo>
                  <a:lnTo>
                    <a:pt x="289" y="441"/>
                  </a:lnTo>
                  <a:lnTo>
                    <a:pt x="286" y="441"/>
                  </a:lnTo>
                  <a:lnTo>
                    <a:pt x="284" y="440"/>
                  </a:lnTo>
                  <a:lnTo>
                    <a:pt x="280" y="438"/>
                  </a:lnTo>
                  <a:lnTo>
                    <a:pt x="278" y="438"/>
                  </a:lnTo>
                  <a:lnTo>
                    <a:pt x="280" y="440"/>
                  </a:lnTo>
                  <a:lnTo>
                    <a:pt x="284" y="441"/>
                  </a:lnTo>
                  <a:lnTo>
                    <a:pt x="280" y="441"/>
                  </a:lnTo>
                  <a:lnTo>
                    <a:pt x="278" y="440"/>
                  </a:lnTo>
                  <a:lnTo>
                    <a:pt x="275" y="438"/>
                  </a:lnTo>
                  <a:lnTo>
                    <a:pt x="272" y="438"/>
                  </a:lnTo>
                  <a:lnTo>
                    <a:pt x="269" y="438"/>
                  </a:lnTo>
                  <a:lnTo>
                    <a:pt x="272" y="440"/>
                  </a:lnTo>
                  <a:lnTo>
                    <a:pt x="275" y="441"/>
                  </a:lnTo>
                  <a:lnTo>
                    <a:pt x="278" y="443"/>
                  </a:lnTo>
                  <a:lnTo>
                    <a:pt x="280" y="443"/>
                  </a:lnTo>
                  <a:lnTo>
                    <a:pt x="286" y="444"/>
                  </a:lnTo>
                  <a:lnTo>
                    <a:pt x="284" y="444"/>
                  </a:lnTo>
                  <a:lnTo>
                    <a:pt x="280" y="444"/>
                  </a:lnTo>
                  <a:lnTo>
                    <a:pt x="278" y="443"/>
                  </a:lnTo>
                  <a:lnTo>
                    <a:pt x="275" y="442"/>
                  </a:lnTo>
                  <a:lnTo>
                    <a:pt x="272" y="442"/>
                  </a:lnTo>
                  <a:lnTo>
                    <a:pt x="275" y="443"/>
                  </a:lnTo>
                  <a:lnTo>
                    <a:pt x="272" y="443"/>
                  </a:lnTo>
                  <a:lnTo>
                    <a:pt x="271" y="446"/>
                  </a:lnTo>
                  <a:lnTo>
                    <a:pt x="269" y="445"/>
                  </a:lnTo>
                  <a:lnTo>
                    <a:pt x="271" y="446"/>
                  </a:lnTo>
                  <a:lnTo>
                    <a:pt x="269" y="448"/>
                  </a:lnTo>
                  <a:lnTo>
                    <a:pt x="265" y="448"/>
                  </a:lnTo>
                  <a:lnTo>
                    <a:pt x="268" y="450"/>
                  </a:lnTo>
                  <a:lnTo>
                    <a:pt x="264" y="452"/>
                  </a:lnTo>
                  <a:lnTo>
                    <a:pt x="268" y="453"/>
                  </a:lnTo>
                  <a:lnTo>
                    <a:pt x="270" y="452"/>
                  </a:lnTo>
                  <a:lnTo>
                    <a:pt x="273" y="450"/>
                  </a:lnTo>
                  <a:lnTo>
                    <a:pt x="276" y="449"/>
                  </a:lnTo>
                  <a:lnTo>
                    <a:pt x="278" y="448"/>
                  </a:lnTo>
                  <a:lnTo>
                    <a:pt x="281" y="448"/>
                  </a:lnTo>
                  <a:lnTo>
                    <a:pt x="284" y="445"/>
                  </a:lnTo>
                  <a:lnTo>
                    <a:pt x="286" y="445"/>
                  </a:lnTo>
                  <a:lnTo>
                    <a:pt x="289" y="445"/>
                  </a:lnTo>
                  <a:lnTo>
                    <a:pt x="291" y="444"/>
                  </a:lnTo>
                  <a:lnTo>
                    <a:pt x="289" y="445"/>
                  </a:lnTo>
                  <a:lnTo>
                    <a:pt x="286" y="445"/>
                  </a:lnTo>
                  <a:lnTo>
                    <a:pt x="289" y="449"/>
                  </a:lnTo>
                  <a:lnTo>
                    <a:pt x="291" y="448"/>
                  </a:lnTo>
                  <a:lnTo>
                    <a:pt x="294" y="449"/>
                  </a:lnTo>
                  <a:lnTo>
                    <a:pt x="297" y="449"/>
                  </a:lnTo>
                  <a:lnTo>
                    <a:pt x="296" y="445"/>
                  </a:lnTo>
                  <a:lnTo>
                    <a:pt x="298" y="444"/>
                  </a:lnTo>
                  <a:lnTo>
                    <a:pt x="302" y="443"/>
                  </a:lnTo>
                  <a:lnTo>
                    <a:pt x="298" y="445"/>
                  </a:lnTo>
                  <a:lnTo>
                    <a:pt x="299" y="448"/>
                  </a:lnTo>
                  <a:lnTo>
                    <a:pt x="302" y="448"/>
                  </a:lnTo>
                  <a:lnTo>
                    <a:pt x="304" y="448"/>
                  </a:lnTo>
                  <a:lnTo>
                    <a:pt x="305" y="445"/>
                  </a:lnTo>
                  <a:lnTo>
                    <a:pt x="308" y="445"/>
                  </a:lnTo>
                  <a:lnTo>
                    <a:pt x="311" y="446"/>
                  </a:lnTo>
                  <a:lnTo>
                    <a:pt x="308" y="446"/>
                  </a:lnTo>
                  <a:lnTo>
                    <a:pt x="305" y="448"/>
                  </a:lnTo>
                  <a:lnTo>
                    <a:pt x="303" y="449"/>
                  </a:lnTo>
                  <a:lnTo>
                    <a:pt x="299" y="449"/>
                  </a:lnTo>
                  <a:lnTo>
                    <a:pt x="303" y="451"/>
                  </a:lnTo>
                  <a:lnTo>
                    <a:pt x="305" y="451"/>
                  </a:lnTo>
                  <a:lnTo>
                    <a:pt x="308" y="450"/>
                  </a:lnTo>
                  <a:lnTo>
                    <a:pt x="311" y="449"/>
                  </a:lnTo>
                  <a:lnTo>
                    <a:pt x="313" y="449"/>
                  </a:lnTo>
                  <a:lnTo>
                    <a:pt x="316" y="450"/>
                  </a:lnTo>
                  <a:lnTo>
                    <a:pt x="316" y="450"/>
                  </a:lnTo>
                  <a:lnTo>
                    <a:pt x="313" y="449"/>
                  </a:lnTo>
                  <a:lnTo>
                    <a:pt x="311" y="450"/>
                  </a:lnTo>
                  <a:lnTo>
                    <a:pt x="308" y="451"/>
                  </a:lnTo>
                  <a:lnTo>
                    <a:pt x="305" y="452"/>
                  </a:lnTo>
                  <a:lnTo>
                    <a:pt x="308" y="454"/>
                  </a:lnTo>
                  <a:lnTo>
                    <a:pt x="311" y="454"/>
                  </a:lnTo>
                  <a:lnTo>
                    <a:pt x="313" y="454"/>
                  </a:lnTo>
                  <a:lnTo>
                    <a:pt x="311" y="454"/>
                  </a:lnTo>
                  <a:lnTo>
                    <a:pt x="308" y="454"/>
                  </a:lnTo>
                  <a:lnTo>
                    <a:pt x="305" y="454"/>
                  </a:lnTo>
                  <a:lnTo>
                    <a:pt x="303" y="452"/>
                  </a:lnTo>
                  <a:lnTo>
                    <a:pt x="299" y="451"/>
                  </a:lnTo>
                  <a:lnTo>
                    <a:pt x="297" y="450"/>
                  </a:lnTo>
                  <a:lnTo>
                    <a:pt x="294" y="451"/>
                  </a:lnTo>
                  <a:lnTo>
                    <a:pt x="291" y="451"/>
                  </a:lnTo>
                  <a:lnTo>
                    <a:pt x="288" y="450"/>
                  </a:lnTo>
                  <a:lnTo>
                    <a:pt x="286" y="449"/>
                  </a:lnTo>
                  <a:lnTo>
                    <a:pt x="284" y="449"/>
                  </a:lnTo>
                  <a:lnTo>
                    <a:pt x="280" y="449"/>
                  </a:lnTo>
                  <a:lnTo>
                    <a:pt x="278" y="449"/>
                  </a:lnTo>
                  <a:lnTo>
                    <a:pt x="280" y="449"/>
                  </a:lnTo>
                  <a:lnTo>
                    <a:pt x="275" y="450"/>
                  </a:lnTo>
                  <a:lnTo>
                    <a:pt x="272" y="452"/>
                  </a:lnTo>
                  <a:lnTo>
                    <a:pt x="269" y="454"/>
                  </a:lnTo>
                  <a:lnTo>
                    <a:pt x="267" y="454"/>
                  </a:lnTo>
                  <a:lnTo>
                    <a:pt x="264" y="457"/>
                  </a:lnTo>
                  <a:lnTo>
                    <a:pt x="263" y="459"/>
                  </a:lnTo>
                  <a:lnTo>
                    <a:pt x="265" y="461"/>
                  </a:lnTo>
                  <a:lnTo>
                    <a:pt x="271" y="459"/>
                  </a:lnTo>
                  <a:lnTo>
                    <a:pt x="275" y="459"/>
                  </a:lnTo>
                  <a:lnTo>
                    <a:pt x="277" y="459"/>
                  </a:lnTo>
                  <a:lnTo>
                    <a:pt x="280" y="458"/>
                  </a:lnTo>
                  <a:lnTo>
                    <a:pt x="282" y="458"/>
                  </a:lnTo>
                  <a:lnTo>
                    <a:pt x="285" y="457"/>
                  </a:lnTo>
                  <a:lnTo>
                    <a:pt x="288" y="458"/>
                  </a:lnTo>
                  <a:lnTo>
                    <a:pt x="294" y="458"/>
                  </a:lnTo>
                  <a:lnTo>
                    <a:pt x="296" y="457"/>
                  </a:lnTo>
                  <a:lnTo>
                    <a:pt x="299" y="457"/>
                  </a:lnTo>
                  <a:lnTo>
                    <a:pt x="296" y="458"/>
                  </a:lnTo>
                  <a:lnTo>
                    <a:pt x="297" y="460"/>
                  </a:lnTo>
                  <a:lnTo>
                    <a:pt x="299" y="462"/>
                  </a:lnTo>
                  <a:lnTo>
                    <a:pt x="303" y="462"/>
                  </a:lnTo>
                  <a:lnTo>
                    <a:pt x="305" y="461"/>
                  </a:lnTo>
                  <a:lnTo>
                    <a:pt x="308" y="461"/>
                  </a:lnTo>
                  <a:lnTo>
                    <a:pt x="311" y="461"/>
                  </a:lnTo>
                  <a:lnTo>
                    <a:pt x="308" y="462"/>
                  </a:lnTo>
                  <a:lnTo>
                    <a:pt x="305" y="462"/>
                  </a:lnTo>
                  <a:lnTo>
                    <a:pt x="303" y="462"/>
                  </a:lnTo>
                  <a:lnTo>
                    <a:pt x="299" y="463"/>
                  </a:lnTo>
                  <a:lnTo>
                    <a:pt x="297" y="461"/>
                  </a:lnTo>
                  <a:lnTo>
                    <a:pt x="295" y="459"/>
                  </a:lnTo>
                  <a:lnTo>
                    <a:pt x="293" y="458"/>
                  </a:lnTo>
                  <a:lnTo>
                    <a:pt x="289" y="458"/>
                  </a:lnTo>
                  <a:lnTo>
                    <a:pt x="287" y="458"/>
                  </a:lnTo>
                  <a:lnTo>
                    <a:pt x="285" y="458"/>
                  </a:lnTo>
                  <a:lnTo>
                    <a:pt x="281" y="459"/>
                  </a:lnTo>
                  <a:lnTo>
                    <a:pt x="279" y="459"/>
                  </a:lnTo>
                  <a:lnTo>
                    <a:pt x="276" y="460"/>
                  </a:lnTo>
                  <a:lnTo>
                    <a:pt x="271" y="460"/>
                  </a:lnTo>
                  <a:lnTo>
                    <a:pt x="268" y="460"/>
                  </a:lnTo>
                  <a:lnTo>
                    <a:pt x="265" y="462"/>
                  </a:lnTo>
                  <a:lnTo>
                    <a:pt x="263" y="462"/>
                  </a:lnTo>
                  <a:lnTo>
                    <a:pt x="265" y="463"/>
                  </a:lnTo>
                  <a:lnTo>
                    <a:pt x="268" y="463"/>
                  </a:lnTo>
                  <a:lnTo>
                    <a:pt x="265" y="464"/>
                  </a:lnTo>
                  <a:lnTo>
                    <a:pt x="268" y="466"/>
                  </a:lnTo>
                  <a:lnTo>
                    <a:pt x="271" y="466"/>
                  </a:lnTo>
                  <a:lnTo>
                    <a:pt x="268" y="467"/>
                  </a:lnTo>
                  <a:lnTo>
                    <a:pt x="265" y="467"/>
                  </a:lnTo>
                  <a:lnTo>
                    <a:pt x="268" y="468"/>
                  </a:lnTo>
                  <a:lnTo>
                    <a:pt x="271" y="468"/>
                  </a:lnTo>
                  <a:lnTo>
                    <a:pt x="273" y="468"/>
                  </a:lnTo>
                  <a:lnTo>
                    <a:pt x="277" y="468"/>
                  </a:lnTo>
                  <a:lnTo>
                    <a:pt x="279" y="468"/>
                  </a:lnTo>
                  <a:lnTo>
                    <a:pt x="281" y="467"/>
                  </a:lnTo>
                  <a:lnTo>
                    <a:pt x="285" y="468"/>
                  </a:lnTo>
                  <a:lnTo>
                    <a:pt x="281" y="469"/>
                  </a:lnTo>
                  <a:lnTo>
                    <a:pt x="279" y="469"/>
                  </a:lnTo>
                  <a:lnTo>
                    <a:pt x="277" y="470"/>
                  </a:lnTo>
                  <a:lnTo>
                    <a:pt x="273" y="470"/>
                  </a:lnTo>
                  <a:lnTo>
                    <a:pt x="277" y="470"/>
                  </a:lnTo>
                  <a:lnTo>
                    <a:pt x="279" y="470"/>
                  </a:lnTo>
                  <a:lnTo>
                    <a:pt x="277" y="471"/>
                  </a:lnTo>
                  <a:lnTo>
                    <a:pt x="273" y="471"/>
                  </a:lnTo>
                  <a:lnTo>
                    <a:pt x="277" y="472"/>
                  </a:lnTo>
                  <a:lnTo>
                    <a:pt x="279" y="472"/>
                  </a:lnTo>
                  <a:lnTo>
                    <a:pt x="277" y="474"/>
                  </a:lnTo>
                  <a:lnTo>
                    <a:pt x="273" y="474"/>
                  </a:lnTo>
                  <a:lnTo>
                    <a:pt x="271" y="474"/>
                  </a:lnTo>
                  <a:lnTo>
                    <a:pt x="269" y="475"/>
                  </a:lnTo>
                  <a:lnTo>
                    <a:pt x="271" y="476"/>
                  </a:lnTo>
                  <a:lnTo>
                    <a:pt x="273" y="476"/>
                  </a:lnTo>
                  <a:lnTo>
                    <a:pt x="277" y="476"/>
                  </a:lnTo>
                  <a:lnTo>
                    <a:pt x="279" y="476"/>
                  </a:lnTo>
                  <a:lnTo>
                    <a:pt x="281" y="476"/>
                  </a:lnTo>
                  <a:lnTo>
                    <a:pt x="279" y="477"/>
                  </a:lnTo>
                  <a:lnTo>
                    <a:pt x="277" y="476"/>
                  </a:lnTo>
                  <a:lnTo>
                    <a:pt x="273" y="477"/>
                  </a:lnTo>
                  <a:lnTo>
                    <a:pt x="271" y="477"/>
                  </a:lnTo>
                  <a:lnTo>
                    <a:pt x="269" y="477"/>
                  </a:lnTo>
                  <a:lnTo>
                    <a:pt x="265" y="479"/>
                  </a:lnTo>
                  <a:lnTo>
                    <a:pt x="265" y="483"/>
                  </a:lnTo>
                  <a:lnTo>
                    <a:pt x="269" y="483"/>
                  </a:lnTo>
                  <a:lnTo>
                    <a:pt x="271" y="483"/>
                  </a:lnTo>
                  <a:lnTo>
                    <a:pt x="269" y="484"/>
                  </a:lnTo>
                  <a:lnTo>
                    <a:pt x="265" y="486"/>
                  </a:lnTo>
                  <a:lnTo>
                    <a:pt x="267" y="486"/>
                  </a:lnTo>
                  <a:lnTo>
                    <a:pt x="269" y="486"/>
                  </a:lnTo>
                  <a:lnTo>
                    <a:pt x="272" y="486"/>
                  </a:lnTo>
                  <a:lnTo>
                    <a:pt x="275" y="485"/>
                  </a:lnTo>
                  <a:lnTo>
                    <a:pt x="277" y="483"/>
                  </a:lnTo>
                  <a:lnTo>
                    <a:pt x="280" y="480"/>
                  </a:lnTo>
                  <a:lnTo>
                    <a:pt x="282" y="479"/>
                  </a:lnTo>
                  <a:lnTo>
                    <a:pt x="286" y="477"/>
                  </a:lnTo>
                  <a:lnTo>
                    <a:pt x="288" y="475"/>
                  </a:lnTo>
                  <a:lnTo>
                    <a:pt x="290" y="474"/>
                  </a:lnTo>
                  <a:lnTo>
                    <a:pt x="294" y="471"/>
                  </a:lnTo>
                  <a:lnTo>
                    <a:pt x="296" y="470"/>
                  </a:lnTo>
                  <a:lnTo>
                    <a:pt x="299" y="468"/>
                  </a:lnTo>
                  <a:lnTo>
                    <a:pt x="302" y="467"/>
                  </a:lnTo>
                  <a:lnTo>
                    <a:pt x="304" y="466"/>
                  </a:lnTo>
                  <a:lnTo>
                    <a:pt x="307" y="466"/>
                  </a:lnTo>
                  <a:lnTo>
                    <a:pt x="310" y="464"/>
                  </a:lnTo>
                  <a:lnTo>
                    <a:pt x="307" y="466"/>
                  </a:lnTo>
                  <a:lnTo>
                    <a:pt x="310" y="466"/>
                  </a:lnTo>
                  <a:lnTo>
                    <a:pt x="313" y="467"/>
                  </a:lnTo>
                  <a:lnTo>
                    <a:pt x="315" y="467"/>
                  </a:lnTo>
                  <a:lnTo>
                    <a:pt x="313" y="467"/>
                  </a:lnTo>
                  <a:lnTo>
                    <a:pt x="307" y="466"/>
                  </a:lnTo>
                  <a:lnTo>
                    <a:pt x="305" y="467"/>
                  </a:lnTo>
                  <a:lnTo>
                    <a:pt x="304" y="469"/>
                  </a:lnTo>
                  <a:lnTo>
                    <a:pt x="307" y="469"/>
                  </a:lnTo>
                  <a:lnTo>
                    <a:pt x="310" y="469"/>
                  </a:lnTo>
                  <a:lnTo>
                    <a:pt x="307" y="469"/>
                  </a:lnTo>
                  <a:lnTo>
                    <a:pt x="304" y="470"/>
                  </a:lnTo>
                  <a:lnTo>
                    <a:pt x="302" y="469"/>
                  </a:lnTo>
                  <a:lnTo>
                    <a:pt x="299" y="469"/>
                  </a:lnTo>
                  <a:lnTo>
                    <a:pt x="296" y="471"/>
                  </a:lnTo>
                  <a:lnTo>
                    <a:pt x="294" y="472"/>
                  </a:lnTo>
                  <a:lnTo>
                    <a:pt x="290" y="474"/>
                  </a:lnTo>
                  <a:lnTo>
                    <a:pt x="288" y="477"/>
                  </a:lnTo>
                  <a:lnTo>
                    <a:pt x="286" y="478"/>
                  </a:lnTo>
                  <a:lnTo>
                    <a:pt x="282" y="479"/>
                  </a:lnTo>
                  <a:lnTo>
                    <a:pt x="280" y="481"/>
                  </a:lnTo>
                  <a:lnTo>
                    <a:pt x="277" y="484"/>
                  </a:lnTo>
                  <a:lnTo>
                    <a:pt x="275" y="485"/>
                  </a:lnTo>
                  <a:lnTo>
                    <a:pt x="272" y="486"/>
                  </a:lnTo>
                  <a:lnTo>
                    <a:pt x="269" y="487"/>
                  </a:lnTo>
                  <a:lnTo>
                    <a:pt x="272" y="488"/>
                  </a:lnTo>
                  <a:lnTo>
                    <a:pt x="269" y="489"/>
                  </a:lnTo>
                  <a:lnTo>
                    <a:pt x="272" y="491"/>
                  </a:lnTo>
                  <a:lnTo>
                    <a:pt x="275" y="488"/>
                  </a:lnTo>
                  <a:lnTo>
                    <a:pt x="272" y="491"/>
                  </a:lnTo>
                  <a:lnTo>
                    <a:pt x="275" y="492"/>
                  </a:lnTo>
                  <a:lnTo>
                    <a:pt x="280" y="489"/>
                  </a:lnTo>
                  <a:lnTo>
                    <a:pt x="282" y="491"/>
                  </a:lnTo>
                  <a:lnTo>
                    <a:pt x="286" y="489"/>
                  </a:lnTo>
                  <a:lnTo>
                    <a:pt x="288" y="488"/>
                  </a:lnTo>
                  <a:lnTo>
                    <a:pt x="290" y="487"/>
                  </a:lnTo>
                  <a:lnTo>
                    <a:pt x="293" y="491"/>
                  </a:lnTo>
                  <a:lnTo>
                    <a:pt x="290" y="488"/>
                  </a:lnTo>
                  <a:lnTo>
                    <a:pt x="287" y="489"/>
                  </a:lnTo>
                  <a:lnTo>
                    <a:pt x="285" y="493"/>
                  </a:lnTo>
                  <a:lnTo>
                    <a:pt x="281" y="492"/>
                  </a:lnTo>
                  <a:lnTo>
                    <a:pt x="279" y="491"/>
                  </a:lnTo>
                  <a:lnTo>
                    <a:pt x="277" y="492"/>
                  </a:lnTo>
                  <a:lnTo>
                    <a:pt x="273" y="493"/>
                  </a:lnTo>
                  <a:lnTo>
                    <a:pt x="277" y="493"/>
                  </a:lnTo>
                  <a:lnTo>
                    <a:pt x="273" y="495"/>
                  </a:lnTo>
                  <a:lnTo>
                    <a:pt x="277" y="496"/>
                  </a:lnTo>
                  <a:lnTo>
                    <a:pt x="279" y="493"/>
                  </a:lnTo>
                  <a:lnTo>
                    <a:pt x="279" y="496"/>
                  </a:lnTo>
                  <a:lnTo>
                    <a:pt x="278" y="498"/>
                  </a:lnTo>
                  <a:lnTo>
                    <a:pt x="281" y="498"/>
                  </a:lnTo>
                  <a:lnTo>
                    <a:pt x="280" y="501"/>
                  </a:lnTo>
                  <a:lnTo>
                    <a:pt x="282" y="502"/>
                  </a:lnTo>
                  <a:lnTo>
                    <a:pt x="286" y="501"/>
                  </a:lnTo>
                  <a:lnTo>
                    <a:pt x="288" y="500"/>
                  </a:lnTo>
                  <a:lnTo>
                    <a:pt x="289" y="497"/>
                  </a:lnTo>
                  <a:lnTo>
                    <a:pt x="291" y="496"/>
                  </a:lnTo>
                  <a:lnTo>
                    <a:pt x="295" y="495"/>
                  </a:lnTo>
                  <a:lnTo>
                    <a:pt x="297" y="494"/>
                  </a:lnTo>
                  <a:lnTo>
                    <a:pt x="299" y="494"/>
                  </a:lnTo>
                  <a:lnTo>
                    <a:pt x="303" y="494"/>
                  </a:lnTo>
                  <a:lnTo>
                    <a:pt x="305" y="494"/>
                  </a:lnTo>
                  <a:lnTo>
                    <a:pt x="306" y="494"/>
                  </a:lnTo>
                  <a:lnTo>
                    <a:pt x="306" y="496"/>
                  </a:lnTo>
                  <a:lnTo>
                    <a:pt x="304" y="494"/>
                  </a:lnTo>
                  <a:lnTo>
                    <a:pt x="298" y="494"/>
                  </a:lnTo>
                  <a:lnTo>
                    <a:pt x="295" y="495"/>
                  </a:lnTo>
                  <a:lnTo>
                    <a:pt x="293" y="496"/>
                  </a:lnTo>
                  <a:lnTo>
                    <a:pt x="290" y="498"/>
                  </a:lnTo>
                  <a:lnTo>
                    <a:pt x="288" y="501"/>
                  </a:lnTo>
                  <a:lnTo>
                    <a:pt x="286" y="502"/>
                  </a:lnTo>
                  <a:lnTo>
                    <a:pt x="282" y="503"/>
                  </a:lnTo>
                  <a:lnTo>
                    <a:pt x="284" y="505"/>
                  </a:lnTo>
                  <a:lnTo>
                    <a:pt x="286" y="504"/>
                  </a:lnTo>
                  <a:lnTo>
                    <a:pt x="286" y="506"/>
                  </a:lnTo>
                  <a:lnTo>
                    <a:pt x="288" y="505"/>
                  </a:lnTo>
                  <a:lnTo>
                    <a:pt x="286" y="508"/>
                  </a:lnTo>
                  <a:lnTo>
                    <a:pt x="286" y="510"/>
                  </a:lnTo>
                  <a:lnTo>
                    <a:pt x="287" y="513"/>
                  </a:lnTo>
                  <a:lnTo>
                    <a:pt x="286" y="515"/>
                  </a:lnTo>
                  <a:lnTo>
                    <a:pt x="288" y="515"/>
                  </a:lnTo>
                  <a:lnTo>
                    <a:pt x="291" y="513"/>
                  </a:lnTo>
                  <a:lnTo>
                    <a:pt x="293" y="511"/>
                  </a:lnTo>
                  <a:lnTo>
                    <a:pt x="295" y="513"/>
                  </a:lnTo>
                  <a:lnTo>
                    <a:pt x="298" y="512"/>
                  </a:lnTo>
                  <a:lnTo>
                    <a:pt x="295" y="514"/>
                  </a:lnTo>
                  <a:lnTo>
                    <a:pt x="293" y="514"/>
                  </a:lnTo>
                  <a:lnTo>
                    <a:pt x="289" y="515"/>
                  </a:lnTo>
                  <a:lnTo>
                    <a:pt x="287" y="518"/>
                  </a:lnTo>
                  <a:lnTo>
                    <a:pt x="288" y="520"/>
                  </a:lnTo>
                  <a:lnTo>
                    <a:pt x="287" y="523"/>
                  </a:lnTo>
                  <a:lnTo>
                    <a:pt x="288" y="526"/>
                  </a:lnTo>
                  <a:lnTo>
                    <a:pt x="289" y="529"/>
                  </a:lnTo>
                  <a:lnTo>
                    <a:pt x="291" y="528"/>
                  </a:lnTo>
                  <a:lnTo>
                    <a:pt x="293" y="525"/>
                  </a:lnTo>
                  <a:lnTo>
                    <a:pt x="296" y="522"/>
                  </a:lnTo>
                  <a:lnTo>
                    <a:pt x="296" y="520"/>
                  </a:lnTo>
                  <a:lnTo>
                    <a:pt x="298" y="518"/>
                  </a:lnTo>
                  <a:lnTo>
                    <a:pt x="301" y="517"/>
                  </a:lnTo>
                  <a:lnTo>
                    <a:pt x="301" y="520"/>
                  </a:lnTo>
                  <a:lnTo>
                    <a:pt x="304" y="518"/>
                  </a:lnTo>
                  <a:lnTo>
                    <a:pt x="306" y="515"/>
                  </a:lnTo>
                  <a:lnTo>
                    <a:pt x="306" y="513"/>
                  </a:lnTo>
                  <a:lnTo>
                    <a:pt x="304" y="510"/>
                  </a:lnTo>
                  <a:lnTo>
                    <a:pt x="304" y="508"/>
                  </a:lnTo>
                  <a:lnTo>
                    <a:pt x="306" y="508"/>
                  </a:lnTo>
                  <a:lnTo>
                    <a:pt x="305" y="510"/>
                  </a:lnTo>
                  <a:lnTo>
                    <a:pt x="306" y="512"/>
                  </a:lnTo>
                  <a:lnTo>
                    <a:pt x="308" y="515"/>
                  </a:lnTo>
                  <a:lnTo>
                    <a:pt x="311" y="517"/>
                  </a:lnTo>
                  <a:lnTo>
                    <a:pt x="313" y="515"/>
                  </a:lnTo>
                  <a:lnTo>
                    <a:pt x="316" y="514"/>
                  </a:lnTo>
                  <a:lnTo>
                    <a:pt x="316" y="514"/>
                  </a:lnTo>
                  <a:lnTo>
                    <a:pt x="315" y="514"/>
                  </a:lnTo>
                  <a:lnTo>
                    <a:pt x="313" y="518"/>
                  </a:lnTo>
                  <a:lnTo>
                    <a:pt x="316" y="518"/>
                  </a:lnTo>
                  <a:lnTo>
                    <a:pt x="316" y="519"/>
                  </a:lnTo>
                  <a:lnTo>
                    <a:pt x="314" y="519"/>
                  </a:lnTo>
                  <a:lnTo>
                    <a:pt x="316" y="522"/>
                  </a:lnTo>
                  <a:lnTo>
                    <a:pt x="319" y="523"/>
                  </a:lnTo>
                  <a:lnTo>
                    <a:pt x="321" y="526"/>
                  </a:lnTo>
                  <a:lnTo>
                    <a:pt x="319" y="525"/>
                  </a:lnTo>
                  <a:lnTo>
                    <a:pt x="316" y="523"/>
                  </a:lnTo>
                  <a:lnTo>
                    <a:pt x="313" y="522"/>
                  </a:lnTo>
                  <a:lnTo>
                    <a:pt x="312" y="519"/>
                  </a:lnTo>
                  <a:lnTo>
                    <a:pt x="310" y="518"/>
                  </a:lnTo>
                  <a:lnTo>
                    <a:pt x="307" y="518"/>
                  </a:lnTo>
                  <a:lnTo>
                    <a:pt x="310" y="519"/>
                  </a:lnTo>
                  <a:lnTo>
                    <a:pt x="307" y="519"/>
                  </a:lnTo>
                  <a:lnTo>
                    <a:pt x="304" y="519"/>
                  </a:lnTo>
                  <a:lnTo>
                    <a:pt x="307" y="520"/>
                  </a:lnTo>
                  <a:lnTo>
                    <a:pt x="310" y="521"/>
                  </a:lnTo>
                  <a:lnTo>
                    <a:pt x="311" y="523"/>
                  </a:lnTo>
                  <a:lnTo>
                    <a:pt x="313" y="523"/>
                  </a:lnTo>
                  <a:lnTo>
                    <a:pt x="311" y="525"/>
                  </a:lnTo>
                  <a:lnTo>
                    <a:pt x="307" y="523"/>
                  </a:lnTo>
                  <a:lnTo>
                    <a:pt x="305" y="523"/>
                  </a:lnTo>
                  <a:lnTo>
                    <a:pt x="303" y="527"/>
                  </a:lnTo>
                  <a:lnTo>
                    <a:pt x="299" y="529"/>
                  </a:lnTo>
                  <a:lnTo>
                    <a:pt x="297" y="529"/>
                  </a:lnTo>
                  <a:lnTo>
                    <a:pt x="295" y="528"/>
                  </a:lnTo>
                  <a:lnTo>
                    <a:pt x="297" y="530"/>
                  </a:lnTo>
                  <a:lnTo>
                    <a:pt x="295" y="530"/>
                  </a:lnTo>
                  <a:lnTo>
                    <a:pt x="297" y="531"/>
                  </a:lnTo>
                  <a:lnTo>
                    <a:pt x="299" y="531"/>
                  </a:lnTo>
                  <a:lnTo>
                    <a:pt x="303" y="530"/>
                  </a:lnTo>
                  <a:lnTo>
                    <a:pt x="308" y="528"/>
                  </a:lnTo>
                  <a:lnTo>
                    <a:pt x="311" y="526"/>
                  </a:lnTo>
                  <a:lnTo>
                    <a:pt x="308" y="528"/>
                  </a:lnTo>
                  <a:lnTo>
                    <a:pt x="312" y="529"/>
                  </a:lnTo>
                  <a:lnTo>
                    <a:pt x="314" y="528"/>
                  </a:lnTo>
                  <a:lnTo>
                    <a:pt x="315" y="531"/>
                  </a:lnTo>
                  <a:lnTo>
                    <a:pt x="312" y="529"/>
                  </a:lnTo>
                  <a:lnTo>
                    <a:pt x="310" y="530"/>
                  </a:lnTo>
                  <a:lnTo>
                    <a:pt x="307" y="529"/>
                  </a:lnTo>
                  <a:lnTo>
                    <a:pt x="304" y="531"/>
                  </a:lnTo>
                  <a:lnTo>
                    <a:pt x="302" y="531"/>
                  </a:lnTo>
                  <a:lnTo>
                    <a:pt x="299" y="531"/>
                  </a:lnTo>
                  <a:lnTo>
                    <a:pt x="296" y="532"/>
                  </a:lnTo>
                  <a:lnTo>
                    <a:pt x="295" y="532"/>
                  </a:lnTo>
                  <a:lnTo>
                    <a:pt x="297" y="534"/>
                  </a:lnTo>
                  <a:lnTo>
                    <a:pt x="297" y="537"/>
                  </a:lnTo>
                  <a:lnTo>
                    <a:pt x="299" y="536"/>
                  </a:lnTo>
                  <a:lnTo>
                    <a:pt x="303" y="535"/>
                  </a:lnTo>
                  <a:lnTo>
                    <a:pt x="299" y="537"/>
                  </a:lnTo>
                  <a:lnTo>
                    <a:pt x="297" y="538"/>
                  </a:lnTo>
                  <a:lnTo>
                    <a:pt x="295" y="540"/>
                  </a:lnTo>
                  <a:lnTo>
                    <a:pt x="298" y="541"/>
                  </a:lnTo>
                  <a:lnTo>
                    <a:pt x="301" y="540"/>
                  </a:lnTo>
                  <a:lnTo>
                    <a:pt x="304" y="541"/>
                  </a:lnTo>
                  <a:lnTo>
                    <a:pt x="306" y="540"/>
                  </a:lnTo>
                  <a:lnTo>
                    <a:pt x="308" y="540"/>
                  </a:lnTo>
                  <a:lnTo>
                    <a:pt x="306" y="541"/>
                  </a:lnTo>
                  <a:lnTo>
                    <a:pt x="304" y="541"/>
                  </a:lnTo>
                  <a:lnTo>
                    <a:pt x="301" y="541"/>
                  </a:lnTo>
                  <a:lnTo>
                    <a:pt x="304" y="544"/>
                  </a:lnTo>
                  <a:lnTo>
                    <a:pt x="301" y="545"/>
                  </a:lnTo>
                  <a:lnTo>
                    <a:pt x="304" y="547"/>
                  </a:lnTo>
                  <a:lnTo>
                    <a:pt x="306" y="546"/>
                  </a:lnTo>
                  <a:lnTo>
                    <a:pt x="308" y="546"/>
                  </a:lnTo>
                  <a:lnTo>
                    <a:pt x="312" y="546"/>
                  </a:lnTo>
                  <a:lnTo>
                    <a:pt x="308" y="547"/>
                  </a:lnTo>
                  <a:lnTo>
                    <a:pt x="306" y="547"/>
                  </a:lnTo>
                  <a:lnTo>
                    <a:pt x="304" y="547"/>
                  </a:lnTo>
                  <a:lnTo>
                    <a:pt x="301" y="547"/>
                  </a:lnTo>
                  <a:lnTo>
                    <a:pt x="302" y="551"/>
                  </a:lnTo>
                  <a:lnTo>
                    <a:pt x="304" y="549"/>
                  </a:lnTo>
                  <a:lnTo>
                    <a:pt x="307" y="551"/>
                  </a:lnTo>
                  <a:lnTo>
                    <a:pt x="310" y="551"/>
                  </a:lnTo>
                  <a:lnTo>
                    <a:pt x="312" y="549"/>
                  </a:lnTo>
                  <a:lnTo>
                    <a:pt x="315" y="549"/>
                  </a:lnTo>
                  <a:lnTo>
                    <a:pt x="312" y="551"/>
                  </a:lnTo>
                  <a:lnTo>
                    <a:pt x="310" y="552"/>
                  </a:lnTo>
                  <a:lnTo>
                    <a:pt x="308" y="555"/>
                  </a:lnTo>
                  <a:lnTo>
                    <a:pt x="312" y="555"/>
                  </a:lnTo>
                  <a:lnTo>
                    <a:pt x="311" y="558"/>
                  </a:lnTo>
                  <a:lnTo>
                    <a:pt x="313" y="556"/>
                  </a:lnTo>
                  <a:lnTo>
                    <a:pt x="316" y="555"/>
                  </a:lnTo>
                  <a:lnTo>
                    <a:pt x="319" y="554"/>
                  </a:lnTo>
                  <a:lnTo>
                    <a:pt x="316" y="555"/>
                  </a:lnTo>
                  <a:lnTo>
                    <a:pt x="314" y="556"/>
                  </a:lnTo>
                  <a:lnTo>
                    <a:pt x="313" y="560"/>
                  </a:lnTo>
                  <a:lnTo>
                    <a:pt x="316" y="558"/>
                  </a:lnTo>
                  <a:lnTo>
                    <a:pt x="316" y="558"/>
                  </a:lnTo>
                  <a:lnTo>
                    <a:pt x="315" y="560"/>
                  </a:lnTo>
                  <a:lnTo>
                    <a:pt x="313" y="562"/>
                  </a:lnTo>
                  <a:lnTo>
                    <a:pt x="312" y="565"/>
                  </a:lnTo>
                  <a:lnTo>
                    <a:pt x="313" y="568"/>
                  </a:lnTo>
                  <a:lnTo>
                    <a:pt x="316" y="570"/>
                  </a:lnTo>
                  <a:lnTo>
                    <a:pt x="318" y="569"/>
                  </a:lnTo>
                  <a:lnTo>
                    <a:pt x="319" y="571"/>
                  </a:lnTo>
                  <a:lnTo>
                    <a:pt x="321" y="571"/>
                  </a:lnTo>
                  <a:lnTo>
                    <a:pt x="323" y="571"/>
                  </a:lnTo>
                  <a:lnTo>
                    <a:pt x="321" y="573"/>
                  </a:lnTo>
                  <a:lnTo>
                    <a:pt x="323" y="574"/>
                  </a:lnTo>
                  <a:lnTo>
                    <a:pt x="321" y="573"/>
                  </a:lnTo>
                  <a:lnTo>
                    <a:pt x="322" y="577"/>
                  </a:lnTo>
                  <a:lnTo>
                    <a:pt x="325" y="577"/>
                  </a:lnTo>
                  <a:lnTo>
                    <a:pt x="328" y="575"/>
                  </a:lnTo>
                  <a:lnTo>
                    <a:pt x="329" y="573"/>
                  </a:lnTo>
                  <a:lnTo>
                    <a:pt x="330" y="575"/>
                  </a:lnTo>
                  <a:lnTo>
                    <a:pt x="327" y="577"/>
                  </a:lnTo>
                  <a:lnTo>
                    <a:pt x="324" y="578"/>
                  </a:lnTo>
                  <a:lnTo>
                    <a:pt x="324" y="580"/>
                  </a:lnTo>
                  <a:lnTo>
                    <a:pt x="327" y="580"/>
                  </a:lnTo>
                  <a:lnTo>
                    <a:pt x="330" y="578"/>
                  </a:lnTo>
                  <a:lnTo>
                    <a:pt x="332" y="577"/>
                  </a:lnTo>
                  <a:lnTo>
                    <a:pt x="330" y="579"/>
                  </a:lnTo>
                  <a:lnTo>
                    <a:pt x="329" y="582"/>
                  </a:lnTo>
                  <a:lnTo>
                    <a:pt x="331" y="581"/>
                  </a:lnTo>
                  <a:lnTo>
                    <a:pt x="331" y="585"/>
                  </a:lnTo>
                  <a:lnTo>
                    <a:pt x="333" y="585"/>
                  </a:lnTo>
                  <a:lnTo>
                    <a:pt x="331" y="585"/>
                  </a:lnTo>
                  <a:lnTo>
                    <a:pt x="329" y="585"/>
                  </a:lnTo>
                  <a:lnTo>
                    <a:pt x="325" y="586"/>
                  </a:lnTo>
                  <a:lnTo>
                    <a:pt x="329" y="587"/>
                  </a:lnTo>
                  <a:lnTo>
                    <a:pt x="331" y="587"/>
                  </a:lnTo>
                  <a:lnTo>
                    <a:pt x="333" y="587"/>
                  </a:lnTo>
                  <a:lnTo>
                    <a:pt x="337" y="586"/>
                  </a:lnTo>
                  <a:lnTo>
                    <a:pt x="339" y="586"/>
                  </a:lnTo>
                  <a:lnTo>
                    <a:pt x="337" y="587"/>
                  </a:lnTo>
                  <a:lnTo>
                    <a:pt x="333" y="588"/>
                  </a:lnTo>
                  <a:lnTo>
                    <a:pt x="331" y="589"/>
                  </a:lnTo>
                  <a:lnTo>
                    <a:pt x="333" y="589"/>
                  </a:lnTo>
                  <a:lnTo>
                    <a:pt x="337" y="589"/>
                  </a:lnTo>
                  <a:lnTo>
                    <a:pt x="337" y="591"/>
                  </a:lnTo>
                  <a:lnTo>
                    <a:pt x="338" y="595"/>
                  </a:lnTo>
                  <a:lnTo>
                    <a:pt x="340" y="592"/>
                  </a:lnTo>
                  <a:lnTo>
                    <a:pt x="342" y="591"/>
                  </a:lnTo>
                  <a:lnTo>
                    <a:pt x="340" y="594"/>
                  </a:lnTo>
                  <a:lnTo>
                    <a:pt x="342" y="595"/>
                  </a:lnTo>
                  <a:lnTo>
                    <a:pt x="346" y="594"/>
                  </a:lnTo>
                  <a:lnTo>
                    <a:pt x="342" y="596"/>
                  </a:lnTo>
                  <a:lnTo>
                    <a:pt x="340" y="597"/>
                  </a:lnTo>
                  <a:lnTo>
                    <a:pt x="342" y="597"/>
                  </a:lnTo>
                  <a:lnTo>
                    <a:pt x="346" y="598"/>
                  </a:lnTo>
                  <a:lnTo>
                    <a:pt x="342" y="599"/>
                  </a:lnTo>
                  <a:lnTo>
                    <a:pt x="340" y="602"/>
                  </a:lnTo>
                  <a:lnTo>
                    <a:pt x="342" y="600"/>
                  </a:lnTo>
                  <a:lnTo>
                    <a:pt x="346" y="600"/>
                  </a:lnTo>
                  <a:lnTo>
                    <a:pt x="348" y="602"/>
                  </a:lnTo>
                  <a:lnTo>
                    <a:pt x="352" y="599"/>
                  </a:lnTo>
                  <a:lnTo>
                    <a:pt x="346" y="599"/>
                  </a:lnTo>
                  <a:lnTo>
                    <a:pt x="352" y="598"/>
                  </a:lnTo>
                  <a:lnTo>
                    <a:pt x="354" y="599"/>
                  </a:lnTo>
                  <a:lnTo>
                    <a:pt x="357" y="598"/>
                  </a:lnTo>
                  <a:lnTo>
                    <a:pt x="356" y="600"/>
                  </a:lnTo>
                  <a:lnTo>
                    <a:pt x="359" y="602"/>
                  </a:lnTo>
                  <a:lnTo>
                    <a:pt x="361" y="598"/>
                  </a:lnTo>
                  <a:lnTo>
                    <a:pt x="364" y="597"/>
                  </a:lnTo>
                  <a:lnTo>
                    <a:pt x="366" y="596"/>
                  </a:lnTo>
                  <a:lnTo>
                    <a:pt x="369" y="596"/>
                  </a:lnTo>
                  <a:lnTo>
                    <a:pt x="372" y="595"/>
                  </a:lnTo>
                  <a:lnTo>
                    <a:pt x="372" y="592"/>
                  </a:lnTo>
                  <a:lnTo>
                    <a:pt x="374" y="590"/>
                  </a:lnTo>
                  <a:lnTo>
                    <a:pt x="373" y="592"/>
                  </a:lnTo>
                  <a:lnTo>
                    <a:pt x="375" y="596"/>
                  </a:lnTo>
                  <a:lnTo>
                    <a:pt x="373" y="596"/>
                  </a:lnTo>
                  <a:lnTo>
                    <a:pt x="370" y="598"/>
                  </a:lnTo>
                  <a:lnTo>
                    <a:pt x="373" y="598"/>
                  </a:lnTo>
                  <a:lnTo>
                    <a:pt x="375" y="597"/>
                  </a:lnTo>
                  <a:lnTo>
                    <a:pt x="378" y="595"/>
                  </a:lnTo>
                  <a:lnTo>
                    <a:pt x="378" y="592"/>
                  </a:lnTo>
                  <a:lnTo>
                    <a:pt x="379" y="595"/>
                  </a:lnTo>
                  <a:lnTo>
                    <a:pt x="382" y="592"/>
                  </a:lnTo>
                  <a:lnTo>
                    <a:pt x="379" y="596"/>
                  </a:lnTo>
                  <a:lnTo>
                    <a:pt x="376" y="598"/>
                  </a:lnTo>
                  <a:lnTo>
                    <a:pt x="374" y="598"/>
                  </a:lnTo>
                  <a:lnTo>
                    <a:pt x="371" y="599"/>
                  </a:lnTo>
                  <a:lnTo>
                    <a:pt x="369" y="602"/>
                  </a:lnTo>
                  <a:lnTo>
                    <a:pt x="371" y="600"/>
                  </a:lnTo>
                  <a:lnTo>
                    <a:pt x="370" y="603"/>
                  </a:lnTo>
                  <a:lnTo>
                    <a:pt x="373" y="603"/>
                  </a:lnTo>
                  <a:lnTo>
                    <a:pt x="375" y="602"/>
                  </a:lnTo>
                  <a:lnTo>
                    <a:pt x="378" y="599"/>
                  </a:lnTo>
                  <a:lnTo>
                    <a:pt x="381" y="599"/>
                  </a:lnTo>
                  <a:lnTo>
                    <a:pt x="378" y="600"/>
                  </a:lnTo>
                  <a:lnTo>
                    <a:pt x="375" y="603"/>
                  </a:lnTo>
                  <a:lnTo>
                    <a:pt x="373" y="604"/>
                  </a:lnTo>
                  <a:lnTo>
                    <a:pt x="375" y="604"/>
                  </a:lnTo>
                  <a:lnTo>
                    <a:pt x="373" y="606"/>
                  </a:lnTo>
                  <a:lnTo>
                    <a:pt x="375" y="605"/>
                  </a:lnTo>
                  <a:lnTo>
                    <a:pt x="376" y="607"/>
                  </a:lnTo>
                  <a:lnTo>
                    <a:pt x="378" y="605"/>
                  </a:lnTo>
                  <a:lnTo>
                    <a:pt x="381" y="605"/>
                  </a:lnTo>
                  <a:lnTo>
                    <a:pt x="380" y="607"/>
                  </a:lnTo>
                  <a:lnTo>
                    <a:pt x="382" y="606"/>
                  </a:lnTo>
                  <a:lnTo>
                    <a:pt x="381" y="608"/>
                  </a:lnTo>
                  <a:lnTo>
                    <a:pt x="383" y="608"/>
                  </a:lnTo>
                  <a:lnTo>
                    <a:pt x="387" y="606"/>
                  </a:lnTo>
                  <a:lnTo>
                    <a:pt x="389" y="603"/>
                  </a:lnTo>
                  <a:lnTo>
                    <a:pt x="388" y="606"/>
                  </a:lnTo>
                  <a:lnTo>
                    <a:pt x="384" y="612"/>
                  </a:lnTo>
                  <a:lnTo>
                    <a:pt x="383" y="614"/>
                  </a:lnTo>
                  <a:lnTo>
                    <a:pt x="386" y="614"/>
                  </a:lnTo>
                  <a:lnTo>
                    <a:pt x="388" y="611"/>
                  </a:lnTo>
                  <a:lnTo>
                    <a:pt x="390" y="608"/>
                  </a:lnTo>
                  <a:lnTo>
                    <a:pt x="388" y="612"/>
                  </a:lnTo>
                  <a:lnTo>
                    <a:pt x="387" y="614"/>
                  </a:lnTo>
                  <a:lnTo>
                    <a:pt x="383" y="616"/>
                  </a:lnTo>
                  <a:lnTo>
                    <a:pt x="387" y="615"/>
                  </a:lnTo>
                  <a:lnTo>
                    <a:pt x="388" y="617"/>
                  </a:lnTo>
                  <a:lnTo>
                    <a:pt x="390" y="617"/>
                  </a:lnTo>
                  <a:lnTo>
                    <a:pt x="391" y="615"/>
                  </a:lnTo>
                  <a:lnTo>
                    <a:pt x="395" y="615"/>
                  </a:lnTo>
                  <a:lnTo>
                    <a:pt x="396" y="612"/>
                  </a:lnTo>
                  <a:lnTo>
                    <a:pt x="398" y="612"/>
                  </a:lnTo>
                  <a:lnTo>
                    <a:pt x="398" y="614"/>
                  </a:lnTo>
                  <a:lnTo>
                    <a:pt x="401" y="615"/>
                  </a:lnTo>
                  <a:lnTo>
                    <a:pt x="404" y="615"/>
                  </a:lnTo>
                  <a:lnTo>
                    <a:pt x="406" y="615"/>
                  </a:lnTo>
                  <a:lnTo>
                    <a:pt x="409" y="615"/>
                  </a:lnTo>
                  <a:lnTo>
                    <a:pt x="409" y="613"/>
                  </a:lnTo>
                  <a:lnTo>
                    <a:pt x="408" y="609"/>
                  </a:lnTo>
                  <a:lnTo>
                    <a:pt x="405" y="611"/>
                  </a:lnTo>
                  <a:lnTo>
                    <a:pt x="406" y="608"/>
                  </a:lnTo>
                  <a:lnTo>
                    <a:pt x="402" y="607"/>
                  </a:lnTo>
                  <a:lnTo>
                    <a:pt x="400" y="606"/>
                  </a:lnTo>
                  <a:lnTo>
                    <a:pt x="397" y="606"/>
                  </a:lnTo>
                  <a:lnTo>
                    <a:pt x="400" y="606"/>
                  </a:lnTo>
                  <a:lnTo>
                    <a:pt x="402" y="604"/>
                  </a:lnTo>
                  <a:lnTo>
                    <a:pt x="404" y="607"/>
                  </a:lnTo>
                  <a:lnTo>
                    <a:pt x="407" y="607"/>
                  </a:lnTo>
                  <a:lnTo>
                    <a:pt x="409" y="607"/>
                  </a:lnTo>
                  <a:lnTo>
                    <a:pt x="413" y="606"/>
                  </a:lnTo>
                  <a:lnTo>
                    <a:pt x="415" y="604"/>
                  </a:lnTo>
                  <a:lnTo>
                    <a:pt x="413" y="605"/>
                  </a:lnTo>
                  <a:lnTo>
                    <a:pt x="409" y="604"/>
                  </a:lnTo>
                  <a:lnTo>
                    <a:pt x="413" y="605"/>
                  </a:lnTo>
                  <a:lnTo>
                    <a:pt x="413" y="602"/>
                  </a:lnTo>
                  <a:lnTo>
                    <a:pt x="409" y="602"/>
                  </a:lnTo>
                  <a:lnTo>
                    <a:pt x="407" y="600"/>
                  </a:lnTo>
                  <a:lnTo>
                    <a:pt x="410" y="602"/>
                  </a:lnTo>
                  <a:lnTo>
                    <a:pt x="413" y="600"/>
                  </a:lnTo>
                  <a:lnTo>
                    <a:pt x="410" y="600"/>
                  </a:lnTo>
                  <a:lnTo>
                    <a:pt x="407" y="599"/>
                  </a:lnTo>
                  <a:lnTo>
                    <a:pt x="410" y="599"/>
                  </a:lnTo>
                  <a:lnTo>
                    <a:pt x="413" y="599"/>
                  </a:lnTo>
                  <a:lnTo>
                    <a:pt x="416" y="598"/>
                  </a:lnTo>
                  <a:lnTo>
                    <a:pt x="416" y="596"/>
                  </a:lnTo>
                  <a:lnTo>
                    <a:pt x="413" y="596"/>
                  </a:lnTo>
                  <a:lnTo>
                    <a:pt x="410" y="595"/>
                  </a:lnTo>
                  <a:lnTo>
                    <a:pt x="408" y="595"/>
                  </a:lnTo>
                  <a:lnTo>
                    <a:pt x="406" y="595"/>
                  </a:lnTo>
                  <a:lnTo>
                    <a:pt x="408" y="595"/>
                  </a:lnTo>
                  <a:lnTo>
                    <a:pt x="414" y="595"/>
                  </a:lnTo>
                  <a:lnTo>
                    <a:pt x="416" y="595"/>
                  </a:lnTo>
                  <a:lnTo>
                    <a:pt x="412" y="592"/>
                  </a:lnTo>
                  <a:lnTo>
                    <a:pt x="414" y="592"/>
                  </a:lnTo>
                  <a:lnTo>
                    <a:pt x="416" y="591"/>
                  </a:lnTo>
                  <a:lnTo>
                    <a:pt x="412" y="590"/>
                  </a:lnTo>
                  <a:lnTo>
                    <a:pt x="414" y="590"/>
                  </a:lnTo>
                  <a:lnTo>
                    <a:pt x="416" y="590"/>
                  </a:lnTo>
                  <a:lnTo>
                    <a:pt x="419" y="588"/>
                  </a:lnTo>
                  <a:lnTo>
                    <a:pt x="417" y="586"/>
                  </a:lnTo>
                  <a:lnTo>
                    <a:pt x="414" y="586"/>
                  </a:lnTo>
                  <a:lnTo>
                    <a:pt x="412" y="585"/>
                  </a:lnTo>
                  <a:lnTo>
                    <a:pt x="414" y="586"/>
                  </a:lnTo>
                  <a:lnTo>
                    <a:pt x="417" y="586"/>
                  </a:lnTo>
                  <a:lnTo>
                    <a:pt x="419" y="585"/>
                  </a:lnTo>
                  <a:lnTo>
                    <a:pt x="421" y="582"/>
                  </a:lnTo>
                  <a:lnTo>
                    <a:pt x="418" y="582"/>
                  </a:lnTo>
                  <a:lnTo>
                    <a:pt x="416" y="581"/>
                  </a:lnTo>
                  <a:lnTo>
                    <a:pt x="418" y="582"/>
                  </a:lnTo>
                  <a:lnTo>
                    <a:pt x="421" y="581"/>
                  </a:lnTo>
                  <a:lnTo>
                    <a:pt x="421" y="579"/>
                  </a:lnTo>
                  <a:lnTo>
                    <a:pt x="422" y="575"/>
                  </a:lnTo>
                  <a:lnTo>
                    <a:pt x="419" y="577"/>
                  </a:lnTo>
                  <a:lnTo>
                    <a:pt x="419" y="575"/>
                  </a:lnTo>
                  <a:lnTo>
                    <a:pt x="422" y="572"/>
                  </a:lnTo>
                  <a:lnTo>
                    <a:pt x="421" y="570"/>
                  </a:lnTo>
                  <a:lnTo>
                    <a:pt x="418" y="569"/>
                  </a:lnTo>
                  <a:lnTo>
                    <a:pt x="415" y="568"/>
                  </a:lnTo>
                  <a:lnTo>
                    <a:pt x="413" y="565"/>
                  </a:lnTo>
                  <a:lnTo>
                    <a:pt x="415" y="565"/>
                  </a:lnTo>
                  <a:lnTo>
                    <a:pt x="418" y="568"/>
                  </a:lnTo>
                  <a:lnTo>
                    <a:pt x="421" y="566"/>
                  </a:lnTo>
                  <a:lnTo>
                    <a:pt x="418" y="565"/>
                  </a:lnTo>
                  <a:lnTo>
                    <a:pt x="421" y="566"/>
                  </a:lnTo>
                  <a:lnTo>
                    <a:pt x="418" y="563"/>
                  </a:lnTo>
                  <a:lnTo>
                    <a:pt x="416" y="563"/>
                  </a:lnTo>
                  <a:lnTo>
                    <a:pt x="413" y="562"/>
                  </a:lnTo>
                  <a:lnTo>
                    <a:pt x="410" y="560"/>
                  </a:lnTo>
                  <a:lnTo>
                    <a:pt x="413" y="561"/>
                  </a:lnTo>
                  <a:lnTo>
                    <a:pt x="416" y="560"/>
                  </a:lnTo>
                  <a:lnTo>
                    <a:pt x="418" y="561"/>
                  </a:lnTo>
                  <a:lnTo>
                    <a:pt x="418" y="557"/>
                  </a:lnTo>
                  <a:lnTo>
                    <a:pt x="421" y="557"/>
                  </a:lnTo>
                  <a:lnTo>
                    <a:pt x="424" y="558"/>
                  </a:lnTo>
                  <a:lnTo>
                    <a:pt x="426" y="558"/>
                  </a:lnTo>
                  <a:lnTo>
                    <a:pt x="429" y="558"/>
                  </a:lnTo>
                  <a:lnTo>
                    <a:pt x="431" y="555"/>
                  </a:lnTo>
                  <a:lnTo>
                    <a:pt x="429" y="554"/>
                  </a:lnTo>
                  <a:lnTo>
                    <a:pt x="425" y="554"/>
                  </a:lnTo>
                  <a:lnTo>
                    <a:pt x="423" y="551"/>
                  </a:lnTo>
                  <a:lnTo>
                    <a:pt x="426" y="554"/>
                  </a:lnTo>
                  <a:lnTo>
                    <a:pt x="429" y="554"/>
                  </a:lnTo>
                  <a:lnTo>
                    <a:pt x="432" y="554"/>
                  </a:lnTo>
                  <a:lnTo>
                    <a:pt x="429" y="552"/>
                  </a:lnTo>
                  <a:lnTo>
                    <a:pt x="426" y="551"/>
                  </a:lnTo>
                  <a:lnTo>
                    <a:pt x="429" y="551"/>
                  </a:lnTo>
                  <a:lnTo>
                    <a:pt x="432" y="553"/>
                  </a:lnTo>
                  <a:lnTo>
                    <a:pt x="433" y="551"/>
                  </a:lnTo>
                  <a:lnTo>
                    <a:pt x="430" y="548"/>
                  </a:lnTo>
                  <a:lnTo>
                    <a:pt x="427" y="546"/>
                  </a:lnTo>
                  <a:lnTo>
                    <a:pt x="429" y="544"/>
                  </a:lnTo>
                  <a:lnTo>
                    <a:pt x="432" y="546"/>
                  </a:lnTo>
                  <a:lnTo>
                    <a:pt x="434" y="547"/>
                  </a:lnTo>
                  <a:lnTo>
                    <a:pt x="438" y="548"/>
                  </a:lnTo>
                  <a:lnTo>
                    <a:pt x="434" y="546"/>
                  </a:lnTo>
                  <a:lnTo>
                    <a:pt x="432" y="545"/>
                  </a:lnTo>
                  <a:lnTo>
                    <a:pt x="434" y="546"/>
                  </a:lnTo>
                  <a:lnTo>
                    <a:pt x="433" y="543"/>
                  </a:lnTo>
                  <a:lnTo>
                    <a:pt x="436" y="545"/>
                  </a:lnTo>
                  <a:lnTo>
                    <a:pt x="439" y="546"/>
                  </a:lnTo>
                  <a:lnTo>
                    <a:pt x="436" y="544"/>
                  </a:lnTo>
                  <a:lnTo>
                    <a:pt x="439" y="545"/>
                  </a:lnTo>
                  <a:lnTo>
                    <a:pt x="441" y="544"/>
                  </a:lnTo>
                  <a:lnTo>
                    <a:pt x="441" y="541"/>
                  </a:lnTo>
                  <a:lnTo>
                    <a:pt x="439" y="540"/>
                  </a:lnTo>
                  <a:lnTo>
                    <a:pt x="436" y="540"/>
                  </a:lnTo>
                  <a:lnTo>
                    <a:pt x="433" y="538"/>
                  </a:lnTo>
                  <a:lnTo>
                    <a:pt x="435" y="538"/>
                  </a:lnTo>
                  <a:lnTo>
                    <a:pt x="439" y="539"/>
                  </a:lnTo>
                  <a:lnTo>
                    <a:pt x="441" y="540"/>
                  </a:lnTo>
                  <a:lnTo>
                    <a:pt x="444" y="539"/>
                  </a:lnTo>
                  <a:lnTo>
                    <a:pt x="446" y="537"/>
                  </a:lnTo>
                  <a:lnTo>
                    <a:pt x="442" y="535"/>
                  </a:lnTo>
                  <a:lnTo>
                    <a:pt x="446" y="532"/>
                  </a:lnTo>
                  <a:lnTo>
                    <a:pt x="442" y="530"/>
                  </a:lnTo>
                  <a:lnTo>
                    <a:pt x="440" y="530"/>
                  </a:lnTo>
                  <a:lnTo>
                    <a:pt x="436" y="530"/>
                  </a:lnTo>
                  <a:lnTo>
                    <a:pt x="434" y="529"/>
                  </a:lnTo>
                  <a:lnTo>
                    <a:pt x="432" y="528"/>
                  </a:lnTo>
                  <a:lnTo>
                    <a:pt x="434" y="526"/>
                  </a:lnTo>
                  <a:lnTo>
                    <a:pt x="436" y="527"/>
                  </a:lnTo>
                  <a:lnTo>
                    <a:pt x="440" y="527"/>
                  </a:lnTo>
                  <a:lnTo>
                    <a:pt x="442" y="526"/>
                  </a:lnTo>
                  <a:lnTo>
                    <a:pt x="446" y="526"/>
                  </a:lnTo>
                  <a:lnTo>
                    <a:pt x="448" y="526"/>
                  </a:lnTo>
                  <a:lnTo>
                    <a:pt x="446" y="523"/>
                  </a:lnTo>
                  <a:lnTo>
                    <a:pt x="444" y="521"/>
                  </a:lnTo>
                  <a:lnTo>
                    <a:pt x="443" y="518"/>
                  </a:lnTo>
                  <a:lnTo>
                    <a:pt x="441" y="515"/>
                  </a:lnTo>
                  <a:lnTo>
                    <a:pt x="438" y="513"/>
                  </a:lnTo>
                  <a:lnTo>
                    <a:pt x="439" y="511"/>
                  </a:lnTo>
                  <a:lnTo>
                    <a:pt x="442" y="510"/>
                  </a:lnTo>
                  <a:lnTo>
                    <a:pt x="444" y="508"/>
                  </a:lnTo>
                  <a:lnTo>
                    <a:pt x="447" y="511"/>
                  </a:lnTo>
                  <a:lnTo>
                    <a:pt x="450" y="510"/>
                  </a:lnTo>
                  <a:lnTo>
                    <a:pt x="452" y="510"/>
                  </a:lnTo>
                  <a:lnTo>
                    <a:pt x="452" y="510"/>
                  </a:lnTo>
                  <a:lnTo>
                    <a:pt x="452" y="506"/>
                  </a:lnTo>
                  <a:lnTo>
                    <a:pt x="456" y="506"/>
                  </a:lnTo>
                  <a:lnTo>
                    <a:pt x="453" y="503"/>
                  </a:lnTo>
                  <a:lnTo>
                    <a:pt x="452" y="502"/>
                  </a:lnTo>
                  <a:lnTo>
                    <a:pt x="450" y="501"/>
                  </a:lnTo>
                  <a:lnTo>
                    <a:pt x="452" y="498"/>
                  </a:lnTo>
                  <a:lnTo>
                    <a:pt x="456" y="500"/>
                  </a:lnTo>
                  <a:lnTo>
                    <a:pt x="457" y="497"/>
                  </a:lnTo>
                  <a:lnTo>
                    <a:pt x="459" y="497"/>
                  </a:lnTo>
                  <a:lnTo>
                    <a:pt x="463" y="500"/>
                  </a:lnTo>
                  <a:lnTo>
                    <a:pt x="464" y="496"/>
                  </a:lnTo>
                  <a:lnTo>
                    <a:pt x="467" y="498"/>
                  </a:lnTo>
                  <a:lnTo>
                    <a:pt x="469" y="496"/>
                  </a:lnTo>
                  <a:lnTo>
                    <a:pt x="473" y="497"/>
                  </a:lnTo>
                  <a:lnTo>
                    <a:pt x="475" y="497"/>
                  </a:lnTo>
                  <a:lnTo>
                    <a:pt x="477" y="495"/>
                  </a:lnTo>
                  <a:lnTo>
                    <a:pt x="477" y="493"/>
                  </a:lnTo>
                  <a:lnTo>
                    <a:pt x="475" y="492"/>
                  </a:lnTo>
                  <a:lnTo>
                    <a:pt x="475" y="488"/>
                  </a:lnTo>
                  <a:lnTo>
                    <a:pt x="477" y="489"/>
                  </a:lnTo>
                  <a:lnTo>
                    <a:pt x="481" y="488"/>
                  </a:lnTo>
                  <a:lnTo>
                    <a:pt x="481" y="486"/>
                  </a:lnTo>
                  <a:lnTo>
                    <a:pt x="481" y="484"/>
                  </a:lnTo>
                  <a:lnTo>
                    <a:pt x="483" y="483"/>
                  </a:lnTo>
                  <a:lnTo>
                    <a:pt x="481" y="480"/>
                  </a:lnTo>
                  <a:lnTo>
                    <a:pt x="483" y="480"/>
                  </a:lnTo>
                  <a:lnTo>
                    <a:pt x="486" y="481"/>
                  </a:lnTo>
                  <a:lnTo>
                    <a:pt x="489" y="481"/>
                  </a:lnTo>
                  <a:lnTo>
                    <a:pt x="491" y="481"/>
                  </a:lnTo>
                  <a:lnTo>
                    <a:pt x="489" y="484"/>
                  </a:lnTo>
                  <a:lnTo>
                    <a:pt x="486" y="486"/>
                  </a:lnTo>
                  <a:lnTo>
                    <a:pt x="483" y="488"/>
                  </a:lnTo>
                  <a:lnTo>
                    <a:pt x="483" y="491"/>
                  </a:lnTo>
                  <a:lnTo>
                    <a:pt x="486" y="491"/>
                  </a:lnTo>
                  <a:lnTo>
                    <a:pt x="489" y="493"/>
                  </a:lnTo>
                  <a:lnTo>
                    <a:pt x="491" y="494"/>
                  </a:lnTo>
                  <a:lnTo>
                    <a:pt x="492" y="491"/>
                  </a:lnTo>
                  <a:lnTo>
                    <a:pt x="493" y="488"/>
                  </a:lnTo>
                  <a:lnTo>
                    <a:pt x="493" y="491"/>
                  </a:lnTo>
                  <a:lnTo>
                    <a:pt x="495" y="491"/>
                  </a:lnTo>
                  <a:lnTo>
                    <a:pt x="499" y="489"/>
                  </a:lnTo>
                  <a:lnTo>
                    <a:pt x="501" y="487"/>
                  </a:lnTo>
                  <a:lnTo>
                    <a:pt x="503" y="489"/>
                  </a:lnTo>
                  <a:lnTo>
                    <a:pt x="507" y="491"/>
                  </a:lnTo>
                  <a:lnTo>
                    <a:pt x="509" y="488"/>
                  </a:lnTo>
                  <a:lnTo>
                    <a:pt x="509" y="486"/>
                  </a:lnTo>
                  <a:lnTo>
                    <a:pt x="512" y="486"/>
                  </a:lnTo>
                  <a:lnTo>
                    <a:pt x="514" y="484"/>
                  </a:lnTo>
                  <a:lnTo>
                    <a:pt x="511" y="480"/>
                  </a:lnTo>
                  <a:lnTo>
                    <a:pt x="514" y="483"/>
                  </a:lnTo>
                  <a:lnTo>
                    <a:pt x="517" y="483"/>
                  </a:lnTo>
                  <a:lnTo>
                    <a:pt x="519" y="484"/>
                  </a:lnTo>
                  <a:lnTo>
                    <a:pt x="518" y="480"/>
                  </a:lnTo>
                  <a:lnTo>
                    <a:pt x="521" y="481"/>
                  </a:lnTo>
                  <a:lnTo>
                    <a:pt x="524" y="480"/>
                  </a:lnTo>
                  <a:lnTo>
                    <a:pt x="526" y="480"/>
                  </a:lnTo>
                  <a:lnTo>
                    <a:pt x="528" y="478"/>
                  </a:lnTo>
                  <a:lnTo>
                    <a:pt x="528" y="475"/>
                  </a:lnTo>
                  <a:lnTo>
                    <a:pt x="529" y="472"/>
                  </a:lnTo>
                  <a:lnTo>
                    <a:pt x="529" y="475"/>
                  </a:lnTo>
                  <a:lnTo>
                    <a:pt x="533" y="474"/>
                  </a:lnTo>
                  <a:lnTo>
                    <a:pt x="534" y="471"/>
                  </a:lnTo>
                  <a:lnTo>
                    <a:pt x="535" y="469"/>
                  </a:lnTo>
                  <a:lnTo>
                    <a:pt x="536" y="467"/>
                  </a:lnTo>
                  <a:lnTo>
                    <a:pt x="538" y="464"/>
                  </a:lnTo>
                  <a:lnTo>
                    <a:pt x="541" y="463"/>
                  </a:lnTo>
                  <a:lnTo>
                    <a:pt x="541" y="461"/>
                  </a:lnTo>
                  <a:lnTo>
                    <a:pt x="544" y="460"/>
                  </a:lnTo>
                  <a:lnTo>
                    <a:pt x="542" y="458"/>
                  </a:lnTo>
                  <a:lnTo>
                    <a:pt x="544" y="457"/>
                  </a:lnTo>
                  <a:lnTo>
                    <a:pt x="544" y="453"/>
                  </a:lnTo>
                  <a:lnTo>
                    <a:pt x="546" y="453"/>
                  </a:lnTo>
                  <a:lnTo>
                    <a:pt x="549" y="450"/>
                  </a:lnTo>
                  <a:lnTo>
                    <a:pt x="551" y="449"/>
                  </a:lnTo>
                  <a:lnTo>
                    <a:pt x="554" y="448"/>
                  </a:lnTo>
                  <a:lnTo>
                    <a:pt x="557" y="445"/>
                  </a:lnTo>
                  <a:lnTo>
                    <a:pt x="559" y="446"/>
                  </a:lnTo>
                  <a:lnTo>
                    <a:pt x="562" y="444"/>
                  </a:lnTo>
                  <a:lnTo>
                    <a:pt x="560" y="442"/>
                  </a:lnTo>
                  <a:lnTo>
                    <a:pt x="561" y="440"/>
                  </a:lnTo>
                  <a:lnTo>
                    <a:pt x="558" y="437"/>
                  </a:lnTo>
                  <a:lnTo>
                    <a:pt x="561" y="437"/>
                  </a:lnTo>
                  <a:lnTo>
                    <a:pt x="559" y="434"/>
                  </a:lnTo>
                  <a:lnTo>
                    <a:pt x="557" y="434"/>
                  </a:lnTo>
                  <a:lnTo>
                    <a:pt x="555" y="431"/>
                  </a:lnTo>
                  <a:lnTo>
                    <a:pt x="558" y="429"/>
                  </a:lnTo>
                  <a:lnTo>
                    <a:pt x="559" y="433"/>
                  </a:lnTo>
                  <a:lnTo>
                    <a:pt x="561" y="434"/>
                  </a:lnTo>
                  <a:lnTo>
                    <a:pt x="563" y="436"/>
                  </a:lnTo>
                  <a:lnTo>
                    <a:pt x="567" y="437"/>
                  </a:lnTo>
                  <a:lnTo>
                    <a:pt x="568" y="441"/>
                  </a:lnTo>
                  <a:lnTo>
                    <a:pt x="570" y="440"/>
                  </a:lnTo>
                  <a:lnTo>
                    <a:pt x="572" y="441"/>
                  </a:lnTo>
                  <a:lnTo>
                    <a:pt x="576" y="442"/>
                  </a:lnTo>
                  <a:lnTo>
                    <a:pt x="578" y="441"/>
                  </a:lnTo>
                  <a:lnTo>
                    <a:pt x="581" y="441"/>
                  </a:lnTo>
                  <a:lnTo>
                    <a:pt x="584" y="441"/>
                  </a:lnTo>
                  <a:lnTo>
                    <a:pt x="581" y="437"/>
                  </a:lnTo>
                  <a:lnTo>
                    <a:pt x="579" y="436"/>
                  </a:lnTo>
                  <a:lnTo>
                    <a:pt x="581" y="437"/>
                  </a:lnTo>
                  <a:lnTo>
                    <a:pt x="584" y="437"/>
                  </a:lnTo>
                  <a:lnTo>
                    <a:pt x="586" y="441"/>
                  </a:lnTo>
                  <a:lnTo>
                    <a:pt x="589" y="440"/>
                  </a:lnTo>
                  <a:lnTo>
                    <a:pt x="587" y="436"/>
                  </a:lnTo>
                  <a:lnTo>
                    <a:pt x="589" y="437"/>
                  </a:lnTo>
                  <a:lnTo>
                    <a:pt x="589" y="434"/>
                  </a:lnTo>
                  <a:lnTo>
                    <a:pt x="592" y="433"/>
                  </a:lnTo>
                  <a:lnTo>
                    <a:pt x="594" y="436"/>
                  </a:lnTo>
                  <a:lnTo>
                    <a:pt x="597" y="436"/>
                  </a:lnTo>
                  <a:lnTo>
                    <a:pt x="600" y="435"/>
                  </a:lnTo>
                  <a:lnTo>
                    <a:pt x="603" y="434"/>
                  </a:lnTo>
                  <a:lnTo>
                    <a:pt x="605" y="435"/>
                  </a:lnTo>
                  <a:lnTo>
                    <a:pt x="608" y="434"/>
                  </a:lnTo>
                  <a:lnTo>
                    <a:pt x="611" y="432"/>
                  </a:lnTo>
                  <a:lnTo>
                    <a:pt x="613" y="431"/>
                  </a:lnTo>
                  <a:lnTo>
                    <a:pt x="617" y="432"/>
                  </a:lnTo>
                  <a:lnTo>
                    <a:pt x="619" y="432"/>
                  </a:lnTo>
                  <a:lnTo>
                    <a:pt x="622" y="431"/>
                  </a:lnTo>
                  <a:lnTo>
                    <a:pt x="625" y="431"/>
                  </a:lnTo>
                  <a:lnTo>
                    <a:pt x="628" y="428"/>
                  </a:lnTo>
                  <a:lnTo>
                    <a:pt x="630" y="429"/>
                  </a:lnTo>
                  <a:lnTo>
                    <a:pt x="631" y="427"/>
                  </a:lnTo>
                  <a:lnTo>
                    <a:pt x="635" y="426"/>
                  </a:lnTo>
                  <a:lnTo>
                    <a:pt x="637" y="427"/>
                  </a:lnTo>
                  <a:lnTo>
                    <a:pt x="639" y="427"/>
                  </a:lnTo>
                  <a:lnTo>
                    <a:pt x="643" y="424"/>
                  </a:lnTo>
                  <a:lnTo>
                    <a:pt x="645" y="424"/>
                  </a:lnTo>
                  <a:lnTo>
                    <a:pt x="647" y="423"/>
                  </a:lnTo>
                  <a:lnTo>
                    <a:pt x="649" y="419"/>
                  </a:lnTo>
                  <a:lnTo>
                    <a:pt x="652" y="419"/>
                  </a:lnTo>
                  <a:lnTo>
                    <a:pt x="651" y="417"/>
                  </a:lnTo>
                  <a:lnTo>
                    <a:pt x="653" y="418"/>
                  </a:lnTo>
                  <a:lnTo>
                    <a:pt x="656" y="416"/>
                  </a:lnTo>
                  <a:lnTo>
                    <a:pt x="658" y="414"/>
                  </a:lnTo>
                  <a:lnTo>
                    <a:pt x="655" y="414"/>
                  </a:lnTo>
                  <a:lnTo>
                    <a:pt x="658" y="412"/>
                  </a:lnTo>
                  <a:lnTo>
                    <a:pt x="661" y="412"/>
                  </a:lnTo>
                  <a:lnTo>
                    <a:pt x="663" y="412"/>
                  </a:lnTo>
                  <a:lnTo>
                    <a:pt x="663" y="410"/>
                  </a:lnTo>
                  <a:lnTo>
                    <a:pt x="665" y="410"/>
                  </a:lnTo>
                  <a:lnTo>
                    <a:pt x="669" y="408"/>
                  </a:lnTo>
                  <a:lnTo>
                    <a:pt x="671" y="408"/>
                  </a:lnTo>
                  <a:lnTo>
                    <a:pt x="669" y="406"/>
                  </a:lnTo>
                  <a:lnTo>
                    <a:pt x="671" y="406"/>
                  </a:lnTo>
                  <a:lnTo>
                    <a:pt x="673" y="407"/>
                  </a:lnTo>
                  <a:lnTo>
                    <a:pt x="677" y="406"/>
                  </a:lnTo>
                  <a:lnTo>
                    <a:pt x="677" y="403"/>
                  </a:lnTo>
                  <a:lnTo>
                    <a:pt x="674" y="401"/>
                  </a:lnTo>
                  <a:lnTo>
                    <a:pt x="677" y="401"/>
                  </a:lnTo>
                  <a:lnTo>
                    <a:pt x="680" y="401"/>
                  </a:lnTo>
                  <a:lnTo>
                    <a:pt x="682" y="401"/>
                  </a:lnTo>
                  <a:lnTo>
                    <a:pt x="686" y="401"/>
                  </a:lnTo>
                  <a:lnTo>
                    <a:pt x="682" y="398"/>
                  </a:lnTo>
                  <a:lnTo>
                    <a:pt x="686" y="398"/>
                  </a:lnTo>
                  <a:lnTo>
                    <a:pt x="688" y="398"/>
                  </a:lnTo>
                  <a:lnTo>
                    <a:pt x="690" y="397"/>
                  </a:lnTo>
                  <a:lnTo>
                    <a:pt x="692" y="394"/>
                  </a:lnTo>
                  <a:lnTo>
                    <a:pt x="695" y="394"/>
                  </a:lnTo>
                  <a:lnTo>
                    <a:pt x="698" y="392"/>
                  </a:lnTo>
                  <a:lnTo>
                    <a:pt x="695" y="392"/>
                  </a:lnTo>
                  <a:lnTo>
                    <a:pt x="692" y="392"/>
                  </a:lnTo>
                  <a:lnTo>
                    <a:pt x="690" y="393"/>
                  </a:lnTo>
                  <a:lnTo>
                    <a:pt x="687" y="393"/>
                  </a:lnTo>
                  <a:lnTo>
                    <a:pt x="685" y="392"/>
                  </a:lnTo>
                  <a:lnTo>
                    <a:pt x="681" y="392"/>
                  </a:lnTo>
                  <a:lnTo>
                    <a:pt x="679" y="392"/>
                  </a:lnTo>
                  <a:lnTo>
                    <a:pt x="677" y="391"/>
                  </a:lnTo>
                  <a:lnTo>
                    <a:pt x="673" y="391"/>
                  </a:lnTo>
                  <a:lnTo>
                    <a:pt x="671" y="390"/>
                  </a:lnTo>
                  <a:lnTo>
                    <a:pt x="668" y="390"/>
                  </a:lnTo>
                  <a:lnTo>
                    <a:pt x="665" y="389"/>
                  </a:lnTo>
                  <a:lnTo>
                    <a:pt x="662" y="387"/>
                  </a:lnTo>
                  <a:lnTo>
                    <a:pt x="660" y="387"/>
                  </a:lnTo>
                  <a:lnTo>
                    <a:pt x="657" y="386"/>
                  </a:lnTo>
                  <a:lnTo>
                    <a:pt x="654" y="387"/>
                  </a:lnTo>
                  <a:lnTo>
                    <a:pt x="655" y="385"/>
                  </a:lnTo>
                  <a:lnTo>
                    <a:pt x="652" y="385"/>
                  </a:lnTo>
                  <a:lnTo>
                    <a:pt x="649" y="386"/>
                  </a:lnTo>
                  <a:lnTo>
                    <a:pt x="647" y="387"/>
                  </a:lnTo>
                  <a:lnTo>
                    <a:pt x="644" y="389"/>
                  </a:lnTo>
                  <a:lnTo>
                    <a:pt x="642" y="390"/>
                  </a:lnTo>
                  <a:lnTo>
                    <a:pt x="638" y="390"/>
                  </a:lnTo>
                  <a:lnTo>
                    <a:pt x="636" y="389"/>
                  </a:lnTo>
                  <a:lnTo>
                    <a:pt x="634" y="389"/>
                  </a:lnTo>
                  <a:lnTo>
                    <a:pt x="630" y="390"/>
                  </a:lnTo>
                  <a:lnTo>
                    <a:pt x="628" y="393"/>
                  </a:lnTo>
                  <a:lnTo>
                    <a:pt x="627" y="394"/>
                  </a:lnTo>
                  <a:lnTo>
                    <a:pt x="625" y="395"/>
                  </a:lnTo>
                  <a:lnTo>
                    <a:pt x="623" y="394"/>
                  </a:lnTo>
                  <a:lnTo>
                    <a:pt x="623" y="393"/>
                  </a:lnTo>
                  <a:lnTo>
                    <a:pt x="620" y="394"/>
                  </a:lnTo>
                  <a:lnTo>
                    <a:pt x="618" y="394"/>
                  </a:lnTo>
                  <a:lnTo>
                    <a:pt x="615" y="393"/>
                  </a:lnTo>
                  <a:lnTo>
                    <a:pt x="612" y="393"/>
                  </a:lnTo>
                  <a:lnTo>
                    <a:pt x="610" y="392"/>
                  </a:lnTo>
                  <a:lnTo>
                    <a:pt x="612" y="392"/>
                  </a:lnTo>
                  <a:lnTo>
                    <a:pt x="614" y="391"/>
                  </a:lnTo>
                  <a:lnTo>
                    <a:pt x="618" y="392"/>
                  </a:lnTo>
                  <a:lnTo>
                    <a:pt x="620" y="392"/>
                  </a:lnTo>
                  <a:lnTo>
                    <a:pt x="623" y="391"/>
                  </a:lnTo>
                  <a:lnTo>
                    <a:pt x="626" y="390"/>
                  </a:lnTo>
                  <a:lnTo>
                    <a:pt x="629" y="387"/>
                  </a:lnTo>
                  <a:lnTo>
                    <a:pt x="631" y="386"/>
                  </a:lnTo>
                  <a:lnTo>
                    <a:pt x="634" y="387"/>
                  </a:lnTo>
                  <a:lnTo>
                    <a:pt x="637" y="387"/>
                  </a:lnTo>
                  <a:lnTo>
                    <a:pt x="639" y="386"/>
                  </a:lnTo>
                  <a:lnTo>
                    <a:pt x="638" y="383"/>
                  </a:lnTo>
                  <a:lnTo>
                    <a:pt x="635" y="383"/>
                  </a:lnTo>
                  <a:lnTo>
                    <a:pt x="632" y="384"/>
                  </a:lnTo>
                  <a:lnTo>
                    <a:pt x="630" y="384"/>
                  </a:lnTo>
                  <a:lnTo>
                    <a:pt x="627" y="384"/>
                  </a:lnTo>
                  <a:lnTo>
                    <a:pt x="625" y="384"/>
                  </a:lnTo>
                  <a:lnTo>
                    <a:pt x="621" y="384"/>
                  </a:lnTo>
                  <a:lnTo>
                    <a:pt x="619" y="385"/>
                  </a:lnTo>
                  <a:lnTo>
                    <a:pt x="615" y="385"/>
                  </a:lnTo>
                  <a:lnTo>
                    <a:pt x="613" y="385"/>
                  </a:lnTo>
                  <a:lnTo>
                    <a:pt x="613" y="382"/>
                  </a:lnTo>
                  <a:lnTo>
                    <a:pt x="611" y="382"/>
                  </a:lnTo>
                  <a:lnTo>
                    <a:pt x="608" y="383"/>
                  </a:lnTo>
                  <a:lnTo>
                    <a:pt x="605" y="384"/>
                  </a:lnTo>
                  <a:lnTo>
                    <a:pt x="602" y="383"/>
                  </a:lnTo>
                  <a:lnTo>
                    <a:pt x="605" y="382"/>
                  </a:lnTo>
                  <a:lnTo>
                    <a:pt x="608" y="382"/>
                  </a:lnTo>
                  <a:lnTo>
                    <a:pt x="611" y="382"/>
                  </a:lnTo>
                  <a:lnTo>
                    <a:pt x="613" y="380"/>
                  </a:lnTo>
                  <a:lnTo>
                    <a:pt x="615" y="378"/>
                  </a:lnTo>
                  <a:lnTo>
                    <a:pt x="618" y="375"/>
                  </a:lnTo>
                  <a:lnTo>
                    <a:pt x="617" y="373"/>
                  </a:lnTo>
                  <a:lnTo>
                    <a:pt x="614" y="372"/>
                  </a:lnTo>
                  <a:lnTo>
                    <a:pt x="612" y="370"/>
                  </a:lnTo>
                  <a:lnTo>
                    <a:pt x="614" y="370"/>
                  </a:lnTo>
                  <a:lnTo>
                    <a:pt x="617" y="370"/>
                  </a:lnTo>
                  <a:lnTo>
                    <a:pt x="620" y="370"/>
                  </a:lnTo>
                  <a:lnTo>
                    <a:pt x="622" y="370"/>
                  </a:lnTo>
                  <a:lnTo>
                    <a:pt x="620" y="369"/>
                  </a:lnTo>
                  <a:lnTo>
                    <a:pt x="620" y="366"/>
                  </a:lnTo>
                  <a:lnTo>
                    <a:pt x="622" y="369"/>
                  </a:lnTo>
                  <a:lnTo>
                    <a:pt x="625" y="372"/>
                  </a:lnTo>
                  <a:lnTo>
                    <a:pt x="628" y="372"/>
                  </a:lnTo>
                  <a:lnTo>
                    <a:pt x="630" y="372"/>
                  </a:lnTo>
                  <a:lnTo>
                    <a:pt x="634" y="372"/>
                  </a:lnTo>
                  <a:lnTo>
                    <a:pt x="636" y="372"/>
                  </a:lnTo>
                  <a:lnTo>
                    <a:pt x="638" y="370"/>
                  </a:lnTo>
                  <a:lnTo>
                    <a:pt x="642" y="369"/>
                  </a:lnTo>
                  <a:lnTo>
                    <a:pt x="644" y="368"/>
                  </a:lnTo>
                  <a:lnTo>
                    <a:pt x="647" y="367"/>
                  </a:lnTo>
                  <a:lnTo>
                    <a:pt x="647" y="367"/>
                  </a:lnTo>
                  <a:lnTo>
                    <a:pt x="649" y="364"/>
                  </a:lnTo>
                  <a:lnTo>
                    <a:pt x="653" y="363"/>
                  </a:lnTo>
                  <a:lnTo>
                    <a:pt x="651" y="360"/>
                  </a:lnTo>
                  <a:lnTo>
                    <a:pt x="648" y="358"/>
                  </a:lnTo>
                  <a:lnTo>
                    <a:pt x="645" y="358"/>
                  </a:lnTo>
                  <a:lnTo>
                    <a:pt x="643" y="358"/>
                  </a:lnTo>
                  <a:lnTo>
                    <a:pt x="639" y="357"/>
                  </a:lnTo>
                  <a:lnTo>
                    <a:pt x="637" y="358"/>
                  </a:lnTo>
                  <a:lnTo>
                    <a:pt x="634" y="357"/>
                  </a:lnTo>
                  <a:lnTo>
                    <a:pt x="631" y="357"/>
                  </a:lnTo>
                  <a:lnTo>
                    <a:pt x="629" y="356"/>
                  </a:lnTo>
                  <a:lnTo>
                    <a:pt x="626" y="355"/>
                  </a:lnTo>
                  <a:lnTo>
                    <a:pt x="623" y="355"/>
                  </a:lnTo>
                  <a:lnTo>
                    <a:pt x="620" y="355"/>
                  </a:lnTo>
                  <a:lnTo>
                    <a:pt x="618" y="356"/>
                  </a:lnTo>
                  <a:lnTo>
                    <a:pt x="614" y="356"/>
                  </a:lnTo>
                  <a:lnTo>
                    <a:pt x="612" y="356"/>
                  </a:lnTo>
                  <a:lnTo>
                    <a:pt x="614" y="356"/>
                  </a:lnTo>
                  <a:lnTo>
                    <a:pt x="617" y="355"/>
                  </a:lnTo>
                  <a:lnTo>
                    <a:pt x="620" y="355"/>
                  </a:lnTo>
                  <a:lnTo>
                    <a:pt x="622" y="354"/>
                  </a:lnTo>
                  <a:lnTo>
                    <a:pt x="626" y="354"/>
                  </a:lnTo>
                  <a:lnTo>
                    <a:pt x="625" y="351"/>
                  </a:lnTo>
                  <a:lnTo>
                    <a:pt x="621" y="350"/>
                  </a:lnTo>
                  <a:lnTo>
                    <a:pt x="619" y="347"/>
                  </a:lnTo>
                  <a:lnTo>
                    <a:pt x="617" y="347"/>
                  </a:lnTo>
                  <a:lnTo>
                    <a:pt x="613" y="347"/>
                  </a:lnTo>
                  <a:lnTo>
                    <a:pt x="611" y="346"/>
                  </a:lnTo>
                  <a:lnTo>
                    <a:pt x="611" y="343"/>
                  </a:lnTo>
                  <a:lnTo>
                    <a:pt x="608" y="342"/>
                  </a:lnTo>
                  <a:lnTo>
                    <a:pt x="611" y="342"/>
                  </a:lnTo>
                  <a:lnTo>
                    <a:pt x="613" y="343"/>
                  </a:lnTo>
                  <a:lnTo>
                    <a:pt x="617" y="346"/>
                  </a:lnTo>
                  <a:lnTo>
                    <a:pt x="619" y="346"/>
                  </a:lnTo>
                  <a:lnTo>
                    <a:pt x="621" y="347"/>
                  </a:lnTo>
                  <a:lnTo>
                    <a:pt x="625" y="349"/>
                  </a:lnTo>
                  <a:lnTo>
                    <a:pt x="627" y="350"/>
                  </a:lnTo>
                  <a:lnTo>
                    <a:pt x="629" y="354"/>
                  </a:lnTo>
                  <a:lnTo>
                    <a:pt x="632" y="356"/>
                  </a:lnTo>
                  <a:lnTo>
                    <a:pt x="635" y="356"/>
                  </a:lnTo>
                  <a:lnTo>
                    <a:pt x="637" y="356"/>
                  </a:lnTo>
                  <a:lnTo>
                    <a:pt x="640" y="356"/>
                  </a:lnTo>
                  <a:lnTo>
                    <a:pt x="643" y="355"/>
                  </a:lnTo>
                  <a:lnTo>
                    <a:pt x="646" y="356"/>
                  </a:lnTo>
                  <a:lnTo>
                    <a:pt x="648" y="357"/>
                  </a:lnTo>
                  <a:lnTo>
                    <a:pt x="649" y="357"/>
                  </a:lnTo>
                  <a:lnTo>
                    <a:pt x="655" y="360"/>
                  </a:lnTo>
                  <a:lnTo>
                    <a:pt x="657" y="363"/>
                  </a:lnTo>
                  <a:lnTo>
                    <a:pt x="660" y="363"/>
                  </a:lnTo>
                  <a:lnTo>
                    <a:pt x="663" y="363"/>
                  </a:lnTo>
                  <a:lnTo>
                    <a:pt x="665" y="366"/>
                  </a:lnTo>
                  <a:lnTo>
                    <a:pt x="669" y="368"/>
                  </a:lnTo>
                  <a:lnTo>
                    <a:pt x="669" y="370"/>
                  </a:lnTo>
                  <a:lnTo>
                    <a:pt x="669" y="374"/>
                  </a:lnTo>
                  <a:lnTo>
                    <a:pt x="670" y="376"/>
                  </a:lnTo>
                  <a:lnTo>
                    <a:pt x="672" y="378"/>
                  </a:lnTo>
                  <a:lnTo>
                    <a:pt x="674" y="381"/>
                  </a:lnTo>
                  <a:lnTo>
                    <a:pt x="678" y="382"/>
                  </a:lnTo>
                  <a:lnTo>
                    <a:pt x="680" y="384"/>
                  </a:lnTo>
                  <a:lnTo>
                    <a:pt x="683" y="384"/>
                  </a:lnTo>
                  <a:lnTo>
                    <a:pt x="689" y="384"/>
                  </a:lnTo>
                  <a:lnTo>
                    <a:pt x="691" y="382"/>
                  </a:lnTo>
                  <a:lnTo>
                    <a:pt x="691" y="380"/>
                  </a:lnTo>
                  <a:lnTo>
                    <a:pt x="691" y="377"/>
                  </a:lnTo>
                  <a:lnTo>
                    <a:pt x="694" y="375"/>
                  </a:lnTo>
                  <a:lnTo>
                    <a:pt x="692" y="378"/>
                  </a:lnTo>
                  <a:lnTo>
                    <a:pt x="694" y="381"/>
                  </a:lnTo>
                  <a:lnTo>
                    <a:pt x="696" y="384"/>
                  </a:lnTo>
                  <a:lnTo>
                    <a:pt x="699" y="383"/>
                  </a:lnTo>
                  <a:lnTo>
                    <a:pt x="702" y="384"/>
                  </a:lnTo>
                  <a:lnTo>
                    <a:pt x="704" y="384"/>
                  </a:lnTo>
                  <a:lnTo>
                    <a:pt x="705" y="381"/>
                  </a:lnTo>
                  <a:lnTo>
                    <a:pt x="704" y="378"/>
                  </a:lnTo>
                  <a:lnTo>
                    <a:pt x="704" y="375"/>
                  </a:lnTo>
                  <a:lnTo>
                    <a:pt x="703" y="373"/>
                  </a:lnTo>
                  <a:lnTo>
                    <a:pt x="703" y="370"/>
                  </a:lnTo>
                  <a:lnTo>
                    <a:pt x="700" y="370"/>
                  </a:lnTo>
                  <a:lnTo>
                    <a:pt x="704" y="368"/>
                  </a:lnTo>
                  <a:lnTo>
                    <a:pt x="697" y="369"/>
                  </a:lnTo>
                  <a:lnTo>
                    <a:pt x="695" y="368"/>
                  </a:lnTo>
                  <a:lnTo>
                    <a:pt x="697" y="368"/>
                  </a:lnTo>
                  <a:lnTo>
                    <a:pt x="704" y="367"/>
                  </a:lnTo>
                  <a:lnTo>
                    <a:pt x="704" y="365"/>
                  </a:lnTo>
                  <a:lnTo>
                    <a:pt x="700" y="363"/>
                  </a:lnTo>
                  <a:lnTo>
                    <a:pt x="704" y="363"/>
                  </a:lnTo>
                  <a:lnTo>
                    <a:pt x="704" y="359"/>
                  </a:lnTo>
                  <a:lnTo>
                    <a:pt x="702" y="357"/>
                  </a:lnTo>
                  <a:lnTo>
                    <a:pt x="698" y="358"/>
                  </a:lnTo>
                  <a:lnTo>
                    <a:pt x="696" y="359"/>
                  </a:lnTo>
                  <a:lnTo>
                    <a:pt x="695" y="361"/>
                  </a:lnTo>
                  <a:lnTo>
                    <a:pt x="692" y="359"/>
                  </a:lnTo>
                  <a:lnTo>
                    <a:pt x="692" y="356"/>
                  </a:lnTo>
                  <a:lnTo>
                    <a:pt x="695" y="355"/>
                  </a:lnTo>
                  <a:lnTo>
                    <a:pt x="698" y="355"/>
                  </a:lnTo>
                  <a:lnTo>
                    <a:pt x="700" y="352"/>
                  </a:lnTo>
                  <a:lnTo>
                    <a:pt x="697" y="352"/>
                  </a:lnTo>
                  <a:lnTo>
                    <a:pt x="695" y="354"/>
                  </a:lnTo>
                  <a:lnTo>
                    <a:pt x="692" y="354"/>
                  </a:lnTo>
                  <a:lnTo>
                    <a:pt x="692" y="351"/>
                  </a:lnTo>
                  <a:lnTo>
                    <a:pt x="690" y="351"/>
                  </a:lnTo>
                  <a:lnTo>
                    <a:pt x="688" y="352"/>
                  </a:lnTo>
                  <a:lnTo>
                    <a:pt x="685" y="354"/>
                  </a:lnTo>
                  <a:lnTo>
                    <a:pt x="686" y="351"/>
                  </a:lnTo>
                  <a:lnTo>
                    <a:pt x="688" y="350"/>
                  </a:lnTo>
                  <a:lnTo>
                    <a:pt x="691" y="348"/>
                  </a:lnTo>
                  <a:lnTo>
                    <a:pt x="689" y="346"/>
                  </a:lnTo>
                  <a:lnTo>
                    <a:pt x="686" y="344"/>
                  </a:lnTo>
                  <a:lnTo>
                    <a:pt x="683" y="344"/>
                  </a:lnTo>
                  <a:lnTo>
                    <a:pt x="680" y="342"/>
                  </a:lnTo>
                  <a:lnTo>
                    <a:pt x="678" y="341"/>
                  </a:lnTo>
                  <a:lnTo>
                    <a:pt x="674" y="342"/>
                  </a:lnTo>
                  <a:lnTo>
                    <a:pt x="675" y="339"/>
                  </a:lnTo>
                  <a:lnTo>
                    <a:pt x="673" y="338"/>
                  </a:lnTo>
                  <a:lnTo>
                    <a:pt x="671" y="338"/>
                  </a:lnTo>
                  <a:lnTo>
                    <a:pt x="668" y="337"/>
                  </a:lnTo>
                  <a:lnTo>
                    <a:pt x="665" y="334"/>
                  </a:lnTo>
                  <a:lnTo>
                    <a:pt x="662" y="334"/>
                  </a:lnTo>
                  <a:lnTo>
                    <a:pt x="660" y="334"/>
                  </a:lnTo>
                  <a:lnTo>
                    <a:pt x="658" y="335"/>
                  </a:lnTo>
                  <a:lnTo>
                    <a:pt x="656" y="335"/>
                  </a:lnTo>
                  <a:lnTo>
                    <a:pt x="654" y="338"/>
                  </a:lnTo>
                  <a:lnTo>
                    <a:pt x="652" y="340"/>
                  </a:lnTo>
                  <a:lnTo>
                    <a:pt x="653" y="337"/>
                  </a:lnTo>
                  <a:lnTo>
                    <a:pt x="653" y="334"/>
                  </a:lnTo>
                  <a:lnTo>
                    <a:pt x="651" y="334"/>
                  </a:lnTo>
                  <a:lnTo>
                    <a:pt x="647" y="333"/>
                  </a:lnTo>
                  <a:lnTo>
                    <a:pt x="649" y="333"/>
                  </a:lnTo>
                  <a:lnTo>
                    <a:pt x="653" y="333"/>
                  </a:lnTo>
                  <a:lnTo>
                    <a:pt x="655" y="333"/>
                  </a:lnTo>
                  <a:lnTo>
                    <a:pt x="658" y="333"/>
                  </a:lnTo>
                  <a:lnTo>
                    <a:pt x="661" y="332"/>
                  </a:lnTo>
                  <a:lnTo>
                    <a:pt x="662" y="330"/>
                  </a:lnTo>
                  <a:lnTo>
                    <a:pt x="662" y="326"/>
                  </a:lnTo>
                  <a:lnTo>
                    <a:pt x="658" y="326"/>
                  </a:lnTo>
                  <a:lnTo>
                    <a:pt x="656" y="325"/>
                  </a:lnTo>
                  <a:lnTo>
                    <a:pt x="653" y="324"/>
                  </a:lnTo>
                  <a:lnTo>
                    <a:pt x="651" y="323"/>
                  </a:lnTo>
                  <a:lnTo>
                    <a:pt x="647" y="325"/>
                  </a:lnTo>
                  <a:lnTo>
                    <a:pt x="645" y="326"/>
                  </a:lnTo>
                  <a:lnTo>
                    <a:pt x="643" y="326"/>
                  </a:lnTo>
                  <a:lnTo>
                    <a:pt x="639" y="329"/>
                  </a:lnTo>
                  <a:lnTo>
                    <a:pt x="639" y="325"/>
                  </a:lnTo>
                  <a:lnTo>
                    <a:pt x="637" y="326"/>
                  </a:lnTo>
                  <a:lnTo>
                    <a:pt x="634" y="326"/>
                  </a:lnTo>
                  <a:lnTo>
                    <a:pt x="637" y="324"/>
                  </a:lnTo>
                  <a:lnTo>
                    <a:pt x="635" y="323"/>
                  </a:lnTo>
                  <a:lnTo>
                    <a:pt x="631" y="323"/>
                  </a:lnTo>
                  <a:lnTo>
                    <a:pt x="629" y="324"/>
                  </a:lnTo>
                  <a:lnTo>
                    <a:pt x="626" y="323"/>
                  </a:lnTo>
                  <a:lnTo>
                    <a:pt x="629" y="323"/>
                  </a:lnTo>
                  <a:lnTo>
                    <a:pt x="631" y="323"/>
                  </a:lnTo>
                  <a:lnTo>
                    <a:pt x="634" y="322"/>
                  </a:lnTo>
                  <a:lnTo>
                    <a:pt x="637" y="323"/>
                  </a:lnTo>
                  <a:lnTo>
                    <a:pt x="639" y="324"/>
                  </a:lnTo>
                  <a:lnTo>
                    <a:pt x="643" y="324"/>
                  </a:lnTo>
                  <a:lnTo>
                    <a:pt x="645" y="324"/>
                  </a:lnTo>
                  <a:lnTo>
                    <a:pt x="647" y="322"/>
                  </a:lnTo>
                  <a:lnTo>
                    <a:pt x="651" y="322"/>
                  </a:lnTo>
                  <a:lnTo>
                    <a:pt x="653" y="322"/>
                  </a:lnTo>
                  <a:lnTo>
                    <a:pt x="656" y="321"/>
                  </a:lnTo>
                  <a:lnTo>
                    <a:pt x="658" y="318"/>
                  </a:lnTo>
                  <a:lnTo>
                    <a:pt x="656" y="316"/>
                  </a:lnTo>
                  <a:lnTo>
                    <a:pt x="653" y="316"/>
                  </a:lnTo>
                  <a:lnTo>
                    <a:pt x="651" y="316"/>
                  </a:lnTo>
                  <a:lnTo>
                    <a:pt x="647" y="314"/>
                  </a:lnTo>
                  <a:lnTo>
                    <a:pt x="645" y="314"/>
                  </a:lnTo>
                  <a:lnTo>
                    <a:pt x="642" y="314"/>
                  </a:lnTo>
                  <a:lnTo>
                    <a:pt x="638" y="314"/>
                  </a:lnTo>
                  <a:lnTo>
                    <a:pt x="636" y="316"/>
                  </a:lnTo>
                  <a:lnTo>
                    <a:pt x="634" y="316"/>
                  </a:lnTo>
                  <a:lnTo>
                    <a:pt x="630" y="315"/>
                  </a:lnTo>
                  <a:lnTo>
                    <a:pt x="628" y="315"/>
                  </a:lnTo>
                  <a:lnTo>
                    <a:pt x="626" y="318"/>
                  </a:lnTo>
                  <a:lnTo>
                    <a:pt x="626" y="315"/>
                  </a:lnTo>
                  <a:lnTo>
                    <a:pt x="622" y="315"/>
                  </a:lnTo>
                  <a:lnTo>
                    <a:pt x="626" y="315"/>
                  </a:lnTo>
                  <a:lnTo>
                    <a:pt x="628" y="314"/>
                  </a:lnTo>
                  <a:lnTo>
                    <a:pt x="630" y="314"/>
                  </a:lnTo>
                  <a:lnTo>
                    <a:pt x="634" y="315"/>
                  </a:lnTo>
                  <a:lnTo>
                    <a:pt x="636" y="314"/>
                  </a:lnTo>
                  <a:lnTo>
                    <a:pt x="637" y="312"/>
                  </a:lnTo>
                  <a:lnTo>
                    <a:pt x="634" y="310"/>
                  </a:lnTo>
                  <a:lnTo>
                    <a:pt x="631" y="309"/>
                  </a:lnTo>
                  <a:lnTo>
                    <a:pt x="628" y="309"/>
                  </a:lnTo>
                  <a:lnTo>
                    <a:pt x="626" y="306"/>
                  </a:lnTo>
                  <a:lnTo>
                    <a:pt x="628" y="307"/>
                  </a:lnTo>
                  <a:lnTo>
                    <a:pt x="631" y="309"/>
                  </a:lnTo>
                  <a:lnTo>
                    <a:pt x="634" y="310"/>
                  </a:lnTo>
                  <a:lnTo>
                    <a:pt x="637" y="310"/>
                  </a:lnTo>
                  <a:lnTo>
                    <a:pt x="639" y="310"/>
                  </a:lnTo>
                  <a:lnTo>
                    <a:pt x="643" y="313"/>
                  </a:lnTo>
                  <a:lnTo>
                    <a:pt x="647" y="313"/>
                  </a:lnTo>
                  <a:lnTo>
                    <a:pt x="651" y="310"/>
                  </a:lnTo>
                  <a:lnTo>
                    <a:pt x="652" y="308"/>
                  </a:lnTo>
                  <a:lnTo>
                    <a:pt x="655" y="306"/>
                  </a:lnTo>
                  <a:lnTo>
                    <a:pt x="657" y="306"/>
                  </a:lnTo>
                  <a:lnTo>
                    <a:pt x="661" y="306"/>
                  </a:lnTo>
                  <a:lnTo>
                    <a:pt x="658" y="304"/>
                  </a:lnTo>
                  <a:lnTo>
                    <a:pt x="657" y="300"/>
                  </a:lnTo>
                  <a:lnTo>
                    <a:pt x="654" y="299"/>
                  </a:lnTo>
                  <a:lnTo>
                    <a:pt x="652" y="298"/>
                  </a:lnTo>
                  <a:lnTo>
                    <a:pt x="649" y="295"/>
                  </a:lnTo>
                  <a:lnTo>
                    <a:pt x="652" y="296"/>
                  </a:lnTo>
                  <a:lnTo>
                    <a:pt x="655" y="298"/>
                  </a:lnTo>
                  <a:lnTo>
                    <a:pt x="657" y="299"/>
                  </a:lnTo>
                  <a:lnTo>
                    <a:pt x="658" y="303"/>
                  </a:lnTo>
                  <a:lnTo>
                    <a:pt x="661" y="304"/>
                  </a:lnTo>
                  <a:lnTo>
                    <a:pt x="664" y="304"/>
                  </a:lnTo>
                  <a:lnTo>
                    <a:pt x="666" y="305"/>
                  </a:lnTo>
                  <a:lnTo>
                    <a:pt x="665" y="301"/>
                  </a:lnTo>
                  <a:lnTo>
                    <a:pt x="668" y="299"/>
                  </a:lnTo>
                  <a:lnTo>
                    <a:pt x="670" y="298"/>
                  </a:lnTo>
                  <a:lnTo>
                    <a:pt x="673" y="298"/>
                  </a:lnTo>
                  <a:lnTo>
                    <a:pt x="675" y="299"/>
                  </a:lnTo>
                  <a:lnTo>
                    <a:pt x="678" y="299"/>
                  </a:lnTo>
                  <a:lnTo>
                    <a:pt x="681" y="300"/>
                  </a:lnTo>
                  <a:lnTo>
                    <a:pt x="683" y="301"/>
                  </a:lnTo>
                  <a:lnTo>
                    <a:pt x="687" y="303"/>
                  </a:lnTo>
                  <a:lnTo>
                    <a:pt x="689" y="304"/>
                  </a:lnTo>
                  <a:lnTo>
                    <a:pt x="691" y="304"/>
                  </a:lnTo>
                  <a:lnTo>
                    <a:pt x="695" y="303"/>
                  </a:lnTo>
                  <a:lnTo>
                    <a:pt x="691" y="304"/>
                  </a:lnTo>
                  <a:lnTo>
                    <a:pt x="689" y="305"/>
                  </a:lnTo>
                  <a:lnTo>
                    <a:pt x="683" y="303"/>
                  </a:lnTo>
                  <a:lnTo>
                    <a:pt x="680" y="301"/>
                  </a:lnTo>
                  <a:lnTo>
                    <a:pt x="678" y="300"/>
                  </a:lnTo>
                  <a:lnTo>
                    <a:pt x="674" y="300"/>
                  </a:lnTo>
                  <a:lnTo>
                    <a:pt x="672" y="300"/>
                  </a:lnTo>
                  <a:lnTo>
                    <a:pt x="672" y="303"/>
                  </a:lnTo>
                  <a:lnTo>
                    <a:pt x="674" y="305"/>
                  </a:lnTo>
                  <a:lnTo>
                    <a:pt x="678" y="306"/>
                  </a:lnTo>
                  <a:lnTo>
                    <a:pt x="680" y="308"/>
                  </a:lnTo>
                  <a:lnTo>
                    <a:pt x="682" y="308"/>
                  </a:lnTo>
                  <a:lnTo>
                    <a:pt x="686" y="309"/>
                  </a:lnTo>
                  <a:lnTo>
                    <a:pt x="688" y="310"/>
                  </a:lnTo>
                  <a:lnTo>
                    <a:pt x="691" y="312"/>
                  </a:lnTo>
                  <a:lnTo>
                    <a:pt x="694" y="312"/>
                  </a:lnTo>
                  <a:lnTo>
                    <a:pt x="697" y="313"/>
                  </a:lnTo>
                  <a:lnTo>
                    <a:pt x="699" y="310"/>
                  </a:lnTo>
                  <a:lnTo>
                    <a:pt x="703" y="309"/>
                  </a:lnTo>
                  <a:lnTo>
                    <a:pt x="705" y="308"/>
                  </a:lnTo>
                  <a:lnTo>
                    <a:pt x="708" y="306"/>
                  </a:lnTo>
                  <a:lnTo>
                    <a:pt x="711" y="307"/>
                  </a:lnTo>
                  <a:lnTo>
                    <a:pt x="713" y="307"/>
                  </a:lnTo>
                  <a:lnTo>
                    <a:pt x="716" y="307"/>
                  </a:lnTo>
                  <a:lnTo>
                    <a:pt x="719" y="307"/>
                  </a:lnTo>
                  <a:lnTo>
                    <a:pt x="722" y="305"/>
                  </a:lnTo>
                  <a:lnTo>
                    <a:pt x="721" y="303"/>
                  </a:lnTo>
                  <a:lnTo>
                    <a:pt x="721" y="299"/>
                  </a:lnTo>
                  <a:lnTo>
                    <a:pt x="723" y="297"/>
                  </a:lnTo>
                  <a:lnTo>
                    <a:pt x="721" y="296"/>
                  </a:lnTo>
                  <a:lnTo>
                    <a:pt x="717" y="296"/>
                  </a:lnTo>
                  <a:lnTo>
                    <a:pt x="715" y="295"/>
                  </a:lnTo>
                  <a:lnTo>
                    <a:pt x="712" y="293"/>
                  </a:lnTo>
                  <a:lnTo>
                    <a:pt x="709" y="292"/>
                  </a:lnTo>
                  <a:lnTo>
                    <a:pt x="706" y="291"/>
                  </a:lnTo>
                  <a:lnTo>
                    <a:pt x="704" y="291"/>
                  </a:lnTo>
                  <a:lnTo>
                    <a:pt x="700" y="291"/>
                  </a:lnTo>
                  <a:lnTo>
                    <a:pt x="700" y="295"/>
                  </a:lnTo>
                  <a:lnTo>
                    <a:pt x="703" y="297"/>
                  </a:lnTo>
                  <a:lnTo>
                    <a:pt x="704" y="300"/>
                  </a:lnTo>
                  <a:lnTo>
                    <a:pt x="702" y="297"/>
                  </a:lnTo>
                  <a:lnTo>
                    <a:pt x="700" y="295"/>
                  </a:lnTo>
                  <a:lnTo>
                    <a:pt x="698" y="292"/>
                  </a:lnTo>
                  <a:lnTo>
                    <a:pt x="696" y="291"/>
                  </a:lnTo>
                  <a:lnTo>
                    <a:pt x="692" y="290"/>
                  </a:lnTo>
                  <a:lnTo>
                    <a:pt x="696" y="290"/>
                  </a:lnTo>
                  <a:lnTo>
                    <a:pt x="697" y="287"/>
                  </a:lnTo>
                  <a:lnTo>
                    <a:pt x="698" y="284"/>
                  </a:lnTo>
                  <a:lnTo>
                    <a:pt x="696" y="284"/>
                  </a:lnTo>
                  <a:lnTo>
                    <a:pt x="692" y="284"/>
                  </a:lnTo>
                  <a:lnTo>
                    <a:pt x="696" y="284"/>
                  </a:lnTo>
                  <a:lnTo>
                    <a:pt x="698" y="283"/>
                  </a:lnTo>
                  <a:lnTo>
                    <a:pt x="702" y="283"/>
                  </a:lnTo>
                  <a:lnTo>
                    <a:pt x="702" y="280"/>
                  </a:lnTo>
                  <a:lnTo>
                    <a:pt x="699" y="278"/>
                  </a:lnTo>
                  <a:lnTo>
                    <a:pt x="702" y="279"/>
                  </a:lnTo>
                  <a:lnTo>
                    <a:pt x="704" y="280"/>
                  </a:lnTo>
                  <a:lnTo>
                    <a:pt x="707" y="280"/>
                  </a:lnTo>
                  <a:lnTo>
                    <a:pt x="709" y="280"/>
                  </a:lnTo>
                  <a:lnTo>
                    <a:pt x="713" y="280"/>
                  </a:lnTo>
                  <a:lnTo>
                    <a:pt x="716" y="280"/>
                  </a:lnTo>
                  <a:lnTo>
                    <a:pt x="719" y="280"/>
                  </a:lnTo>
                  <a:lnTo>
                    <a:pt x="721" y="280"/>
                  </a:lnTo>
                  <a:lnTo>
                    <a:pt x="723" y="283"/>
                  </a:lnTo>
                  <a:lnTo>
                    <a:pt x="726" y="286"/>
                  </a:lnTo>
                  <a:lnTo>
                    <a:pt x="726" y="286"/>
                  </a:lnTo>
                  <a:lnTo>
                    <a:pt x="729" y="286"/>
                  </a:lnTo>
                  <a:lnTo>
                    <a:pt x="731" y="286"/>
                  </a:lnTo>
                  <a:lnTo>
                    <a:pt x="734" y="286"/>
                  </a:lnTo>
                  <a:lnTo>
                    <a:pt x="737" y="284"/>
                  </a:lnTo>
                  <a:lnTo>
                    <a:pt x="739" y="282"/>
                  </a:lnTo>
                  <a:lnTo>
                    <a:pt x="740" y="279"/>
                  </a:lnTo>
                  <a:lnTo>
                    <a:pt x="737" y="277"/>
                  </a:lnTo>
                  <a:lnTo>
                    <a:pt x="734" y="274"/>
                  </a:lnTo>
                  <a:lnTo>
                    <a:pt x="732" y="275"/>
                  </a:lnTo>
                  <a:lnTo>
                    <a:pt x="730" y="277"/>
                  </a:lnTo>
                  <a:lnTo>
                    <a:pt x="726" y="275"/>
                  </a:lnTo>
                  <a:lnTo>
                    <a:pt x="724" y="274"/>
                  </a:lnTo>
                  <a:lnTo>
                    <a:pt x="721" y="274"/>
                  </a:lnTo>
                  <a:lnTo>
                    <a:pt x="719" y="274"/>
                  </a:lnTo>
                  <a:lnTo>
                    <a:pt x="715" y="275"/>
                  </a:lnTo>
                  <a:lnTo>
                    <a:pt x="713" y="275"/>
                  </a:lnTo>
                  <a:lnTo>
                    <a:pt x="715" y="274"/>
                  </a:lnTo>
                  <a:lnTo>
                    <a:pt x="719" y="273"/>
                  </a:lnTo>
                  <a:lnTo>
                    <a:pt x="716" y="270"/>
                  </a:lnTo>
                  <a:lnTo>
                    <a:pt x="717" y="267"/>
                  </a:lnTo>
                  <a:lnTo>
                    <a:pt x="717" y="264"/>
                  </a:lnTo>
                  <a:lnTo>
                    <a:pt x="712" y="263"/>
                  </a:lnTo>
                  <a:lnTo>
                    <a:pt x="709" y="264"/>
                  </a:lnTo>
                  <a:lnTo>
                    <a:pt x="706" y="266"/>
                  </a:lnTo>
                  <a:lnTo>
                    <a:pt x="704" y="266"/>
                  </a:lnTo>
                  <a:lnTo>
                    <a:pt x="700" y="266"/>
                  </a:lnTo>
                  <a:lnTo>
                    <a:pt x="699" y="263"/>
                  </a:lnTo>
                  <a:lnTo>
                    <a:pt x="696" y="262"/>
                  </a:lnTo>
                  <a:lnTo>
                    <a:pt x="698" y="262"/>
                  </a:lnTo>
                  <a:lnTo>
                    <a:pt x="702" y="264"/>
                  </a:lnTo>
                  <a:lnTo>
                    <a:pt x="704" y="265"/>
                  </a:lnTo>
                  <a:lnTo>
                    <a:pt x="707" y="264"/>
                  </a:lnTo>
                  <a:lnTo>
                    <a:pt x="709" y="263"/>
                  </a:lnTo>
                  <a:lnTo>
                    <a:pt x="713" y="262"/>
                  </a:lnTo>
                  <a:lnTo>
                    <a:pt x="715" y="262"/>
                  </a:lnTo>
                  <a:lnTo>
                    <a:pt x="717" y="262"/>
                  </a:lnTo>
                  <a:lnTo>
                    <a:pt x="717" y="260"/>
                  </a:lnTo>
                  <a:lnTo>
                    <a:pt x="715" y="258"/>
                  </a:lnTo>
                  <a:lnTo>
                    <a:pt x="713" y="256"/>
                  </a:lnTo>
                  <a:lnTo>
                    <a:pt x="709" y="255"/>
                  </a:lnTo>
                  <a:lnTo>
                    <a:pt x="707" y="253"/>
                  </a:lnTo>
                  <a:lnTo>
                    <a:pt x="704" y="253"/>
                  </a:lnTo>
                  <a:lnTo>
                    <a:pt x="702" y="253"/>
                  </a:lnTo>
                  <a:lnTo>
                    <a:pt x="698" y="253"/>
                  </a:lnTo>
                  <a:lnTo>
                    <a:pt x="696" y="252"/>
                  </a:lnTo>
                  <a:lnTo>
                    <a:pt x="692" y="252"/>
                  </a:lnTo>
                  <a:lnTo>
                    <a:pt x="696" y="252"/>
                  </a:lnTo>
                  <a:lnTo>
                    <a:pt x="698" y="253"/>
                  </a:lnTo>
                  <a:lnTo>
                    <a:pt x="702" y="253"/>
                  </a:lnTo>
                  <a:lnTo>
                    <a:pt x="704" y="253"/>
                  </a:lnTo>
                  <a:lnTo>
                    <a:pt x="707" y="253"/>
                  </a:lnTo>
                  <a:lnTo>
                    <a:pt x="704" y="250"/>
                  </a:lnTo>
                  <a:lnTo>
                    <a:pt x="702" y="249"/>
                  </a:lnTo>
                  <a:lnTo>
                    <a:pt x="698" y="248"/>
                  </a:lnTo>
                  <a:lnTo>
                    <a:pt x="696" y="248"/>
                  </a:lnTo>
                  <a:lnTo>
                    <a:pt x="699" y="247"/>
                  </a:lnTo>
                  <a:lnTo>
                    <a:pt x="702" y="248"/>
                  </a:lnTo>
                  <a:lnTo>
                    <a:pt x="704" y="249"/>
                  </a:lnTo>
                  <a:lnTo>
                    <a:pt x="707" y="250"/>
                  </a:lnTo>
                  <a:lnTo>
                    <a:pt x="709" y="253"/>
                  </a:lnTo>
                  <a:lnTo>
                    <a:pt x="713" y="255"/>
                  </a:lnTo>
                  <a:lnTo>
                    <a:pt x="715" y="256"/>
                  </a:lnTo>
                  <a:lnTo>
                    <a:pt x="719" y="257"/>
                  </a:lnTo>
                  <a:lnTo>
                    <a:pt x="721" y="257"/>
                  </a:lnTo>
                  <a:lnTo>
                    <a:pt x="724" y="256"/>
                  </a:lnTo>
                  <a:lnTo>
                    <a:pt x="726" y="257"/>
                  </a:lnTo>
                  <a:lnTo>
                    <a:pt x="726" y="261"/>
                  </a:lnTo>
                  <a:lnTo>
                    <a:pt x="730" y="262"/>
                  </a:lnTo>
                  <a:lnTo>
                    <a:pt x="732" y="262"/>
                  </a:lnTo>
                  <a:lnTo>
                    <a:pt x="734" y="258"/>
                  </a:lnTo>
                  <a:lnTo>
                    <a:pt x="736" y="256"/>
                  </a:lnTo>
                  <a:lnTo>
                    <a:pt x="736" y="254"/>
                  </a:lnTo>
                  <a:lnTo>
                    <a:pt x="736" y="250"/>
                  </a:lnTo>
                  <a:lnTo>
                    <a:pt x="733" y="248"/>
                  </a:lnTo>
                  <a:lnTo>
                    <a:pt x="732" y="245"/>
                  </a:lnTo>
                  <a:lnTo>
                    <a:pt x="736" y="245"/>
                  </a:lnTo>
                  <a:lnTo>
                    <a:pt x="732" y="244"/>
                  </a:lnTo>
                  <a:lnTo>
                    <a:pt x="730" y="240"/>
                  </a:lnTo>
                  <a:lnTo>
                    <a:pt x="728" y="239"/>
                  </a:lnTo>
                  <a:lnTo>
                    <a:pt x="726" y="239"/>
                  </a:lnTo>
                  <a:lnTo>
                    <a:pt x="724" y="240"/>
                  </a:lnTo>
                  <a:lnTo>
                    <a:pt x="721" y="239"/>
                  </a:lnTo>
                  <a:lnTo>
                    <a:pt x="719" y="239"/>
                  </a:lnTo>
                  <a:lnTo>
                    <a:pt x="715" y="239"/>
                  </a:lnTo>
                  <a:lnTo>
                    <a:pt x="713" y="238"/>
                  </a:lnTo>
                  <a:lnTo>
                    <a:pt x="709" y="239"/>
                  </a:lnTo>
                  <a:lnTo>
                    <a:pt x="707" y="239"/>
                  </a:lnTo>
                  <a:lnTo>
                    <a:pt x="702" y="239"/>
                  </a:lnTo>
                  <a:lnTo>
                    <a:pt x="704" y="238"/>
                  </a:lnTo>
                  <a:lnTo>
                    <a:pt x="707" y="238"/>
                  </a:lnTo>
                  <a:lnTo>
                    <a:pt x="709" y="238"/>
                  </a:lnTo>
                  <a:lnTo>
                    <a:pt x="713" y="238"/>
                  </a:lnTo>
                  <a:lnTo>
                    <a:pt x="715" y="238"/>
                  </a:lnTo>
                  <a:lnTo>
                    <a:pt x="717" y="238"/>
                  </a:lnTo>
                  <a:lnTo>
                    <a:pt x="721" y="238"/>
                  </a:lnTo>
                  <a:lnTo>
                    <a:pt x="723" y="238"/>
                  </a:lnTo>
                  <a:lnTo>
                    <a:pt x="726" y="236"/>
                  </a:lnTo>
                  <a:lnTo>
                    <a:pt x="726" y="236"/>
                  </a:lnTo>
                  <a:lnTo>
                    <a:pt x="730" y="236"/>
                  </a:lnTo>
                  <a:lnTo>
                    <a:pt x="731" y="233"/>
                  </a:lnTo>
                  <a:lnTo>
                    <a:pt x="729" y="231"/>
                  </a:lnTo>
                  <a:lnTo>
                    <a:pt x="726" y="230"/>
                  </a:lnTo>
                  <a:lnTo>
                    <a:pt x="724" y="231"/>
                  </a:lnTo>
                  <a:lnTo>
                    <a:pt x="721" y="231"/>
                  </a:lnTo>
                  <a:lnTo>
                    <a:pt x="715" y="229"/>
                  </a:lnTo>
                  <a:lnTo>
                    <a:pt x="713" y="229"/>
                  </a:lnTo>
                  <a:lnTo>
                    <a:pt x="715" y="231"/>
                  </a:lnTo>
                  <a:lnTo>
                    <a:pt x="719" y="232"/>
                  </a:lnTo>
                  <a:lnTo>
                    <a:pt x="721" y="233"/>
                  </a:lnTo>
                  <a:lnTo>
                    <a:pt x="719" y="235"/>
                  </a:lnTo>
                  <a:lnTo>
                    <a:pt x="715" y="231"/>
                  </a:lnTo>
                  <a:lnTo>
                    <a:pt x="713" y="230"/>
                  </a:lnTo>
                  <a:lnTo>
                    <a:pt x="709" y="230"/>
                  </a:lnTo>
                  <a:lnTo>
                    <a:pt x="707" y="230"/>
                  </a:lnTo>
                  <a:lnTo>
                    <a:pt x="704" y="231"/>
                  </a:lnTo>
                  <a:lnTo>
                    <a:pt x="704" y="228"/>
                  </a:lnTo>
                  <a:lnTo>
                    <a:pt x="705" y="226"/>
                  </a:lnTo>
                  <a:lnTo>
                    <a:pt x="703" y="226"/>
                  </a:lnTo>
                  <a:lnTo>
                    <a:pt x="699" y="226"/>
                  </a:lnTo>
                  <a:lnTo>
                    <a:pt x="697" y="226"/>
                  </a:lnTo>
                  <a:lnTo>
                    <a:pt x="695" y="226"/>
                  </a:lnTo>
                  <a:lnTo>
                    <a:pt x="697" y="226"/>
                  </a:lnTo>
                  <a:lnTo>
                    <a:pt x="699" y="226"/>
                  </a:lnTo>
                  <a:lnTo>
                    <a:pt x="703" y="226"/>
                  </a:lnTo>
                  <a:lnTo>
                    <a:pt x="699" y="224"/>
                  </a:lnTo>
                  <a:lnTo>
                    <a:pt x="703" y="223"/>
                  </a:lnTo>
                  <a:lnTo>
                    <a:pt x="699" y="223"/>
                  </a:lnTo>
                  <a:lnTo>
                    <a:pt x="700" y="220"/>
                  </a:lnTo>
                  <a:lnTo>
                    <a:pt x="697" y="220"/>
                  </a:lnTo>
                  <a:lnTo>
                    <a:pt x="695" y="222"/>
                  </a:lnTo>
                  <a:lnTo>
                    <a:pt x="694" y="220"/>
                  </a:lnTo>
                  <a:lnTo>
                    <a:pt x="690" y="219"/>
                  </a:lnTo>
                  <a:lnTo>
                    <a:pt x="694" y="216"/>
                  </a:lnTo>
                  <a:lnTo>
                    <a:pt x="695" y="214"/>
                  </a:lnTo>
                  <a:lnTo>
                    <a:pt x="697" y="213"/>
                  </a:lnTo>
                  <a:lnTo>
                    <a:pt x="699" y="215"/>
                  </a:lnTo>
                  <a:lnTo>
                    <a:pt x="703" y="219"/>
                  </a:lnTo>
                  <a:lnTo>
                    <a:pt x="705" y="219"/>
                  </a:lnTo>
                  <a:lnTo>
                    <a:pt x="707" y="218"/>
                  </a:lnTo>
                  <a:lnTo>
                    <a:pt x="711" y="215"/>
                  </a:lnTo>
                  <a:lnTo>
                    <a:pt x="713" y="214"/>
                  </a:lnTo>
                  <a:lnTo>
                    <a:pt x="716" y="214"/>
                  </a:lnTo>
                  <a:lnTo>
                    <a:pt x="713" y="213"/>
                  </a:lnTo>
                  <a:lnTo>
                    <a:pt x="711" y="213"/>
                  </a:lnTo>
                  <a:lnTo>
                    <a:pt x="708" y="213"/>
                  </a:lnTo>
                  <a:lnTo>
                    <a:pt x="705" y="213"/>
                  </a:lnTo>
                  <a:lnTo>
                    <a:pt x="708" y="212"/>
                  </a:lnTo>
                  <a:lnTo>
                    <a:pt x="711" y="212"/>
                  </a:lnTo>
                  <a:lnTo>
                    <a:pt x="714" y="212"/>
                  </a:lnTo>
                  <a:lnTo>
                    <a:pt x="716" y="213"/>
                  </a:lnTo>
                  <a:lnTo>
                    <a:pt x="714" y="211"/>
                  </a:lnTo>
                  <a:lnTo>
                    <a:pt x="716" y="210"/>
                  </a:lnTo>
                  <a:lnTo>
                    <a:pt x="720" y="210"/>
                  </a:lnTo>
                  <a:lnTo>
                    <a:pt x="722" y="210"/>
                  </a:lnTo>
                  <a:lnTo>
                    <a:pt x="725" y="211"/>
                  </a:lnTo>
                  <a:lnTo>
                    <a:pt x="726" y="210"/>
                  </a:lnTo>
                  <a:lnTo>
                    <a:pt x="729" y="211"/>
                  </a:lnTo>
                  <a:lnTo>
                    <a:pt x="732" y="212"/>
                  </a:lnTo>
                  <a:lnTo>
                    <a:pt x="734" y="213"/>
                  </a:lnTo>
                  <a:lnTo>
                    <a:pt x="738" y="213"/>
                  </a:lnTo>
                  <a:lnTo>
                    <a:pt x="740" y="213"/>
                  </a:lnTo>
                  <a:lnTo>
                    <a:pt x="743" y="214"/>
                  </a:lnTo>
                  <a:lnTo>
                    <a:pt x="746" y="214"/>
                  </a:lnTo>
                  <a:lnTo>
                    <a:pt x="748" y="214"/>
                  </a:lnTo>
                  <a:lnTo>
                    <a:pt x="751" y="213"/>
                  </a:lnTo>
                  <a:lnTo>
                    <a:pt x="753" y="210"/>
                  </a:lnTo>
                  <a:lnTo>
                    <a:pt x="753" y="207"/>
                  </a:lnTo>
                  <a:lnTo>
                    <a:pt x="751" y="205"/>
                  </a:lnTo>
                  <a:lnTo>
                    <a:pt x="751" y="202"/>
                  </a:lnTo>
                  <a:lnTo>
                    <a:pt x="749" y="200"/>
                  </a:lnTo>
                  <a:lnTo>
                    <a:pt x="746" y="200"/>
                  </a:lnTo>
                  <a:lnTo>
                    <a:pt x="743" y="198"/>
                  </a:lnTo>
                  <a:lnTo>
                    <a:pt x="740" y="200"/>
                  </a:lnTo>
                  <a:lnTo>
                    <a:pt x="738" y="202"/>
                  </a:lnTo>
                  <a:lnTo>
                    <a:pt x="734" y="201"/>
                  </a:lnTo>
                  <a:lnTo>
                    <a:pt x="732" y="198"/>
                  </a:lnTo>
                  <a:lnTo>
                    <a:pt x="730" y="197"/>
                  </a:lnTo>
                  <a:lnTo>
                    <a:pt x="726" y="197"/>
                  </a:lnTo>
                  <a:lnTo>
                    <a:pt x="724" y="198"/>
                  </a:lnTo>
                  <a:lnTo>
                    <a:pt x="721" y="197"/>
                  </a:lnTo>
                  <a:lnTo>
                    <a:pt x="719" y="197"/>
                  </a:lnTo>
                  <a:lnTo>
                    <a:pt x="721" y="197"/>
                  </a:lnTo>
                  <a:lnTo>
                    <a:pt x="724" y="197"/>
                  </a:lnTo>
                  <a:lnTo>
                    <a:pt x="726" y="196"/>
                  </a:lnTo>
                  <a:lnTo>
                    <a:pt x="724" y="196"/>
                  </a:lnTo>
                  <a:lnTo>
                    <a:pt x="721" y="195"/>
                  </a:lnTo>
                  <a:lnTo>
                    <a:pt x="719" y="195"/>
                  </a:lnTo>
                  <a:lnTo>
                    <a:pt x="715" y="194"/>
                  </a:lnTo>
                  <a:lnTo>
                    <a:pt x="713" y="194"/>
                  </a:lnTo>
                  <a:lnTo>
                    <a:pt x="715" y="194"/>
                  </a:lnTo>
                  <a:lnTo>
                    <a:pt x="719" y="194"/>
                  </a:lnTo>
                  <a:lnTo>
                    <a:pt x="721" y="195"/>
                  </a:lnTo>
                  <a:lnTo>
                    <a:pt x="719" y="193"/>
                  </a:lnTo>
                  <a:lnTo>
                    <a:pt x="721" y="193"/>
                  </a:lnTo>
                  <a:lnTo>
                    <a:pt x="719" y="190"/>
                  </a:lnTo>
                  <a:lnTo>
                    <a:pt x="715" y="189"/>
                  </a:lnTo>
                  <a:lnTo>
                    <a:pt x="719" y="188"/>
                  </a:lnTo>
                  <a:lnTo>
                    <a:pt x="721" y="189"/>
                  </a:lnTo>
                  <a:lnTo>
                    <a:pt x="724" y="188"/>
                  </a:lnTo>
                  <a:lnTo>
                    <a:pt x="726" y="188"/>
                  </a:lnTo>
                  <a:lnTo>
                    <a:pt x="730" y="189"/>
                  </a:lnTo>
                  <a:lnTo>
                    <a:pt x="732" y="192"/>
                  </a:lnTo>
                  <a:lnTo>
                    <a:pt x="736" y="193"/>
                  </a:lnTo>
                  <a:lnTo>
                    <a:pt x="739" y="192"/>
                  </a:lnTo>
                  <a:lnTo>
                    <a:pt x="741" y="192"/>
                  </a:lnTo>
                  <a:lnTo>
                    <a:pt x="739" y="188"/>
                  </a:lnTo>
                  <a:lnTo>
                    <a:pt x="736" y="187"/>
                  </a:lnTo>
                  <a:lnTo>
                    <a:pt x="733" y="186"/>
                  </a:lnTo>
                  <a:lnTo>
                    <a:pt x="730" y="186"/>
                  </a:lnTo>
                  <a:lnTo>
                    <a:pt x="728" y="185"/>
                  </a:lnTo>
                  <a:lnTo>
                    <a:pt x="726" y="185"/>
                  </a:lnTo>
                  <a:lnTo>
                    <a:pt x="724" y="184"/>
                  </a:lnTo>
                  <a:lnTo>
                    <a:pt x="721" y="184"/>
                  </a:lnTo>
                  <a:lnTo>
                    <a:pt x="719" y="183"/>
                  </a:lnTo>
                  <a:lnTo>
                    <a:pt x="715" y="179"/>
                  </a:lnTo>
                  <a:lnTo>
                    <a:pt x="713" y="180"/>
                  </a:lnTo>
                  <a:lnTo>
                    <a:pt x="709" y="184"/>
                  </a:lnTo>
                  <a:lnTo>
                    <a:pt x="708" y="186"/>
                  </a:lnTo>
                  <a:lnTo>
                    <a:pt x="707" y="189"/>
                  </a:lnTo>
                  <a:lnTo>
                    <a:pt x="706" y="192"/>
                  </a:lnTo>
                  <a:lnTo>
                    <a:pt x="704" y="194"/>
                  </a:lnTo>
                  <a:lnTo>
                    <a:pt x="706" y="190"/>
                  </a:lnTo>
                  <a:lnTo>
                    <a:pt x="703" y="189"/>
                  </a:lnTo>
                  <a:lnTo>
                    <a:pt x="700" y="189"/>
                  </a:lnTo>
                  <a:lnTo>
                    <a:pt x="700" y="187"/>
                  </a:lnTo>
                  <a:lnTo>
                    <a:pt x="703" y="184"/>
                  </a:lnTo>
                  <a:lnTo>
                    <a:pt x="705" y="181"/>
                  </a:lnTo>
                  <a:lnTo>
                    <a:pt x="703" y="183"/>
                  </a:lnTo>
                  <a:lnTo>
                    <a:pt x="704" y="179"/>
                  </a:lnTo>
                  <a:lnTo>
                    <a:pt x="706" y="178"/>
                  </a:lnTo>
                  <a:lnTo>
                    <a:pt x="704" y="176"/>
                  </a:lnTo>
                  <a:lnTo>
                    <a:pt x="706" y="176"/>
                  </a:lnTo>
                  <a:lnTo>
                    <a:pt x="709" y="173"/>
                  </a:lnTo>
                  <a:lnTo>
                    <a:pt x="708" y="171"/>
                  </a:lnTo>
                  <a:lnTo>
                    <a:pt x="709" y="168"/>
                  </a:lnTo>
                  <a:lnTo>
                    <a:pt x="711" y="166"/>
                  </a:lnTo>
                  <a:lnTo>
                    <a:pt x="713" y="162"/>
                  </a:lnTo>
                  <a:lnTo>
                    <a:pt x="711" y="161"/>
                  </a:lnTo>
                  <a:lnTo>
                    <a:pt x="707" y="161"/>
                  </a:lnTo>
                  <a:lnTo>
                    <a:pt x="711" y="160"/>
                  </a:lnTo>
                  <a:lnTo>
                    <a:pt x="713" y="160"/>
                  </a:lnTo>
                  <a:lnTo>
                    <a:pt x="712" y="158"/>
                  </a:lnTo>
                  <a:lnTo>
                    <a:pt x="714" y="155"/>
                  </a:lnTo>
                  <a:lnTo>
                    <a:pt x="717" y="154"/>
                  </a:lnTo>
                  <a:lnTo>
                    <a:pt x="720" y="153"/>
                  </a:lnTo>
                  <a:lnTo>
                    <a:pt x="723" y="154"/>
                  </a:lnTo>
                  <a:lnTo>
                    <a:pt x="725" y="154"/>
                  </a:lnTo>
                  <a:lnTo>
                    <a:pt x="726" y="153"/>
                  </a:lnTo>
                  <a:lnTo>
                    <a:pt x="728" y="151"/>
                  </a:lnTo>
                  <a:lnTo>
                    <a:pt x="726" y="149"/>
                  </a:lnTo>
                  <a:lnTo>
                    <a:pt x="726" y="147"/>
                  </a:lnTo>
                  <a:lnTo>
                    <a:pt x="728" y="146"/>
                  </a:lnTo>
                  <a:lnTo>
                    <a:pt x="731" y="146"/>
                  </a:lnTo>
                  <a:lnTo>
                    <a:pt x="733" y="144"/>
                  </a:lnTo>
                  <a:lnTo>
                    <a:pt x="736" y="142"/>
                  </a:lnTo>
                  <a:lnTo>
                    <a:pt x="739" y="143"/>
                  </a:lnTo>
                  <a:lnTo>
                    <a:pt x="739" y="141"/>
                  </a:lnTo>
                  <a:lnTo>
                    <a:pt x="732" y="141"/>
                  </a:lnTo>
                  <a:lnTo>
                    <a:pt x="730" y="143"/>
                  </a:lnTo>
                  <a:lnTo>
                    <a:pt x="732" y="141"/>
                  </a:lnTo>
                  <a:lnTo>
                    <a:pt x="732" y="137"/>
                  </a:lnTo>
                  <a:lnTo>
                    <a:pt x="731" y="135"/>
                  </a:lnTo>
                  <a:lnTo>
                    <a:pt x="733" y="132"/>
                  </a:lnTo>
                  <a:lnTo>
                    <a:pt x="732" y="129"/>
                  </a:lnTo>
                  <a:lnTo>
                    <a:pt x="736" y="127"/>
                  </a:lnTo>
                  <a:lnTo>
                    <a:pt x="739" y="126"/>
                  </a:lnTo>
                  <a:lnTo>
                    <a:pt x="741" y="126"/>
                  </a:lnTo>
                  <a:lnTo>
                    <a:pt x="743" y="127"/>
                  </a:lnTo>
                  <a:lnTo>
                    <a:pt x="747" y="127"/>
                  </a:lnTo>
                  <a:lnTo>
                    <a:pt x="749" y="127"/>
                  </a:lnTo>
                  <a:lnTo>
                    <a:pt x="753" y="127"/>
                  </a:lnTo>
                  <a:lnTo>
                    <a:pt x="755" y="125"/>
                  </a:lnTo>
                  <a:lnTo>
                    <a:pt x="758" y="122"/>
                  </a:lnTo>
                  <a:lnTo>
                    <a:pt x="760" y="120"/>
                  </a:lnTo>
                  <a:lnTo>
                    <a:pt x="760" y="119"/>
                  </a:lnTo>
                  <a:lnTo>
                    <a:pt x="762" y="117"/>
                  </a:lnTo>
                  <a:lnTo>
                    <a:pt x="759" y="116"/>
                  </a:lnTo>
                  <a:lnTo>
                    <a:pt x="756" y="115"/>
                  </a:lnTo>
                  <a:lnTo>
                    <a:pt x="753" y="115"/>
                  </a:lnTo>
                  <a:lnTo>
                    <a:pt x="747" y="116"/>
                  </a:lnTo>
                  <a:lnTo>
                    <a:pt x="743" y="117"/>
                  </a:lnTo>
                  <a:lnTo>
                    <a:pt x="741" y="117"/>
                  </a:lnTo>
                  <a:lnTo>
                    <a:pt x="739" y="116"/>
                  </a:lnTo>
                  <a:lnTo>
                    <a:pt x="736" y="117"/>
                  </a:lnTo>
                  <a:lnTo>
                    <a:pt x="733" y="118"/>
                  </a:lnTo>
                  <a:lnTo>
                    <a:pt x="730" y="118"/>
                  </a:lnTo>
                  <a:lnTo>
                    <a:pt x="728" y="119"/>
                  </a:lnTo>
                  <a:lnTo>
                    <a:pt x="726" y="119"/>
                  </a:lnTo>
                  <a:lnTo>
                    <a:pt x="725" y="122"/>
                  </a:lnTo>
                  <a:lnTo>
                    <a:pt x="724" y="125"/>
                  </a:lnTo>
                  <a:lnTo>
                    <a:pt x="726" y="125"/>
                  </a:lnTo>
                  <a:lnTo>
                    <a:pt x="726" y="125"/>
                  </a:lnTo>
                  <a:lnTo>
                    <a:pt x="724" y="126"/>
                  </a:lnTo>
                  <a:lnTo>
                    <a:pt x="721" y="125"/>
                  </a:lnTo>
                  <a:lnTo>
                    <a:pt x="719" y="124"/>
                  </a:lnTo>
                  <a:lnTo>
                    <a:pt x="720" y="120"/>
                  </a:lnTo>
                  <a:lnTo>
                    <a:pt x="720" y="119"/>
                  </a:lnTo>
                  <a:lnTo>
                    <a:pt x="72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19" name="Freeform 219">
              <a:extLst>
                <a:ext uri="{FF2B5EF4-FFF2-40B4-BE49-F238E27FC236}">
                  <a16:creationId xmlns:a16="http://schemas.microsoft.com/office/drawing/2014/main" id="{9ADAD2B4-0195-4F26-AA3D-F72523307C6C}"/>
                </a:ext>
              </a:extLst>
            </p:cNvPr>
            <p:cNvSpPr>
              <a:spLocks noEditPoints="1"/>
            </p:cNvSpPr>
            <p:nvPr/>
          </p:nvSpPr>
          <p:spPr bwMode="auto">
            <a:xfrm>
              <a:off x="2197101" y="2528888"/>
              <a:ext cx="2441575" cy="1749425"/>
            </a:xfrm>
            <a:custGeom>
              <a:avLst/>
              <a:gdLst>
                <a:gd name="T0" fmla="*/ 1511 w 1538"/>
                <a:gd name="T1" fmla="*/ 384 h 1102"/>
                <a:gd name="T2" fmla="*/ 1448 w 1538"/>
                <a:gd name="T3" fmla="*/ 324 h 1102"/>
                <a:gd name="T4" fmla="*/ 1401 w 1538"/>
                <a:gd name="T5" fmla="*/ 296 h 1102"/>
                <a:gd name="T6" fmla="*/ 1350 w 1538"/>
                <a:gd name="T7" fmla="*/ 256 h 1102"/>
                <a:gd name="T8" fmla="*/ 1239 w 1538"/>
                <a:gd name="T9" fmla="*/ 280 h 1102"/>
                <a:gd name="T10" fmla="*/ 1191 w 1538"/>
                <a:gd name="T11" fmla="*/ 427 h 1102"/>
                <a:gd name="T12" fmla="*/ 1019 w 1538"/>
                <a:gd name="T13" fmla="*/ 298 h 1102"/>
                <a:gd name="T14" fmla="*/ 1029 w 1538"/>
                <a:gd name="T15" fmla="*/ 193 h 1102"/>
                <a:gd name="T16" fmla="*/ 1095 w 1538"/>
                <a:gd name="T17" fmla="*/ 159 h 1102"/>
                <a:gd name="T18" fmla="*/ 1187 w 1538"/>
                <a:gd name="T19" fmla="*/ 114 h 1102"/>
                <a:gd name="T20" fmla="*/ 1138 w 1538"/>
                <a:gd name="T21" fmla="*/ 74 h 1102"/>
                <a:gd name="T22" fmla="*/ 1052 w 1538"/>
                <a:gd name="T23" fmla="*/ 62 h 1102"/>
                <a:gd name="T24" fmla="*/ 979 w 1538"/>
                <a:gd name="T25" fmla="*/ 42 h 1102"/>
                <a:gd name="T26" fmla="*/ 984 w 1538"/>
                <a:gd name="T27" fmla="*/ 116 h 1102"/>
                <a:gd name="T28" fmla="*/ 842 w 1538"/>
                <a:gd name="T29" fmla="*/ 79 h 1102"/>
                <a:gd name="T30" fmla="*/ 799 w 1538"/>
                <a:gd name="T31" fmla="*/ 106 h 1102"/>
                <a:gd name="T32" fmla="*/ 589 w 1538"/>
                <a:gd name="T33" fmla="*/ 50 h 1102"/>
                <a:gd name="T34" fmla="*/ 481 w 1538"/>
                <a:gd name="T35" fmla="*/ 72 h 1102"/>
                <a:gd name="T36" fmla="*/ 442 w 1538"/>
                <a:gd name="T37" fmla="*/ 77 h 1102"/>
                <a:gd name="T38" fmla="*/ 276 w 1538"/>
                <a:gd name="T39" fmla="*/ 45 h 1102"/>
                <a:gd name="T40" fmla="*/ 106 w 1538"/>
                <a:gd name="T41" fmla="*/ 39 h 1102"/>
                <a:gd name="T42" fmla="*/ 82 w 1538"/>
                <a:gd name="T43" fmla="*/ 130 h 1102"/>
                <a:gd name="T44" fmla="*/ 67 w 1538"/>
                <a:gd name="T45" fmla="*/ 181 h 1102"/>
                <a:gd name="T46" fmla="*/ 45 w 1538"/>
                <a:gd name="T47" fmla="*/ 241 h 1102"/>
                <a:gd name="T48" fmla="*/ 100 w 1538"/>
                <a:gd name="T49" fmla="*/ 296 h 1102"/>
                <a:gd name="T50" fmla="*/ 65 w 1538"/>
                <a:gd name="T51" fmla="*/ 370 h 1102"/>
                <a:gd name="T52" fmla="*/ 200 w 1538"/>
                <a:gd name="T53" fmla="*/ 297 h 1102"/>
                <a:gd name="T54" fmla="*/ 250 w 1538"/>
                <a:gd name="T55" fmla="*/ 279 h 1102"/>
                <a:gd name="T56" fmla="*/ 347 w 1538"/>
                <a:gd name="T57" fmla="*/ 271 h 1102"/>
                <a:gd name="T58" fmla="*/ 445 w 1538"/>
                <a:gd name="T59" fmla="*/ 289 h 1102"/>
                <a:gd name="T60" fmla="*/ 511 w 1538"/>
                <a:gd name="T61" fmla="*/ 376 h 1102"/>
                <a:gd name="T62" fmla="*/ 548 w 1538"/>
                <a:gd name="T63" fmla="*/ 422 h 1102"/>
                <a:gd name="T64" fmla="*/ 591 w 1538"/>
                <a:gd name="T65" fmla="*/ 448 h 1102"/>
                <a:gd name="T66" fmla="*/ 596 w 1538"/>
                <a:gd name="T67" fmla="*/ 493 h 1102"/>
                <a:gd name="T68" fmla="*/ 626 w 1538"/>
                <a:gd name="T69" fmla="*/ 672 h 1102"/>
                <a:gd name="T70" fmla="*/ 734 w 1538"/>
                <a:gd name="T71" fmla="*/ 821 h 1102"/>
                <a:gd name="T72" fmla="*/ 768 w 1538"/>
                <a:gd name="T73" fmla="*/ 835 h 1102"/>
                <a:gd name="T74" fmla="*/ 803 w 1538"/>
                <a:gd name="T75" fmla="*/ 852 h 1102"/>
                <a:gd name="T76" fmla="*/ 1017 w 1538"/>
                <a:gd name="T77" fmla="*/ 994 h 1102"/>
                <a:gd name="T78" fmla="*/ 1161 w 1538"/>
                <a:gd name="T79" fmla="*/ 1094 h 1102"/>
                <a:gd name="T80" fmla="*/ 1120 w 1538"/>
                <a:gd name="T81" fmla="*/ 994 h 1102"/>
                <a:gd name="T82" fmla="*/ 1040 w 1538"/>
                <a:gd name="T83" fmla="*/ 954 h 1102"/>
                <a:gd name="T84" fmla="*/ 964 w 1538"/>
                <a:gd name="T85" fmla="*/ 828 h 1102"/>
                <a:gd name="T86" fmla="*/ 1082 w 1538"/>
                <a:gd name="T87" fmla="*/ 802 h 1102"/>
                <a:gd name="T88" fmla="*/ 1168 w 1538"/>
                <a:gd name="T89" fmla="*/ 803 h 1102"/>
                <a:gd name="T90" fmla="*/ 1205 w 1538"/>
                <a:gd name="T91" fmla="*/ 750 h 1102"/>
                <a:gd name="T92" fmla="*/ 1251 w 1538"/>
                <a:gd name="T93" fmla="*/ 675 h 1102"/>
                <a:gd name="T94" fmla="*/ 1272 w 1538"/>
                <a:gd name="T95" fmla="*/ 656 h 1102"/>
                <a:gd name="T96" fmla="*/ 1339 w 1538"/>
                <a:gd name="T97" fmla="*/ 573 h 1102"/>
                <a:gd name="T98" fmla="*/ 1397 w 1538"/>
                <a:gd name="T99" fmla="*/ 559 h 1102"/>
                <a:gd name="T100" fmla="*/ 1402 w 1538"/>
                <a:gd name="T101" fmla="*/ 507 h 1102"/>
                <a:gd name="T102" fmla="*/ 1379 w 1538"/>
                <a:gd name="T103" fmla="*/ 475 h 1102"/>
                <a:gd name="T104" fmla="*/ 665 w 1538"/>
                <a:gd name="T105" fmla="*/ 160 h 1102"/>
                <a:gd name="T106" fmla="*/ 590 w 1538"/>
                <a:gd name="T107" fmla="*/ 139 h 1102"/>
                <a:gd name="T108" fmla="*/ 797 w 1538"/>
                <a:gd name="T109" fmla="*/ 217 h 1102"/>
                <a:gd name="T110" fmla="*/ 722 w 1538"/>
                <a:gd name="T111" fmla="*/ 219 h 1102"/>
                <a:gd name="T112" fmla="*/ 945 w 1538"/>
                <a:gd name="T113" fmla="*/ 397 h 1102"/>
                <a:gd name="T114" fmla="*/ 1129 w 1538"/>
                <a:gd name="T115" fmla="*/ 554 h 1102"/>
                <a:gd name="T116" fmla="*/ 1128 w 1538"/>
                <a:gd name="T117" fmla="*/ 534 h 1102"/>
                <a:gd name="T118" fmla="*/ 1076 w 1538"/>
                <a:gd name="T119" fmla="*/ 498 h 1102"/>
                <a:gd name="T120" fmla="*/ 1206 w 1538"/>
                <a:gd name="T121" fmla="*/ 552 h 1102"/>
                <a:gd name="T122" fmla="*/ 1161 w 1538"/>
                <a:gd name="T123" fmla="*/ 601 h 1102"/>
                <a:gd name="T124" fmla="*/ 1224 w 1538"/>
                <a:gd name="T125" fmla="*/ 570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8" h="1102">
                  <a:moveTo>
                    <a:pt x="1531" y="421"/>
                  </a:moveTo>
                  <a:lnTo>
                    <a:pt x="1537" y="422"/>
                  </a:lnTo>
                  <a:lnTo>
                    <a:pt x="1536" y="419"/>
                  </a:lnTo>
                  <a:lnTo>
                    <a:pt x="1533" y="418"/>
                  </a:lnTo>
                  <a:lnTo>
                    <a:pt x="1529" y="418"/>
                  </a:lnTo>
                  <a:lnTo>
                    <a:pt x="1527" y="417"/>
                  </a:lnTo>
                  <a:lnTo>
                    <a:pt x="1530" y="418"/>
                  </a:lnTo>
                  <a:lnTo>
                    <a:pt x="1534" y="416"/>
                  </a:lnTo>
                  <a:lnTo>
                    <a:pt x="1536" y="416"/>
                  </a:lnTo>
                  <a:lnTo>
                    <a:pt x="1534" y="414"/>
                  </a:lnTo>
                  <a:lnTo>
                    <a:pt x="1536" y="414"/>
                  </a:lnTo>
                  <a:lnTo>
                    <a:pt x="1535" y="410"/>
                  </a:lnTo>
                  <a:lnTo>
                    <a:pt x="1533" y="409"/>
                  </a:lnTo>
                  <a:lnTo>
                    <a:pt x="1535" y="409"/>
                  </a:lnTo>
                  <a:lnTo>
                    <a:pt x="1537" y="406"/>
                  </a:lnTo>
                  <a:lnTo>
                    <a:pt x="1536" y="404"/>
                  </a:lnTo>
                  <a:lnTo>
                    <a:pt x="1530" y="399"/>
                  </a:lnTo>
                  <a:lnTo>
                    <a:pt x="1533" y="399"/>
                  </a:lnTo>
                  <a:lnTo>
                    <a:pt x="1530" y="399"/>
                  </a:lnTo>
                  <a:lnTo>
                    <a:pt x="1525" y="397"/>
                  </a:lnTo>
                  <a:lnTo>
                    <a:pt x="1528" y="396"/>
                  </a:lnTo>
                  <a:lnTo>
                    <a:pt x="1525" y="397"/>
                  </a:lnTo>
                  <a:lnTo>
                    <a:pt x="1522" y="397"/>
                  </a:lnTo>
                  <a:lnTo>
                    <a:pt x="1519" y="397"/>
                  </a:lnTo>
                  <a:lnTo>
                    <a:pt x="1518" y="400"/>
                  </a:lnTo>
                  <a:lnTo>
                    <a:pt x="1516" y="401"/>
                  </a:lnTo>
                  <a:lnTo>
                    <a:pt x="1514" y="399"/>
                  </a:lnTo>
                  <a:lnTo>
                    <a:pt x="1514" y="398"/>
                  </a:lnTo>
                  <a:lnTo>
                    <a:pt x="1517" y="397"/>
                  </a:lnTo>
                  <a:lnTo>
                    <a:pt x="1518" y="393"/>
                  </a:lnTo>
                  <a:lnTo>
                    <a:pt x="1514" y="389"/>
                  </a:lnTo>
                  <a:lnTo>
                    <a:pt x="1509" y="388"/>
                  </a:lnTo>
                  <a:lnTo>
                    <a:pt x="1507" y="387"/>
                  </a:lnTo>
                  <a:lnTo>
                    <a:pt x="1504" y="387"/>
                  </a:lnTo>
                  <a:lnTo>
                    <a:pt x="1501" y="388"/>
                  </a:lnTo>
                  <a:lnTo>
                    <a:pt x="1504" y="389"/>
                  </a:lnTo>
                  <a:lnTo>
                    <a:pt x="1507" y="389"/>
                  </a:lnTo>
                  <a:lnTo>
                    <a:pt x="1504" y="390"/>
                  </a:lnTo>
                  <a:lnTo>
                    <a:pt x="1496" y="392"/>
                  </a:lnTo>
                  <a:lnTo>
                    <a:pt x="1493" y="395"/>
                  </a:lnTo>
                  <a:lnTo>
                    <a:pt x="1492" y="397"/>
                  </a:lnTo>
                  <a:lnTo>
                    <a:pt x="1490" y="398"/>
                  </a:lnTo>
                  <a:lnTo>
                    <a:pt x="1484" y="400"/>
                  </a:lnTo>
                  <a:lnTo>
                    <a:pt x="1480" y="400"/>
                  </a:lnTo>
                  <a:lnTo>
                    <a:pt x="1480" y="401"/>
                  </a:lnTo>
                  <a:lnTo>
                    <a:pt x="1476" y="405"/>
                  </a:lnTo>
                  <a:lnTo>
                    <a:pt x="1474" y="405"/>
                  </a:lnTo>
                  <a:lnTo>
                    <a:pt x="1476" y="405"/>
                  </a:lnTo>
                  <a:lnTo>
                    <a:pt x="1477" y="401"/>
                  </a:lnTo>
                  <a:lnTo>
                    <a:pt x="1475" y="399"/>
                  </a:lnTo>
                  <a:lnTo>
                    <a:pt x="1471" y="397"/>
                  </a:lnTo>
                  <a:lnTo>
                    <a:pt x="1466" y="397"/>
                  </a:lnTo>
                  <a:lnTo>
                    <a:pt x="1467" y="395"/>
                  </a:lnTo>
                  <a:lnTo>
                    <a:pt x="1470" y="397"/>
                  </a:lnTo>
                  <a:lnTo>
                    <a:pt x="1473" y="397"/>
                  </a:lnTo>
                  <a:lnTo>
                    <a:pt x="1475" y="399"/>
                  </a:lnTo>
                  <a:lnTo>
                    <a:pt x="1478" y="400"/>
                  </a:lnTo>
                  <a:lnTo>
                    <a:pt x="1478" y="397"/>
                  </a:lnTo>
                  <a:lnTo>
                    <a:pt x="1479" y="396"/>
                  </a:lnTo>
                  <a:lnTo>
                    <a:pt x="1487" y="395"/>
                  </a:lnTo>
                  <a:lnTo>
                    <a:pt x="1495" y="390"/>
                  </a:lnTo>
                  <a:lnTo>
                    <a:pt x="1499" y="390"/>
                  </a:lnTo>
                  <a:lnTo>
                    <a:pt x="1501" y="388"/>
                  </a:lnTo>
                  <a:lnTo>
                    <a:pt x="1490" y="391"/>
                  </a:lnTo>
                  <a:lnTo>
                    <a:pt x="1486" y="391"/>
                  </a:lnTo>
                  <a:lnTo>
                    <a:pt x="1486" y="390"/>
                  </a:lnTo>
                  <a:lnTo>
                    <a:pt x="1490" y="390"/>
                  </a:lnTo>
                  <a:lnTo>
                    <a:pt x="1494" y="389"/>
                  </a:lnTo>
                  <a:lnTo>
                    <a:pt x="1497" y="388"/>
                  </a:lnTo>
                  <a:lnTo>
                    <a:pt x="1500" y="387"/>
                  </a:lnTo>
                  <a:lnTo>
                    <a:pt x="1503" y="387"/>
                  </a:lnTo>
                  <a:lnTo>
                    <a:pt x="1505" y="384"/>
                  </a:lnTo>
                  <a:lnTo>
                    <a:pt x="1511" y="384"/>
                  </a:lnTo>
                  <a:lnTo>
                    <a:pt x="1513" y="382"/>
                  </a:lnTo>
                  <a:lnTo>
                    <a:pt x="1511" y="383"/>
                  </a:lnTo>
                  <a:lnTo>
                    <a:pt x="1512" y="382"/>
                  </a:lnTo>
                  <a:lnTo>
                    <a:pt x="1514" y="380"/>
                  </a:lnTo>
                  <a:lnTo>
                    <a:pt x="1507" y="378"/>
                  </a:lnTo>
                  <a:lnTo>
                    <a:pt x="1504" y="378"/>
                  </a:lnTo>
                  <a:lnTo>
                    <a:pt x="1501" y="376"/>
                  </a:lnTo>
                  <a:lnTo>
                    <a:pt x="1496" y="375"/>
                  </a:lnTo>
                  <a:lnTo>
                    <a:pt x="1492" y="371"/>
                  </a:lnTo>
                  <a:lnTo>
                    <a:pt x="1490" y="371"/>
                  </a:lnTo>
                  <a:lnTo>
                    <a:pt x="1491" y="368"/>
                  </a:lnTo>
                  <a:lnTo>
                    <a:pt x="1487" y="371"/>
                  </a:lnTo>
                  <a:lnTo>
                    <a:pt x="1482" y="374"/>
                  </a:lnTo>
                  <a:lnTo>
                    <a:pt x="1479" y="378"/>
                  </a:lnTo>
                  <a:lnTo>
                    <a:pt x="1482" y="374"/>
                  </a:lnTo>
                  <a:lnTo>
                    <a:pt x="1484" y="372"/>
                  </a:lnTo>
                  <a:lnTo>
                    <a:pt x="1485" y="370"/>
                  </a:lnTo>
                  <a:lnTo>
                    <a:pt x="1482" y="368"/>
                  </a:lnTo>
                  <a:lnTo>
                    <a:pt x="1482" y="366"/>
                  </a:lnTo>
                  <a:lnTo>
                    <a:pt x="1479" y="367"/>
                  </a:lnTo>
                  <a:lnTo>
                    <a:pt x="1477" y="370"/>
                  </a:lnTo>
                  <a:lnTo>
                    <a:pt x="1475" y="372"/>
                  </a:lnTo>
                  <a:lnTo>
                    <a:pt x="1477" y="371"/>
                  </a:lnTo>
                  <a:lnTo>
                    <a:pt x="1478" y="367"/>
                  </a:lnTo>
                  <a:lnTo>
                    <a:pt x="1475" y="368"/>
                  </a:lnTo>
                  <a:lnTo>
                    <a:pt x="1469" y="372"/>
                  </a:lnTo>
                  <a:lnTo>
                    <a:pt x="1475" y="363"/>
                  </a:lnTo>
                  <a:lnTo>
                    <a:pt x="1473" y="365"/>
                  </a:lnTo>
                  <a:lnTo>
                    <a:pt x="1473" y="363"/>
                  </a:lnTo>
                  <a:lnTo>
                    <a:pt x="1473" y="361"/>
                  </a:lnTo>
                  <a:lnTo>
                    <a:pt x="1475" y="357"/>
                  </a:lnTo>
                  <a:lnTo>
                    <a:pt x="1471" y="358"/>
                  </a:lnTo>
                  <a:lnTo>
                    <a:pt x="1470" y="362"/>
                  </a:lnTo>
                  <a:lnTo>
                    <a:pt x="1469" y="358"/>
                  </a:lnTo>
                  <a:lnTo>
                    <a:pt x="1466" y="358"/>
                  </a:lnTo>
                  <a:lnTo>
                    <a:pt x="1467" y="356"/>
                  </a:lnTo>
                  <a:lnTo>
                    <a:pt x="1465" y="356"/>
                  </a:lnTo>
                  <a:lnTo>
                    <a:pt x="1462" y="354"/>
                  </a:lnTo>
                  <a:lnTo>
                    <a:pt x="1459" y="353"/>
                  </a:lnTo>
                  <a:lnTo>
                    <a:pt x="1462" y="353"/>
                  </a:lnTo>
                  <a:lnTo>
                    <a:pt x="1459" y="353"/>
                  </a:lnTo>
                  <a:lnTo>
                    <a:pt x="1458" y="349"/>
                  </a:lnTo>
                  <a:lnTo>
                    <a:pt x="1454" y="349"/>
                  </a:lnTo>
                  <a:lnTo>
                    <a:pt x="1451" y="347"/>
                  </a:lnTo>
                  <a:lnTo>
                    <a:pt x="1454" y="348"/>
                  </a:lnTo>
                  <a:lnTo>
                    <a:pt x="1457" y="347"/>
                  </a:lnTo>
                  <a:lnTo>
                    <a:pt x="1451" y="344"/>
                  </a:lnTo>
                  <a:lnTo>
                    <a:pt x="1454" y="342"/>
                  </a:lnTo>
                  <a:lnTo>
                    <a:pt x="1449" y="341"/>
                  </a:lnTo>
                  <a:lnTo>
                    <a:pt x="1452" y="341"/>
                  </a:lnTo>
                  <a:lnTo>
                    <a:pt x="1448" y="340"/>
                  </a:lnTo>
                  <a:lnTo>
                    <a:pt x="1447" y="339"/>
                  </a:lnTo>
                  <a:lnTo>
                    <a:pt x="1445" y="338"/>
                  </a:lnTo>
                  <a:lnTo>
                    <a:pt x="1447" y="338"/>
                  </a:lnTo>
                  <a:lnTo>
                    <a:pt x="1445" y="337"/>
                  </a:lnTo>
                  <a:lnTo>
                    <a:pt x="1451" y="337"/>
                  </a:lnTo>
                  <a:lnTo>
                    <a:pt x="1448" y="337"/>
                  </a:lnTo>
                  <a:lnTo>
                    <a:pt x="1447" y="338"/>
                  </a:lnTo>
                  <a:lnTo>
                    <a:pt x="1447" y="339"/>
                  </a:lnTo>
                  <a:lnTo>
                    <a:pt x="1453" y="340"/>
                  </a:lnTo>
                  <a:lnTo>
                    <a:pt x="1456" y="340"/>
                  </a:lnTo>
                  <a:lnTo>
                    <a:pt x="1453" y="338"/>
                  </a:lnTo>
                  <a:lnTo>
                    <a:pt x="1457" y="337"/>
                  </a:lnTo>
                  <a:lnTo>
                    <a:pt x="1458" y="335"/>
                  </a:lnTo>
                  <a:lnTo>
                    <a:pt x="1460" y="335"/>
                  </a:lnTo>
                  <a:lnTo>
                    <a:pt x="1460" y="333"/>
                  </a:lnTo>
                  <a:lnTo>
                    <a:pt x="1459" y="331"/>
                  </a:lnTo>
                  <a:lnTo>
                    <a:pt x="1453" y="328"/>
                  </a:lnTo>
                  <a:lnTo>
                    <a:pt x="1453" y="325"/>
                  </a:lnTo>
                  <a:lnTo>
                    <a:pt x="1450" y="324"/>
                  </a:lnTo>
                  <a:lnTo>
                    <a:pt x="1448" y="325"/>
                  </a:lnTo>
                  <a:lnTo>
                    <a:pt x="1444" y="324"/>
                  </a:lnTo>
                  <a:lnTo>
                    <a:pt x="1448" y="324"/>
                  </a:lnTo>
                  <a:lnTo>
                    <a:pt x="1450" y="323"/>
                  </a:lnTo>
                  <a:lnTo>
                    <a:pt x="1453" y="321"/>
                  </a:lnTo>
                  <a:lnTo>
                    <a:pt x="1450" y="319"/>
                  </a:lnTo>
                  <a:lnTo>
                    <a:pt x="1449" y="315"/>
                  </a:lnTo>
                  <a:lnTo>
                    <a:pt x="1445" y="316"/>
                  </a:lnTo>
                  <a:lnTo>
                    <a:pt x="1444" y="314"/>
                  </a:lnTo>
                  <a:lnTo>
                    <a:pt x="1448" y="313"/>
                  </a:lnTo>
                  <a:lnTo>
                    <a:pt x="1444" y="311"/>
                  </a:lnTo>
                  <a:lnTo>
                    <a:pt x="1437" y="313"/>
                  </a:lnTo>
                  <a:lnTo>
                    <a:pt x="1435" y="313"/>
                  </a:lnTo>
                  <a:lnTo>
                    <a:pt x="1437" y="311"/>
                  </a:lnTo>
                  <a:lnTo>
                    <a:pt x="1440" y="311"/>
                  </a:lnTo>
                  <a:lnTo>
                    <a:pt x="1443" y="310"/>
                  </a:lnTo>
                  <a:lnTo>
                    <a:pt x="1441" y="308"/>
                  </a:lnTo>
                  <a:lnTo>
                    <a:pt x="1443" y="307"/>
                  </a:lnTo>
                  <a:lnTo>
                    <a:pt x="1442" y="304"/>
                  </a:lnTo>
                  <a:lnTo>
                    <a:pt x="1439" y="305"/>
                  </a:lnTo>
                  <a:lnTo>
                    <a:pt x="1436" y="305"/>
                  </a:lnTo>
                  <a:lnTo>
                    <a:pt x="1434" y="305"/>
                  </a:lnTo>
                  <a:lnTo>
                    <a:pt x="1431" y="307"/>
                  </a:lnTo>
                  <a:lnTo>
                    <a:pt x="1433" y="304"/>
                  </a:lnTo>
                  <a:lnTo>
                    <a:pt x="1435" y="304"/>
                  </a:lnTo>
                  <a:lnTo>
                    <a:pt x="1439" y="303"/>
                  </a:lnTo>
                  <a:lnTo>
                    <a:pt x="1437" y="301"/>
                  </a:lnTo>
                  <a:lnTo>
                    <a:pt x="1439" y="297"/>
                  </a:lnTo>
                  <a:lnTo>
                    <a:pt x="1435" y="297"/>
                  </a:lnTo>
                  <a:lnTo>
                    <a:pt x="1434" y="295"/>
                  </a:lnTo>
                  <a:lnTo>
                    <a:pt x="1434" y="293"/>
                  </a:lnTo>
                  <a:lnTo>
                    <a:pt x="1430" y="294"/>
                  </a:lnTo>
                  <a:lnTo>
                    <a:pt x="1424" y="293"/>
                  </a:lnTo>
                  <a:lnTo>
                    <a:pt x="1430" y="293"/>
                  </a:lnTo>
                  <a:lnTo>
                    <a:pt x="1433" y="291"/>
                  </a:lnTo>
                  <a:lnTo>
                    <a:pt x="1432" y="288"/>
                  </a:lnTo>
                  <a:lnTo>
                    <a:pt x="1430" y="289"/>
                  </a:lnTo>
                  <a:lnTo>
                    <a:pt x="1430" y="287"/>
                  </a:lnTo>
                  <a:lnTo>
                    <a:pt x="1427" y="287"/>
                  </a:lnTo>
                  <a:lnTo>
                    <a:pt x="1425" y="286"/>
                  </a:lnTo>
                  <a:lnTo>
                    <a:pt x="1427" y="285"/>
                  </a:lnTo>
                  <a:lnTo>
                    <a:pt x="1425" y="281"/>
                  </a:lnTo>
                  <a:lnTo>
                    <a:pt x="1423" y="284"/>
                  </a:lnTo>
                  <a:lnTo>
                    <a:pt x="1424" y="280"/>
                  </a:lnTo>
                  <a:lnTo>
                    <a:pt x="1420" y="279"/>
                  </a:lnTo>
                  <a:lnTo>
                    <a:pt x="1422" y="277"/>
                  </a:lnTo>
                  <a:lnTo>
                    <a:pt x="1422" y="273"/>
                  </a:lnTo>
                  <a:lnTo>
                    <a:pt x="1417" y="273"/>
                  </a:lnTo>
                  <a:lnTo>
                    <a:pt x="1417" y="272"/>
                  </a:lnTo>
                  <a:lnTo>
                    <a:pt x="1414" y="273"/>
                  </a:lnTo>
                  <a:lnTo>
                    <a:pt x="1413" y="273"/>
                  </a:lnTo>
                  <a:lnTo>
                    <a:pt x="1418" y="271"/>
                  </a:lnTo>
                  <a:lnTo>
                    <a:pt x="1417" y="269"/>
                  </a:lnTo>
                  <a:lnTo>
                    <a:pt x="1415" y="269"/>
                  </a:lnTo>
                  <a:lnTo>
                    <a:pt x="1417" y="268"/>
                  </a:lnTo>
                  <a:lnTo>
                    <a:pt x="1415" y="268"/>
                  </a:lnTo>
                  <a:lnTo>
                    <a:pt x="1413" y="269"/>
                  </a:lnTo>
                  <a:lnTo>
                    <a:pt x="1415" y="271"/>
                  </a:lnTo>
                  <a:lnTo>
                    <a:pt x="1413" y="273"/>
                  </a:lnTo>
                  <a:lnTo>
                    <a:pt x="1409" y="273"/>
                  </a:lnTo>
                  <a:lnTo>
                    <a:pt x="1408" y="278"/>
                  </a:lnTo>
                  <a:lnTo>
                    <a:pt x="1410" y="279"/>
                  </a:lnTo>
                  <a:lnTo>
                    <a:pt x="1406" y="278"/>
                  </a:lnTo>
                  <a:lnTo>
                    <a:pt x="1403" y="280"/>
                  </a:lnTo>
                  <a:lnTo>
                    <a:pt x="1405" y="282"/>
                  </a:lnTo>
                  <a:lnTo>
                    <a:pt x="1407" y="285"/>
                  </a:lnTo>
                  <a:lnTo>
                    <a:pt x="1408" y="285"/>
                  </a:lnTo>
                  <a:lnTo>
                    <a:pt x="1410" y="287"/>
                  </a:lnTo>
                  <a:lnTo>
                    <a:pt x="1407" y="285"/>
                  </a:lnTo>
                  <a:lnTo>
                    <a:pt x="1405" y="286"/>
                  </a:lnTo>
                  <a:lnTo>
                    <a:pt x="1403" y="289"/>
                  </a:lnTo>
                  <a:lnTo>
                    <a:pt x="1400" y="290"/>
                  </a:lnTo>
                  <a:lnTo>
                    <a:pt x="1403" y="293"/>
                  </a:lnTo>
                  <a:lnTo>
                    <a:pt x="1406" y="294"/>
                  </a:lnTo>
                  <a:lnTo>
                    <a:pt x="1403" y="293"/>
                  </a:lnTo>
                  <a:lnTo>
                    <a:pt x="1401" y="296"/>
                  </a:lnTo>
                  <a:lnTo>
                    <a:pt x="1399" y="295"/>
                  </a:lnTo>
                  <a:lnTo>
                    <a:pt x="1399" y="297"/>
                  </a:lnTo>
                  <a:lnTo>
                    <a:pt x="1399" y="297"/>
                  </a:lnTo>
                  <a:lnTo>
                    <a:pt x="1397" y="297"/>
                  </a:lnTo>
                  <a:lnTo>
                    <a:pt x="1397" y="299"/>
                  </a:lnTo>
                  <a:lnTo>
                    <a:pt x="1399" y="303"/>
                  </a:lnTo>
                  <a:lnTo>
                    <a:pt x="1398" y="305"/>
                  </a:lnTo>
                  <a:lnTo>
                    <a:pt x="1396" y="307"/>
                  </a:lnTo>
                  <a:lnTo>
                    <a:pt x="1397" y="306"/>
                  </a:lnTo>
                  <a:lnTo>
                    <a:pt x="1397" y="303"/>
                  </a:lnTo>
                  <a:lnTo>
                    <a:pt x="1396" y="301"/>
                  </a:lnTo>
                  <a:lnTo>
                    <a:pt x="1393" y="298"/>
                  </a:lnTo>
                  <a:lnTo>
                    <a:pt x="1390" y="299"/>
                  </a:lnTo>
                  <a:lnTo>
                    <a:pt x="1388" y="304"/>
                  </a:lnTo>
                  <a:lnTo>
                    <a:pt x="1383" y="305"/>
                  </a:lnTo>
                  <a:lnTo>
                    <a:pt x="1381" y="307"/>
                  </a:lnTo>
                  <a:lnTo>
                    <a:pt x="1375" y="310"/>
                  </a:lnTo>
                  <a:lnTo>
                    <a:pt x="1373" y="315"/>
                  </a:lnTo>
                  <a:lnTo>
                    <a:pt x="1373" y="315"/>
                  </a:lnTo>
                  <a:lnTo>
                    <a:pt x="1374" y="310"/>
                  </a:lnTo>
                  <a:lnTo>
                    <a:pt x="1372" y="306"/>
                  </a:lnTo>
                  <a:lnTo>
                    <a:pt x="1372" y="310"/>
                  </a:lnTo>
                  <a:lnTo>
                    <a:pt x="1368" y="311"/>
                  </a:lnTo>
                  <a:lnTo>
                    <a:pt x="1372" y="308"/>
                  </a:lnTo>
                  <a:lnTo>
                    <a:pt x="1369" y="303"/>
                  </a:lnTo>
                  <a:lnTo>
                    <a:pt x="1367" y="305"/>
                  </a:lnTo>
                  <a:lnTo>
                    <a:pt x="1367" y="307"/>
                  </a:lnTo>
                  <a:lnTo>
                    <a:pt x="1364" y="313"/>
                  </a:lnTo>
                  <a:lnTo>
                    <a:pt x="1364" y="313"/>
                  </a:lnTo>
                  <a:lnTo>
                    <a:pt x="1362" y="314"/>
                  </a:lnTo>
                  <a:lnTo>
                    <a:pt x="1356" y="315"/>
                  </a:lnTo>
                  <a:lnTo>
                    <a:pt x="1351" y="319"/>
                  </a:lnTo>
                  <a:lnTo>
                    <a:pt x="1352" y="318"/>
                  </a:lnTo>
                  <a:lnTo>
                    <a:pt x="1355" y="315"/>
                  </a:lnTo>
                  <a:lnTo>
                    <a:pt x="1356" y="315"/>
                  </a:lnTo>
                  <a:lnTo>
                    <a:pt x="1364" y="313"/>
                  </a:lnTo>
                  <a:lnTo>
                    <a:pt x="1365" y="311"/>
                  </a:lnTo>
                  <a:lnTo>
                    <a:pt x="1366" y="305"/>
                  </a:lnTo>
                  <a:lnTo>
                    <a:pt x="1365" y="302"/>
                  </a:lnTo>
                  <a:lnTo>
                    <a:pt x="1364" y="299"/>
                  </a:lnTo>
                  <a:lnTo>
                    <a:pt x="1362" y="297"/>
                  </a:lnTo>
                  <a:lnTo>
                    <a:pt x="1359" y="296"/>
                  </a:lnTo>
                  <a:lnTo>
                    <a:pt x="1357" y="297"/>
                  </a:lnTo>
                  <a:lnTo>
                    <a:pt x="1354" y="296"/>
                  </a:lnTo>
                  <a:lnTo>
                    <a:pt x="1351" y="297"/>
                  </a:lnTo>
                  <a:lnTo>
                    <a:pt x="1346" y="301"/>
                  </a:lnTo>
                  <a:lnTo>
                    <a:pt x="1343" y="301"/>
                  </a:lnTo>
                  <a:lnTo>
                    <a:pt x="1341" y="299"/>
                  </a:lnTo>
                  <a:lnTo>
                    <a:pt x="1339" y="298"/>
                  </a:lnTo>
                  <a:lnTo>
                    <a:pt x="1339" y="298"/>
                  </a:lnTo>
                  <a:lnTo>
                    <a:pt x="1342" y="298"/>
                  </a:lnTo>
                  <a:lnTo>
                    <a:pt x="1345" y="296"/>
                  </a:lnTo>
                  <a:lnTo>
                    <a:pt x="1343" y="293"/>
                  </a:lnTo>
                  <a:lnTo>
                    <a:pt x="1347" y="296"/>
                  </a:lnTo>
                  <a:lnTo>
                    <a:pt x="1348" y="298"/>
                  </a:lnTo>
                  <a:lnTo>
                    <a:pt x="1349" y="296"/>
                  </a:lnTo>
                  <a:lnTo>
                    <a:pt x="1351" y="288"/>
                  </a:lnTo>
                  <a:lnTo>
                    <a:pt x="1347" y="286"/>
                  </a:lnTo>
                  <a:lnTo>
                    <a:pt x="1346" y="284"/>
                  </a:lnTo>
                  <a:lnTo>
                    <a:pt x="1348" y="281"/>
                  </a:lnTo>
                  <a:lnTo>
                    <a:pt x="1347" y="277"/>
                  </a:lnTo>
                  <a:lnTo>
                    <a:pt x="1345" y="274"/>
                  </a:lnTo>
                  <a:lnTo>
                    <a:pt x="1335" y="274"/>
                  </a:lnTo>
                  <a:lnTo>
                    <a:pt x="1328" y="272"/>
                  </a:lnTo>
                  <a:lnTo>
                    <a:pt x="1333" y="273"/>
                  </a:lnTo>
                  <a:lnTo>
                    <a:pt x="1346" y="273"/>
                  </a:lnTo>
                  <a:lnTo>
                    <a:pt x="1345" y="272"/>
                  </a:lnTo>
                  <a:lnTo>
                    <a:pt x="1347" y="272"/>
                  </a:lnTo>
                  <a:lnTo>
                    <a:pt x="1347" y="269"/>
                  </a:lnTo>
                  <a:lnTo>
                    <a:pt x="1346" y="267"/>
                  </a:lnTo>
                  <a:lnTo>
                    <a:pt x="1345" y="264"/>
                  </a:lnTo>
                  <a:lnTo>
                    <a:pt x="1348" y="259"/>
                  </a:lnTo>
                  <a:lnTo>
                    <a:pt x="1350" y="256"/>
                  </a:lnTo>
                  <a:lnTo>
                    <a:pt x="1349" y="253"/>
                  </a:lnTo>
                  <a:lnTo>
                    <a:pt x="1347" y="253"/>
                  </a:lnTo>
                  <a:lnTo>
                    <a:pt x="1345" y="255"/>
                  </a:lnTo>
                  <a:lnTo>
                    <a:pt x="1342" y="256"/>
                  </a:lnTo>
                  <a:lnTo>
                    <a:pt x="1339" y="252"/>
                  </a:lnTo>
                  <a:lnTo>
                    <a:pt x="1337" y="253"/>
                  </a:lnTo>
                  <a:lnTo>
                    <a:pt x="1333" y="253"/>
                  </a:lnTo>
                  <a:lnTo>
                    <a:pt x="1331" y="252"/>
                  </a:lnTo>
                  <a:lnTo>
                    <a:pt x="1329" y="251"/>
                  </a:lnTo>
                  <a:lnTo>
                    <a:pt x="1323" y="250"/>
                  </a:lnTo>
                  <a:lnTo>
                    <a:pt x="1321" y="248"/>
                  </a:lnTo>
                  <a:lnTo>
                    <a:pt x="1317" y="245"/>
                  </a:lnTo>
                  <a:lnTo>
                    <a:pt x="1321" y="245"/>
                  </a:lnTo>
                  <a:lnTo>
                    <a:pt x="1317" y="243"/>
                  </a:lnTo>
                  <a:lnTo>
                    <a:pt x="1317" y="242"/>
                  </a:lnTo>
                  <a:lnTo>
                    <a:pt x="1320" y="241"/>
                  </a:lnTo>
                  <a:lnTo>
                    <a:pt x="1317" y="239"/>
                  </a:lnTo>
                  <a:lnTo>
                    <a:pt x="1315" y="241"/>
                  </a:lnTo>
                  <a:lnTo>
                    <a:pt x="1312" y="241"/>
                  </a:lnTo>
                  <a:lnTo>
                    <a:pt x="1315" y="239"/>
                  </a:lnTo>
                  <a:lnTo>
                    <a:pt x="1312" y="238"/>
                  </a:lnTo>
                  <a:lnTo>
                    <a:pt x="1312" y="235"/>
                  </a:lnTo>
                  <a:lnTo>
                    <a:pt x="1306" y="234"/>
                  </a:lnTo>
                  <a:lnTo>
                    <a:pt x="1306" y="236"/>
                  </a:lnTo>
                  <a:lnTo>
                    <a:pt x="1304" y="236"/>
                  </a:lnTo>
                  <a:lnTo>
                    <a:pt x="1305" y="235"/>
                  </a:lnTo>
                  <a:lnTo>
                    <a:pt x="1306" y="231"/>
                  </a:lnTo>
                  <a:lnTo>
                    <a:pt x="1305" y="229"/>
                  </a:lnTo>
                  <a:lnTo>
                    <a:pt x="1302" y="229"/>
                  </a:lnTo>
                  <a:lnTo>
                    <a:pt x="1299" y="227"/>
                  </a:lnTo>
                  <a:lnTo>
                    <a:pt x="1296" y="225"/>
                  </a:lnTo>
                  <a:lnTo>
                    <a:pt x="1294" y="224"/>
                  </a:lnTo>
                  <a:lnTo>
                    <a:pt x="1291" y="222"/>
                  </a:lnTo>
                  <a:lnTo>
                    <a:pt x="1288" y="224"/>
                  </a:lnTo>
                  <a:lnTo>
                    <a:pt x="1286" y="225"/>
                  </a:lnTo>
                  <a:lnTo>
                    <a:pt x="1280" y="227"/>
                  </a:lnTo>
                  <a:lnTo>
                    <a:pt x="1278" y="227"/>
                  </a:lnTo>
                  <a:lnTo>
                    <a:pt x="1279" y="230"/>
                  </a:lnTo>
                  <a:lnTo>
                    <a:pt x="1273" y="227"/>
                  </a:lnTo>
                  <a:lnTo>
                    <a:pt x="1270" y="226"/>
                  </a:lnTo>
                  <a:lnTo>
                    <a:pt x="1268" y="226"/>
                  </a:lnTo>
                  <a:lnTo>
                    <a:pt x="1262" y="229"/>
                  </a:lnTo>
                  <a:lnTo>
                    <a:pt x="1262" y="228"/>
                  </a:lnTo>
                  <a:lnTo>
                    <a:pt x="1263" y="226"/>
                  </a:lnTo>
                  <a:lnTo>
                    <a:pt x="1261" y="225"/>
                  </a:lnTo>
                  <a:lnTo>
                    <a:pt x="1247" y="221"/>
                  </a:lnTo>
                  <a:lnTo>
                    <a:pt x="1241" y="220"/>
                  </a:lnTo>
                  <a:lnTo>
                    <a:pt x="1238" y="221"/>
                  </a:lnTo>
                  <a:lnTo>
                    <a:pt x="1234" y="224"/>
                  </a:lnTo>
                  <a:lnTo>
                    <a:pt x="1230" y="227"/>
                  </a:lnTo>
                  <a:lnTo>
                    <a:pt x="1230" y="231"/>
                  </a:lnTo>
                  <a:lnTo>
                    <a:pt x="1234" y="238"/>
                  </a:lnTo>
                  <a:lnTo>
                    <a:pt x="1236" y="239"/>
                  </a:lnTo>
                  <a:lnTo>
                    <a:pt x="1238" y="241"/>
                  </a:lnTo>
                  <a:lnTo>
                    <a:pt x="1238" y="244"/>
                  </a:lnTo>
                  <a:lnTo>
                    <a:pt x="1236" y="244"/>
                  </a:lnTo>
                  <a:lnTo>
                    <a:pt x="1236" y="246"/>
                  </a:lnTo>
                  <a:lnTo>
                    <a:pt x="1236" y="250"/>
                  </a:lnTo>
                  <a:lnTo>
                    <a:pt x="1235" y="252"/>
                  </a:lnTo>
                  <a:lnTo>
                    <a:pt x="1231" y="254"/>
                  </a:lnTo>
                  <a:lnTo>
                    <a:pt x="1231" y="258"/>
                  </a:lnTo>
                  <a:lnTo>
                    <a:pt x="1234" y="256"/>
                  </a:lnTo>
                  <a:lnTo>
                    <a:pt x="1234" y="259"/>
                  </a:lnTo>
                  <a:lnTo>
                    <a:pt x="1237" y="259"/>
                  </a:lnTo>
                  <a:lnTo>
                    <a:pt x="1236" y="262"/>
                  </a:lnTo>
                  <a:lnTo>
                    <a:pt x="1238" y="263"/>
                  </a:lnTo>
                  <a:lnTo>
                    <a:pt x="1236" y="265"/>
                  </a:lnTo>
                  <a:lnTo>
                    <a:pt x="1240" y="271"/>
                  </a:lnTo>
                  <a:lnTo>
                    <a:pt x="1238" y="272"/>
                  </a:lnTo>
                  <a:lnTo>
                    <a:pt x="1243" y="273"/>
                  </a:lnTo>
                  <a:lnTo>
                    <a:pt x="1240" y="276"/>
                  </a:lnTo>
                  <a:lnTo>
                    <a:pt x="1241" y="278"/>
                  </a:lnTo>
                  <a:lnTo>
                    <a:pt x="1239" y="280"/>
                  </a:lnTo>
                  <a:lnTo>
                    <a:pt x="1241" y="282"/>
                  </a:lnTo>
                  <a:lnTo>
                    <a:pt x="1239" y="280"/>
                  </a:lnTo>
                  <a:lnTo>
                    <a:pt x="1236" y="281"/>
                  </a:lnTo>
                  <a:lnTo>
                    <a:pt x="1235" y="284"/>
                  </a:lnTo>
                  <a:lnTo>
                    <a:pt x="1235" y="287"/>
                  </a:lnTo>
                  <a:lnTo>
                    <a:pt x="1234" y="288"/>
                  </a:lnTo>
                  <a:lnTo>
                    <a:pt x="1229" y="293"/>
                  </a:lnTo>
                  <a:lnTo>
                    <a:pt x="1228" y="296"/>
                  </a:lnTo>
                  <a:lnTo>
                    <a:pt x="1226" y="297"/>
                  </a:lnTo>
                  <a:lnTo>
                    <a:pt x="1226" y="299"/>
                  </a:lnTo>
                  <a:lnTo>
                    <a:pt x="1226" y="302"/>
                  </a:lnTo>
                  <a:lnTo>
                    <a:pt x="1231" y="305"/>
                  </a:lnTo>
                  <a:lnTo>
                    <a:pt x="1232" y="306"/>
                  </a:lnTo>
                  <a:lnTo>
                    <a:pt x="1238" y="308"/>
                  </a:lnTo>
                  <a:lnTo>
                    <a:pt x="1244" y="313"/>
                  </a:lnTo>
                  <a:lnTo>
                    <a:pt x="1249" y="321"/>
                  </a:lnTo>
                  <a:lnTo>
                    <a:pt x="1253" y="332"/>
                  </a:lnTo>
                  <a:lnTo>
                    <a:pt x="1253" y="345"/>
                  </a:lnTo>
                  <a:lnTo>
                    <a:pt x="1253" y="347"/>
                  </a:lnTo>
                  <a:lnTo>
                    <a:pt x="1251" y="353"/>
                  </a:lnTo>
                  <a:lnTo>
                    <a:pt x="1245" y="358"/>
                  </a:lnTo>
                  <a:lnTo>
                    <a:pt x="1244" y="361"/>
                  </a:lnTo>
                  <a:lnTo>
                    <a:pt x="1236" y="367"/>
                  </a:lnTo>
                  <a:lnTo>
                    <a:pt x="1230" y="370"/>
                  </a:lnTo>
                  <a:lnTo>
                    <a:pt x="1228" y="372"/>
                  </a:lnTo>
                  <a:lnTo>
                    <a:pt x="1224" y="372"/>
                  </a:lnTo>
                  <a:lnTo>
                    <a:pt x="1223" y="373"/>
                  </a:lnTo>
                  <a:lnTo>
                    <a:pt x="1218" y="375"/>
                  </a:lnTo>
                  <a:lnTo>
                    <a:pt x="1215" y="376"/>
                  </a:lnTo>
                  <a:lnTo>
                    <a:pt x="1212" y="378"/>
                  </a:lnTo>
                  <a:lnTo>
                    <a:pt x="1210" y="379"/>
                  </a:lnTo>
                  <a:lnTo>
                    <a:pt x="1212" y="382"/>
                  </a:lnTo>
                  <a:lnTo>
                    <a:pt x="1212" y="384"/>
                  </a:lnTo>
                  <a:lnTo>
                    <a:pt x="1214" y="387"/>
                  </a:lnTo>
                  <a:lnTo>
                    <a:pt x="1215" y="390"/>
                  </a:lnTo>
                  <a:lnTo>
                    <a:pt x="1219" y="390"/>
                  </a:lnTo>
                  <a:lnTo>
                    <a:pt x="1218" y="393"/>
                  </a:lnTo>
                  <a:lnTo>
                    <a:pt x="1220" y="395"/>
                  </a:lnTo>
                  <a:lnTo>
                    <a:pt x="1218" y="397"/>
                  </a:lnTo>
                  <a:lnTo>
                    <a:pt x="1220" y="405"/>
                  </a:lnTo>
                  <a:lnTo>
                    <a:pt x="1220" y="408"/>
                  </a:lnTo>
                  <a:lnTo>
                    <a:pt x="1221" y="410"/>
                  </a:lnTo>
                  <a:lnTo>
                    <a:pt x="1220" y="412"/>
                  </a:lnTo>
                  <a:lnTo>
                    <a:pt x="1221" y="415"/>
                  </a:lnTo>
                  <a:lnTo>
                    <a:pt x="1223" y="417"/>
                  </a:lnTo>
                  <a:lnTo>
                    <a:pt x="1224" y="418"/>
                  </a:lnTo>
                  <a:lnTo>
                    <a:pt x="1226" y="422"/>
                  </a:lnTo>
                  <a:lnTo>
                    <a:pt x="1227" y="424"/>
                  </a:lnTo>
                  <a:lnTo>
                    <a:pt x="1224" y="425"/>
                  </a:lnTo>
                  <a:lnTo>
                    <a:pt x="1219" y="433"/>
                  </a:lnTo>
                  <a:lnTo>
                    <a:pt x="1223" y="438"/>
                  </a:lnTo>
                  <a:lnTo>
                    <a:pt x="1220" y="441"/>
                  </a:lnTo>
                  <a:lnTo>
                    <a:pt x="1221" y="443"/>
                  </a:lnTo>
                  <a:lnTo>
                    <a:pt x="1220" y="443"/>
                  </a:lnTo>
                  <a:lnTo>
                    <a:pt x="1219" y="438"/>
                  </a:lnTo>
                  <a:lnTo>
                    <a:pt x="1213" y="435"/>
                  </a:lnTo>
                  <a:lnTo>
                    <a:pt x="1211" y="439"/>
                  </a:lnTo>
                  <a:lnTo>
                    <a:pt x="1211" y="439"/>
                  </a:lnTo>
                  <a:lnTo>
                    <a:pt x="1210" y="441"/>
                  </a:lnTo>
                  <a:lnTo>
                    <a:pt x="1209" y="444"/>
                  </a:lnTo>
                  <a:lnTo>
                    <a:pt x="1213" y="449"/>
                  </a:lnTo>
                  <a:lnTo>
                    <a:pt x="1214" y="451"/>
                  </a:lnTo>
                  <a:lnTo>
                    <a:pt x="1212" y="448"/>
                  </a:lnTo>
                  <a:lnTo>
                    <a:pt x="1205" y="442"/>
                  </a:lnTo>
                  <a:lnTo>
                    <a:pt x="1200" y="441"/>
                  </a:lnTo>
                  <a:lnTo>
                    <a:pt x="1196" y="443"/>
                  </a:lnTo>
                  <a:lnTo>
                    <a:pt x="1192" y="445"/>
                  </a:lnTo>
                  <a:lnTo>
                    <a:pt x="1196" y="441"/>
                  </a:lnTo>
                  <a:lnTo>
                    <a:pt x="1200" y="440"/>
                  </a:lnTo>
                  <a:lnTo>
                    <a:pt x="1198" y="438"/>
                  </a:lnTo>
                  <a:lnTo>
                    <a:pt x="1195" y="432"/>
                  </a:lnTo>
                  <a:lnTo>
                    <a:pt x="1193" y="430"/>
                  </a:lnTo>
                  <a:lnTo>
                    <a:pt x="1191" y="427"/>
                  </a:lnTo>
                  <a:lnTo>
                    <a:pt x="1187" y="427"/>
                  </a:lnTo>
                  <a:lnTo>
                    <a:pt x="1185" y="424"/>
                  </a:lnTo>
                  <a:lnTo>
                    <a:pt x="1181" y="424"/>
                  </a:lnTo>
                  <a:lnTo>
                    <a:pt x="1179" y="425"/>
                  </a:lnTo>
                  <a:lnTo>
                    <a:pt x="1179" y="424"/>
                  </a:lnTo>
                  <a:lnTo>
                    <a:pt x="1185" y="423"/>
                  </a:lnTo>
                  <a:lnTo>
                    <a:pt x="1184" y="419"/>
                  </a:lnTo>
                  <a:lnTo>
                    <a:pt x="1176" y="412"/>
                  </a:lnTo>
                  <a:lnTo>
                    <a:pt x="1174" y="410"/>
                  </a:lnTo>
                  <a:lnTo>
                    <a:pt x="1175" y="406"/>
                  </a:lnTo>
                  <a:lnTo>
                    <a:pt x="1176" y="404"/>
                  </a:lnTo>
                  <a:lnTo>
                    <a:pt x="1175" y="401"/>
                  </a:lnTo>
                  <a:lnTo>
                    <a:pt x="1175" y="398"/>
                  </a:lnTo>
                  <a:lnTo>
                    <a:pt x="1176" y="396"/>
                  </a:lnTo>
                  <a:lnTo>
                    <a:pt x="1176" y="392"/>
                  </a:lnTo>
                  <a:lnTo>
                    <a:pt x="1174" y="390"/>
                  </a:lnTo>
                  <a:lnTo>
                    <a:pt x="1172" y="387"/>
                  </a:lnTo>
                  <a:lnTo>
                    <a:pt x="1172" y="384"/>
                  </a:lnTo>
                  <a:lnTo>
                    <a:pt x="1175" y="376"/>
                  </a:lnTo>
                  <a:lnTo>
                    <a:pt x="1174" y="370"/>
                  </a:lnTo>
                  <a:lnTo>
                    <a:pt x="1168" y="370"/>
                  </a:lnTo>
                  <a:lnTo>
                    <a:pt x="1166" y="370"/>
                  </a:lnTo>
                  <a:lnTo>
                    <a:pt x="1164" y="371"/>
                  </a:lnTo>
                  <a:lnTo>
                    <a:pt x="1162" y="368"/>
                  </a:lnTo>
                  <a:lnTo>
                    <a:pt x="1157" y="367"/>
                  </a:lnTo>
                  <a:lnTo>
                    <a:pt x="1154" y="368"/>
                  </a:lnTo>
                  <a:lnTo>
                    <a:pt x="1151" y="366"/>
                  </a:lnTo>
                  <a:lnTo>
                    <a:pt x="1149" y="367"/>
                  </a:lnTo>
                  <a:lnTo>
                    <a:pt x="1146" y="366"/>
                  </a:lnTo>
                  <a:lnTo>
                    <a:pt x="1143" y="367"/>
                  </a:lnTo>
                  <a:lnTo>
                    <a:pt x="1135" y="367"/>
                  </a:lnTo>
                  <a:lnTo>
                    <a:pt x="1133" y="370"/>
                  </a:lnTo>
                  <a:lnTo>
                    <a:pt x="1130" y="373"/>
                  </a:lnTo>
                  <a:lnTo>
                    <a:pt x="1132" y="371"/>
                  </a:lnTo>
                  <a:lnTo>
                    <a:pt x="1134" y="367"/>
                  </a:lnTo>
                  <a:lnTo>
                    <a:pt x="1133" y="365"/>
                  </a:lnTo>
                  <a:lnTo>
                    <a:pt x="1129" y="363"/>
                  </a:lnTo>
                  <a:lnTo>
                    <a:pt x="1127" y="361"/>
                  </a:lnTo>
                  <a:lnTo>
                    <a:pt x="1125" y="359"/>
                  </a:lnTo>
                  <a:lnTo>
                    <a:pt x="1121" y="359"/>
                  </a:lnTo>
                  <a:lnTo>
                    <a:pt x="1119" y="358"/>
                  </a:lnTo>
                  <a:lnTo>
                    <a:pt x="1116" y="357"/>
                  </a:lnTo>
                  <a:lnTo>
                    <a:pt x="1111" y="355"/>
                  </a:lnTo>
                  <a:lnTo>
                    <a:pt x="1106" y="354"/>
                  </a:lnTo>
                  <a:lnTo>
                    <a:pt x="1102" y="353"/>
                  </a:lnTo>
                  <a:lnTo>
                    <a:pt x="1101" y="354"/>
                  </a:lnTo>
                  <a:lnTo>
                    <a:pt x="1100" y="350"/>
                  </a:lnTo>
                  <a:lnTo>
                    <a:pt x="1095" y="345"/>
                  </a:lnTo>
                  <a:lnTo>
                    <a:pt x="1090" y="342"/>
                  </a:lnTo>
                  <a:lnTo>
                    <a:pt x="1085" y="338"/>
                  </a:lnTo>
                  <a:lnTo>
                    <a:pt x="1082" y="337"/>
                  </a:lnTo>
                  <a:lnTo>
                    <a:pt x="1076" y="336"/>
                  </a:lnTo>
                  <a:lnTo>
                    <a:pt x="1068" y="333"/>
                  </a:lnTo>
                  <a:lnTo>
                    <a:pt x="1060" y="330"/>
                  </a:lnTo>
                  <a:lnTo>
                    <a:pt x="1055" y="329"/>
                  </a:lnTo>
                  <a:lnTo>
                    <a:pt x="1039" y="333"/>
                  </a:lnTo>
                  <a:lnTo>
                    <a:pt x="1035" y="335"/>
                  </a:lnTo>
                  <a:lnTo>
                    <a:pt x="1034" y="336"/>
                  </a:lnTo>
                  <a:lnTo>
                    <a:pt x="1038" y="333"/>
                  </a:lnTo>
                  <a:lnTo>
                    <a:pt x="1034" y="333"/>
                  </a:lnTo>
                  <a:lnTo>
                    <a:pt x="1032" y="335"/>
                  </a:lnTo>
                  <a:lnTo>
                    <a:pt x="1029" y="336"/>
                  </a:lnTo>
                  <a:lnTo>
                    <a:pt x="1032" y="335"/>
                  </a:lnTo>
                  <a:lnTo>
                    <a:pt x="1033" y="331"/>
                  </a:lnTo>
                  <a:lnTo>
                    <a:pt x="1035" y="329"/>
                  </a:lnTo>
                  <a:lnTo>
                    <a:pt x="1034" y="327"/>
                  </a:lnTo>
                  <a:lnTo>
                    <a:pt x="1031" y="319"/>
                  </a:lnTo>
                  <a:lnTo>
                    <a:pt x="1030" y="313"/>
                  </a:lnTo>
                  <a:lnTo>
                    <a:pt x="1029" y="310"/>
                  </a:lnTo>
                  <a:lnTo>
                    <a:pt x="1025" y="304"/>
                  </a:lnTo>
                  <a:lnTo>
                    <a:pt x="1025" y="299"/>
                  </a:lnTo>
                  <a:lnTo>
                    <a:pt x="1022" y="301"/>
                  </a:lnTo>
                  <a:lnTo>
                    <a:pt x="1019" y="298"/>
                  </a:lnTo>
                  <a:lnTo>
                    <a:pt x="1012" y="299"/>
                  </a:lnTo>
                  <a:lnTo>
                    <a:pt x="1010" y="302"/>
                  </a:lnTo>
                  <a:lnTo>
                    <a:pt x="1010" y="307"/>
                  </a:lnTo>
                  <a:lnTo>
                    <a:pt x="1008" y="310"/>
                  </a:lnTo>
                  <a:lnTo>
                    <a:pt x="1010" y="299"/>
                  </a:lnTo>
                  <a:lnTo>
                    <a:pt x="1007" y="299"/>
                  </a:lnTo>
                  <a:lnTo>
                    <a:pt x="1004" y="295"/>
                  </a:lnTo>
                  <a:lnTo>
                    <a:pt x="1000" y="293"/>
                  </a:lnTo>
                  <a:lnTo>
                    <a:pt x="1002" y="293"/>
                  </a:lnTo>
                  <a:lnTo>
                    <a:pt x="1002" y="289"/>
                  </a:lnTo>
                  <a:lnTo>
                    <a:pt x="1005" y="287"/>
                  </a:lnTo>
                  <a:lnTo>
                    <a:pt x="1002" y="281"/>
                  </a:lnTo>
                  <a:lnTo>
                    <a:pt x="1002" y="279"/>
                  </a:lnTo>
                  <a:lnTo>
                    <a:pt x="1002" y="273"/>
                  </a:lnTo>
                  <a:lnTo>
                    <a:pt x="1004" y="271"/>
                  </a:lnTo>
                  <a:lnTo>
                    <a:pt x="1004" y="269"/>
                  </a:lnTo>
                  <a:lnTo>
                    <a:pt x="1005" y="265"/>
                  </a:lnTo>
                  <a:lnTo>
                    <a:pt x="1002" y="263"/>
                  </a:lnTo>
                  <a:lnTo>
                    <a:pt x="1004" y="263"/>
                  </a:lnTo>
                  <a:lnTo>
                    <a:pt x="1006" y="263"/>
                  </a:lnTo>
                  <a:lnTo>
                    <a:pt x="1008" y="256"/>
                  </a:lnTo>
                  <a:lnTo>
                    <a:pt x="1012" y="253"/>
                  </a:lnTo>
                  <a:lnTo>
                    <a:pt x="1013" y="251"/>
                  </a:lnTo>
                  <a:lnTo>
                    <a:pt x="1013" y="248"/>
                  </a:lnTo>
                  <a:lnTo>
                    <a:pt x="1012" y="246"/>
                  </a:lnTo>
                  <a:lnTo>
                    <a:pt x="1015" y="247"/>
                  </a:lnTo>
                  <a:lnTo>
                    <a:pt x="1014" y="245"/>
                  </a:lnTo>
                  <a:lnTo>
                    <a:pt x="1015" y="242"/>
                  </a:lnTo>
                  <a:lnTo>
                    <a:pt x="1018" y="241"/>
                  </a:lnTo>
                  <a:lnTo>
                    <a:pt x="1024" y="238"/>
                  </a:lnTo>
                  <a:lnTo>
                    <a:pt x="1022" y="236"/>
                  </a:lnTo>
                  <a:lnTo>
                    <a:pt x="1019" y="236"/>
                  </a:lnTo>
                  <a:lnTo>
                    <a:pt x="1022" y="235"/>
                  </a:lnTo>
                  <a:lnTo>
                    <a:pt x="1022" y="231"/>
                  </a:lnTo>
                  <a:lnTo>
                    <a:pt x="1025" y="231"/>
                  </a:lnTo>
                  <a:lnTo>
                    <a:pt x="1029" y="230"/>
                  </a:lnTo>
                  <a:lnTo>
                    <a:pt x="1030" y="227"/>
                  </a:lnTo>
                  <a:lnTo>
                    <a:pt x="1025" y="225"/>
                  </a:lnTo>
                  <a:lnTo>
                    <a:pt x="1030" y="226"/>
                  </a:lnTo>
                  <a:lnTo>
                    <a:pt x="1033" y="229"/>
                  </a:lnTo>
                  <a:lnTo>
                    <a:pt x="1033" y="226"/>
                  </a:lnTo>
                  <a:lnTo>
                    <a:pt x="1030" y="225"/>
                  </a:lnTo>
                  <a:lnTo>
                    <a:pt x="1033" y="222"/>
                  </a:lnTo>
                  <a:lnTo>
                    <a:pt x="1033" y="220"/>
                  </a:lnTo>
                  <a:lnTo>
                    <a:pt x="1035" y="221"/>
                  </a:lnTo>
                  <a:lnTo>
                    <a:pt x="1038" y="219"/>
                  </a:lnTo>
                  <a:lnTo>
                    <a:pt x="1040" y="221"/>
                  </a:lnTo>
                  <a:lnTo>
                    <a:pt x="1042" y="219"/>
                  </a:lnTo>
                  <a:lnTo>
                    <a:pt x="1039" y="218"/>
                  </a:lnTo>
                  <a:lnTo>
                    <a:pt x="1036" y="217"/>
                  </a:lnTo>
                  <a:lnTo>
                    <a:pt x="1035" y="214"/>
                  </a:lnTo>
                  <a:lnTo>
                    <a:pt x="1039" y="214"/>
                  </a:lnTo>
                  <a:lnTo>
                    <a:pt x="1041" y="214"/>
                  </a:lnTo>
                  <a:lnTo>
                    <a:pt x="1050" y="216"/>
                  </a:lnTo>
                  <a:lnTo>
                    <a:pt x="1052" y="213"/>
                  </a:lnTo>
                  <a:lnTo>
                    <a:pt x="1055" y="212"/>
                  </a:lnTo>
                  <a:lnTo>
                    <a:pt x="1058" y="212"/>
                  </a:lnTo>
                  <a:lnTo>
                    <a:pt x="1059" y="209"/>
                  </a:lnTo>
                  <a:lnTo>
                    <a:pt x="1059" y="207"/>
                  </a:lnTo>
                  <a:lnTo>
                    <a:pt x="1058" y="204"/>
                  </a:lnTo>
                  <a:lnTo>
                    <a:pt x="1052" y="201"/>
                  </a:lnTo>
                  <a:lnTo>
                    <a:pt x="1050" y="201"/>
                  </a:lnTo>
                  <a:lnTo>
                    <a:pt x="1047" y="199"/>
                  </a:lnTo>
                  <a:lnTo>
                    <a:pt x="1044" y="196"/>
                  </a:lnTo>
                  <a:lnTo>
                    <a:pt x="1042" y="196"/>
                  </a:lnTo>
                  <a:lnTo>
                    <a:pt x="1036" y="199"/>
                  </a:lnTo>
                  <a:lnTo>
                    <a:pt x="1033" y="199"/>
                  </a:lnTo>
                  <a:lnTo>
                    <a:pt x="1036" y="196"/>
                  </a:lnTo>
                  <a:lnTo>
                    <a:pt x="1039" y="196"/>
                  </a:lnTo>
                  <a:lnTo>
                    <a:pt x="1036" y="195"/>
                  </a:lnTo>
                  <a:lnTo>
                    <a:pt x="1033" y="193"/>
                  </a:lnTo>
                  <a:lnTo>
                    <a:pt x="1031" y="193"/>
                  </a:lnTo>
                  <a:lnTo>
                    <a:pt x="1029" y="193"/>
                  </a:lnTo>
                  <a:lnTo>
                    <a:pt x="1022" y="190"/>
                  </a:lnTo>
                  <a:lnTo>
                    <a:pt x="1023" y="193"/>
                  </a:lnTo>
                  <a:lnTo>
                    <a:pt x="1021" y="193"/>
                  </a:lnTo>
                  <a:lnTo>
                    <a:pt x="1016" y="191"/>
                  </a:lnTo>
                  <a:lnTo>
                    <a:pt x="1016" y="190"/>
                  </a:lnTo>
                  <a:lnTo>
                    <a:pt x="1019" y="190"/>
                  </a:lnTo>
                  <a:lnTo>
                    <a:pt x="1016" y="185"/>
                  </a:lnTo>
                  <a:lnTo>
                    <a:pt x="1019" y="187"/>
                  </a:lnTo>
                  <a:lnTo>
                    <a:pt x="1022" y="190"/>
                  </a:lnTo>
                  <a:lnTo>
                    <a:pt x="1031" y="192"/>
                  </a:lnTo>
                  <a:lnTo>
                    <a:pt x="1035" y="194"/>
                  </a:lnTo>
                  <a:lnTo>
                    <a:pt x="1039" y="195"/>
                  </a:lnTo>
                  <a:lnTo>
                    <a:pt x="1041" y="193"/>
                  </a:lnTo>
                  <a:lnTo>
                    <a:pt x="1044" y="195"/>
                  </a:lnTo>
                  <a:lnTo>
                    <a:pt x="1049" y="195"/>
                  </a:lnTo>
                  <a:lnTo>
                    <a:pt x="1051" y="197"/>
                  </a:lnTo>
                  <a:lnTo>
                    <a:pt x="1057" y="199"/>
                  </a:lnTo>
                  <a:lnTo>
                    <a:pt x="1063" y="196"/>
                  </a:lnTo>
                  <a:lnTo>
                    <a:pt x="1065" y="197"/>
                  </a:lnTo>
                  <a:lnTo>
                    <a:pt x="1068" y="194"/>
                  </a:lnTo>
                  <a:lnTo>
                    <a:pt x="1068" y="193"/>
                  </a:lnTo>
                  <a:lnTo>
                    <a:pt x="1066" y="190"/>
                  </a:lnTo>
                  <a:lnTo>
                    <a:pt x="1068" y="190"/>
                  </a:lnTo>
                  <a:lnTo>
                    <a:pt x="1069" y="187"/>
                  </a:lnTo>
                  <a:lnTo>
                    <a:pt x="1067" y="186"/>
                  </a:lnTo>
                  <a:lnTo>
                    <a:pt x="1068" y="186"/>
                  </a:lnTo>
                  <a:lnTo>
                    <a:pt x="1070" y="185"/>
                  </a:lnTo>
                  <a:lnTo>
                    <a:pt x="1072" y="187"/>
                  </a:lnTo>
                  <a:lnTo>
                    <a:pt x="1074" y="190"/>
                  </a:lnTo>
                  <a:lnTo>
                    <a:pt x="1075" y="191"/>
                  </a:lnTo>
                  <a:lnTo>
                    <a:pt x="1074" y="188"/>
                  </a:lnTo>
                  <a:lnTo>
                    <a:pt x="1077" y="188"/>
                  </a:lnTo>
                  <a:lnTo>
                    <a:pt x="1079" y="190"/>
                  </a:lnTo>
                  <a:lnTo>
                    <a:pt x="1078" y="187"/>
                  </a:lnTo>
                  <a:lnTo>
                    <a:pt x="1082" y="188"/>
                  </a:lnTo>
                  <a:lnTo>
                    <a:pt x="1084" y="190"/>
                  </a:lnTo>
                  <a:lnTo>
                    <a:pt x="1087" y="190"/>
                  </a:lnTo>
                  <a:lnTo>
                    <a:pt x="1095" y="185"/>
                  </a:lnTo>
                  <a:lnTo>
                    <a:pt x="1098" y="179"/>
                  </a:lnTo>
                  <a:lnTo>
                    <a:pt x="1102" y="176"/>
                  </a:lnTo>
                  <a:lnTo>
                    <a:pt x="1103" y="173"/>
                  </a:lnTo>
                  <a:lnTo>
                    <a:pt x="1108" y="168"/>
                  </a:lnTo>
                  <a:lnTo>
                    <a:pt x="1109" y="166"/>
                  </a:lnTo>
                  <a:lnTo>
                    <a:pt x="1109" y="162"/>
                  </a:lnTo>
                  <a:lnTo>
                    <a:pt x="1106" y="161"/>
                  </a:lnTo>
                  <a:lnTo>
                    <a:pt x="1103" y="161"/>
                  </a:lnTo>
                  <a:lnTo>
                    <a:pt x="1100" y="161"/>
                  </a:lnTo>
                  <a:lnTo>
                    <a:pt x="1094" y="161"/>
                  </a:lnTo>
                  <a:lnTo>
                    <a:pt x="1086" y="160"/>
                  </a:lnTo>
                  <a:lnTo>
                    <a:pt x="1082" y="160"/>
                  </a:lnTo>
                  <a:lnTo>
                    <a:pt x="1078" y="158"/>
                  </a:lnTo>
                  <a:lnTo>
                    <a:pt x="1076" y="156"/>
                  </a:lnTo>
                  <a:lnTo>
                    <a:pt x="1074" y="153"/>
                  </a:lnTo>
                  <a:lnTo>
                    <a:pt x="1070" y="151"/>
                  </a:lnTo>
                  <a:lnTo>
                    <a:pt x="1068" y="149"/>
                  </a:lnTo>
                  <a:lnTo>
                    <a:pt x="1060" y="148"/>
                  </a:lnTo>
                  <a:lnTo>
                    <a:pt x="1055" y="147"/>
                  </a:lnTo>
                  <a:lnTo>
                    <a:pt x="1051" y="148"/>
                  </a:lnTo>
                  <a:lnTo>
                    <a:pt x="1049" y="147"/>
                  </a:lnTo>
                  <a:lnTo>
                    <a:pt x="1055" y="147"/>
                  </a:lnTo>
                  <a:lnTo>
                    <a:pt x="1060" y="148"/>
                  </a:lnTo>
                  <a:lnTo>
                    <a:pt x="1063" y="147"/>
                  </a:lnTo>
                  <a:lnTo>
                    <a:pt x="1066" y="148"/>
                  </a:lnTo>
                  <a:lnTo>
                    <a:pt x="1068" y="148"/>
                  </a:lnTo>
                  <a:lnTo>
                    <a:pt x="1070" y="149"/>
                  </a:lnTo>
                  <a:lnTo>
                    <a:pt x="1068" y="147"/>
                  </a:lnTo>
                  <a:lnTo>
                    <a:pt x="1074" y="147"/>
                  </a:lnTo>
                  <a:lnTo>
                    <a:pt x="1082" y="151"/>
                  </a:lnTo>
                  <a:lnTo>
                    <a:pt x="1090" y="153"/>
                  </a:lnTo>
                  <a:lnTo>
                    <a:pt x="1084" y="153"/>
                  </a:lnTo>
                  <a:lnTo>
                    <a:pt x="1090" y="156"/>
                  </a:lnTo>
                  <a:lnTo>
                    <a:pt x="1092" y="158"/>
                  </a:lnTo>
                  <a:lnTo>
                    <a:pt x="1095" y="159"/>
                  </a:lnTo>
                  <a:lnTo>
                    <a:pt x="1098" y="160"/>
                  </a:lnTo>
                  <a:lnTo>
                    <a:pt x="1103" y="160"/>
                  </a:lnTo>
                  <a:lnTo>
                    <a:pt x="1106" y="159"/>
                  </a:lnTo>
                  <a:lnTo>
                    <a:pt x="1108" y="157"/>
                  </a:lnTo>
                  <a:lnTo>
                    <a:pt x="1116" y="151"/>
                  </a:lnTo>
                  <a:lnTo>
                    <a:pt x="1117" y="150"/>
                  </a:lnTo>
                  <a:lnTo>
                    <a:pt x="1117" y="149"/>
                  </a:lnTo>
                  <a:lnTo>
                    <a:pt x="1121" y="145"/>
                  </a:lnTo>
                  <a:lnTo>
                    <a:pt x="1123" y="142"/>
                  </a:lnTo>
                  <a:lnTo>
                    <a:pt x="1123" y="140"/>
                  </a:lnTo>
                  <a:lnTo>
                    <a:pt x="1119" y="139"/>
                  </a:lnTo>
                  <a:lnTo>
                    <a:pt x="1118" y="139"/>
                  </a:lnTo>
                  <a:lnTo>
                    <a:pt x="1113" y="137"/>
                  </a:lnTo>
                  <a:lnTo>
                    <a:pt x="1113" y="134"/>
                  </a:lnTo>
                  <a:lnTo>
                    <a:pt x="1116" y="133"/>
                  </a:lnTo>
                  <a:lnTo>
                    <a:pt x="1119" y="133"/>
                  </a:lnTo>
                  <a:lnTo>
                    <a:pt x="1121" y="133"/>
                  </a:lnTo>
                  <a:lnTo>
                    <a:pt x="1125" y="133"/>
                  </a:lnTo>
                  <a:lnTo>
                    <a:pt x="1127" y="133"/>
                  </a:lnTo>
                  <a:lnTo>
                    <a:pt x="1129" y="132"/>
                  </a:lnTo>
                  <a:lnTo>
                    <a:pt x="1132" y="134"/>
                  </a:lnTo>
                  <a:lnTo>
                    <a:pt x="1133" y="136"/>
                  </a:lnTo>
                  <a:lnTo>
                    <a:pt x="1137" y="139"/>
                  </a:lnTo>
                  <a:lnTo>
                    <a:pt x="1137" y="139"/>
                  </a:lnTo>
                  <a:lnTo>
                    <a:pt x="1138" y="139"/>
                  </a:lnTo>
                  <a:lnTo>
                    <a:pt x="1141" y="140"/>
                  </a:lnTo>
                  <a:lnTo>
                    <a:pt x="1144" y="141"/>
                  </a:lnTo>
                  <a:lnTo>
                    <a:pt x="1143" y="139"/>
                  </a:lnTo>
                  <a:lnTo>
                    <a:pt x="1143" y="135"/>
                  </a:lnTo>
                  <a:lnTo>
                    <a:pt x="1145" y="139"/>
                  </a:lnTo>
                  <a:lnTo>
                    <a:pt x="1147" y="137"/>
                  </a:lnTo>
                  <a:lnTo>
                    <a:pt x="1151" y="140"/>
                  </a:lnTo>
                  <a:lnTo>
                    <a:pt x="1153" y="141"/>
                  </a:lnTo>
                  <a:lnTo>
                    <a:pt x="1153" y="139"/>
                  </a:lnTo>
                  <a:lnTo>
                    <a:pt x="1153" y="137"/>
                  </a:lnTo>
                  <a:lnTo>
                    <a:pt x="1152" y="135"/>
                  </a:lnTo>
                  <a:lnTo>
                    <a:pt x="1150" y="133"/>
                  </a:lnTo>
                  <a:lnTo>
                    <a:pt x="1149" y="130"/>
                  </a:lnTo>
                  <a:lnTo>
                    <a:pt x="1146" y="130"/>
                  </a:lnTo>
                  <a:lnTo>
                    <a:pt x="1143" y="126"/>
                  </a:lnTo>
                  <a:lnTo>
                    <a:pt x="1141" y="125"/>
                  </a:lnTo>
                  <a:lnTo>
                    <a:pt x="1137" y="124"/>
                  </a:lnTo>
                  <a:lnTo>
                    <a:pt x="1135" y="126"/>
                  </a:lnTo>
                  <a:lnTo>
                    <a:pt x="1136" y="123"/>
                  </a:lnTo>
                  <a:lnTo>
                    <a:pt x="1137" y="123"/>
                  </a:lnTo>
                  <a:lnTo>
                    <a:pt x="1137" y="123"/>
                  </a:lnTo>
                  <a:lnTo>
                    <a:pt x="1141" y="123"/>
                  </a:lnTo>
                  <a:lnTo>
                    <a:pt x="1138" y="123"/>
                  </a:lnTo>
                  <a:lnTo>
                    <a:pt x="1142" y="122"/>
                  </a:lnTo>
                  <a:lnTo>
                    <a:pt x="1144" y="123"/>
                  </a:lnTo>
                  <a:lnTo>
                    <a:pt x="1142" y="123"/>
                  </a:lnTo>
                  <a:lnTo>
                    <a:pt x="1145" y="124"/>
                  </a:lnTo>
                  <a:lnTo>
                    <a:pt x="1145" y="126"/>
                  </a:lnTo>
                  <a:lnTo>
                    <a:pt x="1147" y="128"/>
                  </a:lnTo>
                  <a:lnTo>
                    <a:pt x="1151" y="127"/>
                  </a:lnTo>
                  <a:lnTo>
                    <a:pt x="1152" y="130"/>
                  </a:lnTo>
                  <a:lnTo>
                    <a:pt x="1152" y="132"/>
                  </a:lnTo>
                  <a:lnTo>
                    <a:pt x="1154" y="133"/>
                  </a:lnTo>
                  <a:lnTo>
                    <a:pt x="1157" y="135"/>
                  </a:lnTo>
                  <a:lnTo>
                    <a:pt x="1160" y="136"/>
                  </a:lnTo>
                  <a:lnTo>
                    <a:pt x="1162" y="135"/>
                  </a:lnTo>
                  <a:lnTo>
                    <a:pt x="1164" y="132"/>
                  </a:lnTo>
                  <a:lnTo>
                    <a:pt x="1168" y="132"/>
                  </a:lnTo>
                  <a:lnTo>
                    <a:pt x="1170" y="131"/>
                  </a:lnTo>
                  <a:lnTo>
                    <a:pt x="1172" y="128"/>
                  </a:lnTo>
                  <a:lnTo>
                    <a:pt x="1176" y="128"/>
                  </a:lnTo>
                  <a:lnTo>
                    <a:pt x="1177" y="126"/>
                  </a:lnTo>
                  <a:lnTo>
                    <a:pt x="1178" y="123"/>
                  </a:lnTo>
                  <a:lnTo>
                    <a:pt x="1180" y="122"/>
                  </a:lnTo>
                  <a:lnTo>
                    <a:pt x="1184" y="122"/>
                  </a:lnTo>
                  <a:lnTo>
                    <a:pt x="1186" y="119"/>
                  </a:lnTo>
                  <a:lnTo>
                    <a:pt x="1186" y="116"/>
                  </a:lnTo>
                  <a:lnTo>
                    <a:pt x="1187" y="114"/>
                  </a:lnTo>
                  <a:lnTo>
                    <a:pt x="1188" y="110"/>
                  </a:lnTo>
                  <a:lnTo>
                    <a:pt x="1186" y="108"/>
                  </a:lnTo>
                  <a:lnTo>
                    <a:pt x="1183" y="107"/>
                  </a:lnTo>
                  <a:lnTo>
                    <a:pt x="1180" y="105"/>
                  </a:lnTo>
                  <a:lnTo>
                    <a:pt x="1178" y="101"/>
                  </a:lnTo>
                  <a:lnTo>
                    <a:pt x="1176" y="99"/>
                  </a:lnTo>
                  <a:lnTo>
                    <a:pt x="1176" y="97"/>
                  </a:lnTo>
                  <a:lnTo>
                    <a:pt x="1177" y="93"/>
                  </a:lnTo>
                  <a:lnTo>
                    <a:pt x="1175" y="96"/>
                  </a:lnTo>
                  <a:lnTo>
                    <a:pt x="1174" y="93"/>
                  </a:lnTo>
                  <a:lnTo>
                    <a:pt x="1171" y="92"/>
                  </a:lnTo>
                  <a:lnTo>
                    <a:pt x="1171" y="89"/>
                  </a:lnTo>
                  <a:lnTo>
                    <a:pt x="1169" y="89"/>
                  </a:lnTo>
                  <a:lnTo>
                    <a:pt x="1169" y="87"/>
                  </a:lnTo>
                  <a:lnTo>
                    <a:pt x="1172" y="88"/>
                  </a:lnTo>
                  <a:lnTo>
                    <a:pt x="1175" y="88"/>
                  </a:lnTo>
                  <a:lnTo>
                    <a:pt x="1178" y="89"/>
                  </a:lnTo>
                  <a:lnTo>
                    <a:pt x="1178" y="89"/>
                  </a:lnTo>
                  <a:lnTo>
                    <a:pt x="1181" y="87"/>
                  </a:lnTo>
                  <a:lnTo>
                    <a:pt x="1184" y="87"/>
                  </a:lnTo>
                  <a:lnTo>
                    <a:pt x="1186" y="84"/>
                  </a:lnTo>
                  <a:lnTo>
                    <a:pt x="1188" y="82"/>
                  </a:lnTo>
                  <a:lnTo>
                    <a:pt x="1187" y="79"/>
                  </a:lnTo>
                  <a:lnTo>
                    <a:pt x="1185" y="79"/>
                  </a:lnTo>
                  <a:lnTo>
                    <a:pt x="1181" y="77"/>
                  </a:lnTo>
                  <a:lnTo>
                    <a:pt x="1179" y="77"/>
                  </a:lnTo>
                  <a:lnTo>
                    <a:pt x="1181" y="76"/>
                  </a:lnTo>
                  <a:lnTo>
                    <a:pt x="1184" y="74"/>
                  </a:lnTo>
                  <a:lnTo>
                    <a:pt x="1187" y="73"/>
                  </a:lnTo>
                  <a:lnTo>
                    <a:pt x="1186" y="70"/>
                  </a:lnTo>
                  <a:lnTo>
                    <a:pt x="1184" y="70"/>
                  </a:lnTo>
                  <a:lnTo>
                    <a:pt x="1180" y="68"/>
                  </a:lnTo>
                  <a:lnTo>
                    <a:pt x="1178" y="68"/>
                  </a:lnTo>
                  <a:lnTo>
                    <a:pt x="1175" y="70"/>
                  </a:lnTo>
                  <a:lnTo>
                    <a:pt x="1174" y="66"/>
                  </a:lnTo>
                  <a:lnTo>
                    <a:pt x="1171" y="64"/>
                  </a:lnTo>
                  <a:lnTo>
                    <a:pt x="1170" y="64"/>
                  </a:lnTo>
                  <a:lnTo>
                    <a:pt x="1167" y="63"/>
                  </a:lnTo>
                  <a:lnTo>
                    <a:pt x="1164" y="63"/>
                  </a:lnTo>
                  <a:lnTo>
                    <a:pt x="1161" y="62"/>
                  </a:lnTo>
                  <a:lnTo>
                    <a:pt x="1164" y="62"/>
                  </a:lnTo>
                  <a:lnTo>
                    <a:pt x="1167" y="63"/>
                  </a:lnTo>
                  <a:lnTo>
                    <a:pt x="1170" y="63"/>
                  </a:lnTo>
                  <a:lnTo>
                    <a:pt x="1169" y="60"/>
                  </a:lnTo>
                  <a:lnTo>
                    <a:pt x="1171" y="59"/>
                  </a:lnTo>
                  <a:lnTo>
                    <a:pt x="1175" y="59"/>
                  </a:lnTo>
                  <a:lnTo>
                    <a:pt x="1171" y="59"/>
                  </a:lnTo>
                  <a:lnTo>
                    <a:pt x="1169" y="58"/>
                  </a:lnTo>
                  <a:lnTo>
                    <a:pt x="1166" y="58"/>
                  </a:lnTo>
                  <a:lnTo>
                    <a:pt x="1163" y="58"/>
                  </a:lnTo>
                  <a:lnTo>
                    <a:pt x="1160" y="58"/>
                  </a:lnTo>
                  <a:lnTo>
                    <a:pt x="1158" y="58"/>
                  </a:lnTo>
                  <a:lnTo>
                    <a:pt x="1155" y="58"/>
                  </a:lnTo>
                  <a:lnTo>
                    <a:pt x="1152" y="57"/>
                  </a:lnTo>
                  <a:lnTo>
                    <a:pt x="1146" y="55"/>
                  </a:lnTo>
                  <a:lnTo>
                    <a:pt x="1144" y="54"/>
                  </a:lnTo>
                  <a:lnTo>
                    <a:pt x="1141" y="55"/>
                  </a:lnTo>
                  <a:lnTo>
                    <a:pt x="1138" y="54"/>
                  </a:lnTo>
                  <a:lnTo>
                    <a:pt x="1135" y="56"/>
                  </a:lnTo>
                  <a:lnTo>
                    <a:pt x="1133" y="55"/>
                  </a:lnTo>
                  <a:lnTo>
                    <a:pt x="1129" y="54"/>
                  </a:lnTo>
                  <a:lnTo>
                    <a:pt x="1128" y="55"/>
                  </a:lnTo>
                  <a:lnTo>
                    <a:pt x="1132" y="55"/>
                  </a:lnTo>
                  <a:lnTo>
                    <a:pt x="1130" y="57"/>
                  </a:lnTo>
                  <a:lnTo>
                    <a:pt x="1130" y="60"/>
                  </a:lnTo>
                  <a:lnTo>
                    <a:pt x="1129" y="63"/>
                  </a:lnTo>
                  <a:lnTo>
                    <a:pt x="1130" y="66"/>
                  </a:lnTo>
                  <a:lnTo>
                    <a:pt x="1130" y="68"/>
                  </a:lnTo>
                  <a:lnTo>
                    <a:pt x="1134" y="71"/>
                  </a:lnTo>
                  <a:lnTo>
                    <a:pt x="1136" y="71"/>
                  </a:lnTo>
                  <a:lnTo>
                    <a:pt x="1138" y="73"/>
                  </a:lnTo>
                  <a:lnTo>
                    <a:pt x="1142" y="74"/>
                  </a:lnTo>
                  <a:lnTo>
                    <a:pt x="1138" y="74"/>
                  </a:lnTo>
                  <a:lnTo>
                    <a:pt x="1137" y="75"/>
                  </a:lnTo>
                  <a:lnTo>
                    <a:pt x="1140" y="76"/>
                  </a:lnTo>
                  <a:lnTo>
                    <a:pt x="1137" y="76"/>
                  </a:lnTo>
                  <a:lnTo>
                    <a:pt x="1134" y="77"/>
                  </a:lnTo>
                  <a:lnTo>
                    <a:pt x="1137" y="80"/>
                  </a:lnTo>
                  <a:lnTo>
                    <a:pt x="1140" y="80"/>
                  </a:lnTo>
                  <a:lnTo>
                    <a:pt x="1137" y="81"/>
                  </a:lnTo>
                  <a:lnTo>
                    <a:pt x="1134" y="81"/>
                  </a:lnTo>
                  <a:lnTo>
                    <a:pt x="1133" y="81"/>
                  </a:lnTo>
                  <a:lnTo>
                    <a:pt x="1129" y="81"/>
                  </a:lnTo>
                  <a:lnTo>
                    <a:pt x="1126" y="84"/>
                  </a:lnTo>
                  <a:lnTo>
                    <a:pt x="1127" y="87"/>
                  </a:lnTo>
                  <a:lnTo>
                    <a:pt x="1127" y="90"/>
                  </a:lnTo>
                  <a:lnTo>
                    <a:pt x="1125" y="92"/>
                  </a:lnTo>
                  <a:lnTo>
                    <a:pt x="1125" y="94"/>
                  </a:lnTo>
                  <a:lnTo>
                    <a:pt x="1125" y="98"/>
                  </a:lnTo>
                  <a:lnTo>
                    <a:pt x="1121" y="99"/>
                  </a:lnTo>
                  <a:lnTo>
                    <a:pt x="1118" y="102"/>
                  </a:lnTo>
                  <a:lnTo>
                    <a:pt x="1116" y="106"/>
                  </a:lnTo>
                  <a:lnTo>
                    <a:pt x="1117" y="108"/>
                  </a:lnTo>
                  <a:lnTo>
                    <a:pt x="1117" y="111"/>
                  </a:lnTo>
                  <a:lnTo>
                    <a:pt x="1116" y="114"/>
                  </a:lnTo>
                  <a:lnTo>
                    <a:pt x="1113" y="113"/>
                  </a:lnTo>
                  <a:lnTo>
                    <a:pt x="1110" y="114"/>
                  </a:lnTo>
                  <a:lnTo>
                    <a:pt x="1109" y="116"/>
                  </a:lnTo>
                  <a:lnTo>
                    <a:pt x="1107" y="116"/>
                  </a:lnTo>
                  <a:lnTo>
                    <a:pt x="1106" y="119"/>
                  </a:lnTo>
                  <a:lnTo>
                    <a:pt x="1102" y="119"/>
                  </a:lnTo>
                  <a:lnTo>
                    <a:pt x="1103" y="117"/>
                  </a:lnTo>
                  <a:lnTo>
                    <a:pt x="1103" y="114"/>
                  </a:lnTo>
                  <a:lnTo>
                    <a:pt x="1100" y="111"/>
                  </a:lnTo>
                  <a:lnTo>
                    <a:pt x="1098" y="109"/>
                  </a:lnTo>
                  <a:lnTo>
                    <a:pt x="1094" y="107"/>
                  </a:lnTo>
                  <a:lnTo>
                    <a:pt x="1091" y="101"/>
                  </a:lnTo>
                  <a:lnTo>
                    <a:pt x="1091" y="99"/>
                  </a:lnTo>
                  <a:lnTo>
                    <a:pt x="1092" y="97"/>
                  </a:lnTo>
                  <a:lnTo>
                    <a:pt x="1091" y="93"/>
                  </a:lnTo>
                  <a:lnTo>
                    <a:pt x="1092" y="91"/>
                  </a:lnTo>
                  <a:lnTo>
                    <a:pt x="1094" y="93"/>
                  </a:lnTo>
                  <a:lnTo>
                    <a:pt x="1098" y="93"/>
                  </a:lnTo>
                  <a:lnTo>
                    <a:pt x="1098" y="92"/>
                  </a:lnTo>
                  <a:lnTo>
                    <a:pt x="1099" y="90"/>
                  </a:lnTo>
                  <a:lnTo>
                    <a:pt x="1096" y="84"/>
                  </a:lnTo>
                  <a:lnTo>
                    <a:pt x="1096" y="82"/>
                  </a:lnTo>
                  <a:lnTo>
                    <a:pt x="1094" y="79"/>
                  </a:lnTo>
                  <a:lnTo>
                    <a:pt x="1092" y="76"/>
                  </a:lnTo>
                  <a:lnTo>
                    <a:pt x="1086" y="73"/>
                  </a:lnTo>
                  <a:lnTo>
                    <a:pt x="1081" y="68"/>
                  </a:lnTo>
                  <a:lnTo>
                    <a:pt x="1078" y="68"/>
                  </a:lnTo>
                  <a:lnTo>
                    <a:pt x="1073" y="74"/>
                  </a:lnTo>
                  <a:lnTo>
                    <a:pt x="1072" y="76"/>
                  </a:lnTo>
                  <a:lnTo>
                    <a:pt x="1073" y="79"/>
                  </a:lnTo>
                  <a:lnTo>
                    <a:pt x="1072" y="82"/>
                  </a:lnTo>
                  <a:lnTo>
                    <a:pt x="1069" y="84"/>
                  </a:lnTo>
                  <a:lnTo>
                    <a:pt x="1070" y="85"/>
                  </a:lnTo>
                  <a:lnTo>
                    <a:pt x="1068" y="89"/>
                  </a:lnTo>
                  <a:lnTo>
                    <a:pt x="1068" y="90"/>
                  </a:lnTo>
                  <a:lnTo>
                    <a:pt x="1067" y="91"/>
                  </a:lnTo>
                  <a:lnTo>
                    <a:pt x="1064" y="92"/>
                  </a:lnTo>
                  <a:lnTo>
                    <a:pt x="1063" y="89"/>
                  </a:lnTo>
                  <a:lnTo>
                    <a:pt x="1060" y="84"/>
                  </a:lnTo>
                  <a:lnTo>
                    <a:pt x="1061" y="79"/>
                  </a:lnTo>
                  <a:lnTo>
                    <a:pt x="1059" y="73"/>
                  </a:lnTo>
                  <a:lnTo>
                    <a:pt x="1051" y="68"/>
                  </a:lnTo>
                  <a:lnTo>
                    <a:pt x="1053" y="67"/>
                  </a:lnTo>
                  <a:lnTo>
                    <a:pt x="1053" y="68"/>
                  </a:lnTo>
                  <a:lnTo>
                    <a:pt x="1056" y="68"/>
                  </a:lnTo>
                  <a:lnTo>
                    <a:pt x="1058" y="66"/>
                  </a:lnTo>
                  <a:lnTo>
                    <a:pt x="1060" y="65"/>
                  </a:lnTo>
                  <a:lnTo>
                    <a:pt x="1063" y="65"/>
                  </a:lnTo>
                  <a:lnTo>
                    <a:pt x="1060" y="63"/>
                  </a:lnTo>
                  <a:lnTo>
                    <a:pt x="1058" y="63"/>
                  </a:lnTo>
                  <a:lnTo>
                    <a:pt x="1052" y="62"/>
                  </a:lnTo>
                  <a:lnTo>
                    <a:pt x="1049" y="62"/>
                  </a:lnTo>
                  <a:lnTo>
                    <a:pt x="1052" y="60"/>
                  </a:lnTo>
                  <a:lnTo>
                    <a:pt x="1049" y="59"/>
                  </a:lnTo>
                  <a:lnTo>
                    <a:pt x="1047" y="60"/>
                  </a:lnTo>
                  <a:lnTo>
                    <a:pt x="1046" y="62"/>
                  </a:lnTo>
                  <a:lnTo>
                    <a:pt x="1042" y="63"/>
                  </a:lnTo>
                  <a:lnTo>
                    <a:pt x="1040" y="62"/>
                  </a:lnTo>
                  <a:lnTo>
                    <a:pt x="1034" y="58"/>
                  </a:lnTo>
                  <a:lnTo>
                    <a:pt x="1032" y="59"/>
                  </a:lnTo>
                  <a:lnTo>
                    <a:pt x="1029" y="59"/>
                  </a:lnTo>
                  <a:lnTo>
                    <a:pt x="1032" y="58"/>
                  </a:lnTo>
                  <a:lnTo>
                    <a:pt x="1030" y="58"/>
                  </a:lnTo>
                  <a:lnTo>
                    <a:pt x="1038" y="54"/>
                  </a:lnTo>
                  <a:lnTo>
                    <a:pt x="1040" y="51"/>
                  </a:lnTo>
                  <a:lnTo>
                    <a:pt x="1041" y="50"/>
                  </a:lnTo>
                  <a:lnTo>
                    <a:pt x="1038" y="49"/>
                  </a:lnTo>
                  <a:lnTo>
                    <a:pt x="1035" y="49"/>
                  </a:lnTo>
                  <a:lnTo>
                    <a:pt x="1036" y="46"/>
                  </a:lnTo>
                  <a:lnTo>
                    <a:pt x="1039" y="47"/>
                  </a:lnTo>
                  <a:lnTo>
                    <a:pt x="1042" y="48"/>
                  </a:lnTo>
                  <a:lnTo>
                    <a:pt x="1047" y="47"/>
                  </a:lnTo>
                  <a:lnTo>
                    <a:pt x="1043" y="41"/>
                  </a:lnTo>
                  <a:lnTo>
                    <a:pt x="1040" y="43"/>
                  </a:lnTo>
                  <a:lnTo>
                    <a:pt x="1040" y="40"/>
                  </a:lnTo>
                  <a:lnTo>
                    <a:pt x="1038" y="39"/>
                  </a:lnTo>
                  <a:lnTo>
                    <a:pt x="1039" y="36"/>
                  </a:lnTo>
                  <a:lnTo>
                    <a:pt x="1033" y="33"/>
                  </a:lnTo>
                  <a:lnTo>
                    <a:pt x="1030" y="31"/>
                  </a:lnTo>
                  <a:lnTo>
                    <a:pt x="1027" y="30"/>
                  </a:lnTo>
                  <a:lnTo>
                    <a:pt x="1029" y="26"/>
                  </a:lnTo>
                  <a:lnTo>
                    <a:pt x="1029" y="22"/>
                  </a:lnTo>
                  <a:lnTo>
                    <a:pt x="1029" y="19"/>
                  </a:lnTo>
                  <a:lnTo>
                    <a:pt x="1025" y="16"/>
                  </a:lnTo>
                  <a:lnTo>
                    <a:pt x="1024" y="14"/>
                  </a:lnTo>
                  <a:lnTo>
                    <a:pt x="1018" y="12"/>
                  </a:lnTo>
                  <a:lnTo>
                    <a:pt x="1017" y="8"/>
                  </a:lnTo>
                  <a:lnTo>
                    <a:pt x="1014" y="7"/>
                  </a:lnTo>
                  <a:lnTo>
                    <a:pt x="1012" y="7"/>
                  </a:lnTo>
                  <a:lnTo>
                    <a:pt x="1009" y="8"/>
                  </a:lnTo>
                  <a:lnTo>
                    <a:pt x="1008" y="5"/>
                  </a:lnTo>
                  <a:lnTo>
                    <a:pt x="1006" y="7"/>
                  </a:lnTo>
                  <a:lnTo>
                    <a:pt x="1006" y="5"/>
                  </a:lnTo>
                  <a:lnTo>
                    <a:pt x="1007" y="2"/>
                  </a:lnTo>
                  <a:lnTo>
                    <a:pt x="1004" y="0"/>
                  </a:lnTo>
                  <a:lnTo>
                    <a:pt x="998" y="2"/>
                  </a:lnTo>
                  <a:lnTo>
                    <a:pt x="997" y="5"/>
                  </a:lnTo>
                  <a:lnTo>
                    <a:pt x="1002" y="5"/>
                  </a:lnTo>
                  <a:lnTo>
                    <a:pt x="1005" y="4"/>
                  </a:lnTo>
                  <a:lnTo>
                    <a:pt x="1002" y="5"/>
                  </a:lnTo>
                  <a:lnTo>
                    <a:pt x="997" y="5"/>
                  </a:lnTo>
                  <a:lnTo>
                    <a:pt x="995" y="8"/>
                  </a:lnTo>
                  <a:lnTo>
                    <a:pt x="989" y="11"/>
                  </a:lnTo>
                  <a:lnTo>
                    <a:pt x="989" y="13"/>
                  </a:lnTo>
                  <a:lnTo>
                    <a:pt x="991" y="14"/>
                  </a:lnTo>
                  <a:lnTo>
                    <a:pt x="995" y="13"/>
                  </a:lnTo>
                  <a:lnTo>
                    <a:pt x="992" y="16"/>
                  </a:lnTo>
                  <a:lnTo>
                    <a:pt x="992" y="19"/>
                  </a:lnTo>
                  <a:lnTo>
                    <a:pt x="990" y="19"/>
                  </a:lnTo>
                  <a:lnTo>
                    <a:pt x="987" y="15"/>
                  </a:lnTo>
                  <a:lnTo>
                    <a:pt x="983" y="16"/>
                  </a:lnTo>
                  <a:lnTo>
                    <a:pt x="981" y="19"/>
                  </a:lnTo>
                  <a:lnTo>
                    <a:pt x="979" y="26"/>
                  </a:lnTo>
                  <a:lnTo>
                    <a:pt x="978" y="30"/>
                  </a:lnTo>
                  <a:lnTo>
                    <a:pt x="980" y="32"/>
                  </a:lnTo>
                  <a:lnTo>
                    <a:pt x="982" y="34"/>
                  </a:lnTo>
                  <a:lnTo>
                    <a:pt x="984" y="34"/>
                  </a:lnTo>
                  <a:lnTo>
                    <a:pt x="988" y="33"/>
                  </a:lnTo>
                  <a:lnTo>
                    <a:pt x="985" y="36"/>
                  </a:lnTo>
                  <a:lnTo>
                    <a:pt x="988" y="37"/>
                  </a:lnTo>
                  <a:lnTo>
                    <a:pt x="985" y="36"/>
                  </a:lnTo>
                  <a:lnTo>
                    <a:pt x="982" y="37"/>
                  </a:lnTo>
                  <a:lnTo>
                    <a:pt x="981" y="40"/>
                  </a:lnTo>
                  <a:lnTo>
                    <a:pt x="979" y="42"/>
                  </a:lnTo>
                  <a:lnTo>
                    <a:pt x="979" y="45"/>
                  </a:lnTo>
                  <a:lnTo>
                    <a:pt x="979" y="48"/>
                  </a:lnTo>
                  <a:lnTo>
                    <a:pt x="981" y="50"/>
                  </a:lnTo>
                  <a:lnTo>
                    <a:pt x="984" y="51"/>
                  </a:lnTo>
                  <a:lnTo>
                    <a:pt x="984" y="55"/>
                  </a:lnTo>
                  <a:lnTo>
                    <a:pt x="988" y="56"/>
                  </a:lnTo>
                  <a:lnTo>
                    <a:pt x="990" y="56"/>
                  </a:lnTo>
                  <a:lnTo>
                    <a:pt x="992" y="57"/>
                  </a:lnTo>
                  <a:lnTo>
                    <a:pt x="1001" y="60"/>
                  </a:lnTo>
                  <a:lnTo>
                    <a:pt x="1004" y="58"/>
                  </a:lnTo>
                  <a:lnTo>
                    <a:pt x="1007" y="62"/>
                  </a:lnTo>
                  <a:lnTo>
                    <a:pt x="1009" y="64"/>
                  </a:lnTo>
                  <a:lnTo>
                    <a:pt x="1015" y="65"/>
                  </a:lnTo>
                  <a:lnTo>
                    <a:pt x="1017" y="63"/>
                  </a:lnTo>
                  <a:lnTo>
                    <a:pt x="1021" y="63"/>
                  </a:lnTo>
                  <a:lnTo>
                    <a:pt x="1019" y="65"/>
                  </a:lnTo>
                  <a:lnTo>
                    <a:pt x="1022" y="66"/>
                  </a:lnTo>
                  <a:lnTo>
                    <a:pt x="1016" y="71"/>
                  </a:lnTo>
                  <a:lnTo>
                    <a:pt x="1016" y="67"/>
                  </a:lnTo>
                  <a:lnTo>
                    <a:pt x="1018" y="65"/>
                  </a:lnTo>
                  <a:lnTo>
                    <a:pt x="1016" y="66"/>
                  </a:lnTo>
                  <a:lnTo>
                    <a:pt x="1014" y="66"/>
                  </a:lnTo>
                  <a:lnTo>
                    <a:pt x="1010" y="67"/>
                  </a:lnTo>
                  <a:lnTo>
                    <a:pt x="1009" y="70"/>
                  </a:lnTo>
                  <a:lnTo>
                    <a:pt x="1012" y="72"/>
                  </a:lnTo>
                  <a:lnTo>
                    <a:pt x="1010" y="74"/>
                  </a:lnTo>
                  <a:lnTo>
                    <a:pt x="1008" y="76"/>
                  </a:lnTo>
                  <a:lnTo>
                    <a:pt x="1006" y="79"/>
                  </a:lnTo>
                  <a:lnTo>
                    <a:pt x="1006" y="82"/>
                  </a:lnTo>
                  <a:lnTo>
                    <a:pt x="1010" y="81"/>
                  </a:lnTo>
                  <a:lnTo>
                    <a:pt x="1016" y="77"/>
                  </a:lnTo>
                  <a:lnTo>
                    <a:pt x="1013" y="79"/>
                  </a:lnTo>
                  <a:lnTo>
                    <a:pt x="1014" y="76"/>
                  </a:lnTo>
                  <a:lnTo>
                    <a:pt x="1016" y="73"/>
                  </a:lnTo>
                  <a:lnTo>
                    <a:pt x="1018" y="76"/>
                  </a:lnTo>
                  <a:lnTo>
                    <a:pt x="1019" y="79"/>
                  </a:lnTo>
                  <a:lnTo>
                    <a:pt x="1017" y="84"/>
                  </a:lnTo>
                  <a:lnTo>
                    <a:pt x="1019" y="84"/>
                  </a:lnTo>
                  <a:lnTo>
                    <a:pt x="1019" y="85"/>
                  </a:lnTo>
                  <a:lnTo>
                    <a:pt x="1014" y="88"/>
                  </a:lnTo>
                  <a:lnTo>
                    <a:pt x="1012" y="89"/>
                  </a:lnTo>
                  <a:lnTo>
                    <a:pt x="1010" y="92"/>
                  </a:lnTo>
                  <a:lnTo>
                    <a:pt x="1006" y="94"/>
                  </a:lnTo>
                  <a:lnTo>
                    <a:pt x="1002" y="98"/>
                  </a:lnTo>
                  <a:lnTo>
                    <a:pt x="998" y="97"/>
                  </a:lnTo>
                  <a:lnTo>
                    <a:pt x="995" y="97"/>
                  </a:lnTo>
                  <a:lnTo>
                    <a:pt x="992" y="100"/>
                  </a:lnTo>
                  <a:lnTo>
                    <a:pt x="992" y="102"/>
                  </a:lnTo>
                  <a:lnTo>
                    <a:pt x="990" y="106"/>
                  </a:lnTo>
                  <a:lnTo>
                    <a:pt x="993" y="107"/>
                  </a:lnTo>
                  <a:lnTo>
                    <a:pt x="996" y="109"/>
                  </a:lnTo>
                  <a:lnTo>
                    <a:pt x="995" y="113"/>
                  </a:lnTo>
                  <a:lnTo>
                    <a:pt x="997" y="115"/>
                  </a:lnTo>
                  <a:lnTo>
                    <a:pt x="995" y="119"/>
                  </a:lnTo>
                  <a:lnTo>
                    <a:pt x="996" y="123"/>
                  </a:lnTo>
                  <a:lnTo>
                    <a:pt x="991" y="124"/>
                  </a:lnTo>
                  <a:lnTo>
                    <a:pt x="985" y="123"/>
                  </a:lnTo>
                  <a:lnTo>
                    <a:pt x="989" y="128"/>
                  </a:lnTo>
                  <a:lnTo>
                    <a:pt x="989" y="132"/>
                  </a:lnTo>
                  <a:lnTo>
                    <a:pt x="989" y="128"/>
                  </a:lnTo>
                  <a:lnTo>
                    <a:pt x="981" y="122"/>
                  </a:lnTo>
                  <a:lnTo>
                    <a:pt x="983" y="123"/>
                  </a:lnTo>
                  <a:lnTo>
                    <a:pt x="985" y="120"/>
                  </a:lnTo>
                  <a:lnTo>
                    <a:pt x="989" y="123"/>
                  </a:lnTo>
                  <a:lnTo>
                    <a:pt x="991" y="123"/>
                  </a:lnTo>
                  <a:lnTo>
                    <a:pt x="995" y="123"/>
                  </a:lnTo>
                  <a:lnTo>
                    <a:pt x="995" y="119"/>
                  </a:lnTo>
                  <a:lnTo>
                    <a:pt x="993" y="117"/>
                  </a:lnTo>
                  <a:lnTo>
                    <a:pt x="990" y="117"/>
                  </a:lnTo>
                  <a:lnTo>
                    <a:pt x="992" y="115"/>
                  </a:lnTo>
                  <a:lnTo>
                    <a:pt x="990" y="114"/>
                  </a:lnTo>
                  <a:lnTo>
                    <a:pt x="987" y="115"/>
                  </a:lnTo>
                  <a:lnTo>
                    <a:pt x="984" y="116"/>
                  </a:lnTo>
                  <a:lnTo>
                    <a:pt x="984" y="114"/>
                  </a:lnTo>
                  <a:lnTo>
                    <a:pt x="982" y="111"/>
                  </a:lnTo>
                  <a:lnTo>
                    <a:pt x="980" y="109"/>
                  </a:lnTo>
                  <a:lnTo>
                    <a:pt x="983" y="104"/>
                  </a:lnTo>
                  <a:lnTo>
                    <a:pt x="987" y="93"/>
                  </a:lnTo>
                  <a:lnTo>
                    <a:pt x="983" y="93"/>
                  </a:lnTo>
                  <a:lnTo>
                    <a:pt x="981" y="94"/>
                  </a:lnTo>
                  <a:lnTo>
                    <a:pt x="980" y="98"/>
                  </a:lnTo>
                  <a:lnTo>
                    <a:pt x="976" y="98"/>
                  </a:lnTo>
                  <a:lnTo>
                    <a:pt x="980" y="92"/>
                  </a:lnTo>
                  <a:lnTo>
                    <a:pt x="976" y="94"/>
                  </a:lnTo>
                  <a:lnTo>
                    <a:pt x="974" y="92"/>
                  </a:lnTo>
                  <a:lnTo>
                    <a:pt x="972" y="92"/>
                  </a:lnTo>
                  <a:lnTo>
                    <a:pt x="971" y="90"/>
                  </a:lnTo>
                  <a:lnTo>
                    <a:pt x="967" y="88"/>
                  </a:lnTo>
                  <a:lnTo>
                    <a:pt x="965" y="87"/>
                  </a:lnTo>
                  <a:lnTo>
                    <a:pt x="959" y="85"/>
                  </a:lnTo>
                  <a:lnTo>
                    <a:pt x="959" y="90"/>
                  </a:lnTo>
                  <a:lnTo>
                    <a:pt x="955" y="91"/>
                  </a:lnTo>
                  <a:lnTo>
                    <a:pt x="951" y="89"/>
                  </a:lnTo>
                  <a:lnTo>
                    <a:pt x="949" y="90"/>
                  </a:lnTo>
                  <a:lnTo>
                    <a:pt x="951" y="92"/>
                  </a:lnTo>
                  <a:lnTo>
                    <a:pt x="954" y="94"/>
                  </a:lnTo>
                  <a:lnTo>
                    <a:pt x="951" y="94"/>
                  </a:lnTo>
                  <a:lnTo>
                    <a:pt x="953" y="98"/>
                  </a:lnTo>
                  <a:lnTo>
                    <a:pt x="955" y="100"/>
                  </a:lnTo>
                  <a:lnTo>
                    <a:pt x="958" y="100"/>
                  </a:lnTo>
                  <a:lnTo>
                    <a:pt x="964" y="99"/>
                  </a:lnTo>
                  <a:lnTo>
                    <a:pt x="966" y="101"/>
                  </a:lnTo>
                  <a:lnTo>
                    <a:pt x="968" y="100"/>
                  </a:lnTo>
                  <a:lnTo>
                    <a:pt x="971" y="106"/>
                  </a:lnTo>
                  <a:lnTo>
                    <a:pt x="970" y="107"/>
                  </a:lnTo>
                  <a:lnTo>
                    <a:pt x="964" y="108"/>
                  </a:lnTo>
                  <a:lnTo>
                    <a:pt x="958" y="105"/>
                  </a:lnTo>
                  <a:lnTo>
                    <a:pt x="953" y="99"/>
                  </a:lnTo>
                  <a:lnTo>
                    <a:pt x="950" y="97"/>
                  </a:lnTo>
                  <a:lnTo>
                    <a:pt x="949" y="100"/>
                  </a:lnTo>
                  <a:lnTo>
                    <a:pt x="951" y="101"/>
                  </a:lnTo>
                  <a:lnTo>
                    <a:pt x="949" y="105"/>
                  </a:lnTo>
                  <a:lnTo>
                    <a:pt x="946" y="106"/>
                  </a:lnTo>
                  <a:lnTo>
                    <a:pt x="938" y="104"/>
                  </a:lnTo>
                  <a:lnTo>
                    <a:pt x="932" y="102"/>
                  </a:lnTo>
                  <a:lnTo>
                    <a:pt x="931" y="104"/>
                  </a:lnTo>
                  <a:lnTo>
                    <a:pt x="929" y="102"/>
                  </a:lnTo>
                  <a:lnTo>
                    <a:pt x="925" y="102"/>
                  </a:lnTo>
                  <a:lnTo>
                    <a:pt x="923" y="104"/>
                  </a:lnTo>
                  <a:lnTo>
                    <a:pt x="921" y="102"/>
                  </a:lnTo>
                  <a:lnTo>
                    <a:pt x="918" y="105"/>
                  </a:lnTo>
                  <a:lnTo>
                    <a:pt x="915" y="105"/>
                  </a:lnTo>
                  <a:lnTo>
                    <a:pt x="910" y="106"/>
                  </a:lnTo>
                  <a:lnTo>
                    <a:pt x="906" y="106"/>
                  </a:lnTo>
                  <a:lnTo>
                    <a:pt x="904" y="104"/>
                  </a:lnTo>
                  <a:lnTo>
                    <a:pt x="902" y="105"/>
                  </a:lnTo>
                  <a:lnTo>
                    <a:pt x="893" y="102"/>
                  </a:lnTo>
                  <a:lnTo>
                    <a:pt x="890" y="101"/>
                  </a:lnTo>
                  <a:lnTo>
                    <a:pt x="887" y="100"/>
                  </a:lnTo>
                  <a:lnTo>
                    <a:pt x="885" y="97"/>
                  </a:lnTo>
                  <a:lnTo>
                    <a:pt x="879" y="98"/>
                  </a:lnTo>
                  <a:lnTo>
                    <a:pt x="877" y="98"/>
                  </a:lnTo>
                  <a:lnTo>
                    <a:pt x="874" y="98"/>
                  </a:lnTo>
                  <a:lnTo>
                    <a:pt x="871" y="98"/>
                  </a:lnTo>
                  <a:lnTo>
                    <a:pt x="869" y="97"/>
                  </a:lnTo>
                  <a:lnTo>
                    <a:pt x="868" y="94"/>
                  </a:lnTo>
                  <a:lnTo>
                    <a:pt x="865" y="92"/>
                  </a:lnTo>
                  <a:lnTo>
                    <a:pt x="862" y="91"/>
                  </a:lnTo>
                  <a:lnTo>
                    <a:pt x="860" y="91"/>
                  </a:lnTo>
                  <a:lnTo>
                    <a:pt x="857" y="89"/>
                  </a:lnTo>
                  <a:lnTo>
                    <a:pt x="857" y="87"/>
                  </a:lnTo>
                  <a:lnTo>
                    <a:pt x="855" y="83"/>
                  </a:lnTo>
                  <a:lnTo>
                    <a:pt x="855" y="81"/>
                  </a:lnTo>
                  <a:lnTo>
                    <a:pt x="853" y="79"/>
                  </a:lnTo>
                  <a:lnTo>
                    <a:pt x="847" y="76"/>
                  </a:lnTo>
                  <a:lnTo>
                    <a:pt x="842" y="79"/>
                  </a:lnTo>
                  <a:lnTo>
                    <a:pt x="836" y="80"/>
                  </a:lnTo>
                  <a:lnTo>
                    <a:pt x="830" y="82"/>
                  </a:lnTo>
                  <a:lnTo>
                    <a:pt x="825" y="83"/>
                  </a:lnTo>
                  <a:lnTo>
                    <a:pt x="820" y="83"/>
                  </a:lnTo>
                  <a:lnTo>
                    <a:pt x="817" y="84"/>
                  </a:lnTo>
                  <a:lnTo>
                    <a:pt x="812" y="90"/>
                  </a:lnTo>
                  <a:lnTo>
                    <a:pt x="811" y="92"/>
                  </a:lnTo>
                  <a:lnTo>
                    <a:pt x="813" y="92"/>
                  </a:lnTo>
                  <a:lnTo>
                    <a:pt x="817" y="93"/>
                  </a:lnTo>
                  <a:lnTo>
                    <a:pt x="819" y="94"/>
                  </a:lnTo>
                  <a:lnTo>
                    <a:pt x="822" y="94"/>
                  </a:lnTo>
                  <a:lnTo>
                    <a:pt x="825" y="94"/>
                  </a:lnTo>
                  <a:lnTo>
                    <a:pt x="823" y="92"/>
                  </a:lnTo>
                  <a:lnTo>
                    <a:pt x="827" y="91"/>
                  </a:lnTo>
                  <a:lnTo>
                    <a:pt x="829" y="91"/>
                  </a:lnTo>
                  <a:lnTo>
                    <a:pt x="831" y="92"/>
                  </a:lnTo>
                  <a:lnTo>
                    <a:pt x="837" y="90"/>
                  </a:lnTo>
                  <a:lnTo>
                    <a:pt x="839" y="90"/>
                  </a:lnTo>
                  <a:lnTo>
                    <a:pt x="840" y="88"/>
                  </a:lnTo>
                  <a:lnTo>
                    <a:pt x="843" y="87"/>
                  </a:lnTo>
                  <a:lnTo>
                    <a:pt x="848" y="84"/>
                  </a:lnTo>
                  <a:lnTo>
                    <a:pt x="852" y="84"/>
                  </a:lnTo>
                  <a:lnTo>
                    <a:pt x="853" y="87"/>
                  </a:lnTo>
                  <a:lnTo>
                    <a:pt x="851" y="89"/>
                  </a:lnTo>
                  <a:lnTo>
                    <a:pt x="847" y="90"/>
                  </a:lnTo>
                  <a:lnTo>
                    <a:pt x="845" y="90"/>
                  </a:lnTo>
                  <a:lnTo>
                    <a:pt x="843" y="92"/>
                  </a:lnTo>
                  <a:lnTo>
                    <a:pt x="839" y="94"/>
                  </a:lnTo>
                  <a:lnTo>
                    <a:pt x="838" y="97"/>
                  </a:lnTo>
                  <a:lnTo>
                    <a:pt x="834" y="96"/>
                  </a:lnTo>
                  <a:lnTo>
                    <a:pt x="830" y="98"/>
                  </a:lnTo>
                  <a:lnTo>
                    <a:pt x="828" y="97"/>
                  </a:lnTo>
                  <a:lnTo>
                    <a:pt x="825" y="99"/>
                  </a:lnTo>
                  <a:lnTo>
                    <a:pt x="823" y="97"/>
                  </a:lnTo>
                  <a:lnTo>
                    <a:pt x="823" y="99"/>
                  </a:lnTo>
                  <a:lnTo>
                    <a:pt x="826" y="100"/>
                  </a:lnTo>
                  <a:lnTo>
                    <a:pt x="822" y="102"/>
                  </a:lnTo>
                  <a:lnTo>
                    <a:pt x="821" y="105"/>
                  </a:lnTo>
                  <a:lnTo>
                    <a:pt x="826" y="109"/>
                  </a:lnTo>
                  <a:lnTo>
                    <a:pt x="827" y="115"/>
                  </a:lnTo>
                  <a:lnTo>
                    <a:pt x="829" y="118"/>
                  </a:lnTo>
                  <a:lnTo>
                    <a:pt x="831" y="119"/>
                  </a:lnTo>
                  <a:lnTo>
                    <a:pt x="831" y="122"/>
                  </a:lnTo>
                  <a:lnTo>
                    <a:pt x="834" y="125"/>
                  </a:lnTo>
                  <a:lnTo>
                    <a:pt x="830" y="123"/>
                  </a:lnTo>
                  <a:lnTo>
                    <a:pt x="829" y="126"/>
                  </a:lnTo>
                  <a:lnTo>
                    <a:pt x="827" y="125"/>
                  </a:lnTo>
                  <a:lnTo>
                    <a:pt x="828" y="122"/>
                  </a:lnTo>
                  <a:lnTo>
                    <a:pt x="826" y="123"/>
                  </a:lnTo>
                  <a:lnTo>
                    <a:pt x="826" y="125"/>
                  </a:lnTo>
                  <a:lnTo>
                    <a:pt x="826" y="127"/>
                  </a:lnTo>
                  <a:lnTo>
                    <a:pt x="827" y="131"/>
                  </a:lnTo>
                  <a:lnTo>
                    <a:pt x="829" y="133"/>
                  </a:lnTo>
                  <a:lnTo>
                    <a:pt x="833" y="135"/>
                  </a:lnTo>
                  <a:lnTo>
                    <a:pt x="829" y="134"/>
                  </a:lnTo>
                  <a:lnTo>
                    <a:pt x="822" y="126"/>
                  </a:lnTo>
                  <a:lnTo>
                    <a:pt x="819" y="125"/>
                  </a:lnTo>
                  <a:lnTo>
                    <a:pt x="819" y="123"/>
                  </a:lnTo>
                  <a:lnTo>
                    <a:pt x="817" y="122"/>
                  </a:lnTo>
                  <a:lnTo>
                    <a:pt x="814" y="119"/>
                  </a:lnTo>
                  <a:lnTo>
                    <a:pt x="817" y="120"/>
                  </a:lnTo>
                  <a:lnTo>
                    <a:pt x="822" y="120"/>
                  </a:lnTo>
                  <a:lnTo>
                    <a:pt x="823" y="118"/>
                  </a:lnTo>
                  <a:lnTo>
                    <a:pt x="821" y="115"/>
                  </a:lnTo>
                  <a:lnTo>
                    <a:pt x="816" y="111"/>
                  </a:lnTo>
                  <a:lnTo>
                    <a:pt x="814" y="109"/>
                  </a:lnTo>
                  <a:lnTo>
                    <a:pt x="811" y="111"/>
                  </a:lnTo>
                  <a:lnTo>
                    <a:pt x="809" y="111"/>
                  </a:lnTo>
                  <a:lnTo>
                    <a:pt x="808" y="110"/>
                  </a:lnTo>
                  <a:lnTo>
                    <a:pt x="808" y="108"/>
                  </a:lnTo>
                  <a:lnTo>
                    <a:pt x="808" y="105"/>
                  </a:lnTo>
                  <a:lnTo>
                    <a:pt x="802" y="105"/>
                  </a:lnTo>
                  <a:lnTo>
                    <a:pt x="799" y="106"/>
                  </a:lnTo>
                  <a:lnTo>
                    <a:pt x="797" y="102"/>
                  </a:lnTo>
                  <a:lnTo>
                    <a:pt x="795" y="101"/>
                  </a:lnTo>
                  <a:lnTo>
                    <a:pt x="794" y="102"/>
                  </a:lnTo>
                  <a:lnTo>
                    <a:pt x="794" y="99"/>
                  </a:lnTo>
                  <a:lnTo>
                    <a:pt x="788" y="100"/>
                  </a:lnTo>
                  <a:lnTo>
                    <a:pt x="780" y="105"/>
                  </a:lnTo>
                  <a:lnTo>
                    <a:pt x="773" y="105"/>
                  </a:lnTo>
                  <a:lnTo>
                    <a:pt x="769" y="105"/>
                  </a:lnTo>
                  <a:lnTo>
                    <a:pt x="768" y="106"/>
                  </a:lnTo>
                  <a:lnTo>
                    <a:pt x="766" y="105"/>
                  </a:lnTo>
                  <a:lnTo>
                    <a:pt x="763" y="105"/>
                  </a:lnTo>
                  <a:lnTo>
                    <a:pt x="760" y="106"/>
                  </a:lnTo>
                  <a:lnTo>
                    <a:pt x="741" y="106"/>
                  </a:lnTo>
                  <a:lnTo>
                    <a:pt x="739" y="105"/>
                  </a:lnTo>
                  <a:lnTo>
                    <a:pt x="735" y="105"/>
                  </a:lnTo>
                  <a:lnTo>
                    <a:pt x="733" y="104"/>
                  </a:lnTo>
                  <a:lnTo>
                    <a:pt x="729" y="104"/>
                  </a:lnTo>
                  <a:lnTo>
                    <a:pt x="725" y="104"/>
                  </a:lnTo>
                  <a:lnTo>
                    <a:pt x="722" y="101"/>
                  </a:lnTo>
                  <a:lnTo>
                    <a:pt x="719" y="101"/>
                  </a:lnTo>
                  <a:lnTo>
                    <a:pt x="724" y="99"/>
                  </a:lnTo>
                  <a:lnTo>
                    <a:pt x="724" y="96"/>
                  </a:lnTo>
                  <a:lnTo>
                    <a:pt x="726" y="96"/>
                  </a:lnTo>
                  <a:lnTo>
                    <a:pt x="728" y="94"/>
                  </a:lnTo>
                  <a:lnTo>
                    <a:pt x="728" y="93"/>
                  </a:lnTo>
                  <a:lnTo>
                    <a:pt x="733" y="92"/>
                  </a:lnTo>
                  <a:lnTo>
                    <a:pt x="736" y="93"/>
                  </a:lnTo>
                  <a:lnTo>
                    <a:pt x="739" y="93"/>
                  </a:lnTo>
                  <a:lnTo>
                    <a:pt x="740" y="90"/>
                  </a:lnTo>
                  <a:lnTo>
                    <a:pt x="739" y="88"/>
                  </a:lnTo>
                  <a:lnTo>
                    <a:pt x="736" y="85"/>
                  </a:lnTo>
                  <a:lnTo>
                    <a:pt x="728" y="79"/>
                  </a:lnTo>
                  <a:lnTo>
                    <a:pt x="719" y="76"/>
                  </a:lnTo>
                  <a:lnTo>
                    <a:pt x="714" y="75"/>
                  </a:lnTo>
                  <a:lnTo>
                    <a:pt x="711" y="75"/>
                  </a:lnTo>
                  <a:lnTo>
                    <a:pt x="708" y="75"/>
                  </a:lnTo>
                  <a:lnTo>
                    <a:pt x="710" y="79"/>
                  </a:lnTo>
                  <a:lnTo>
                    <a:pt x="705" y="79"/>
                  </a:lnTo>
                  <a:lnTo>
                    <a:pt x="702" y="77"/>
                  </a:lnTo>
                  <a:lnTo>
                    <a:pt x="700" y="76"/>
                  </a:lnTo>
                  <a:lnTo>
                    <a:pt x="697" y="77"/>
                  </a:lnTo>
                  <a:lnTo>
                    <a:pt x="691" y="75"/>
                  </a:lnTo>
                  <a:lnTo>
                    <a:pt x="685" y="75"/>
                  </a:lnTo>
                  <a:lnTo>
                    <a:pt x="677" y="72"/>
                  </a:lnTo>
                  <a:lnTo>
                    <a:pt x="675" y="70"/>
                  </a:lnTo>
                  <a:lnTo>
                    <a:pt x="658" y="66"/>
                  </a:lnTo>
                  <a:lnTo>
                    <a:pt x="655" y="66"/>
                  </a:lnTo>
                  <a:lnTo>
                    <a:pt x="651" y="64"/>
                  </a:lnTo>
                  <a:lnTo>
                    <a:pt x="647" y="60"/>
                  </a:lnTo>
                  <a:lnTo>
                    <a:pt x="638" y="57"/>
                  </a:lnTo>
                  <a:lnTo>
                    <a:pt x="630" y="55"/>
                  </a:lnTo>
                  <a:lnTo>
                    <a:pt x="628" y="56"/>
                  </a:lnTo>
                  <a:lnTo>
                    <a:pt x="624" y="55"/>
                  </a:lnTo>
                  <a:lnTo>
                    <a:pt x="618" y="56"/>
                  </a:lnTo>
                  <a:lnTo>
                    <a:pt x="616" y="55"/>
                  </a:lnTo>
                  <a:lnTo>
                    <a:pt x="615" y="57"/>
                  </a:lnTo>
                  <a:lnTo>
                    <a:pt x="614" y="60"/>
                  </a:lnTo>
                  <a:lnTo>
                    <a:pt x="612" y="63"/>
                  </a:lnTo>
                  <a:lnTo>
                    <a:pt x="611" y="66"/>
                  </a:lnTo>
                  <a:lnTo>
                    <a:pt x="607" y="66"/>
                  </a:lnTo>
                  <a:lnTo>
                    <a:pt x="598" y="66"/>
                  </a:lnTo>
                  <a:lnTo>
                    <a:pt x="596" y="66"/>
                  </a:lnTo>
                  <a:lnTo>
                    <a:pt x="597" y="63"/>
                  </a:lnTo>
                  <a:lnTo>
                    <a:pt x="601" y="57"/>
                  </a:lnTo>
                  <a:lnTo>
                    <a:pt x="596" y="57"/>
                  </a:lnTo>
                  <a:lnTo>
                    <a:pt x="597" y="53"/>
                  </a:lnTo>
                  <a:lnTo>
                    <a:pt x="597" y="48"/>
                  </a:lnTo>
                  <a:lnTo>
                    <a:pt x="594" y="47"/>
                  </a:lnTo>
                  <a:lnTo>
                    <a:pt x="597" y="49"/>
                  </a:lnTo>
                  <a:lnTo>
                    <a:pt x="591" y="49"/>
                  </a:lnTo>
                  <a:lnTo>
                    <a:pt x="586" y="50"/>
                  </a:lnTo>
                  <a:lnTo>
                    <a:pt x="586" y="53"/>
                  </a:lnTo>
                  <a:lnTo>
                    <a:pt x="589" y="50"/>
                  </a:lnTo>
                  <a:lnTo>
                    <a:pt x="594" y="50"/>
                  </a:lnTo>
                  <a:lnTo>
                    <a:pt x="590" y="53"/>
                  </a:lnTo>
                  <a:lnTo>
                    <a:pt x="589" y="55"/>
                  </a:lnTo>
                  <a:lnTo>
                    <a:pt x="586" y="57"/>
                  </a:lnTo>
                  <a:lnTo>
                    <a:pt x="589" y="57"/>
                  </a:lnTo>
                  <a:lnTo>
                    <a:pt x="591" y="57"/>
                  </a:lnTo>
                  <a:lnTo>
                    <a:pt x="589" y="57"/>
                  </a:lnTo>
                  <a:lnTo>
                    <a:pt x="586" y="58"/>
                  </a:lnTo>
                  <a:lnTo>
                    <a:pt x="583" y="60"/>
                  </a:lnTo>
                  <a:lnTo>
                    <a:pt x="586" y="63"/>
                  </a:lnTo>
                  <a:lnTo>
                    <a:pt x="583" y="64"/>
                  </a:lnTo>
                  <a:lnTo>
                    <a:pt x="586" y="66"/>
                  </a:lnTo>
                  <a:lnTo>
                    <a:pt x="582" y="67"/>
                  </a:lnTo>
                  <a:lnTo>
                    <a:pt x="578" y="66"/>
                  </a:lnTo>
                  <a:lnTo>
                    <a:pt x="572" y="63"/>
                  </a:lnTo>
                  <a:lnTo>
                    <a:pt x="566" y="57"/>
                  </a:lnTo>
                  <a:lnTo>
                    <a:pt x="565" y="55"/>
                  </a:lnTo>
                  <a:lnTo>
                    <a:pt x="564" y="53"/>
                  </a:lnTo>
                  <a:lnTo>
                    <a:pt x="560" y="43"/>
                  </a:lnTo>
                  <a:lnTo>
                    <a:pt x="556" y="41"/>
                  </a:lnTo>
                  <a:lnTo>
                    <a:pt x="555" y="40"/>
                  </a:lnTo>
                  <a:lnTo>
                    <a:pt x="548" y="37"/>
                  </a:lnTo>
                  <a:lnTo>
                    <a:pt x="546" y="39"/>
                  </a:lnTo>
                  <a:lnTo>
                    <a:pt x="546" y="41"/>
                  </a:lnTo>
                  <a:lnTo>
                    <a:pt x="549" y="41"/>
                  </a:lnTo>
                  <a:lnTo>
                    <a:pt x="548" y="43"/>
                  </a:lnTo>
                  <a:lnTo>
                    <a:pt x="554" y="45"/>
                  </a:lnTo>
                  <a:lnTo>
                    <a:pt x="546" y="47"/>
                  </a:lnTo>
                  <a:lnTo>
                    <a:pt x="543" y="48"/>
                  </a:lnTo>
                  <a:lnTo>
                    <a:pt x="544" y="50"/>
                  </a:lnTo>
                  <a:lnTo>
                    <a:pt x="543" y="53"/>
                  </a:lnTo>
                  <a:lnTo>
                    <a:pt x="540" y="54"/>
                  </a:lnTo>
                  <a:lnTo>
                    <a:pt x="538" y="56"/>
                  </a:lnTo>
                  <a:lnTo>
                    <a:pt x="535" y="58"/>
                  </a:lnTo>
                  <a:lnTo>
                    <a:pt x="532" y="57"/>
                  </a:lnTo>
                  <a:lnTo>
                    <a:pt x="532" y="55"/>
                  </a:lnTo>
                  <a:lnTo>
                    <a:pt x="534" y="53"/>
                  </a:lnTo>
                  <a:lnTo>
                    <a:pt x="531" y="55"/>
                  </a:lnTo>
                  <a:lnTo>
                    <a:pt x="526" y="55"/>
                  </a:lnTo>
                  <a:lnTo>
                    <a:pt x="515" y="58"/>
                  </a:lnTo>
                  <a:lnTo>
                    <a:pt x="511" y="64"/>
                  </a:lnTo>
                  <a:lnTo>
                    <a:pt x="510" y="66"/>
                  </a:lnTo>
                  <a:lnTo>
                    <a:pt x="507" y="70"/>
                  </a:lnTo>
                  <a:lnTo>
                    <a:pt x="506" y="66"/>
                  </a:lnTo>
                  <a:lnTo>
                    <a:pt x="507" y="64"/>
                  </a:lnTo>
                  <a:lnTo>
                    <a:pt x="505" y="66"/>
                  </a:lnTo>
                  <a:lnTo>
                    <a:pt x="506" y="64"/>
                  </a:lnTo>
                  <a:lnTo>
                    <a:pt x="504" y="62"/>
                  </a:lnTo>
                  <a:lnTo>
                    <a:pt x="505" y="64"/>
                  </a:lnTo>
                  <a:lnTo>
                    <a:pt x="503" y="62"/>
                  </a:lnTo>
                  <a:lnTo>
                    <a:pt x="504" y="64"/>
                  </a:lnTo>
                  <a:lnTo>
                    <a:pt x="502" y="66"/>
                  </a:lnTo>
                  <a:lnTo>
                    <a:pt x="502" y="64"/>
                  </a:lnTo>
                  <a:lnTo>
                    <a:pt x="500" y="66"/>
                  </a:lnTo>
                  <a:lnTo>
                    <a:pt x="500" y="64"/>
                  </a:lnTo>
                  <a:lnTo>
                    <a:pt x="495" y="65"/>
                  </a:lnTo>
                  <a:lnTo>
                    <a:pt x="495" y="67"/>
                  </a:lnTo>
                  <a:lnTo>
                    <a:pt x="492" y="70"/>
                  </a:lnTo>
                  <a:lnTo>
                    <a:pt x="487" y="71"/>
                  </a:lnTo>
                  <a:lnTo>
                    <a:pt x="481" y="74"/>
                  </a:lnTo>
                  <a:lnTo>
                    <a:pt x="481" y="77"/>
                  </a:lnTo>
                  <a:lnTo>
                    <a:pt x="485" y="77"/>
                  </a:lnTo>
                  <a:lnTo>
                    <a:pt x="487" y="79"/>
                  </a:lnTo>
                  <a:lnTo>
                    <a:pt x="485" y="80"/>
                  </a:lnTo>
                  <a:lnTo>
                    <a:pt x="479" y="79"/>
                  </a:lnTo>
                  <a:lnTo>
                    <a:pt x="476" y="81"/>
                  </a:lnTo>
                  <a:lnTo>
                    <a:pt x="479" y="82"/>
                  </a:lnTo>
                  <a:lnTo>
                    <a:pt x="473" y="80"/>
                  </a:lnTo>
                  <a:lnTo>
                    <a:pt x="473" y="77"/>
                  </a:lnTo>
                  <a:lnTo>
                    <a:pt x="476" y="76"/>
                  </a:lnTo>
                  <a:lnTo>
                    <a:pt x="478" y="73"/>
                  </a:lnTo>
                  <a:lnTo>
                    <a:pt x="480" y="74"/>
                  </a:lnTo>
                  <a:lnTo>
                    <a:pt x="481" y="72"/>
                  </a:lnTo>
                  <a:lnTo>
                    <a:pt x="484" y="68"/>
                  </a:lnTo>
                  <a:lnTo>
                    <a:pt x="486" y="70"/>
                  </a:lnTo>
                  <a:lnTo>
                    <a:pt x="489" y="67"/>
                  </a:lnTo>
                  <a:lnTo>
                    <a:pt x="492" y="65"/>
                  </a:lnTo>
                  <a:lnTo>
                    <a:pt x="493" y="62"/>
                  </a:lnTo>
                  <a:lnTo>
                    <a:pt x="496" y="62"/>
                  </a:lnTo>
                  <a:lnTo>
                    <a:pt x="502" y="62"/>
                  </a:lnTo>
                  <a:lnTo>
                    <a:pt x="504" y="60"/>
                  </a:lnTo>
                  <a:lnTo>
                    <a:pt x="506" y="60"/>
                  </a:lnTo>
                  <a:lnTo>
                    <a:pt x="510" y="58"/>
                  </a:lnTo>
                  <a:lnTo>
                    <a:pt x="512" y="58"/>
                  </a:lnTo>
                  <a:lnTo>
                    <a:pt x="515" y="56"/>
                  </a:lnTo>
                  <a:lnTo>
                    <a:pt x="527" y="50"/>
                  </a:lnTo>
                  <a:lnTo>
                    <a:pt x="528" y="48"/>
                  </a:lnTo>
                  <a:lnTo>
                    <a:pt x="526" y="46"/>
                  </a:lnTo>
                  <a:lnTo>
                    <a:pt x="520" y="49"/>
                  </a:lnTo>
                  <a:lnTo>
                    <a:pt x="518" y="49"/>
                  </a:lnTo>
                  <a:lnTo>
                    <a:pt x="515" y="48"/>
                  </a:lnTo>
                  <a:lnTo>
                    <a:pt x="512" y="48"/>
                  </a:lnTo>
                  <a:lnTo>
                    <a:pt x="510" y="48"/>
                  </a:lnTo>
                  <a:lnTo>
                    <a:pt x="506" y="50"/>
                  </a:lnTo>
                  <a:lnTo>
                    <a:pt x="506" y="53"/>
                  </a:lnTo>
                  <a:lnTo>
                    <a:pt x="504" y="55"/>
                  </a:lnTo>
                  <a:lnTo>
                    <a:pt x="503" y="53"/>
                  </a:lnTo>
                  <a:lnTo>
                    <a:pt x="497" y="55"/>
                  </a:lnTo>
                  <a:lnTo>
                    <a:pt x="495" y="56"/>
                  </a:lnTo>
                  <a:lnTo>
                    <a:pt x="492" y="57"/>
                  </a:lnTo>
                  <a:lnTo>
                    <a:pt x="489" y="58"/>
                  </a:lnTo>
                  <a:lnTo>
                    <a:pt x="487" y="57"/>
                  </a:lnTo>
                  <a:lnTo>
                    <a:pt x="489" y="56"/>
                  </a:lnTo>
                  <a:lnTo>
                    <a:pt x="486" y="57"/>
                  </a:lnTo>
                  <a:lnTo>
                    <a:pt x="487" y="59"/>
                  </a:lnTo>
                  <a:lnTo>
                    <a:pt x="481" y="59"/>
                  </a:lnTo>
                  <a:lnTo>
                    <a:pt x="478" y="65"/>
                  </a:lnTo>
                  <a:lnTo>
                    <a:pt x="472" y="65"/>
                  </a:lnTo>
                  <a:lnTo>
                    <a:pt x="469" y="67"/>
                  </a:lnTo>
                  <a:lnTo>
                    <a:pt x="467" y="68"/>
                  </a:lnTo>
                  <a:lnTo>
                    <a:pt x="463" y="68"/>
                  </a:lnTo>
                  <a:lnTo>
                    <a:pt x="461" y="71"/>
                  </a:lnTo>
                  <a:lnTo>
                    <a:pt x="459" y="72"/>
                  </a:lnTo>
                  <a:lnTo>
                    <a:pt x="459" y="72"/>
                  </a:lnTo>
                  <a:lnTo>
                    <a:pt x="462" y="70"/>
                  </a:lnTo>
                  <a:lnTo>
                    <a:pt x="464" y="66"/>
                  </a:lnTo>
                  <a:lnTo>
                    <a:pt x="468" y="65"/>
                  </a:lnTo>
                  <a:lnTo>
                    <a:pt x="469" y="62"/>
                  </a:lnTo>
                  <a:lnTo>
                    <a:pt x="467" y="63"/>
                  </a:lnTo>
                  <a:lnTo>
                    <a:pt x="463" y="62"/>
                  </a:lnTo>
                  <a:lnTo>
                    <a:pt x="463" y="58"/>
                  </a:lnTo>
                  <a:lnTo>
                    <a:pt x="460" y="57"/>
                  </a:lnTo>
                  <a:lnTo>
                    <a:pt x="460" y="60"/>
                  </a:lnTo>
                  <a:lnTo>
                    <a:pt x="458" y="63"/>
                  </a:lnTo>
                  <a:lnTo>
                    <a:pt x="455" y="64"/>
                  </a:lnTo>
                  <a:lnTo>
                    <a:pt x="452" y="64"/>
                  </a:lnTo>
                  <a:lnTo>
                    <a:pt x="451" y="63"/>
                  </a:lnTo>
                  <a:lnTo>
                    <a:pt x="449" y="64"/>
                  </a:lnTo>
                  <a:lnTo>
                    <a:pt x="449" y="67"/>
                  </a:lnTo>
                  <a:lnTo>
                    <a:pt x="450" y="68"/>
                  </a:lnTo>
                  <a:lnTo>
                    <a:pt x="446" y="67"/>
                  </a:lnTo>
                  <a:lnTo>
                    <a:pt x="444" y="66"/>
                  </a:lnTo>
                  <a:lnTo>
                    <a:pt x="444" y="70"/>
                  </a:lnTo>
                  <a:lnTo>
                    <a:pt x="442" y="67"/>
                  </a:lnTo>
                  <a:lnTo>
                    <a:pt x="442" y="70"/>
                  </a:lnTo>
                  <a:lnTo>
                    <a:pt x="445" y="72"/>
                  </a:lnTo>
                  <a:lnTo>
                    <a:pt x="442" y="71"/>
                  </a:lnTo>
                  <a:lnTo>
                    <a:pt x="440" y="70"/>
                  </a:lnTo>
                  <a:lnTo>
                    <a:pt x="440" y="72"/>
                  </a:lnTo>
                  <a:lnTo>
                    <a:pt x="442" y="74"/>
                  </a:lnTo>
                  <a:lnTo>
                    <a:pt x="444" y="74"/>
                  </a:lnTo>
                  <a:lnTo>
                    <a:pt x="445" y="74"/>
                  </a:lnTo>
                  <a:lnTo>
                    <a:pt x="442" y="75"/>
                  </a:lnTo>
                  <a:lnTo>
                    <a:pt x="441" y="75"/>
                  </a:lnTo>
                  <a:lnTo>
                    <a:pt x="440" y="75"/>
                  </a:lnTo>
                  <a:lnTo>
                    <a:pt x="442" y="77"/>
                  </a:lnTo>
                  <a:lnTo>
                    <a:pt x="445" y="77"/>
                  </a:lnTo>
                  <a:lnTo>
                    <a:pt x="446" y="75"/>
                  </a:lnTo>
                  <a:lnTo>
                    <a:pt x="449" y="76"/>
                  </a:lnTo>
                  <a:lnTo>
                    <a:pt x="451" y="77"/>
                  </a:lnTo>
                  <a:lnTo>
                    <a:pt x="454" y="75"/>
                  </a:lnTo>
                  <a:lnTo>
                    <a:pt x="454" y="75"/>
                  </a:lnTo>
                  <a:lnTo>
                    <a:pt x="455" y="75"/>
                  </a:lnTo>
                  <a:lnTo>
                    <a:pt x="458" y="79"/>
                  </a:lnTo>
                  <a:lnTo>
                    <a:pt x="459" y="81"/>
                  </a:lnTo>
                  <a:lnTo>
                    <a:pt x="462" y="82"/>
                  </a:lnTo>
                  <a:lnTo>
                    <a:pt x="460" y="80"/>
                  </a:lnTo>
                  <a:lnTo>
                    <a:pt x="458" y="76"/>
                  </a:lnTo>
                  <a:lnTo>
                    <a:pt x="456" y="74"/>
                  </a:lnTo>
                  <a:lnTo>
                    <a:pt x="459" y="73"/>
                  </a:lnTo>
                  <a:lnTo>
                    <a:pt x="458" y="75"/>
                  </a:lnTo>
                  <a:lnTo>
                    <a:pt x="462" y="82"/>
                  </a:lnTo>
                  <a:lnTo>
                    <a:pt x="462" y="83"/>
                  </a:lnTo>
                  <a:lnTo>
                    <a:pt x="459" y="81"/>
                  </a:lnTo>
                  <a:lnTo>
                    <a:pt x="456" y="79"/>
                  </a:lnTo>
                  <a:lnTo>
                    <a:pt x="454" y="76"/>
                  </a:lnTo>
                  <a:lnTo>
                    <a:pt x="451" y="77"/>
                  </a:lnTo>
                  <a:lnTo>
                    <a:pt x="449" y="76"/>
                  </a:lnTo>
                  <a:lnTo>
                    <a:pt x="446" y="79"/>
                  </a:lnTo>
                  <a:lnTo>
                    <a:pt x="447" y="81"/>
                  </a:lnTo>
                  <a:lnTo>
                    <a:pt x="450" y="83"/>
                  </a:lnTo>
                  <a:lnTo>
                    <a:pt x="449" y="83"/>
                  </a:lnTo>
                  <a:lnTo>
                    <a:pt x="449" y="82"/>
                  </a:lnTo>
                  <a:lnTo>
                    <a:pt x="443" y="81"/>
                  </a:lnTo>
                  <a:lnTo>
                    <a:pt x="441" y="79"/>
                  </a:lnTo>
                  <a:lnTo>
                    <a:pt x="436" y="77"/>
                  </a:lnTo>
                  <a:lnTo>
                    <a:pt x="433" y="77"/>
                  </a:lnTo>
                  <a:lnTo>
                    <a:pt x="433" y="77"/>
                  </a:lnTo>
                  <a:lnTo>
                    <a:pt x="429" y="77"/>
                  </a:lnTo>
                  <a:lnTo>
                    <a:pt x="427" y="77"/>
                  </a:lnTo>
                  <a:lnTo>
                    <a:pt x="424" y="76"/>
                  </a:lnTo>
                  <a:lnTo>
                    <a:pt x="421" y="76"/>
                  </a:lnTo>
                  <a:lnTo>
                    <a:pt x="419" y="74"/>
                  </a:lnTo>
                  <a:lnTo>
                    <a:pt x="410" y="72"/>
                  </a:lnTo>
                  <a:lnTo>
                    <a:pt x="404" y="70"/>
                  </a:lnTo>
                  <a:lnTo>
                    <a:pt x="402" y="70"/>
                  </a:lnTo>
                  <a:lnTo>
                    <a:pt x="400" y="66"/>
                  </a:lnTo>
                  <a:lnTo>
                    <a:pt x="398" y="65"/>
                  </a:lnTo>
                  <a:lnTo>
                    <a:pt x="394" y="63"/>
                  </a:lnTo>
                  <a:lnTo>
                    <a:pt x="386" y="60"/>
                  </a:lnTo>
                  <a:lnTo>
                    <a:pt x="384" y="60"/>
                  </a:lnTo>
                  <a:lnTo>
                    <a:pt x="378" y="60"/>
                  </a:lnTo>
                  <a:lnTo>
                    <a:pt x="369" y="59"/>
                  </a:lnTo>
                  <a:lnTo>
                    <a:pt x="369" y="59"/>
                  </a:lnTo>
                  <a:lnTo>
                    <a:pt x="366" y="59"/>
                  </a:lnTo>
                  <a:lnTo>
                    <a:pt x="366" y="59"/>
                  </a:lnTo>
                  <a:lnTo>
                    <a:pt x="364" y="58"/>
                  </a:lnTo>
                  <a:lnTo>
                    <a:pt x="360" y="56"/>
                  </a:lnTo>
                  <a:lnTo>
                    <a:pt x="357" y="55"/>
                  </a:lnTo>
                  <a:lnTo>
                    <a:pt x="357" y="56"/>
                  </a:lnTo>
                  <a:lnTo>
                    <a:pt x="349" y="51"/>
                  </a:lnTo>
                  <a:lnTo>
                    <a:pt x="348" y="50"/>
                  </a:lnTo>
                  <a:lnTo>
                    <a:pt x="344" y="49"/>
                  </a:lnTo>
                  <a:lnTo>
                    <a:pt x="339" y="48"/>
                  </a:lnTo>
                  <a:lnTo>
                    <a:pt x="331" y="49"/>
                  </a:lnTo>
                  <a:lnTo>
                    <a:pt x="328" y="50"/>
                  </a:lnTo>
                  <a:lnTo>
                    <a:pt x="327" y="49"/>
                  </a:lnTo>
                  <a:lnTo>
                    <a:pt x="324" y="49"/>
                  </a:lnTo>
                  <a:lnTo>
                    <a:pt x="321" y="51"/>
                  </a:lnTo>
                  <a:lnTo>
                    <a:pt x="315" y="51"/>
                  </a:lnTo>
                  <a:lnTo>
                    <a:pt x="312" y="50"/>
                  </a:lnTo>
                  <a:lnTo>
                    <a:pt x="309" y="49"/>
                  </a:lnTo>
                  <a:lnTo>
                    <a:pt x="307" y="49"/>
                  </a:lnTo>
                  <a:lnTo>
                    <a:pt x="305" y="47"/>
                  </a:lnTo>
                  <a:lnTo>
                    <a:pt x="296" y="46"/>
                  </a:lnTo>
                  <a:lnTo>
                    <a:pt x="290" y="46"/>
                  </a:lnTo>
                  <a:lnTo>
                    <a:pt x="288" y="47"/>
                  </a:lnTo>
                  <a:lnTo>
                    <a:pt x="280" y="46"/>
                  </a:lnTo>
                  <a:lnTo>
                    <a:pt x="276" y="45"/>
                  </a:lnTo>
                  <a:lnTo>
                    <a:pt x="275" y="43"/>
                  </a:lnTo>
                  <a:lnTo>
                    <a:pt x="273" y="42"/>
                  </a:lnTo>
                  <a:lnTo>
                    <a:pt x="272" y="42"/>
                  </a:lnTo>
                  <a:lnTo>
                    <a:pt x="268" y="43"/>
                  </a:lnTo>
                  <a:lnTo>
                    <a:pt x="266" y="41"/>
                  </a:lnTo>
                  <a:lnTo>
                    <a:pt x="264" y="40"/>
                  </a:lnTo>
                  <a:lnTo>
                    <a:pt x="261" y="40"/>
                  </a:lnTo>
                  <a:lnTo>
                    <a:pt x="258" y="39"/>
                  </a:lnTo>
                  <a:lnTo>
                    <a:pt x="255" y="39"/>
                  </a:lnTo>
                  <a:lnTo>
                    <a:pt x="253" y="38"/>
                  </a:lnTo>
                  <a:lnTo>
                    <a:pt x="247" y="39"/>
                  </a:lnTo>
                  <a:lnTo>
                    <a:pt x="244" y="40"/>
                  </a:lnTo>
                  <a:lnTo>
                    <a:pt x="241" y="40"/>
                  </a:lnTo>
                  <a:lnTo>
                    <a:pt x="239" y="38"/>
                  </a:lnTo>
                  <a:lnTo>
                    <a:pt x="231" y="40"/>
                  </a:lnTo>
                  <a:lnTo>
                    <a:pt x="230" y="41"/>
                  </a:lnTo>
                  <a:lnTo>
                    <a:pt x="225" y="40"/>
                  </a:lnTo>
                  <a:lnTo>
                    <a:pt x="220" y="40"/>
                  </a:lnTo>
                  <a:lnTo>
                    <a:pt x="222" y="37"/>
                  </a:lnTo>
                  <a:lnTo>
                    <a:pt x="219" y="37"/>
                  </a:lnTo>
                  <a:lnTo>
                    <a:pt x="216" y="37"/>
                  </a:lnTo>
                  <a:lnTo>
                    <a:pt x="211" y="37"/>
                  </a:lnTo>
                  <a:lnTo>
                    <a:pt x="216" y="36"/>
                  </a:lnTo>
                  <a:lnTo>
                    <a:pt x="213" y="36"/>
                  </a:lnTo>
                  <a:lnTo>
                    <a:pt x="214" y="32"/>
                  </a:lnTo>
                  <a:lnTo>
                    <a:pt x="215" y="30"/>
                  </a:lnTo>
                  <a:lnTo>
                    <a:pt x="213" y="29"/>
                  </a:lnTo>
                  <a:lnTo>
                    <a:pt x="211" y="30"/>
                  </a:lnTo>
                  <a:lnTo>
                    <a:pt x="207" y="30"/>
                  </a:lnTo>
                  <a:lnTo>
                    <a:pt x="202" y="28"/>
                  </a:lnTo>
                  <a:lnTo>
                    <a:pt x="199" y="29"/>
                  </a:lnTo>
                  <a:lnTo>
                    <a:pt x="194" y="29"/>
                  </a:lnTo>
                  <a:lnTo>
                    <a:pt x="190" y="31"/>
                  </a:lnTo>
                  <a:lnTo>
                    <a:pt x="185" y="30"/>
                  </a:lnTo>
                  <a:lnTo>
                    <a:pt x="182" y="28"/>
                  </a:lnTo>
                  <a:lnTo>
                    <a:pt x="184" y="25"/>
                  </a:lnTo>
                  <a:lnTo>
                    <a:pt x="180" y="23"/>
                  </a:lnTo>
                  <a:lnTo>
                    <a:pt x="178" y="25"/>
                  </a:lnTo>
                  <a:lnTo>
                    <a:pt x="176" y="23"/>
                  </a:lnTo>
                  <a:lnTo>
                    <a:pt x="171" y="28"/>
                  </a:lnTo>
                  <a:lnTo>
                    <a:pt x="170" y="30"/>
                  </a:lnTo>
                  <a:lnTo>
                    <a:pt x="164" y="30"/>
                  </a:lnTo>
                  <a:lnTo>
                    <a:pt x="165" y="30"/>
                  </a:lnTo>
                  <a:lnTo>
                    <a:pt x="162" y="28"/>
                  </a:lnTo>
                  <a:lnTo>
                    <a:pt x="165" y="26"/>
                  </a:lnTo>
                  <a:lnTo>
                    <a:pt x="168" y="26"/>
                  </a:lnTo>
                  <a:lnTo>
                    <a:pt x="171" y="23"/>
                  </a:lnTo>
                  <a:lnTo>
                    <a:pt x="168" y="21"/>
                  </a:lnTo>
                  <a:lnTo>
                    <a:pt x="157" y="19"/>
                  </a:lnTo>
                  <a:lnTo>
                    <a:pt x="159" y="16"/>
                  </a:lnTo>
                  <a:lnTo>
                    <a:pt x="153" y="19"/>
                  </a:lnTo>
                  <a:lnTo>
                    <a:pt x="151" y="21"/>
                  </a:lnTo>
                  <a:lnTo>
                    <a:pt x="148" y="24"/>
                  </a:lnTo>
                  <a:lnTo>
                    <a:pt x="144" y="26"/>
                  </a:lnTo>
                  <a:lnTo>
                    <a:pt x="139" y="29"/>
                  </a:lnTo>
                  <a:lnTo>
                    <a:pt x="137" y="30"/>
                  </a:lnTo>
                  <a:lnTo>
                    <a:pt x="123" y="31"/>
                  </a:lnTo>
                  <a:lnTo>
                    <a:pt x="120" y="32"/>
                  </a:lnTo>
                  <a:lnTo>
                    <a:pt x="118" y="31"/>
                  </a:lnTo>
                  <a:lnTo>
                    <a:pt x="120" y="29"/>
                  </a:lnTo>
                  <a:lnTo>
                    <a:pt x="116" y="31"/>
                  </a:lnTo>
                  <a:lnTo>
                    <a:pt x="110" y="34"/>
                  </a:lnTo>
                  <a:lnTo>
                    <a:pt x="110" y="36"/>
                  </a:lnTo>
                  <a:lnTo>
                    <a:pt x="112" y="37"/>
                  </a:lnTo>
                  <a:lnTo>
                    <a:pt x="118" y="39"/>
                  </a:lnTo>
                  <a:lnTo>
                    <a:pt x="112" y="39"/>
                  </a:lnTo>
                  <a:lnTo>
                    <a:pt x="111" y="42"/>
                  </a:lnTo>
                  <a:lnTo>
                    <a:pt x="112" y="45"/>
                  </a:lnTo>
                  <a:lnTo>
                    <a:pt x="110" y="42"/>
                  </a:lnTo>
                  <a:lnTo>
                    <a:pt x="108" y="42"/>
                  </a:lnTo>
                  <a:lnTo>
                    <a:pt x="110" y="40"/>
                  </a:lnTo>
                  <a:lnTo>
                    <a:pt x="110" y="39"/>
                  </a:lnTo>
                  <a:lnTo>
                    <a:pt x="106" y="39"/>
                  </a:lnTo>
                  <a:lnTo>
                    <a:pt x="110" y="38"/>
                  </a:lnTo>
                  <a:lnTo>
                    <a:pt x="110" y="36"/>
                  </a:lnTo>
                  <a:lnTo>
                    <a:pt x="108" y="36"/>
                  </a:lnTo>
                  <a:lnTo>
                    <a:pt x="96" y="43"/>
                  </a:lnTo>
                  <a:lnTo>
                    <a:pt x="93" y="43"/>
                  </a:lnTo>
                  <a:lnTo>
                    <a:pt x="88" y="45"/>
                  </a:lnTo>
                  <a:lnTo>
                    <a:pt x="85" y="46"/>
                  </a:lnTo>
                  <a:lnTo>
                    <a:pt x="83" y="46"/>
                  </a:lnTo>
                  <a:lnTo>
                    <a:pt x="85" y="45"/>
                  </a:lnTo>
                  <a:lnTo>
                    <a:pt x="86" y="43"/>
                  </a:lnTo>
                  <a:lnTo>
                    <a:pt x="83" y="43"/>
                  </a:lnTo>
                  <a:lnTo>
                    <a:pt x="80" y="46"/>
                  </a:lnTo>
                  <a:lnTo>
                    <a:pt x="77" y="48"/>
                  </a:lnTo>
                  <a:lnTo>
                    <a:pt x="76" y="51"/>
                  </a:lnTo>
                  <a:lnTo>
                    <a:pt x="70" y="56"/>
                  </a:lnTo>
                  <a:lnTo>
                    <a:pt x="69" y="58"/>
                  </a:lnTo>
                  <a:lnTo>
                    <a:pt x="68" y="59"/>
                  </a:lnTo>
                  <a:lnTo>
                    <a:pt x="67" y="60"/>
                  </a:lnTo>
                  <a:lnTo>
                    <a:pt x="67" y="63"/>
                  </a:lnTo>
                  <a:lnTo>
                    <a:pt x="66" y="66"/>
                  </a:lnTo>
                  <a:lnTo>
                    <a:pt x="61" y="72"/>
                  </a:lnTo>
                  <a:lnTo>
                    <a:pt x="56" y="75"/>
                  </a:lnTo>
                  <a:lnTo>
                    <a:pt x="53" y="76"/>
                  </a:lnTo>
                  <a:lnTo>
                    <a:pt x="49" y="76"/>
                  </a:lnTo>
                  <a:lnTo>
                    <a:pt x="33" y="79"/>
                  </a:lnTo>
                  <a:lnTo>
                    <a:pt x="27" y="77"/>
                  </a:lnTo>
                  <a:lnTo>
                    <a:pt x="24" y="79"/>
                  </a:lnTo>
                  <a:lnTo>
                    <a:pt x="25" y="81"/>
                  </a:lnTo>
                  <a:lnTo>
                    <a:pt x="23" y="89"/>
                  </a:lnTo>
                  <a:lnTo>
                    <a:pt x="19" y="90"/>
                  </a:lnTo>
                  <a:lnTo>
                    <a:pt x="18" y="90"/>
                  </a:lnTo>
                  <a:lnTo>
                    <a:pt x="18" y="91"/>
                  </a:lnTo>
                  <a:lnTo>
                    <a:pt x="20" y="91"/>
                  </a:lnTo>
                  <a:lnTo>
                    <a:pt x="24" y="92"/>
                  </a:lnTo>
                  <a:lnTo>
                    <a:pt x="26" y="93"/>
                  </a:lnTo>
                  <a:lnTo>
                    <a:pt x="28" y="96"/>
                  </a:lnTo>
                  <a:lnTo>
                    <a:pt x="32" y="97"/>
                  </a:lnTo>
                  <a:lnTo>
                    <a:pt x="36" y="98"/>
                  </a:lnTo>
                  <a:lnTo>
                    <a:pt x="42" y="101"/>
                  </a:lnTo>
                  <a:lnTo>
                    <a:pt x="45" y="104"/>
                  </a:lnTo>
                  <a:lnTo>
                    <a:pt x="45" y="104"/>
                  </a:lnTo>
                  <a:lnTo>
                    <a:pt x="54" y="108"/>
                  </a:lnTo>
                  <a:lnTo>
                    <a:pt x="58" y="114"/>
                  </a:lnTo>
                  <a:lnTo>
                    <a:pt x="59" y="119"/>
                  </a:lnTo>
                  <a:lnTo>
                    <a:pt x="67" y="120"/>
                  </a:lnTo>
                  <a:lnTo>
                    <a:pt x="72" y="120"/>
                  </a:lnTo>
                  <a:lnTo>
                    <a:pt x="72" y="122"/>
                  </a:lnTo>
                  <a:lnTo>
                    <a:pt x="76" y="120"/>
                  </a:lnTo>
                  <a:lnTo>
                    <a:pt x="76" y="118"/>
                  </a:lnTo>
                  <a:lnTo>
                    <a:pt x="78" y="120"/>
                  </a:lnTo>
                  <a:lnTo>
                    <a:pt x="80" y="122"/>
                  </a:lnTo>
                  <a:lnTo>
                    <a:pt x="84" y="120"/>
                  </a:lnTo>
                  <a:lnTo>
                    <a:pt x="86" y="122"/>
                  </a:lnTo>
                  <a:lnTo>
                    <a:pt x="89" y="123"/>
                  </a:lnTo>
                  <a:lnTo>
                    <a:pt x="86" y="123"/>
                  </a:lnTo>
                  <a:lnTo>
                    <a:pt x="84" y="126"/>
                  </a:lnTo>
                  <a:lnTo>
                    <a:pt x="85" y="130"/>
                  </a:lnTo>
                  <a:lnTo>
                    <a:pt x="88" y="132"/>
                  </a:lnTo>
                  <a:lnTo>
                    <a:pt x="92" y="133"/>
                  </a:lnTo>
                  <a:lnTo>
                    <a:pt x="94" y="130"/>
                  </a:lnTo>
                  <a:lnTo>
                    <a:pt x="97" y="130"/>
                  </a:lnTo>
                  <a:lnTo>
                    <a:pt x="100" y="131"/>
                  </a:lnTo>
                  <a:lnTo>
                    <a:pt x="105" y="131"/>
                  </a:lnTo>
                  <a:lnTo>
                    <a:pt x="106" y="133"/>
                  </a:lnTo>
                  <a:lnTo>
                    <a:pt x="105" y="135"/>
                  </a:lnTo>
                  <a:lnTo>
                    <a:pt x="100" y="136"/>
                  </a:lnTo>
                  <a:lnTo>
                    <a:pt x="97" y="135"/>
                  </a:lnTo>
                  <a:lnTo>
                    <a:pt x="94" y="134"/>
                  </a:lnTo>
                  <a:lnTo>
                    <a:pt x="92" y="133"/>
                  </a:lnTo>
                  <a:lnTo>
                    <a:pt x="89" y="134"/>
                  </a:lnTo>
                  <a:lnTo>
                    <a:pt x="86" y="134"/>
                  </a:lnTo>
                  <a:lnTo>
                    <a:pt x="84" y="132"/>
                  </a:lnTo>
                  <a:lnTo>
                    <a:pt x="82" y="130"/>
                  </a:lnTo>
                  <a:lnTo>
                    <a:pt x="82" y="127"/>
                  </a:lnTo>
                  <a:lnTo>
                    <a:pt x="79" y="125"/>
                  </a:lnTo>
                  <a:lnTo>
                    <a:pt x="76" y="124"/>
                  </a:lnTo>
                  <a:lnTo>
                    <a:pt x="74" y="125"/>
                  </a:lnTo>
                  <a:lnTo>
                    <a:pt x="76" y="128"/>
                  </a:lnTo>
                  <a:lnTo>
                    <a:pt x="78" y="128"/>
                  </a:lnTo>
                  <a:lnTo>
                    <a:pt x="84" y="134"/>
                  </a:lnTo>
                  <a:lnTo>
                    <a:pt x="84" y="136"/>
                  </a:lnTo>
                  <a:lnTo>
                    <a:pt x="87" y="135"/>
                  </a:lnTo>
                  <a:lnTo>
                    <a:pt x="93" y="136"/>
                  </a:lnTo>
                  <a:lnTo>
                    <a:pt x="95" y="139"/>
                  </a:lnTo>
                  <a:lnTo>
                    <a:pt x="95" y="141"/>
                  </a:lnTo>
                  <a:lnTo>
                    <a:pt x="89" y="139"/>
                  </a:lnTo>
                  <a:lnTo>
                    <a:pt x="87" y="140"/>
                  </a:lnTo>
                  <a:lnTo>
                    <a:pt x="85" y="143"/>
                  </a:lnTo>
                  <a:lnTo>
                    <a:pt x="85" y="143"/>
                  </a:lnTo>
                  <a:lnTo>
                    <a:pt x="83" y="144"/>
                  </a:lnTo>
                  <a:lnTo>
                    <a:pt x="80" y="143"/>
                  </a:lnTo>
                  <a:lnTo>
                    <a:pt x="77" y="144"/>
                  </a:lnTo>
                  <a:lnTo>
                    <a:pt x="75" y="144"/>
                  </a:lnTo>
                  <a:lnTo>
                    <a:pt x="71" y="142"/>
                  </a:lnTo>
                  <a:lnTo>
                    <a:pt x="69" y="142"/>
                  </a:lnTo>
                  <a:lnTo>
                    <a:pt x="67" y="143"/>
                  </a:lnTo>
                  <a:lnTo>
                    <a:pt x="63" y="143"/>
                  </a:lnTo>
                  <a:lnTo>
                    <a:pt x="58" y="143"/>
                  </a:lnTo>
                  <a:lnTo>
                    <a:pt x="56" y="140"/>
                  </a:lnTo>
                  <a:lnTo>
                    <a:pt x="53" y="140"/>
                  </a:lnTo>
                  <a:lnTo>
                    <a:pt x="56" y="140"/>
                  </a:lnTo>
                  <a:lnTo>
                    <a:pt x="58" y="134"/>
                  </a:lnTo>
                  <a:lnTo>
                    <a:pt x="58" y="132"/>
                  </a:lnTo>
                  <a:lnTo>
                    <a:pt x="50" y="132"/>
                  </a:lnTo>
                  <a:lnTo>
                    <a:pt x="48" y="132"/>
                  </a:lnTo>
                  <a:lnTo>
                    <a:pt x="42" y="134"/>
                  </a:lnTo>
                  <a:lnTo>
                    <a:pt x="36" y="135"/>
                  </a:lnTo>
                  <a:lnTo>
                    <a:pt x="32" y="137"/>
                  </a:lnTo>
                  <a:lnTo>
                    <a:pt x="31" y="140"/>
                  </a:lnTo>
                  <a:lnTo>
                    <a:pt x="34" y="141"/>
                  </a:lnTo>
                  <a:lnTo>
                    <a:pt x="31" y="142"/>
                  </a:lnTo>
                  <a:lnTo>
                    <a:pt x="26" y="141"/>
                  </a:lnTo>
                  <a:lnTo>
                    <a:pt x="23" y="141"/>
                  </a:lnTo>
                  <a:lnTo>
                    <a:pt x="17" y="144"/>
                  </a:lnTo>
                  <a:lnTo>
                    <a:pt x="15" y="147"/>
                  </a:lnTo>
                  <a:lnTo>
                    <a:pt x="12" y="148"/>
                  </a:lnTo>
                  <a:lnTo>
                    <a:pt x="10" y="148"/>
                  </a:lnTo>
                  <a:lnTo>
                    <a:pt x="7" y="149"/>
                  </a:lnTo>
                  <a:lnTo>
                    <a:pt x="6" y="151"/>
                  </a:lnTo>
                  <a:lnTo>
                    <a:pt x="2" y="151"/>
                  </a:lnTo>
                  <a:lnTo>
                    <a:pt x="0" y="153"/>
                  </a:lnTo>
                  <a:lnTo>
                    <a:pt x="0" y="154"/>
                  </a:lnTo>
                  <a:lnTo>
                    <a:pt x="8" y="158"/>
                  </a:lnTo>
                  <a:lnTo>
                    <a:pt x="14" y="159"/>
                  </a:lnTo>
                  <a:lnTo>
                    <a:pt x="16" y="159"/>
                  </a:lnTo>
                  <a:lnTo>
                    <a:pt x="18" y="160"/>
                  </a:lnTo>
                  <a:lnTo>
                    <a:pt x="16" y="159"/>
                  </a:lnTo>
                  <a:lnTo>
                    <a:pt x="24" y="160"/>
                  </a:lnTo>
                  <a:lnTo>
                    <a:pt x="27" y="162"/>
                  </a:lnTo>
                  <a:lnTo>
                    <a:pt x="22" y="162"/>
                  </a:lnTo>
                  <a:lnTo>
                    <a:pt x="19" y="165"/>
                  </a:lnTo>
                  <a:lnTo>
                    <a:pt x="17" y="165"/>
                  </a:lnTo>
                  <a:lnTo>
                    <a:pt x="15" y="162"/>
                  </a:lnTo>
                  <a:lnTo>
                    <a:pt x="16" y="166"/>
                  </a:lnTo>
                  <a:lnTo>
                    <a:pt x="18" y="168"/>
                  </a:lnTo>
                  <a:lnTo>
                    <a:pt x="22" y="170"/>
                  </a:lnTo>
                  <a:lnTo>
                    <a:pt x="20" y="173"/>
                  </a:lnTo>
                  <a:lnTo>
                    <a:pt x="23" y="175"/>
                  </a:lnTo>
                  <a:lnTo>
                    <a:pt x="25" y="176"/>
                  </a:lnTo>
                  <a:lnTo>
                    <a:pt x="36" y="178"/>
                  </a:lnTo>
                  <a:lnTo>
                    <a:pt x="39" y="179"/>
                  </a:lnTo>
                  <a:lnTo>
                    <a:pt x="50" y="177"/>
                  </a:lnTo>
                  <a:lnTo>
                    <a:pt x="59" y="176"/>
                  </a:lnTo>
                  <a:lnTo>
                    <a:pt x="61" y="177"/>
                  </a:lnTo>
                  <a:lnTo>
                    <a:pt x="63" y="178"/>
                  </a:lnTo>
                  <a:lnTo>
                    <a:pt x="67" y="181"/>
                  </a:lnTo>
                  <a:lnTo>
                    <a:pt x="66" y="175"/>
                  </a:lnTo>
                  <a:lnTo>
                    <a:pt x="71" y="179"/>
                  </a:lnTo>
                  <a:lnTo>
                    <a:pt x="74" y="181"/>
                  </a:lnTo>
                  <a:lnTo>
                    <a:pt x="75" y="178"/>
                  </a:lnTo>
                  <a:lnTo>
                    <a:pt x="77" y="176"/>
                  </a:lnTo>
                  <a:lnTo>
                    <a:pt x="80" y="174"/>
                  </a:lnTo>
                  <a:lnTo>
                    <a:pt x="83" y="174"/>
                  </a:lnTo>
                  <a:lnTo>
                    <a:pt x="85" y="171"/>
                  </a:lnTo>
                  <a:lnTo>
                    <a:pt x="88" y="173"/>
                  </a:lnTo>
                  <a:lnTo>
                    <a:pt x="91" y="171"/>
                  </a:lnTo>
                  <a:lnTo>
                    <a:pt x="93" y="169"/>
                  </a:lnTo>
                  <a:lnTo>
                    <a:pt x="96" y="168"/>
                  </a:lnTo>
                  <a:lnTo>
                    <a:pt x="95" y="170"/>
                  </a:lnTo>
                  <a:lnTo>
                    <a:pt x="97" y="171"/>
                  </a:lnTo>
                  <a:lnTo>
                    <a:pt x="99" y="175"/>
                  </a:lnTo>
                  <a:lnTo>
                    <a:pt x="96" y="177"/>
                  </a:lnTo>
                  <a:lnTo>
                    <a:pt x="94" y="178"/>
                  </a:lnTo>
                  <a:lnTo>
                    <a:pt x="91" y="177"/>
                  </a:lnTo>
                  <a:lnTo>
                    <a:pt x="91" y="179"/>
                  </a:lnTo>
                  <a:lnTo>
                    <a:pt x="93" y="181"/>
                  </a:lnTo>
                  <a:lnTo>
                    <a:pt x="96" y="185"/>
                  </a:lnTo>
                  <a:lnTo>
                    <a:pt x="97" y="188"/>
                  </a:lnTo>
                  <a:lnTo>
                    <a:pt x="99" y="191"/>
                  </a:lnTo>
                  <a:lnTo>
                    <a:pt x="99" y="194"/>
                  </a:lnTo>
                  <a:lnTo>
                    <a:pt x="97" y="196"/>
                  </a:lnTo>
                  <a:lnTo>
                    <a:pt x="95" y="199"/>
                  </a:lnTo>
                  <a:lnTo>
                    <a:pt x="92" y="201"/>
                  </a:lnTo>
                  <a:lnTo>
                    <a:pt x="84" y="201"/>
                  </a:lnTo>
                  <a:lnTo>
                    <a:pt x="80" y="200"/>
                  </a:lnTo>
                  <a:lnTo>
                    <a:pt x="78" y="200"/>
                  </a:lnTo>
                  <a:lnTo>
                    <a:pt x="74" y="205"/>
                  </a:lnTo>
                  <a:lnTo>
                    <a:pt x="71" y="207"/>
                  </a:lnTo>
                  <a:lnTo>
                    <a:pt x="68" y="209"/>
                  </a:lnTo>
                  <a:lnTo>
                    <a:pt x="66" y="210"/>
                  </a:lnTo>
                  <a:lnTo>
                    <a:pt x="63" y="210"/>
                  </a:lnTo>
                  <a:lnTo>
                    <a:pt x="60" y="210"/>
                  </a:lnTo>
                  <a:lnTo>
                    <a:pt x="58" y="211"/>
                  </a:lnTo>
                  <a:lnTo>
                    <a:pt x="60" y="209"/>
                  </a:lnTo>
                  <a:lnTo>
                    <a:pt x="59" y="207"/>
                  </a:lnTo>
                  <a:lnTo>
                    <a:pt x="54" y="205"/>
                  </a:lnTo>
                  <a:lnTo>
                    <a:pt x="49" y="207"/>
                  </a:lnTo>
                  <a:lnTo>
                    <a:pt x="48" y="209"/>
                  </a:lnTo>
                  <a:lnTo>
                    <a:pt x="50" y="211"/>
                  </a:lnTo>
                  <a:lnTo>
                    <a:pt x="46" y="210"/>
                  </a:lnTo>
                  <a:lnTo>
                    <a:pt x="44" y="213"/>
                  </a:lnTo>
                  <a:lnTo>
                    <a:pt x="44" y="216"/>
                  </a:lnTo>
                  <a:lnTo>
                    <a:pt x="43" y="216"/>
                  </a:lnTo>
                  <a:lnTo>
                    <a:pt x="45" y="219"/>
                  </a:lnTo>
                  <a:lnTo>
                    <a:pt x="49" y="217"/>
                  </a:lnTo>
                  <a:lnTo>
                    <a:pt x="45" y="219"/>
                  </a:lnTo>
                  <a:lnTo>
                    <a:pt x="44" y="222"/>
                  </a:lnTo>
                  <a:lnTo>
                    <a:pt x="46" y="222"/>
                  </a:lnTo>
                  <a:lnTo>
                    <a:pt x="44" y="222"/>
                  </a:lnTo>
                  <a:lnTo>
                    <a:pt x="42" y="221"/>
                  </a:lnTo>
                  <a:lnTo>
                    <a:pt x="40" y="221"/>
                  </a:lnTo>
                  <a:lnTo>
                    <a:pt x="32" y="230"/>
                  </a:lnTo>
                  <a:lnTo>
                    <a:pt x="31" y="233"/>
                  </a:lnTo>
                  <a:lnTo>
                    <a:pt x="33" y="235"/>
                  </a:lnTo>
                  <a:lnTo>
                    <a:pt x="31" y="236"/>
                  </a:lnTo>
                  <a:lnTo>
                    <a:pt x="28" y="238"/>
                  </a:lnTo>
                  <a:lnTo>
                    <a:pt x="31" y="239"/>
                  </a:lnTo>
                  <a:lnTo>
                    <a:pt x="28" y="239"/>
                  </a:lnTo>
                  <a:lnTo>
                    <a:pt x="25" y="239"/>
                  </a:lnTo>
                  <a:lnTo>
                    <a:pt x="27" y="242"/>
                  </a:lnTo>
                  <a:lnTo>
                    <a:pt x="29" y="244"/>
                  </a:lnTo>
                  <a:lnTo>
                    <a:pt x="29" y="246"/>
                  </a:lnTo>
                  <a:lnTo>
                    <a:pt x="33" y="248"/>
                  </a:lnTo>
                  <a:lnTo>
                    <a:pt x="33" y="251"/>
                  </a:lnTo>
                  <a:lnTo>
                    <a:pt x="36" y="250"/>
                  </a:lnTo>
                  <a:lnTo>
                    <a:pt x="39" y="247"/>
                  </a:lnTo>
                  <a:lnTo>
                    <a:pt x="39" y="244"/>
                  </a:lnTo>
                  <a:lnTo>
                    <a:pt x="44" y="241"/>
                  </a:lnTo>
                  <a:lnTo>
                    <a:pt x="45" y="241"/>
                  </a:lnTo>
                  <a:lnTo>
                    <a:pt x="43" y="243"/>
                  </a:lnTo>
                  <a:lnTo>
                    <a:pt x="41" y="244"/>
                  </a:lnTo>
                  <a:lnTo>
                    <a:pt x="36" y="250"/>
                  </a:lnTo>
                  <a:lnTo>
                    <a:pt x="40" y="248"/>
                  </a:lnTo>
                  <a:lnTo>
                    <a:pt x="40" y="251"/>
                  </a:lnTo>
                  <a:lnTo>
                    <a:pt x="42" y="253"/>
                  </a:lnTo>
                  <a:lnTo>
                    <a:pt x="40" y="255"/>
                  </a:lnTo>
                  <a:lnTo>
                    <a:pt x="43" y="254"/>
                  </a:lnTo>
                  <a:lnTo>
                    <a:pt x="45" y="254"/>
                  </a:lnTo>
                  <a:lnTo>
                    <a:pt x="49" y="256"/>
                  </a:lnTo>
                  <a:lnTo>
                    <a:pt x="54" y="256"/>
                  </a:lnTo>
                  <a:lnTo>
                    <a:pt x="59" y="253"/>
                  </a:lnTo>
                  <a:lnTo>
                    <a:pt x="59" y="256"/>
                  </a:lnTo>
                  <a:lnTo>
                    <a:pt x="57" y="256"/>
                  </a:lnTo>
                  <a:lnTo>
                    <a:pt x="59" y="256"/>
                  </a:lnTo>
                  <a:lnTo>
                    <a:pt x="61" y="258"/>
                  </a:lnTo>
                  <a:lnTo>
                    <a:pt x="62" y="260"/>
                  </a:lnTo>
                  <a:lnTo>
                    <a:pt x="59" y="262"/>
                  </a:lnTo>
                  <a:lnTo>
                    <a:pt x="57" y="261"/>
                  </a:lnTo>
                  <a:lnTo>
                    <a:pt x="57" y="258"/>
                  </a:lnTo>
                  <a:lnTo>
                    <a:pt x="54" y="259"/>
                  </a:lnTo>
                  <a:lnTo>
                    <a:pt x="49" y="262"/>
                  </a:lnTo>
                  <a:lnTo>
                    <a:pt x="51" y="260"/>
                  </a:lnTo>
                  <a:lnTo>
                    <a:pt x="50" y="258"/>
                  </a:lnTo>
                  <a:lnTo>
                    <a:pt x="48" y="258"/>
                  </a:lnTo>
                  <a:lnTo>
                    <a:pt x="44" y="255"/>
                  </a:lnTo>
                  <a:lnTo>
                    <a:pt x="42" y="255"/>
                  </a:lnTo>
                  <a:lnTo>
                    <a:pt x="41" y="258"/>
                  </a:lnTo>
                  <a:lnTo>
                    <a:pt x="36" y="263"/>
                  </a:lnTo>
                  <a:lnTo>
                    <a:pt x="42" y="263"/>
                  </a:lnTo>
                  <a:lnTo>
                    <a:pt x="40" y="265"/>
                  </a:lnTo>
                  <a:lnTo>
                    <a:pt x="42" y="267"/>
                  </a:lnTo>
                  <a:lnTo>
                    <a:pt x="44" y="268"/>
                  </a:lnTo>
                  <a:lnTo>
                    <a:pt x="45" y="268"/>
                  </a:lnTo>
                  <a:lnTo>
                    <a:pt x="51" y="272"/>
                  </a:lnTo>
                  <a:lnTo>
                    <a:pt x="53" y="273"/>
                  </a:lnTo>
                  <a:lnTo>
                    <a:pt x="53" y="277"/>
                  </a:lnTo>
                  <a:lnTo>
                    <a:pt x="56" y="278"/>
                  </a:lnTo>
                  <a:lnTo>
                    <a:pt x="58" y="278"/>
                  </a:lnTo>
                  <a:lnTo>
                    <a:pt x="63" y="278"/>
                  </a:lnTo>
                  <a:lnTo>
                    <a:pt x="67" y="277"/>
                  </a:lnTo>
                  <a:lnTo>
                    <a:pt x="69" y="276"/>
                  </a:lnTo>
                  <a:lnTo>
                    <a:pt x="71" y="273"/>
                  </a:lnTo>
                  <a:lnTo>
                    <a:pt x="75" y="273"/>
                  </a:lnTo>
                  <a:lnTo>
                    <a:pt x="76" y="272"/>
                  </a:lnTo>
                  <a:lnTo>
                    <a:pt x="76" y="270"/>
                  </a:lnTo>
                  <a:lnTo>
                    <a:pt x="75" y="267"/>
                  </a:lnTo>
                  <a:lnTo>
                    <a:pt x="77" y="264"/>
                  </a:lnTo>
                  <a:lnTo>
                    <a:pt x="80" y="259"/>
                  </a:lnTo>
                  <a:lnTo>
                    <a:pt x="82" y="260"/>
                  </a:lnTo>
                  <a:lnTo>
                    <a:pt x="84" y="260"/>
                  </a:lnTo>
                  <a:lnTo>
                    <a:pt x="82" y="261"/>
                  </a:lnTo>
                  <a:lnTo>
                    <a:pt x="79" y="263"/>
                  </a:lnTo>
                  <a:lnTo>
                    <a:pt x="77" y="267"/>
                  </a:lnTo>
                  <a:lnTo>
                    <a:pt x="77" y="269"/>
                  </a:lnTo>
                  <a:lnTo>
                    <a:pt x="79" y="271"/>
                  </a:lnTo>
                  <a:lnTo>
                    <a:pt x="79" y="273"/>
                  </a:lnTo>
                  <a:lnTo>
                    <a:pt x="83" y="279"/>
                  </a:lnTo>
                  <a:lnTo>
                    <a:pt x="84" y="281"/>
                  </a:lnTo>
                  <a:lnTo>
                    <a:pt x="86" y="284"/>
                  </a:lnTo>
                  <a:lnTo>
                    <a:pt x="84" y="286"/>
                  </a:lnTo>
                  <a:lnTo>
                    <a:pt x="82" y="289"/>
                  </a:lnTo>
                  <a:lnTo>
                    <a:pt x="84" y="291"/>
                  </a:lnTo>
                  <a:lnTo>
                    <a:pt x="87" y="293"/>
                  </a:lnTo>
                  <a:lnTo>
                    <a:pt x="84" y="294"/>
                  </a:lnTo>
                  <a:lnTo>
                    <a:pt x="85" y="299"/>
                  </a:lnTo>
                  <a:lnTo>
                    <a:pt x="83" y="301"/>
                  </a:lnTo>
                  <a:lnTo>
                    <a:pt x="80" y="301"/>
                  </a:lnTo>
                  <a:lnTo>
                    <a:pt x="88" y="302"/>
                  </a:lnTo>
                  <a:lnTo>
                    <a:pt x="91" y="301"/>
                  </a:lnTo>
                  <a:lnTo>
                    <a:pt x="92" y="298"/>
                  </a:lnTo>
                  <a:lnTo>
                    <a:pt x="94" y="298"/>
                  </a:lnTo>
                  <a:lnTo>
                    <a:pt x="100" y="296"/>
                  </a:lnTo>
                  <a:lnTo>
                    <a:pt x="102" y="294"/>
                  </a:lnTo>
                  <a:lnTo>
                    <a:pt x="105" y="293"/>
                  </a:lnTo>
                  <a:lnTo>
                    <a:pt x="106" y="296"/>
                  </a:lnTo>
                  <a:lnTo>
                    <a:pt x="110" y="297"/>
                  </a:lnTo>
                  <a:lnTo>
                    <a:pt x="112" y="298"/>
                  </a:lnTo>
                  <a:lnTo>
                    <a:pt x="113" y="296"/>
                  </a:lnTo>
                  <a:lnTo>
                    <a:pt x="116" y="297"/>
                  </a:lnTo>
                  <a:lnTo>
                    <a:pt x="119" y="301"/>
                  </a:lnTo>
                  <a:lnTo>
                    <a:pt x="122" y="305"/>
                  </a:lnTo>
                  <a:lnTo>
                    <a:pt x="123" y="306"/>
                  </a:lnTo>
                  <a:lnTo>
                    <a:pt x="127" y="304"/>
                  </a:lnTo>
                  <a:lnTo>
                    <a:pt x="125" y="301"/>
                  </a:lnTo>
                  <a:lnTo>
                    <a:pt x="130" y="293"/>
                  </a:lnTo>
                  <a:lnTo>
                    <a:pt x="129" y="290"/>
                  </a:lnTo>
                  <a:lnTo>
                    <a:pt x="131" y="293"/>
                  </a:lnTo>
                  <a:lnTo>
                    <a:pt x="135" y="294"/>
                  </a:lnTo>
                  <a:lnTo>
                    <a:pt x="136" y="295"/>
                  </a:lnTo>
                  <a:lnTo>
                    <a:pt x="133" y="294"/>
                  </a:lnTo>
                  <a:lnTo>
                    <a:pt x="130" y="296"/>
                  </a:lnTo>
                  <a:lnTo>
                    <a:pt x="129" y="298"/>
                  </a:lnTo>
                  <a:lnTo>
                    <a:pt x="134" y="302"/>
                  </a:lnTo>
                  <a:lnTo>
                    <a:pt x="136" y="302"/>
                  </a:lnTo>
                  <a:lnTo>
                    <a:pt x="142" y="299"/>
                  </a:lnTo>
                  <a:lnTo>
                    <a:pt x="150" y="296"/>
                  </a:lnTo>
                  <a:lnTo>
                    <a:pt x="153" y="294"/>
                  </a:lnTo>
                  <a:lnTo>
                    <a:pt x="154" y="291"/>
                  </a:lnTo>
                  <a:lnTo>
                    <a:pt x="153" y="294"/>
                  </a:lnTo>
                  <a:lnTo>
                    <a:pt x="151" y="297"/>
                  </a:lnTo>
                  <a:lnTo>
                    <a:pt x="152" y="299"/>
                  </a:lnTo>
                  <a:lnTo>
                    <a:pt x="148" y="301"/>
                  </a:lnTo>
                  <a:lnTo>
                    <a:pt x="143" y="306"/>
                  </a:lnTo>
                  <a:lnTo>
                    <a:pt x="144" y="308"/>
                  </a:lnTo>
                  <a:lnTo>
                    <a:pt x="146" y="310"/>
                  </a:lnTo>
                  <a:lnTo>
                    <a:pt x="148" y="311"/>
                  </a:lnTo>
                  <a:lnTo>
                    <a:pt x="146" y="310"/>
                  </a:lnTo>
                  <a:lnTo>
                    <a:pt x="143" y="311"/>
                  </a:lnTo>
                  <a:lnTo>
                    <a:pt x="143" y="313"/>
                  </a:lnTo>
                  <a:lnTo>
                    <a:pt x="142" y="316"/>
                  </a:lnTo>
                  <a:lnTo>
                    <a:pt x="142" y="319"/>
                  </a:lnTo>
                  <a:lnTo>
                    <a:pt x="143" y="324"/>
                  </a:lnTo>
                  <a:lnTo>
                    <a:pt x="145" y="323"/>
                  </a:lnTo>
                  <a:lnTo>
                    <a:pt x="145" y="324"/>
                  </a:lnTo>
                  <a:lnTo>
                    <a:pt x="142" y="324"/>
                  </a:lnTo>
                  <a:lnTo>
                    <a:pt x="142" y="323"/>
                  </a:lnTo>
                  <a:lnTo>
                    <a:pt x="138" y="324"/>
                  </a:lnTo>
                  <a:lnTo>
                    <a:pt x="136" y="327"/>
                  </a:lnTo>
                  <a:lnTo>
                    <a:pt x="133" y="328"/>
                  </a:lnTo>
                  <a:lnTo>
                    <a:pt x="128" y="332"/>
                  </a:lnTo>
                  <a:lnTo>
                    <a:pt x="128" y="336"/>
                  </a:lnTo>
                  <a:lnTo>
                    <a:pt x="126" y="338"/>
                  </a:lnTo>
                  <a:lnTo>
                    <a:pt x="123" y="337"/>
                  </a:lnTo>
                  <a:lnTo>
                    <a:pt x="120" y="340"/>
                  </a:lnTo>
                  <a:lnTo>
                    <a:pt x="112" y="342"/>
                  </a:lnTo>
                  <a:lnTo>
                    <a:pt x="106" y="347"/>
                  </a:lnTo>
                  <a:lnTo>
                    <a:pt x="104" y="349"/>
                  </a:lnTo>
                  <a:lnTo>
                    <a:pt x="103" y="352"/>
                  </a:lnTo>
                  <a:lnTo>
                    <a:pt x="103" y="355"/>
                  </a:lnTo>
                  <a:lnTo>
                    <a:pt x="104" y="357"/>
                  </a:lnTo>
                  <a:lnTo>
                    <a:pt x="102" y="356"/>
                  </a:lnTo>
                  <a:lnTo>
                    <a:pt x="99" y="356"/>
                  </a:lnTo>
                  <a:lnTo>
                    <a:pt x="99" y="358"/>
                  </a:lnTo>
                  <a:lnTo>
                    <a:pt x="97" y="356"/>
                  </a:lnTo>
                  <a:lnTo>
                    <a:pt x="97" y="354"/>
                  </a:lnTo>
                  <a:lnTo>
                    <a:pt x="95" y="355"/>
                  </a:lnTo>
                  <a:lnTo>
                    <a:pt x="92" y="354"/>
                  </a:lnTo>
                  <a:lnTo>
                    <a:pt x="80" y="357"/>
                  </a:lnTo>
                  <a:lnTo>
                    <a:pt x="78" y="359"/>
                  </a:lnTo>
                  <a:lnTo>
                    <a:pt x="76" y="363"/>
                  </a:lnTo>
                  <a:lnTo>
                    <a:pt x="76" y="365"/>
                  </a:lnTo>
                  <a:lnTo>
                    <a:pt x="72" y="366"/>
                  </a:lnTo>
                  <a:lnTo>
                    <a:pt x="70" y="368"/>
                  </a:lnTo>
                  <a:lnTo>
                    <a:pt x="67" y="368"/>
                  </a:lnTo>
                  <a:lnTo>
                    <a:pt x="65" y="370"/>
                  </a:lnTo>
                  <a:lnTo>
                    <a:pt x="65" y="373"/>
                  </a:lnTo>
                  <a:lnTo>
                    <a:pt x="66" y="375"/>
                  </a:lnTo>
                  <a:lnTo>
                    <a:pt x="67" y="373"/>
                  </a:lnTo>
                  <a:lnTo>
                    <a:pt x="66" y="370"/>
                  </a:lnTo>
                  <a:lnTo>
                    <a:pt x="69" y="373"/>
                  </a:lnTo>
                  <a:lnTo>
                    <a:pt x="71" y="374"/>
                  </a:lnTo>
                  <a:lnTo>
                    <a:pt x="75" y="373"/>
                  </a:lnTo>
                  <a:lnTo>
                    <a:pt x="74" y="370"/>
                  </a:lnTo>
                  <a:lnTo>
                    <a:pt x="72" y="367"/>
                  </a:lnTo>
                  <a:lnTo>
                    <a:pt x="76" y="368"/>
                  </a:lnTo>
                  <a:lnTo>
                    <a:pt x="77" y="372"/>
                  </a:lnTo>
                  <a:lnTo>
                    <a:pt x="80" y="370"/>
                  </a:lnTo>
                  <a:lnTo>
                    <a:pt x="83" y="370"/>
                  </a:lnTo>
                  <a:lnTo>
                    <a:pt x="84" y="367"/>
                  </a:lnTo>
                  <a:lnTo>
                    <a:pt x="86" y="364"/>
                  </a:lnTo>
                  <a:lnTo>
                    <a:pt x="87" y="362"/>
                  </a:lnTo>
                  <a:lnTo>
                    <a:pt x="89" y="361"/>
                  </a:lnTo>
                  <a:lnTo>
                    <a:pt x="93" y="362"/>
                  </a:lnTo>
                  <a:lnTo>
                    <a:pt x="89" y="363"/>
                  </a:lnTo>
                  <a:lnTo>
                    <a:pt x="89" y="365"/>
                  </a:lnTo>
                  <a:lnTo>
                    <a:pt x="93" y="366"/>
                  </a:lnTo>
                  <a:lnTo>
                    <a:pt x="97" y="363"/>
                  </a:lnTo>
                  <a:lnTo>
                    <a:pt x="101" y="362"/>
                  </a:lnTo>
                  <a:lnTo>
                    <a:pt x="103" y="363"/>
                  </a:lnTo>
                  <a:lnTo>
                    <a:pt x="104" y="359"/>
                  </a:lnTo>
                  <a:lnTo>
                    <a:pt x="106" y="359"/>
                  </a:lnTo>
                  <a:lnTo>
                    <a:pt x="110" y="357"/>
                  </a:lnTo>
                  <a:lnTo>
                    <a:pt x="111" y="357"/>
                  </a:lnTo>
                  <a:lnTo>
                    <a:pt x="114" y="358"/>
                  </a:lnTo>
                  <a:lnTo>
                    <a:pt x="113" y="361"/>
                  </a:lnTo>
                  <a:lnTo>
                    <a:pt x="116" y="361"/>
                  </a:lnTo>
                  <a:lnTo>
                    <a:pt x="117" y="357"/>
                  </a:lnTo>
                  <a:lnTo>
                    <a:pt x="120" y="355"/>
                  </a:lnTo>
                  <a:lnTo>
                    <a:pt x="122" y="355"/>
                  </a:lnTo>
                  <a:lnTo>
                    <a:pt x="126" y="353"/>
                  </a:lnTo>
                  <a:lnTo>
                    <a:pt x="128" y="354"/>
                  </a:lnTo>
                  <a:lnTo>
                    <a:pt x="129" y="350"/>
                  </a:lnTo>
                  <a:lnTo>
                    <a:pt x="130" y="354"/>
                  </a:lnTo>
                  <a:lnTo>
                    <a:pt x="131" y="353"/>
                  </a:lnTo>
                  <a:lnTo>
                    <a:pt x="133" y="350"/>
                  </a:lnTo>
                  <a:lnTo>
                    <a:pt x="135" y="349"/>
                  </a:lnTo>
                  <a:lnTo>
                    <a:pt x="133" y="349"/>
                  </a:lnTo>
                  <a:lnTo>
                    <a:pt x="133" y="347"/>
                  </a:lnTo>
                  <a:lnTo>
                    <a:pt x="129" y="347"/>
                  </a:lnTo>
                  <a:lnTo>
                    <a:pt x="133" y="344"/>
                  </a:lnTo>
                  <a:lnTo>
                    <a:pt x="135" y="344"/>
                  </a:lnTo>
                  <a:lnTo>
                    <a:pt x="138" y="342"/>
                  </a:lnTo>
                  <a:lnTo>
                    <a:pt x="135" y="342"/>
                  </a:lnTo>
                  <a:lnTo>
                    <a:pt x="138" y="341"/>
                  </a:lnTo>
                  <a:lnTo>
                    <a:pt x="140" y="340"/>
                  </a:lnTo>
                  <a:lnTo>
                    <a:pt x="143" y="339"/>
                  </a:lnTo>
                  <a:lnTo>
                    <a:pt x="146" y="337"/>
                  </a:lnTo>
                  <a:lnTo>
                    <a:pt x="150" y="337"/>
                  </a:lnTo>
                  <a:lnTo>
                    <a:pt x="152" y="335"/>
                  </a:lnTo>
                  <a:lnTo>
                    <a:pt x="157" y="332"/>
                  </a:lnTo>
                  <a:lnTo>
                    <a:pt x="159" y="330"/>
                  </a:lnTo>
                  <a:lnTo>
                    <a:pt x="157" y="328"/>
                  </a:lnTo>
                  <a:lnTo>
                    <a:pt x="160" y="325"/>
                  </a:lnTo>
                  <a:lnTo>
                    <a:pt x="165" y="323"/>
                  </a:lnTo>
                  <a:lnTo>
                    <a:pt x="168" y="323"/>
                  </a:lnTo>
                  <a:lnTo>
                    <a:pt x="169" y="321"/>
                  </a:lnTo>
                  <a:lnTo>
                    <a:pt x="172" y="319"/>
                  </a:lnTo>
                  <a:lnTo>
                    <a:pt x="177" y="316"/>
                  </a:lnTo>
                  <a:lnTo>
                    <a:pt x="179" y="314"/>
                  </a:lnTo>
                  <a:lnTo>
                    <a:pt x="185" y="312"/>
                  </a:lnTo>
                  <a:lnTo>
                    <a:pt x="187" y="313"/>
                  </a:lnTo>
                  <a:lnTo>
                    <a:pt x="189" y="310"/>
                  </a:lnTo>
                  <a:lnTo>
                    <a:pt x="189" y="307"/>
                  </a:lnTo>
                  <a:lnTo>
                    <a:pt x="190" y="305"/>
                  </a:lnTo>
                  <a:lnTo>
                    <a:pt x="194" y="302"/>
                  </a:lnTo>
                  <a:lnTo>
                    <a:pt x="196" y="302"/>
                  </a:lnTo>
                  <a:lnTo>
                    <a:pt x="198" y="301"/>
                  </a:lnTo>
                  <a:lnTo>
                    <a:pt x="200" y="297"/>
                  </a:lnTo>
                  <a:lnTo>
                    <a:pt x="199" y="295"/>
                  </a:lnTo>
                  <a:lnTo>
                    <a:pt x="197" y="294"/>
                  </a:lnTo>
                  <a:lnTo>
                    <a:pt x="195" y="293"/>
                  </a:lnTo>
                  <a:lnTo>
                    <a:pt x="189" y="293"/>
                  </a:lnTo>
                  <a:lnTo>
                    <a:pt x="189" y="291"/>
                  </a:lnTo>
                  <a:lnTo>
                    <a:pt x="190" y="287"/>
                  </a:lnTo>
                  <a:lnTo>
                    <a:pt x="193" y="286"/>
                  </a:lnTo>
                  <a:lnTo>
                    <a:pt x="194" y="284"/>
                  </a:lnTo>
                  <a:lnTo>
                    <a:pt x="196" y="281"/>
                  </a:lnTo>
                  <a:lnTo>
                    <a:pt x="202" y="280"/>
                  </a:lnTo>
                  <a:lnTo>
                    <a:pt x="204" y="280"/>
                  </a:lnTo>
                  <a:lnTo>
                    <a:pt x="205" y="277"/>
                  </a:lnTo>
                  <a:lnTo>
                    <a:pt x="202" y="277"/>
                  </a:lnTo>
                  <a:lnTo>
                    <a:pt x="207" y="276"/>
                  </a:lnTo>
                  <a:lnTo>
                    <a:pt x="211" y="273"/>
                  </a:lnTo>
                  <a:lnTo>
                    <a:pt x="211" y="272"/>
                  </a:lnTo>
                  <a:lnTo>
                    <a:pt x="206" y="268"/>
                  </a:lnTo>
                  <a:lnTo>
                    <a:pt x="208" y="269"/>
                  </a:lnTo>
                  <a:lnTo>
                    <a:pt x="211" y="269"/>
                  </a:lnTo>
                  <a:lnTo>
                    <a:pt x="214" y="268"/>
                  </a:lnTo>
                  <a:lnTo>
                    <a:pt x="214" y="264"/>
                  </a:lnTo>
                  <a:lnTo>
                    <a:pt x="216" y="262"/>
                  </a:lnTo>
                  <a:lnTo>
                    <a:pt x="220" y="260"/>
                  </a:lnTo>
                  <a:lnTo>
                    <a:pt x="222" y="258"/>
                  </a:lnTo>
                  <a:lnTo>
                    <a:pt x="223" y="255"/>
                  </a:lnTo>
                  <a:lnTo>
                    <a:pt x="225" y="253"/>
                  </a:lnTo>
                  <a:lnTo>
                    <a:pt x="231" y="252"/>
                  </a:lnTo>
                  <a:lnTo>
                    <a:pt x="233" y="248"/>
                  </a:lnTo>
                  <a:lnTo>
                    <a:pt x="237" y="248"/>
                  </a:lnTo>
                  <a:lnTo>
                    <a:pt x="239" y="245"/>
                  </a:lnTo>
                  <a:lnTo>
                    <a:pt x="241" y="248"/>
                  </a:lnTo>
                  <a:lnTo>
                    <a:pt x="247" y="248"/>
                  </a:lnTo>
                  <a:lnTo>
                    <a:pt x="249" y="245"/>
                  </a:lnTo>
                  <a:lnTo>
                    <a:pt x="251" y="243"/>
                  </a:lnTo>
                  <a:lnTo>
                    <a:pt x="255" y="244"/>
                  </a:lnTo>
                  <a:lnTo>
                    <a:pt x="249" y="246"/>
                  </a:lnTo>
                  <a:lnTo>
                    <a:pt x="247" y="248"/>
                  </a:lnTo>
                  <a:lnTo>
                    <a:pt x="247" y="251"/>
                  </a:lnTo>
                  <a:lnTo>
                    <a:pt x="251" y="253"/>
                  </a:lnTo>
                  <a:lnTo>
                    <a:pt x="257" y="255"/>
                  </a:lnTo>
                  <a:lnTo>
                    <a:pt x="249" y="254"/>
                  </a:lnTo>
                  <a:lnTo>
                    <a:pt x="246" y="255"/>
                  </a:lnTo>
                  <a:lnTo>
                    <a:pt x="240" y="253"/>
                  </a:lnTo>
                  <a:lnTo>
                    <a:pt x="237" y="254"/>
                  </a:lnTo>
                  <a:lnTo>
                    <a:pt x="232" y="258"/>
                  </a:lnTo>
                  <a:lnTo>
                    <a:pt x="229" y="258"/>
                  </a:lnTo>
                  <a:lnTo>
                    <a:pt x="228" y="261"/>
                  </a:lnTo>
                  <a:lnTo>
                    <a:pt x="229" y="263"/>
                  </a:lnTo>
                  <a:lnTo>
                    <a:pt x="229" y="267"/>
                  </a:lnTo>
                  <a:lnTo>
                    <a:pt x="228" y="269"/>
                  </a:lnTo>
                  <a:lnTo>
                    <a:pt x="223" y="273"/>
                  </a:lnTo>
                  <a:lnTo>
                    <a:pt x="221" y="278"/>
                  </a:lnTo>
                  <a:lnTo>
                    <a:pt x="223" y="280"/>
                  </a:lnTo>
                  <a:lnTo>
                    <a:pt x="225" y="281"/>
                  </a:lnTo>
                  <a:lnTo>
                    <a:pt x="229" y="280"/>
                  </a:lnTo>
                  <a:lnTo>
                    <a:pt x="231" y="280"/>
                  </a:lnTo>
                  <a:lnTo>
                    <a:pt x="229" y="282"/>
                  </a:lnTo>
                  <a:lnTo>
                    <a:pt x="227" y="285"/>
                  </a:lnTo>
                  <a:lnTo>
                    <a:pt x="223" y="285"/>
                  </a:lnTo>
                  <a:lnTo>
                    <a:pt x="221" y="286"/>
                  </a:lnTo>
                  <a:lnTo>
                    <a:pt x="220" y="289"/>
                  </a:lnTo>
                  <a:lnTo>
                    <a:pt x="222" y="290"/>
                  </a:lnTo>
                  <a:lnTo>
                    <a:pt x="231" y="288"/>
                  </a:lnTo>
                  <a:lnTo>
                    <a:pt x="233" y="289"/>
                  </a:lnTo>
                  <a:lnTo>
                    <a:pt x="236" y="287"/>
                  </a:lnTo>
                  <a:lnTo>
                    <a:pt x="238" y="285"/>
                  </a:lnTo>
                  <a:lnTo>
                    <a:pt x="239" y="282"/>
                  </a:lnTo>
                  <a:lnTo>
                    <a:pt x="241" y="282"/>
                  </a:lnTo>
                  <a:lnTo>
                    <a:pt x="244" y="279"/>
                  </a:lnTo>
                  <a:lnTo>
                    <a:pt x="244" y="282"/>
                  </a:lnTo>
                  <a:lnTo>
                    <a:pt x="247" y="281"/>
                  </a:lnTo>
                  <a:lnTo>
                    <a:pt x="247" y="278"/>
                  </a:lnTo>
                  <a:lnTo>
                    <a:pt x="250" y="279"/>
                  </a:lnTo>
                  <a:lnTo>
                    <a:pt x="249" y="277"/>
                  </a:lnTo>
                  <a:lnTo>
                    <a:pt x="251" y="277"/>
                  </a:lnTo>
                  <a:lnTo>
                    <a:pt x="253" y="279"/>
                  </a:lnTo>
                  <a:lnTo>
                    <a:pt x="253" y="277"/>
                  </a:lnTo>
                  <a:lnTo>
                    <a:pt x="255" y="273"/>
                  </a:lnTo>
                  <a:lnTo>
                    <a:pt x="256" y="273"/>
                  </a:lnTo>
                  <a:lnTo>
                    <a:pt x="256" y="277"/>
                  </a:lnTo>
                  <a:lnTo>
                    <a:pt x="257" y="273"/>
                  </a:lnTo>
                  <a:lnTo>
                    <a:pt x="264" y="274"/>
                  </a:lnTo>
                  <a:lnTo>
                    <a:pt x="266" y="273"/>
                  </a:lnTo>
                  <a:lnTo>
                    <a:pt x="268" y="273"/>
                  </a:lnTo>
                  <a:lnTo>
                    <a:pt x="268" y="271"/>
                  </a:lnTo>
                  <a:lnTo>
                    <a:pt x="272" y="271"/>
                  </a:lnTo>
                  <a:lnTo>
                    <a:pt x="270" y="268"/>
                  </a:lnTo>
                  <a:lnTo>
                    <a:pt x="273" y="265"/>
                  </a:lnTo>
                  <a:lnTo>
                    <a:pt x="274" y="263"/>
                  </a:lnTo>
                  <a:lnTo>
                    <a:pt x="272" y="262"/>
                  </a:lnTo>
                  <a:lnTo>
                    <a:pt x="268" y="263"/>
                  </a:lnTo>
                  <a:lnTo>
                    <a:pt x="266" y="263"/>
                  </a:lnTo>
                  <a:lnTo>
                    <a:pt x="268" y="262"/>
                  </a:lnTo>
                  <a:lnTo>
                    <a:pt x="271" y="261"/>
                  </a:lnTo>
                  <a:lnTo>
                    <a:pt x="271" y="258"/>
                  </a:lnTo>
                  <a:lnTo>
                    <a:pt x="268" y="261"/>
                  </a:lnTo>
                  <a:lnTo>
                    <a:pt x="267" y="258"/>
                  </a:lnTo>
                  <a:lnTo>
                    <a:pt x="265" y="260"/>
                  </a:lnTo>
                  <a:lnTo>
                    <a:pt x="266" y="256"/>
                  </a:lnTo>
                  <a:lnTo>
                    <a:pt x="270" y="256"/>
                  </a:lnTo>
                  <a:lnTo>
                    <a:pt x="271" y="254"/>
                  </a:lnTo>
                  <a:lnTo>
                    <a:pt x="271" y="251"/>
                  </a:lnTo>
                  <a:lnTo>
                    <a:pt x="273" y="253"/>
                  </a:lnTo>
                  <a:lnTo>
                    <a:pt x="275" y="250"/>
                  </a:lnTo>
                  <a:lnTo>
                    <a:pt x="278" y="247"/>
                  </a:lnTo>
                  <a:lnTo>
                    <a:pt x="278" y="250"/>
                  </a:lnTo>
                  <a:lnTo>
                    <a:pt x="275" y="252"/>
                  </a:lnTo>
                  <a:lnTo>
                    <a:pt x="274" y="255"/>
                  </a:lnTo>
                  <a:lnTo>
                    <a:pt x="280" y="256"/>
                  </a:lnTo>
                  <a:lnTo>
                    <a:pt x="280" y="253"/>
                  </a:lnTo>
                  <a:lnTo>
                    <a:pt x="281" y="251"/>
                  </a:lnTo>
                  <a:lnTo>
                    <a:pt x="281" y="253"/>
                  </a:lnTo>
                  <a:lnTo>
                    <a:pt x="287" y="253"/>
                  </a:lnTo>
                  <a:lnTo>
                    <a:pt x="289" y="254"/>
                  </a:lnTo>
                  <a:lnTo>
                    <a:pt x="292" y="252"/>
                  </a:lnTo>
                  <a:lnTo>
                    <a:pt x="295" y="251"/>
                  </a:lnTo>
                  <a:lnTo>
                    <a:pt x="298" y="252"/>
                  </a:lnTo>
                  <a:lnTo>
                    <a:pt x="295" y="252"/>
                  </a:lnTo>
                  <a:lnTo>
                    <a:pt x="292" y="253"/>
                  </a:lnTo>
                  <a:lnTo>
                    <a:pt x="292" y="255"/>
                  </a:lnTo>
                  <a:lnTo>
                    <a:pt x="295" y="258"/>
                  </a:lnTo>
                  <a:lnTo>
                    <a:pt x="298" y="256"/>
                  </a:lnTo>
                  <a:lnTo>
                    <a:pt x="300" y="256"/>
                  </a:lnTo>
                  <a:lnTo>
                    <a:pt x="296" y="258"/>
                  </a:lnTo>
                  <a:lnTo>
                    <a:pt x="293" y="260"/>
                  </a:lnTo>
                  <a:lnTo>
                    <a:pt x="296" y="260"/>
                  </a:lnTo>
                  <a:lnTo>
                    <a:pt x="301" y="258"/>
                  </a:lnTo>
                  <a:lnTo>
                    <a:pt x="300" y="261"/>
                  </a:lnTo>
                  <a:lnTo>
                    <a:pt x="302" y="260"/>
                  </a:lnTo>
                  <a:lnTo>
                    <a:pt x="306" y="262"/>
                  </a:lnTo>
                  <a:lnTo>
                    <a:pt x="304" y="264"/>
                  </a:lnTo>
                  <a:lnTo>
                    <a:pt x="307" y="264"/>
                  </a:lnTo>
                  <a:lnTo>
                    <a:pt x="309" y="267"/>
                  </a:lnTo>
                  <a:lnTo>
                    <a:pt x="313" y="265"/>
                  </a:lnTo>
                  <a:lnTo>
                    <a:pt x="317" y="261"/>
                  </a:lnTo>
                  <a:lnTo>
                    <a:pt x="321" y="259"/>
                  </a:lnTo>
                  <a:lnTo>
                    <a:pt x="321" y="260"/>
                  </a:lnTo>
                  <a:lnTo>
                    <a:pt x="317" y="262"/>
                  </a:lnTo>
                  <a:lnTo>
                    <a:pt x="317" y="268"/>
                  </a:lnTo>
                  <a:lnTo>
                    <a:pt x="319" y="269"/>
                  </a:lnTo>
                  <a:lnTo>
                    <a:pt x="323" y="270"/>
                  </a:lnTo>
                  <a:lnTo>
                    <a:pt x="325" y="271"/>
                  </a:lnTo>
                  <a:lnTo>
                    <a:pt x="326" y="273"/>
                  </a:lnTo>
                  <a:lnTo>
                    <a:pt x="331" y="273"/>
                  </a:lnTo>
                  <a:lnTo>
                    <a:pt x="333" y="273"/>
                  </a:lnTo>
                  <a:lnTo>
                    <a:pt x="347" y="271"/>
                  </a:lnTo>
                  <a:lnTo>
                    <a:pt x="349" y="272"/>
                  </a:lnTo>
                  <a:lnTo>
                    <a:pt x="358" y="273"/>
                  </a:lnTo>
                  <a:lnTo>
                    <a:pt x="360" y="274"/>
                  </a:lnTo>
                  <a:lnTo>
                    <a:pt x="364" y="273"/>
                  </a:lnTo>
                  <a:lnTo>
                    <a:pt x="365" y="271"/>
                  </a:lnTo>
                  <a:lnTo>
                    <a:pt x="366" y="273"/>
                  </a:lnTo>
                  <a:lnTo>
                    <a:pt x="365" y="277"/>
                  </a:lnTo>
                  <a:lnTo>
                    <a:pt x="373" y="279"/>
                  </a:lnTo>
                  <a:lnTo>
                    <a:pt x="378" y="280"/>
                  </a:lnTo>
                  <a:lnTo>
                    <a:pt x="381" y="279"/>
                  </a:lnTo>
                  <a:lnTo>
                    <a:pt x="384" y="278"/>
                  </a:lnTo>
                  <a:lnTo>
                    <a:pt x="386" y="277"/>
                  </a:lnTo>
                  <a:lnTo>
                    <a:pt x="390" y="273"/>
                  </a:lnTo>
                  <a:lnTo>
                    <a:pt x="392" y="273"/>
                  </a:lnTo>
                  <a:lnTo>
                    <a:pt x="393" y="276"/>
                  </a:lnTo>
                  <a:lnTo>
                    <a:pt x="399" y="278"/>
                  </a:lnTo>
                  <a:lnTo>
                    <a:pt x="396" y="277"/>
                  </a:lnTo>
                  <a:lnTo>
                    <a:pt x="393" y="279"/>
                  </a:lnTo>
                  <a:lnTo>
                    <a:pt x="393" y="282"/>
                  </a:lnTo>
                  <a:lnTo>
                    <a:pt x="393" y="277"/>
                  </a:lnTo>
                  <a:lnTo>
                    <a:pt x="390" y="274"/>
                  </a:lnTo>
                  <a:lnTo>
                    <a:pt x="390" y="277"/>
                  </a:lnTo>
                  <a:lnTo>
                    <a:pt x="391" y="280"/>
                  </a:lnTo>
                  <a:lnTo>
                    <a:pt x="389" y="282"/>
                  </a:lnTo>
                  <a:lnTo>
                    <a:pt x="385" y="284"/>
                  </a:lnTo>
                  <a:lnTo>
                    <a:pt x="389" y="285"/>
                  </a:lnTo>
                  <a:lnTo>
                    <a:pt x="391" y="286"/>
                  </a:lnTo>
                  <a:lnTo>
                    <a:pt x="393" y="287"/>
                  </a:lnTo>
                  <a:lnTo>
                    <a:pt x="396" y="288"/>
                  </a:lnTo>
                  <a:lnTo>
                    <a:pt x="399" y="289"/>
                  </a:lnTo>
                  <a:lnTo>
                    <a:pt x="402" y="291"/>
                  </a:lnTo>
                  <a:lnTo>
                    <a:pt x="404" y="290"/>
                  </a:lnTo>
                  <a:lnTo>
                    <a:pt x="403" y="293"/>
                  </a:lnTo>
                  <a:lnTo>
                    <a:pt x="407" y="293"/>
                  </a:lnTo>
                  <a:lnTo>
                    <a:pt x="409" y="295"/>
                  </a:lnTo>
                  <a:lnTo>
                    <a:pt x="411" y="297"/>
                  </a:lnTo>
                  <a:lnTo>
                    <a:pt x="416" y="302"/>
                  </a:lnTo>
                  <a:lnTo>
                    <a:pt x="421" y="305"/>
                  </a:lnTo>
                  <a:lnTo>
                    <a:pt x="427" y="307"/>
                  </a:lnTo>
                  <a:lnTo>
                    <a:pt x="429" y="310"/>
                  </a:lnTo>
                  <a:lnTo>
                    <a:pt x="429" y="307"/>
                  </a:lnTo>
                  <a:lnTo>
                    <a:pt x="433" y="306"/>
                  </a:lnTo>
                  <a:lnTo>
                    <a:pt x="435" y="307"/>
                  </a:lnTo>
                  <a:lnTo>
                    <a:pt x="437" y="306"/>
                  </a:lnTo>
                  <a:lnTo>
                    <a:pt x="435" y="304"/>
                  </a:lnTo>
                  <a:lnTo>
                    <a:pt x="435" y="301"/>
                  </a:lnTo>
                  <a:lnTo>
                    <a:pt x="432" y="301"/>
                  </a:lnTo>
                  <a:lnTo>
                    <a:pt x="432" y="298"/>
                  </a:lnTo>
                  <a:lnTo>
                    <a:pt x="426" y="296"/>
                  </a:lnTo>
                  <a:lnTo>
                    <a:pt x="424" y="297"/>
                  </a:lnTo>
                  <a:lnTo>
                    <a:pt x="426" y="296"/>
                  </a:lnTo>
                  <a:lnTo>
                    <a:pt x="424" y="293"/>
                  </a:lnTo>
                  <a:lnTo>
                    <a:pt x="426" y="295"/>
                  </a:lnTo>
                  <a:lnTo>
                    <a:pt x="429" y="294"/>
                  </a:lnTo>
                  <a:lnTo>
                    <a:pt x="432" y="297"/>
                  </a:lnTo>
                  <a:lnTo>
                    <a:pt x="434" y="298"/>
                  </a:lnTo>
                  <a:lnTo>
                    <a:pt x="437" y="297"/>
                  </a:lnTo>
                  <a:lnTo>
                    <a:pt x="437" y="294"/>
                  </a:lnTo>
                  <a:lnTo>
                    <a:pt x="437" y="297"/>
                  </a:lnTo>
                  <a:lnTo>
                    <a:pt x="441" y="297"/>
                  </a:lnTo>
                  <a:lnTo>
                    <a:pt x="437" y="298"/>
                  </a:lnTo>
                  <a:lnTo>
                    <a:pt x="441" y="304"/>
                  </a:lnTo>
                  <a:lnTo>
                    <a:pt x="441" y="306"/>
                  </a:lnTo>
                  <a:lnTo>
                    <a:pt x="443" y="305"/>
                  </a:lnTo>
                  <a:lnTo>
                    <a:pt x="446" y="306"/>
                  </a:lnTo>
                  <a:lnTo>
                    <a:pt x="447" y="308"/>
                  </a:lnTo>
                  <a:lnTo>
                    <a:pt x="450" y="310"/>
                  </a:lnTo>
                  <a:lnTo>
                    <a:pt x="451" y="307"/>
                  </a:lnTo>
                  <a:lnTo>
                    <a:pt x="450" y="305"/>
                  </a:lnTo>
                  <a:lnTo>
                    <a:pt x="450" y="302"/>
                  </a:lnTo>
                  <a:lnTo>
                    <a:pt x="446" y="295"/>
                  </a:lnTo>
                  <a:lnTo>
                    <a:pt x="446" y="293"/>
                  </a:lnTo>
                  <a:lnTo>
                    <a:pt x="445" y="289"/>
                  </a:lnTo>
                  <a:lnTo>
                    <a:pt x="447" y="290"/>
                  </a:lnTo>
                  <a:lnTo>
                    <a:pt x="445" y="288"/>
                  </a:lnTo>
                  <a:lnTo>
                    <a:pt x="446" y="288"/>
                  </a:lnTo>
                  <a:lnTo>
                    <a:pt x="447" y="285"/>
                  </a:lnTo>
                  <a:lnTo>
                    <a:pt x="447" y="287"/>
                  </a:lnTo>
                  <a:lnTo>
                    <a:pt x="447" y="289"/>
                  </a:lnTo>
                  <a:lnTo>
                    <a:pt x="449" y="293"/>
                  </a:lnTo>
                  <a:lnTo>
                    <a:pt x="450" y="297"/>
                  </a:lnTo>
                  <a:lnTo>
                    <a:pt x="453" y="298"/>
                  </a:lnTo>
                  <a:lnTo>
                    <a:pt x="452" y="302"/>
                  </a:lnTo>
                  <a:lnTo>
                    <a:pt x="455" y="306"/>
                  </a:lnTo>
                  <a:lnTo>
                    <a:pt x="459" y="307"/>
                  </a:lnTo>
                  <a:lnTo>
                    <a:pt x="461" y="310"/>
                  </a:lnTo>
                  <a:lnTo>
                    <a:pt x="464" y="310"/>
                  </a:lnTo>
                  <a:lnTo>
                    <a:pt x="467" y="304"/>
                  </a:lnTo>
                  <a:lnTo>
                    <a:pt x="469" y="304"/>
                  </a:lnTo>
                  <a:lnTo>
                    <a:pt x="467" y="306"/>
                  </a:lnTo>
                  <a:lnTo>
                    <a:pt x="464" y="308"/>
                  </a:lnTo>
                  <a:lnTo>
                    <a:pt x="464" y="311"/>
                  </a:lnTo>
                  <a:lnTo>
                    <a:pt x="467" y="314"/>
                  </a:lnTo>
                  <a:lnTo>
                    <a:pt x="469" y="313"/>
                  </a:lnTo>
                  <a:lnTo>
                    <a:pt x="468" y="315"/>
                  </a:lnTo>
                  <a:lnTo>
                    <a:pt x="470" y="319"/>
                  </a:lnTo>
                  <a:lnTo>
                    <a:pt x="472" y="315"/>
                  </a:lnTo>
                  <a:lnTo>
                    <a:pt x="475" y="316"/>
                  </a:lnTo>
                  <a:lnTo>
                    <a:pt x="477" y="318"/>
                  </a:lnTo>
                  <a:lnTo>
                    <a:pt x="475" y="316"/>
                  </a:lnTo>
                  <a:lnTo>
                    <a:pt x="472" y="318"/>
                  </a:lnTo>
                  <a:lnTo>
                    <a:pt x="473" y="320"/>
                  </a:lnTo>
                  <a:lnTo>
                    <a:pt x="479" y="323"/>
                  </a:lnTo>
                  <a:lnTo>
                    <a:pt x="471" y="320"/>
                  </a:lnTo>
                  <a:lnTo>
                    <a:pt x="472" y="323"/>
                  </a:lnTo>
                  <a:lnTo>
                    <a:pt x="475" y="322"/>
                  </a:lnTo>
                  <a:lnTo>
                    <a:pt x="472" y="325"/>
                  </a:lnTo>
                  <a:lnTo>
                    <a:pt x="476" y="328"/>
                  </a:lnTo>
                  <a:lnTo>
                    <a:pt x="478" y="328"/>
                  </a:lnTo>
                  <a:lnTo>
                    <a:pt x="472" y="329"/>
                  </a:lnTo>
                  <a:lnTo>
                    <a:pt x="473" y="331"/>
                  </a:lnTo>
                  <a:lnTo>
                    <a:pt x="477" y="331"/>
                  </a:lnTo>
                  <a:lnTo>
                    <a:pt x="479" y="332"/>
                  </a:lnTo>
                  <a:lnTo>
                    <a:pt x="481" y="333"/>
                  </a:lnTo>
                  <a:lnTo>
                    <a:pt x="481" y="336"/>
                  </a:lnTo>
                  <a:lnTo>
                    <a:pt x="484" y="338"/>
                  </a:lnTo>
                  <a:lnTo>
                    <a:pt x="487" y="339"/>
                  </a:lnTo>
                  <a:lnTo>
                    <a:pt x="486" y="341"/>
                  </a:lnTo>
                  <a:lnTo>
                    <a:pt x="489" y="341"/>
                  </a:lnTo>
                  <a:lnTo>
                    <a:pt x="489" y="344"/>
                  </a:lnTo>
                  <a:lnTo>
                    <a:pt x="493" y="346"/>
                  </a:lnTo>
                  <a:lnTo>
                    <a:pt x="494" y="349"/>
                  </a:lnTo>
                  <a:lnTo>
                    <a:pt x="498" y="349"/>
                  </a:lnTo>
                  <a:lnTo>
                    <a:pt x="496" y="349"/>
                  </a:lnTo>
                  <a:lnTo>
                    <a:pt x="494" y="352"/>
                  </a:lnTo>
                  <a:lnTo>
                    <a:pt x="494" y="354"/>
                  </a:lnTo>
                  <a:lnTo>
                    <a:pt x="490" y="359"/>
                  </a:lnTo>
                  <a:lnTo>
                    <a:pt x="492" y="362"/>
                  </a:lnTo>
                  <a:lnTo>
                    <a:pt x="495" y="361"/>
                  </a:lnTo>
                  <a:lnTo>
                    <a:pt x="496" y="358"/>
                  </a:lnTo>
                  <a:lnTo>
                    <a:pt x="496" y="356"/>
                  </a:lnTo>
                  <a:lnTo>
                    <a:pt x="498" y="354"/>
                  </a:lnTo>
                  <a:lnTo>
                    <a:pt x="504" y="354"/>
                  </a:lnTo>
                  <a:lnTo>
                    <a:pt x="509" y="358"/>
                  </a:lnTo>
                  <a:lnTo>
                    <a:pt x="509" y="364"/>
                  </a:lnTo>
                  <a:lnTo>
                    <a:pt x="510" y="367"/>
                  </a:lnTo>
                  <a:lnTo>
                    <a:pt x="507" y="367"/>
                  </a:lnTo>
                  <a:lnTo>
                    <a:pt x="509" y="371"/>
                  </a:lnTo>
                  <a:lnTo>
                    <a:pt x="511" y="370"/>
                  </a:lnTo>
                  <a:lnTo>
                    <a:pt x="514" y="366"/>
                  </a:lnTo>
                  <a:lnTo>
                    <a:pt x="511" y="370"/>
                  </a:lnTo>
                  <a:lnTo>
                    <a:pt x="509" y="371"/>
                  </a:lnTo>
                  <a:lnTo>
                    <a:pt x="507" y="373"/>
                  </a:lnTo>
                  <a:lnTo>
                    <a:pt x="507" y="376"/>
                  </a:lnTo>
                  <a:lnTo>
                    <a:pt x="511" y="374"/>
                  </a:lnTo>
                  <a:lnTo>
                    <a:pt x="511" y="376"/>
                  </a:lnTo>
                  <a:lnTo>
                    <a:pt x="514" y="375"/>
                  </a:lnTo>
                  <a:lnTo>
                    <a:pt x="517" y="373"/>
                  </a:lnTo>
                  <a:lnTo>
                    <a:pt x="518" y="370"/>
                  </a:lnTo>
                  <a:lnTo>
                    <a:pt x="520" y="367"/>
                  </a:lnTo>
                  <a:lnTo>
                    <a:pt x="519" y="363"/>
                  </a:lnTo>
                  <a:lnTo>
                    <a:pt x="518" y="357"/>
                  </a:lnTo>
                  <a:lnTo>
                    <a:pt x="520" y="355"/>
                  </a:lnTo>
                  <a:lnTo>
                    <a:pt x="520" y="355"/>
                  </a:lnTo>
                  <a:lnTo>
                    <a:pt x="519" y="357"/>
                  </a:lnTo>
                  <a:lnTo>
                    <a:pt x="520" y="366"/>
                  </a:lnTo>
                  <a:lnTo>
                    <a:pt x="520" y="371"/>
                  </a:lnTo>
                  <a:lnTo>
                    <a:pt x="521" y="370"/>
                  </a:lnTo>
                  <a:lnTo>
                    <a:pt x="523" y="366"/>
                  </a:lnTo>
                  <a:lnTo>
                    <a:pt x="523" y="362"/>
                  </a:lnTo>
                  <a:lnTo>
                    <a:pt x="526" y="364"/>
                  </a:lnTo>
                  <a:lnTo>
                    <a:pt x="524" y="367"/>
                  </a:lnTo>
                  <a:lnTo>
                    <a:pt x="522" y="370"/>
                  </a:lnTo>
                  <a:lnTo>
                    <a:pt x="523" y="372"/>
                  </a:lnTo>
                  <a:lnTo>
                    <a:pt x="526" y="372"/>
                  </a:lnTo>
                  <a:lnTo>
                    <a:pt x="520" y="373"/>
                  </a:lnTo>
                  <a:lnTo>
                    <a:pt x="518" y="378"/>
                  </a:lnTo>
                  <a:lnTo>
                    <a:pt x="519" y="379"/>
                  </a:lnTo>
                  <a:lnTo>
                    <a:pt x="515" y="380"/>
                  </a:lnTo>
                  <a:lnTo>
                    <a:pt x="518" y="382"/>
                  </a:lnTo>
                  <a:lnTo>
                    <a:pt x="520" y="382"/>
                  </a:lnTo>
                  <a:lnTo>
                    <a:pt x="520" y="382"/>
                  </a:lnTo>
                  <a:lnTo>
                    <a:pt x="520" y="382"/>
                  </a:lnTo>
                  <a:lnTo>
                    <a:pt x="520" y="385"/>
                  </a:lnTo>
                  <a:lnTo>
                    <a:pt x="520" y="384"/>
                  </a:lnTo>
                  <a:lnTo>
                    <a:pt x="514" y="380"/>
                  </a:lnTo>
                  <a:lnTo>
                    <a:pt x="514" y="384"/>
                  </a:lnTo>
                  <a:lnTo>
                    <a:pt x="517" y="384"/>
                  </a:lnTo>
                  <a:lnTo>
                    <a:pt x="517" y="387"/>
                  </a:lnTo>
                  <a:lnTo>
                    <a:pt x="518" y="388"/>
                  </a:lnTo>
                  <a:lnTo>
                    <a:pt x="520" y="388"/>
                  </a:lnTo>
                  <a:lnTo>
                    <a:pt x="522" y="387"/>
                  </a:lnTo>
                  <a:lnTo>
                    <a:pt x="528" y="387"/>
                  </a:lnTo>
                  <a:lnTo>
                    <a:pt x="521" y="388"/>
                  </a:lnTo>
                  <a:lnTo>
                    <a:pt x="523" y="391"/>
                  </a:lnTo>
                  <a:lnTo>
                    <a:pt x="520" y="388"/>
                  </a:lnTo>
                  <a:lnTo>
                    <a:pt x="520" y="391"/>
                  </a:lnTo>
                  <a:lnTo>
                    <a:pt x="520" y="393"/>
                  </a:lnTo>
                  <a:lnTo>
                    <a:pt x="528" y="401"/>
                  </a:lnTo>
                  <a:lnTo>
                    <a:pt x="530" y="402"/>
                  </a:lnTo>
                  <a:lnTo>
                    <a:pt x="531" y="398"/>
                  </a:lnTo>
                  <a:lnTo>
                    <a:pt x="534" y="396"/>
                  </a:lnTo>
                  <a:lnTo>
                    <a:pt x="537" y="393"/>
                  </a:lnTo>
                  <a:lnTo>
                    <a:pt x="538" y="391"/>
                  </a:lnTo>
                  <a:lnTo>
                    <a:pt x="539" y="391"/>
                  </a:lnTo>
                  <a:lnTo>
                    <a:pt x="538" y="393"/>
                  </a:lnTo>
                  <a:lnTo>
                    <a:pt x="541" y="395"/>
                  </a:lnTo>
                  <a:lnTo>
                    <a:pt x="538" y="395"/>
                  </a:lnTo>
                  <a:lnTo>
                    <a:pt x="537" y="397"/>
                  </a:lnTo>
                  <a:lnTo>
                    <a:pt x="538" y="399"/>
                  </a:lnTo>
                  <a:lnTo>
                    <a:pt x="540" y="401"/>
                  </a:lnTo>
                  <a:lnTo>
                    <a:pt x="544" y="401"/>
                  </a:lnTo>
                  <a:lnTo>
                    <a:pt x="546" y="401"/>
                  </a:lnTo>
                  <a:lnTo>
                    <a:pt x="547" y="401"/>
                  </a:lnTo>
                  <a:lnTo>
                    <a:pt x="548" y="405"/>
                  </a:lnTo>
                  <a:lnTo>
                    <a:pt x="546" y="401"/>
                  </a:lnTo>
                  <a:lnTo>
                    <a:pt x="544" y="401"/>
                  </a:lnTo>
                  <a:lnTo>
                    <a:pt x="541" y="402"/>
                  </a:lnTo>
                  <a:lnTo>
                    <a:pt x="538" y="401"/>
                  </a:lnTo>
                  <a:lnTo>
                    <a:pt x="536" y="401"/>
                  </a:lnTo>
                  <a:lnTo>
                    <a:pt x="536" y="405"/>
                  </a:lnTo>
                  <a:lnTo>
                    <a:pt x="541" y="408"/>
                  </a:lnTo>
                  <a:lnTo>
                    <a:pt x="541" y="410"/>
                  </a:lnTo>
                  <a:lnTo>
                    <a:pt x="543" y="414"/>
                  </a:lnTo>
                  <a:lnTo>
                    <a:pt x="546" y="413"/>
                  </a:lnTo>
                  <a:lnTo>
                    <a:pt x="545" y="419"/>
                  </a:lnTo>
                  <a:lnTo>
                    <a:pt x="545" y="422"/>
                  </a:lnTo>
                  <a:lnTo>
                    <a:pt x="547" y="419"/>
                  </a:lnTo>
                  <a:lnTo>
                    <a:pt x="548" y="422"/>
                  </a:lnTo>
                  <a:lnTo>
                    <a:pt x="549" y="419"/>
                  </a:lnTo>
                  <a:lnTo>
                    <a:pt x="549" y="422"/>
                  </a:lnTo>
                  <a:lnTo>
                    <a:pt x="549" y="425"/>
                  </a:lnTo>
                  <a:lnTo>
                    <a:pt x="558" y="419"/>
                  </a:lnTo>
                  <a:lnTo>
                    <a:pt x="562" y="414"/>
                  </a:lnTo>
                  <a:lnTo>
                    <a:pt x="561" y="417"/>
                  </a:lnTo>
                  <a:lnTo>
                    <a:pt x="558" y="419"/>
                  </a:lnTo>
                  <a:lnTo>
                    <a:pt x="560" y="422"/>
                  </a:lnTo>
                  <a:lnTo>
                    <a:pt x="564" y="422"/>
                  </a:lnTo>
                  <a:lnTo>
                    <a:pt x="563" y="424"/>
                  </a:lnTo>
                  <a:lnTo>
                    <a:pt x="564" y="426"/>
                  </a:lnTo>
                  <a:lnTo>
                    <a:pt x="562" y="424"/>
                  </a:lnTo>
                  <a:lnTo>
                    <a:pt x="560" y="423"/>
                  </a:lnTo>
                  <a:lnTo>
                    <a:pt x="557" y="424"/>
                  </a:lnTo>
                  <a:lnTo>
                    <a:pt x="555" y="427"/>
                  </a:lnTo>
                  <a:lnTo>
                    <a:pt x="553" y="427"/>
                  </a:lnTo>
                  <a:lnTo>
                    <a:pt x="551" y="430"/>
                  </a:lnTo>
                  <a:lnTo>
                    <a:pt x="549" y="432"/>
                  </a:lnTo>
                  <a:lnTo>
                    <a:pt x="551" y="436"/>
                  </a:lnTo>
                  <a:lnTo>
                    <a:pt x="553" y="438"/>
                  </a:lnTo>
                  <a:lnTo>
                    <a:pt x="554" y="435"/>
                  </a:lnTo>
                  <a:lnTo>
                    <a:pt x="554" y="434"/>
                  </a:lnTo>
                  <a:lnTo>
                    <a:pt x="557" y="432"/>
                  </a:lnTo>
                  <a:lnTo>
                    <a:pt x="558" y="434"/>
                  </a:lnTo>
                  <a:lnTo>
                    <a:pt x="563" y="434"/>
                  </a:lnTo>
                  <a:lnTo>
                    <a:pt x="566" y="432"/>
                  </a:lnTo>
                  <a:lnTo>
                    <a:pt x="565" y="435"/>
                  </a:lnTo>
                  <a:lnTo>
                    <a:pt x="557" y="435"/>
                  </a:lnTo>
                  <a:lnTo>
                    <a:pt x="555" y="436"/>
                  </a:lnTo>
                  <a:lnTo>
                    <a:pt x="552" y="441"/>
                  </a:lnTo>
                  <a:lnTo>
                    <a:pt x="557" y="441"/>
                  </a:lnTo>
                  <a:lnTo>
                    <a:pt x="560" y="440"/>
                  </a:lnTo>
                  <a:lnTo>
                    <a:pt x="557" y="441"/>
                  </a:lnTo>
                  <a:lnTo>
                    <a:pt x="553" y="442"/>
                  </a:lnTo>
                  <a:lnTo>
                    <a:pt x="552" y="444"/>
                  </a:lnTo>
                  <a:lnTo>
                    <a:pt x="557" y="445"/>
                  </a:lnTo>
                  <a:lnTo>
                    <a:pt x="563" y="445"/>
                  </a:lnTo>
                  <a:lnTo>
                    <a:pt x="565" y="444"/>
                  </a:lnTo>
                  <a:lnTo>
                    <a:pt x="563" y="445"/>
                  </a:lnTo>
                  <a:lnTo>
                    <a:pt x="560" y="445"/>
                  </a:lnTo>
                  <a:lnTo>
                    <a:pt x="557" y="445"/>
                  </a:lnTo>
                  <a:lnTo>
                    <a:pt x="555" y="445"/>
                  </a:lnTo>
                  <a:lnTo>
                    <a:pt x="556" y="448"/>
                  </a:lnTo>
                  <a:lnTo>
                    <a:pt x="558" y="449"/>
                  </a:lnTo>
                  <a:lnTo>
                    <a:pt x="562" y="449"/>
                  </a:lnTo>
                  <a:lnTo>
                    <a:pt x="558" y="448"/>
                  </a:lnTo>
                  <a:lnTo>
                    <a:pt x="562" y="449"/>
                  </a:lnTo>
                  <a:lnTo>
                    <a:pt x="568" y="449"/>
                  </a:lnTo>
                  <a:lnTo>
                    <a:pt x="570" y="448"/>
                  </a:lnTo>
                  <a:lnTo>
                    <a:pt x="572" y="448"/>
                  </a:lnTo>
                  <a:lnTo>
                    <a:pt x="570" y="449"/>
                  </a:lnTo>
                  <a:lnTo>
                    <a:pt x="572" y="450"/>
                  </a:lnTo>
                  <a:lnTo>
                    <a:pt x="573" y="452"/>
                  </a:lnTo>
                  <a:lnTo>
                    <a:pt x="577" y="452"/>
                  </a:lnTo>
                  <a:lnTo>
                    <a:pt x="579" y="451"/>
                  </a:lnTo>
                  <a:lnTo>
                    <a:pt x="581" y="445"/>
                  </a:lnTo>
                  <a:lnTo>
                    <a:pt x="581" y="449"/>
                  </a:lnTo>
                  <a:lnTo>
                    <a:pt x="580" y="451"/>
                  </a:lnTo>
                  <a:lnTo>
                    <a:pt x="577" y="452"/>
                  </a:lnTo>
                  <a:lnTo>
                    <a:pt x="572" y="453"/>
                  </a:lnTo>
                  <a:lnTo>
                    <a:pt x="572" y="453"/>
                  </a:lnTo>
                  <a:lnTo>
                    <a:pt x="575" y="453"/>
                  </a:lnTo>
                  <a:lnTo>
                    <a:pt x="572" y="456"/>
                  </a:lnTo>
                  <a:lnTo>
                    <a:pt x="575" y="456"/>
                  </a:lnTo>
                  <a:lnTo>
                    <a:pt x="578" y="455"/>
                  </a:lnTo>
                  <a:lnTo>
                    <a:pt x="580" y="457"/>
                  </a:lnTo>
                  <a:lnTo>
                    <a:pt x="581" y="453"/>
                  </a:lnTo>
                  <a:lnTo>
                    <a:pt x="582" y="457"/>
                  </a:lnTo>
                  <a:lnTo>
                    <a:pt x="584" y="457"/>
                  </a:lnTo>
                  <a:lnTo>
                    <a:pt x="588" y="456"/>
                  </a:lnTo>
                  <a:lnTo>
                    <a:pt x="590" y="453"/>
                  </a:lnTo>
                  <a:lnTo>
                    <a:pt x="589" y="450"/>
                  </a:lnTo>
                  <a:lnTo>
                    <a:pt x="591" y="448"/>
                  </a:lnTo>
                  <a:lnTo>
                    <a:pt x="591" y="449"/>
                  </a:lnTo>
                  <a:lnTo>
                    <a:pt x="590" y="455"/>
                  </a:lnTo>
                  <a:lnTo>
                    <a:pt x="588" y="456"/>
                  </a:lnTo>
                  <a:lnTo>
                    <a:pt x="588" y="459"/>
                  </a:lnTo>
                  <a:lnTo>
                    <a:pt x="591" y="459"/>
                  </a:lnTo>
                  <a:lnTo>
                    <a:pt x="594" y="457"/>
                  </a:lnTo>
                  <a:lnTo>
                    <a:pt x="596" y="457"/>
                  </a:lnTo>
                  <a:lnTo>
                    <a:pt x="594" y="459"/>
                  </a:lnTo>
                  <a:lnTo>
                    <a:pt x="594" y="462"/>
                  </a:lnTo>
                  <a:lnTo>
                    <a:pt x="594" y="465"/>
                  </a:lnTo>
                  <a:lnTo>
                    <a:pt x="591" y="465"/>
                  </a:lnTo>
                  <a:lnTo>
                    <a:pt x="596" y="468"/>
                  </a:lnTo>
                  <a:lnTo>
                    <a:pt x="598" y="469"/>
                  </a:lnTo>
                  <a:lnTo>
                    <a:pt x="601" y="468"/>
                  </a:lnTo>
                  <a:lnTo>
                    <a:pt x="604" y="467"/>
                  </a:lnTo>
                  <a:lnTo>
                    <a:pt x="603" y="465"/>
                  </a:lnTo>
                  <a:lnTo>
                    <a:pt x="605" y="462"/>
                  </a:lnTo>
                  <a:lnTo>
                    <a:pt x="604" y="465"/>
                  </a:lnTo>
                  <a:lnTo>
                    <a:pt x="604" y="466"/>
                  </a:lnTo>
                  <a:lnTo>
                    <a:pt x="604" y="469"/>
                  </a:lnTo>
                  <a:lnTo>
                    <a:pt x="606" y="470"/>
                  </a:lnTo>
                  <a:lnTo>
                    <a:pt x="609" y="470"/>
                  </a:lnTo>
                  <a:lnTo>
                    <a:pt x="607" y="470"/>
                  </a:lnTo>
                  <a:lnTo>
                    <a:pt x="601" y="472"/>
                  </a:lnTo>
                  <a:lnTo>
                    <a:pt x="604" y="474"/>
                  </a:lnTo>
                  <a:lnTo>
                    <a:pt x="609" y="475"/>
                  </a:lnTo>
                  <a:lnTo>
                    <a:pt x="611" y="473"/>
                  </a:lnTo>
                  <a:lnTo>
                    <a:pt x="614" y="472"/>
                  </a:lnTo>
                  <a:lnTo>
                    <a:pt x="613" y="474"/>
                  </a:lnTo>
                  <a:lnTo>
                    <a:pt x="614" y="476"/>
                  </a:lnTo>
                  <a:lnTo>
                    <a:pt x="616" y="477"/>
                  </a:lnTo>
                  <a:lnTo>
                    <a:pt x="615" y="479"/>
                  </a:lnTo>
                  <a:lnTo>
                    <a:pt x="616" y="479"/>
                  </a:lnTo>
                  <a:lnTo>
                    <a:pt x="615" y="483"/>
                  </a:lnTo>
                  <a:lnTo>
                    <a:pt x="616" y="483"/>
                  </a:lnTo>
                  <a:lnTo>
                    <a:pt x="617" y="481"/>
                  </a:lnTo>
                  <a:lnTo>
                    <a:pt x="620" y="483"/>
                  </a:lnTo>
                  <a:lnTo>
                    <a:pt x="620" y="485"/>
                  </a:lnTo>
                  <a:lnTo>
                    <a:pt x="623" y="486"/>
                  </a:lnTo>
                  <a:lnTo>
                    <a:pt x="624" y="490"/>
                  </a:lnTo>
                  <a:lnTo>
                    <a:pt x="623" y="492"/>
                  </a:lnTo>
                  <a:lnTo>
                    <a:pt x="621" y="492"/>
                  </a:lnTo>
                  <a:lnTo>
                    <a:pt x="624" y="494"/>
                  </a:lnTo>
                  <a:lnTo>
                    <a:pt x="625" y="498"/>
                  </a:lnTo>
                  <a:lnTo>
                    <a:pt x="626" y="500"/>
                  </a:lnTo>
                  <a:lnTo>
                    <a:pt x="625" y="503"/>
                  </a:lnTo>
                  <a:lnTo>
                    <a:pt x="624" y="506"/>
                  </a:lnTo>
                  <a:lnTo>
                    <a:pt x="625" y="511"/>
                  </a:lnTo>
                  <a:lnTo>
                    <a:pt x="623" y="512"/>
                  </a:lnTo>
                  <a:lnTo>
                    <a:pt x="621" y="516"/>
                  </a:lnTo>
                  <a:lnTo>
                    <a:pt x="618" y="516"/>
                  </a:lnTo>
                  <a:lnTo>
                    <a:pt x="616" y="515"/>
                  </a:lnTo>
                  <a:lnTo>
                    <a:pt x="620" y="511"/>
                  </a:lnTo>
                  <a:lnTo>
                    <a:pt x="620" y="515"/>
                  </a:lnTo>
                  <a:lnTo>
                    <a:pt x="622" y="511"/>
                  </a:lnTo>
                  <a:lnTo>
                    <a:pt x="623" y="509"/>
                  </a:lnTo>
                  <a:lnTo>
                    <a:pt x="622" y="506"/>
                  </a:lnTo>
                  <a:lnTo>
                    <a:pt x="623" y="503"/>
                  </a:lnTo>
                  <a:lnTo>
                    <a:pt x="621" y="503"/>
                  </a:lnTo>
                  <a:lnTo>
                    <a:pt x="618" y="506"/>
                  </a:lnTo>
                  <a:lnTo>
                    <a:pt x="616" y="508"/>
                  </a:lnTo>
                  <a:lnTo>
                    <a:pt x="617" y="510"/>
                  </a:lnTo>
                  <a:lnTo>
                    <a:pt x="614" y="511"/>
                  </a:lnTo>
                  <a:lnTo>
                    <a:pt x="616" y="508"/>
                  </a:lnTo>
                  <a:lnTo>
                    <a:pt x="621" y="503"/>
                  </a:lnTo>
                  <a:lnTo>
                    <a:pt x="621" y="500"/>
                  </a:lnTo>
                  <a:lnTo>
                    <a:pt x="620" y="498"/>
                  </a:lnTo>
                  <a:lnTo>
                    <a:pt x="617" y="498"/>
                  </a:lnTo>
                  <a:lnTo>
                    <a:pt x="614" y="496"/>
                  </a:lnTo>
                  <a:lnTo>
                    <a:pt x="612" y="498"/>
                  </a:lnTo>
                  <a:lnTo>
                    <a:pt x="604" y="496"/>
                  </a:lnTo>
                  <a:lnTo>
                    <a:pt x="598" y="495"/>
                  </a:lnTo>
                  <a:lnTo>
                    <a:pt x="596" y="493"/>
                  </a:lnTo>
                  <a:lnTo>
                    <a:pt x="592" y="493"/>
                  </a:lnTo>
                  <a:lnTo>
                    <a:pt x="594" y="495"/>
                  </a:lnTo>
                  <a:lnTo>
                    <a:pt x="594" y="498"/>
                  </a:lnTo>
                  <a:lnTo>
                    <a:pt x="594" y="500"/>
                  </a:lnTo>
                  <a:lnTo>
                    <a:pt x="596" y="503"/>
                  </a:lnTo>
                  <a:lnTo>
                    <a:pt x="598" y="506"/>
                  </a:lnTo>
                  <a:lnTo>
                    <a:pt x="598" y="509"/>
                  </a:lnTo>
                  <a:lnTo>
                    <a:pt x="599" y="511"/>
                  </a:lnTo>
                  <a:lnTo>
                    <a:pt x="599" y="511"/>
                  </a:lnTo>
                  <a:lnTo>
                    <a:pt x="600" y="515"/>
                  </a:lnTo>
                  <a:lnTo>
                    <a:pt x="603" y="517"/>
                  </a:lnTo>
                  <a:lnTo>
                    <a:pt x="605" y="518"/>
                  </a:lnTo>
                  <a:lnTo>
                    <a:pt x="601" y="519"/>
                  </a:lnTo>
                  <a:lnTo>
                    <a:pt x="603" y="522"/>
                  </a:lnTo>
                  <a:lnTo>
                    <a:pt x="604" y="524"/>
                  </a:lnTo>
                  <a:lnTo>
                    <a:pt x="603" y="526"/>
                  </a:lnTo>
                  <a:lnTo>
                    <a:pt x="601" y="524"/>
                  </a:lnTo>
                  <a:lnTo>
                    <a:pt x="603" y="527"/>
                  </a:lnTo>
                  <a:lnTo>
                    <a:pt x="603" y="529"/>
                  </a:lnTo>
                  <a:lnTo>
                    <a:pt x="608" y="529"/>
                  </a:lnTo>
                  <a:lnTo>
                    <a:pt x="612" y="530"/>
                  </a:lnTo>
                  <a:lnTo>
                    <a:pt x="614" y="532"/>
                  </a:lnTo>
                  <a:lnTo>
                    <a:pt x="612" y="532"/>
                  </a:lnTo>
                  <a:lnTo>
                    <a:pt x="608" y="530"/>
                  </a:lnTo>
                  <a:lnTo>
                    <a:pt x="603" y="530"/>
                  </a:lnTo>
                  <a:lnTo>
                    <a:pt x="604" y="534"/>
                  </a:lnTo>
                  <a:lnTo>
                    <a:pt x="604" y="544"/>
                  </a:lnTo>
                  <a:lnTo>
                    <a:pt x="601" y="554"/>
                  </a:lnTo>
                  <a:lnTo>
                    <a:pt x="600" y="570"/>
                  </a:lnTo>
                  <a:lnTo>
                    <a:pt x="601" y="573"/>
                  </a:lnTo>
                  <a:lnTo>
                    <a:pt x="599" y="575"/>
                  </a:lnTo>
                  <a:lnTo>
                    <a:pt x="600" y="577"/>
                  </a:lnTo>
                  <a:lnTo>
                    <a:pt x="598" y="580"/>
                  </a:lnTo>
                  <a:lnTo>
                    <a:pt x="596" y="586"/>
                  </a:lnTo>
                  <a:lnTo>
                    <a:pt x="596" y="589"/>
                  </a:lnTo>
                  <a:lnTo>
                    <a:pt x="597" y="592"/>
                  </a:lnTo>
                  <a:lnTo>
                    <a:pt x="597" y="596"/>
                  </a:lnTo>
                  <a:lnTo>
                    <a:pt x="598" y="598"/>
                  </a:lnTo>
                  <a:lnTo>
                    <a:pt x="600" y="602"/>
                  </a:lnTo>
                  <a:lnTo>
                    <a:pt x="600" y="604"/>
                  </a:lnTo>
                  <a:lnTo>
                    <a:pt x="601" y="609"/>
                  </a:lnTo>
                  <a:lnTo>
                    <a:pt x="601" y="613"/>
                  </a:lnTo>
                  <a:lnTo>
                    <a:pt x="600" y="615"/>
                  </a:lnTo>
                  <a:lnTo>
                    <a:pt x="601" y="619"/>
                  </a:lnTo>
                  <a:lnTo>
                    <a:pt x="600" y="621"/>
                  </a:lnTo>
                  <a:lnTo>
                    <a:pt x="598" y="623"/>
                  </a:lnTo>
                  <a:lnTo>
                    <a:pt x="598" y="626"/>
                  </a:lnTo>
                  <a:lnTo>
                    <a:pt x="598" y="629"/>
                  </a:lnTo>
                  <a:lnTo>
                    <a:pt x="600" y="631"/>
                  </a:lnTo>
                  <a:lnTo>
                    <a:pt x="604" y="635"/>
                  </a:lnTo>
                  <a:lnTo>
                    <a:pt x="605" y="638"/>
                  </a:lnTo>
                  <a:lnTo>
                    <a:pt x="606" y="640"/>
                  </a:lnTo>
                  <a:lnTo>
                    <a:pt x="606" y="646"/>
                  </a:lnTo>
                  <a:lnTo>
                    <a:pt x="607" y="648"/>
                  </a:lnTo>
                  <a:lnTo>
                    <a:pt x="607" y="652"/>
                  </a:lnTo>
                  <a:lnTo>
                    <a:pt x="615" y="658"/>
                  </a:lnTo>
                  <a:lnTo>
                    <a:pt x="617" y="663"/>
                  </a:lnTo>
                  <a:lnTo>
                    <a:pt x="618" y="665"/>
                  </a:lnTo>
                  <a:lnTo>
                    <a:pt x="621" y="667"/>
                  </a:lnTo>
                  <a:lnTo>
                    <a:pt x="623" y="666"/>
                  </a:lnTo>
                  <a:lnTo>
                    <a:pt x="625" y="664"/>
                  </a:lnTo>
                  <a:lnTo>
                    <a:pt x="629" y="665"/>
                  </a:lnTo>
                  <a:lnTo>
                    <a:pt x="629" y="665"/>
                  </a:lnTo>
                  <a:lnTo>
                    <a:pt x="632" y="665"/>
                  </a:lnTo>
                  <a:lnTo>
                    <a:pt x="634" y="664"/>
                  </a:lnTo>
                  <a:lnTo>
                    <a:pt x="637" y="665"/>
                  </a:lnTo>
                  <a:lnTo>
                    <a:pt x="633" y="666"/>
                  </a:lnTo>
                  <a:lnTo>
                    <a:pt x="631" y="665"/>
                  </a:lnTo>
                  <a:lnTo>
                    <a:pt x="625" y="666"/>
                  </a:lnTo>
                  <a:lnTo>
                    <a:pt x="625" y="669"/>
                  </a:lnTo>
                  <a:lnTo>
                    <a:pt x="629" y="671"/>
                  </a:lnTo>
                  <a:lnTo>
                    <a:pt x="629" y="674"/>
                  </a:lnTo>
                  <a:lnTo>
                    <a:pt x="626" y="672"/>
                  </a:lnTo>
                  <a:lnTo>
                    <a:pt x="623" y="670"/>
                  </a:lnTo>
                  <a:lnTo>
                    <a:pt x="623" y="673"/>
                  </a:lnTo>
                  <a:lnTo>
                    <a:pt x="624" y="675"/>
                  </a:lnTo>
                  <a:lnTo>
                    <a:pt x="624" y="678"/>
                  </a:lnTo>
                  <a:lnTo>
                    <a:pt x="626" y="681"/>
                  </a:lnTo>
                  <a:lnTo>
                    <a:pt x="630" y="682"/>
                  </a:lnTo>
                  <a:lnTo>
                    <a:pt x="632" y="683"/>
                  </a:lnTo>
                  <a:lnTo>
                    <a:pt x="633" y="686"/>
                  </a:lnTo>
                  <a:lnTo>
                    <a:pt x="631" y="690"/>
                  </a:lnTo>
                  <a:lnTo>
                    <a:pt x="632" y="693"/>
                  </a:lnTo>
                  <a:lnTo>
                    <a:pt x="634" y="695"/>
                  </a:lnTo>
                  <a:lnTo>
                    <a:pt x="638" y="698"/>
                  </a:lnTo>
                  <a:lnTo>
                    <a:pt x="639" y="700"/>
                  </a:lnTo>
                  <a:lnTo>
                    <a:pt x="641" y="703"/>
                  </a:lnTo>
                  <a:lnTo>
                    <a:pt x="646" y="707"/>
                  </a:lnTo>
                  <a:lnTo>
                    <a:pt x="647" y="710"/>
                  </a:lnTo>
                  <a:lnTo>
                    <a:pt x="649" y="712"/>
                  </a:lnTo>
                  <a:lnTo>
                    <a:pt x="649" y="715"/>
                  </a:lnTo>
                  <a:lnTo>
                    <a:pt x="649" y="720"/>
                  </a:lnTo>
                  <a:lnTo>
                    <a:pt x="651" y="722"/>
                  </a:lnTo>
                  <a:lnTo>
                    <a:pt x="658" y="722"/>
                  </a:lnTo>
                  <a:lnTo>
                    <a:pt x="663" y="722"/>
                  </a:lnTo>
                  <a:lnTo>
                    <a:pt x="666" y="723"/>
                  </a:lnTo>
                  <a:lnTo>
                    <a:pt x="668" y="726"/>
                  </a:lnTo>
                  <a:lnTo>
                    <a:pt x="671" y="727"/>
                  </a:lnTo>
                  <a:lnTo>
                    <a:pt x="674" y="729"/>
                  </a:lnTo>
                  <a:lnTo>
                    <a:pt x="676" y="727"/>
                  </a:lnTo>
                  <a:lnTo>
                    <a:pt x="680" y="730"/>
                  </a:lnTo>
                  <a:lnTo>
                    <a:pt x="681" y="733"/>
                  </a:lnTo>
                  <a:lnTo>
                    <a:pt x="682" y="732"/>
                  </a:lnTo>
                  <a:lnTo>
                    <a:pt x="684" y="733"/>
                  </a:lnTo>
                  <a:lnTo>
                    <a:pt x="690" y="737"/>
                  </a:lnTo>
                  <a:lnTo>
                    <a:pt x="692" y="740"/>
                  </a:lnTo>
                  <a:lnTo>
                    <a:pt x="694" y="742"/>
                  </a:lnTo>
                  <a:lnTo>
                    <a:pt x="694" y="746"/>
                  </a:lnTo>
                  <a:lnTo>
                    <a:pt x="694" y="748"/>
                  </a:lnTo>
                  <a:lnTo>
                    <a:pt x="697" y="750"/>
                  </a:lnTo>
                  <a:lnTo>
                    <a:pt x="698" y="752"/>
                  </a:lnTo>
                  <a:lnTo>
                    <a:pt x="700" y="756"/>
                  </a:lnTo>
                  <a:lnTo>
                    <a:pt x="700" y="758"/>
                  </a:lnTo>
                  <a:lnTo>
                    <a:pt x="702" y="761"/>
                  </a:lnTo>
                  <a:lnTo>
                    <a:pt x="703" y="766"/>
                  </a:lnTo>
                  <a:lnTo>
                    <a:pt x="708" y="772"/>
                  </a:lnTo>
                  <a:lnTo>
                    <a:pt x="709" y="775"/>
                  </a:lnTo>
                  <a:lnTo>
                    <a:pt x="711" y="777"/>
                  </a:lnTo>
                  <a:lnTo>
                    <a:pt x="711" y="780"/>
                  </a:lnTo>
                  <a:lnTo>
                    <a:pt x="714" y="783"/>
                  </a:lnTo>
                  <a:lnTo>
                    <a:pt x="715" y="784"/>
                  </a:lnTo>
                  <a:lnTo>
                    <a:pt x="715" y="786"/>
                  </a:lnTo>
                  <a:lnTo>
                    <a:pt x="715" y="790"/>
                  </a:lnTo>
                  <a:lnTo>
                    <a:pt x="716" y="791"/>
                  </a:lnTo>
                  <a:lnTo>
                    <a:pt x="717" y="793"/>
                  </a:lnTo>
                  <a:lnTo>
                    <a:pt x="720" y="795"/>
                  </a:lnTo>
                  <a:lnTo>
                    <a:pt x="720" y="797"/>
                  </a:lnTo>
                  <a:lnTo>
                    <a:pt x="724" y="798"/>
                  </a:lnTo>
                  <a:lnTo>
                    <a:pt x="725" y="798"/>
                  </a:lnTo>
                  <a:lnTo>
                    <a:pt x="727" y="799"/>
                  </a:lnTo>
                  <a:lnTo>
                    <a:pt x="727" y="800"/>
                  </a:lnTo>
                  <a:lnTo>
                    <a:pt x="728" y="801"/>
                  </a:lnTo>
                  <a:lnTo>
                    <a:pt x="732" y="806"/>
                  </a:lnTo>
                  <a:lnTo>
                    <a:pt x="737" y="810"/>
                  </a:lnTo>
                  <a:lnTo>
                    <a:pt x="737" y="811"/>
                  </a:lnTo>
                  <a:lnTo>
                    <a:pt x="739" y="814"/>
                  </a:lnTo>
                  <a:lnTo>
                    <a:pt x="739" y="817"/>
                  </a:lnTo>
                  <a:lnTo>
                    <a:pt x="737" y="819"/>
                  </a:lnTo>
                  <a:lnTo>
                    <a:pt x="737" y="821"/>
                  </a:lnTo>
                  <a:lnTo>
                    <a:pt x="737" y="824"/>
                  </a:lnTo>
                  <a:lnTo>
                    <a:pt x="741" y="821"/>
                  </a:lnTo>
                  <a:lnTo>
                    <a:pt x="741" y="824"/>
                  </a:lnTo>
                  <a:lnTo>
                    <a:pt x="741" y="827"/>
                  </a:lnTo>
                  <a:lnTo>
                    <a:pt x="740" y="824"/>
                  </a:lnTo>
                  <a:lnTo>
                    <a:pt x="737" y="824"/>
                  </a:lnTo>
                  <a:lnTo>
                    <a:pt x="734" y="821"/>
                  </a:lnTo>
                  <a:lnTo>
                    <a:pt x="732" y="823"/>
                  </a:lnTo>
                  <a:lnTo>
                    <a:pt x="728" y="823"/>
                  </a:lnTo>
                  <a:lnTo>
                    <a:pt x="726" y="824"/>
                  </a:lnTo>
                  <a:lnTo>
                    <a:pt x="728" y="825"/>
                  </a:lnTo>
                  <a:lnTo>
                    <a:pt x="732" y="827"/>
                  </a:lnTo>
                  <a:lnTo>
                    <a:pt x="733" y="829"/>
                  </a:lnTo>
                  <a:lnTo>
                    <a:pt x="735" y="832"/>
                  </a:lnTo>
                  <a:lnTo>
                    <a:pt x="739" y="833"/>
                  </a:lnTo>
                  <a:lnTo>
                    <a:pt x="739" y="833"/>
                  </a:lnTo>
                  <a:lnTo>
                    <a:pt x="742" y="835"/>
                  </a:lnTo>
                  <a:lnTo>
                    <a:pt x="744" y="837"/>
                  </a:lnTo>
                  <a:lnTo>
                    <a:pt x="746" y="837"/>
                  </a:lnTo>
                  <a:lnTo>
                    <a:pt x="749" y="837"/>
                  </a:lnTo>
                  <a:lnTo>
                    <a:pt x="751" y="835"/>
                  </a:lnTo>
                  <a:lnTo>
                    <a:pt x="751" y="834"/>
                  </a:lnTo>
                  <a:lnTo>
                    <a:pt x="751" y="837"/>
                  </a:lnTo>
                  <a:lnTo>
                    <a:pt x="752" y="840"/>
                  </a:lnTo>
                  <a:lnTo>
                    <a:pt x="756" y="842"/>
                  </a:lnTo>
                  <a:lnTo>
                    <a:pt x="758" y="844"/>
                  </a:lnTo>
                  <a:lnTo>
                    <a:pt x="758" y="844"/>
                  </a:lnTo>
                  <a:lnTo>
                    <a:pt x="761" y="845"/>
                  </a:lnTo>
                  <a:lnTo>
                    <a:pt x="761" y="845"/>
                  </a:lnTo>
                  <a:lnTo>
                    <a:pt x="763" y="849"/>
                  </a:lnTo>
                  <a:lnTo>
                    <a:pt x="763" y="849"/>
                  </a:lnTo>
                  <a:lnTo>
                    <a:pt x="766" y="851"/>
                  </a:lnTo>
                  <a:lnTo>
                    <a:pt x="766" y="854"/>
                  </a:lnTo>
                  <a:lnTo>
                    <a:pt x="766" y="857"/>
                  </a:lnTo>
                  <a:lnTo>
                    <a:pt x="766" y="859"/>
                  </a:lnTo>
                  <a:lnTo>
                    <a:pt x="766" y="860"/>
                  </a:lnTo>
                  <a:lnTo>
                    <a:pt x="765" y="862"/>
                  </a:lnTo>
                  <a:lnTo>
                    <a:pt x="765" y="864"/>
                  </a:lnTo>
                  <a:lnTo>
                    <a:pt x="768" y="867"/>
                  </a:lnTo>
                  <a:lnTo>
                    <a:pt x="769" y="869"/>
                  </a:lnTo>
                  <a:lnTo>
                    <a:pt x="773" y="871"/>
                  </a:lnTo>
                  <a:lnTo>
                    <a:pt x="773" y="871"/>
                  </a:lnTo>
                  <a:lnTo>
                    <a:pt x="778" y="875"/>
                  </a:lnTo>
                  <a:lnTo>
                    <a:pt x="780" y="877"/>
                  </a:lnTo>
                  <a:lnTo>
                    <a:pt x="783" y="879"/>
                  </a:lnTo>
                  <a:lnTo>
                    <a:pt x="786" y="881"/>
                  </a:lnTo>
                  <a:lnTo>
                    <a:pt x="788" y="883"/>
                  </a:lnTo>
                  <a:lnTo>
                    <a:pt x="791" y="886"/>
                  </a:lnTo>
                  <a:lnTo>
                    <a:pt x="792" y="888"/>
                  </a:lnTo>
                  <a:lnTo>
                    <a:pt x="793" y="891"/>
                  </a:lnTo>
                  <a:lnTo>
                    <a:pt x="794" y="893"/>
                  </a:lnTo>
                  <a:lnTo>
                    <a:pt x="795" y="894"/>
                  </a:lnTo>
                  <a:lnTo>
                    <a:pt x="796" y="893"/>
                  </a:lnTo>
                  <a:lnTo>
                    <a:pt x="799" y="891"/>
                  </a:lnTo>
                  <a:lnTo>
                    <a:pt x="802" y="889"/>
                  </a:lnTo>
                  <a:lnTo>
                    <a:pt x="802" y="886"/>
                  </a:lnTo>
                  <a:lnTo>
                    <a:pt x="801" y="884"/>
                  </a:lnTo>
                  <a:lnTo>
                    <a:pt x="799" y="883"/>
                  </a:lnTo>
                  <a:lnTo>
                    <a:pt x="797" y="880"/>
                  </a:lnTo>
                  <a:lnTo>
                    <a:pt x="797" y="877"/>
                  </a:lnTo>
                  <a:lnTo>
                    <a:pt x="794" y="876"/>
                  </a:lnTo>
                  <a:lnTo>
                    <a:pt x="793" y="875"/>
                  </a:lnTo>
                  <a:lnTo>
                    <a:pt x="790" y="874"/>
                  </a:lnTo>
                  <a:lnTo>
                    <a:pt x="788" y="875"/>
                  </a:lnTo>
                  <a:lnTo>
                    <a:pt x="787" y="875"/>
                  </a:lnTo>
                  <a:lnTo>
                    <a:pt x="785" y="872"/>
                  </a:lnTo>
                  <a:lnTo>
                    <a:pt x="784" y="870"/>
                  </a:lnTo>
                  <a:lnTo>
                    <a:pt x="784" y="867"/>
                  </a:lnTo>
                  <a:lnTo>
                    <a:pt x="784" y="864"/>
                  </a:lnTo>
                  <a:lnTo>
                    <a:pt x="782" y="861"/>
                  </a:lnTo>
                  <a:lnTo>
                    <a:pt x="782" y="859"/>
                  </a:lnTo>
                  <a:lnTo>
                    <a:pt x="780" y="857"/>
                  </a:lnTo>
                  <a:lnTo>
                    <a:pt x="778" y="853"/>
                  </a:lnTo>
                  <a:lnTo>
                    <a:pt x="776" y="851"/>
                  </a:lnTo>
                  <a:lnTo>
                    <a:pt x="776" y="848"/>
                  </a:lnTo>
                  <a:lnTo>
                    <a:pt x="775" y="845"/>
                  </a:lnTo>
                  <a:lnTo>
                    <a:pt x="775" y="843"/>
                  </a:lnTo>
                  <a:lnTo>
                    <a:pt x="773" y="840"/>
                  </a:lnTo>
                  <a:lnTo>
                    <a:pt x="771" y="837"/>
                  </a:lnTo>
                  <a:lnTo>
                    <a:pt x="768" y="835"/>
                  </a:lnTo>
                  <a:lnTo>
                    <a:pt x="768" y="838"/>
                  </a:lnTo>
                  <a:lnTo>
                    <a:pt x="768" y="835"/>
                  </a:lnTo>
                  <a:lnTo>
                    <a:pt x="768" y="833"/>
                  </a:lnTo>
                  <a:lnTo>
                    <a:pt x="766" y="832"/>
                  </a:lnTo>
                  <a:lnTo>
                    <a:pt x="763" y="829"/>
                  </a:lnTo>
                  <a:lnTo>
                    <a:pt x="762" y="826"/>
                  </a:lnTo>
                  <a:lnTo>
                    <a:pt x="760" y="825"/>
                  </a:lnTo>
                  <a:lnTo>
                    <a:pt x="757" y="821"/>
                  </a:lnTo>
                  <a:lnTo>
                    <a:pt x="757" y="819"/>
                  </a:lnTo>
                  <a:lnTo>
                    <a:pt x="756" y="818"/>
                  </a:lnTo>
                  <a:lnTo>
                    <a:pt x="756" y="815"/>
                  </a:lnTo>
                  <a:lnTo>
                    <a:pt x="751" y="809"/>
                  </a:lnTo>
                  <a:lnTo>
                    <a:pt x="746" y="806"/>
                  </a:lnTo>
                  <a:lnTo>
                    <a:pt x="745" y="802"/>
                  </a:lnTo>
                  <a:lnTo>
                    <a:pt x="744" y="800"/>
                  </a:lnTo>
                  <a:lnTo>
                    <a:pt x="737" y="793"/>
                  </a:lnTo>
                  <a:lnTo>
                    <a:pt x="734" y="792"/>
                  </a:lnTo>
                  <a:lnTo>
                    <a:pt x="732" y="790"/>
                  </a:lnTo>
                  <a:lnTo>
                    <a:pt x="731" y="785"/>
                  </a:lnTo>
                  <a:lnTo>
                    <a:pt x="731" y="782"/>
                  </a:lnTo>
                  <a:lnTo>
                    <a:pt x="729" y="780"/>
                  </a:lnTo>
                  <a:lnTo>
                    <a:pt x="729" y="777"/>
                  </a:lnTo>
                  <a:lnTo>
                    <a:pt x="728" y="774"/>
                  </a:lnTo>
                  <a:lnTo>
                    <a:pt x="727" y="772"/>
                  </a:lnTo>
                  <a:lnTo>
                    <a:pt x="728" y="764"/>
                  </a:lnTo>
                  <a:lnTo>
                    <a:pt x="726" y="760"/>
                  </a:lnTo>
                  <a:lnTo>
                    <a:pt x="725" y="759"/>
                  </a:lnTo>
                  <a:lnTo>
                    <a:pt x="726" y="760"/>
                  </a:lnTo>
                  <a:lnTo>
                    <a:pt x="727" y="760"/>
                  </a:lnTo>
                  <a:lnTo>
                    <a:pt x="735" y="766"/>
                  </a:lnTo>
                  <a:lnTo>
                    <a:pt x="739" y="767"/>
                  </a:lnTo>
                  <a:lnTo>
                    <a:pt x="741" y="765"/>
                  </a:lnTo>
                  <a:lnTo>
                    <a:pt x="744" y="766"/>
                  </a:lnTo>
                  <a:lnTo>
                    <a:pt x="744" y="769"/>
                  </a:lnTo>
                  <a:lnTo>
                    <a:pt x="746" y="770"/>
                  </a:lnTo>
                  <a:lnTo>
                    <a:pt x="750" y="770"/>
                  </a:lnTo>
                  <a:lnTo>
                    <a:pt x="752" y="772"/>
                  </a:lnTo>
                  <a:lnTo>
                    <a:pt x="752" y="773"/>
                  </a:lnTo>
                  <a:lnTo>
                    <a:pt x="752" y="778"/>
                  </a:lnTo>
                  <a:lnTo>
                    <a:pt x="757" y="786"/>
                  </a:lnTo>
                  <a:lnTo>
                    <a:pt x="757" y="790"/>
                  </a:lnTo>
                  <a:lnTo>
                    <a:pt x="759" y="794"/>
                  </a:lnTo>
                  <a:lnTo>
                    <a:pt x="761" y="797"/>
                  </a:lnTo>
                  <a:lnTo>
                    <a:pt x="761" y="799"/>
                  </a:lnTo>
                  <a:lnTo>
                    <a:pt x="765" y="801"/>
                  </a:lnTo>
                  <a:lnTo>
                    <a:pt x="765" y="802"/>
                  </a:lnTo>
                  <a:lnTo>
                    <a:pt x="766" y="806"/>
                  </a:lnTo>
                  <a:lnTo>
                    <a:pt x="769" y="808"/>
                  </a:lnTo>
                  <a:lnTo>
                    <a:pt x="770" y="810"/>
                  </a:lnTo>
                  <a:lnTo>
                    <a:pt x="775" y="815"/>
                  </a:lnTo>
                  <a:lnTo>
                    <a:pt x="777" y="818"/>
                  </a:lnTo>
                  <a:lnTo>
                    <a:pt x="779" y="820"/>
                  </a:lnTo>
                  <a:lnTo>
                    <a:pt x="783" y="821"/>
                  </a:lnTo>
                  <a:lnTo>
                    <a:pt x="783" y="819"/>
                  </a:lnTo>
                  <a:lnTo>
                    <a:pt x="783" y="819"/>
                  </a:lnTo>
                  <a:lnTo>
                    <a:pt x="783" y="820"/>
                  </a:lnTo>
                  <a:lnTo>
                    <a:pt x="787" y="821"/>
                  </a:lnTo>
                  <a:lnTo>
                    <a:pt x="785" y="824"/>
                  </a:lnTo>
                  <a:lnTo>
                    <a:pt x="786" y="827"/>
                  </a:lnTo>
                  <a:lnTo>
                    <a:pt x="790" y="831"/>
                  </a:lnTo>
                  <a:lnTo>
                    <a:pt x="792" y="832"/>
                  </a:lnTo>
                  <a:lnTo>
                    <a:pt x="795" y="833"/>
                  </a:lnTo>
                  <a:lnTo>
                    <a:pt x="797" y="837"/>
                  </a:lnTo>
                  <a:lnTo>
                    <a:pt x="799" y="838"/>
                  </a:lnTo>
                  <a:lnTo>
                    <a:pt x="802" y="838"/>
                  </a:lnTo>
                  <a:lnTo>
                    <a:pt x="804" y="841"/>
                  </a:lnTo>
                  <a:lnTo>
                    <a:pt x="804" y="844"/>
                  </a:lnTo>
                  <a:lnTo>
                    <a:pt x="807" y="843"/>
                  </a:lnTo>
                  <a:lnTo>
                    <a:pt x="805" y="845"/>
                  </a:lnTo>
                  <a:lnTo>
                    <a:pt x="804" y="845"/>
                  </a:lnTo>
                  <a:lnTo>
                    <a:pt x="802" y="848"/>
                  </a:lnTo>
                  <a:lnTo>
                    <a:pt x="802" y="851"/>
                  </a:lnTo>
                  <a:lnTo>
                    <a:pt x="803" y="852"/>
                  </a:lnTo>
                  <a:lnTo>
                    <a:pt x="805" y="854"/>
                  </a:lnTo>
                  <a:lnTo>
                    <a:pt x="808" y="854"/>
                  </a:lnTo>
                  <a:lnTo>
                    <a:pt x="810" y="854"/>
                  </a:lnTo>
                  <a:lnTo>
                    <a:pt x="813" y="858"/>
                  </a:lnTo>
                  <a:lnTo>
                    <a:pt x="814" y="859"/>
                  </a:lnTo>
                  <a:lnTo>
                    <a:pt x="818" y="860"/>
                  </a:lnTo>
                  <a:lnTo>
                    <a:pt x="821" y="862"/>
                  </a:lnTo>
                  <a:lnTo>
                    <a:pt x="821" y="863"/>
                  </a:lnTo>
                  <a:lnTo>
                    <a:pt x="821" y="867"/>
                  </a:lnTo>
                  <a:lnTo>
                    <a:pt x="822" y="869"/>
                  </a:lnTo>
                  <a:lnTo>
                    <a:pt x="826" y="870"/>
                  </a:lnTo>
                  <a:lnTo>
                    <a:pt x="827" y="872"/>
                  </a:lnTo>
                  <a:lnTo>
                    <a:pt x="834" y="877"/>
                  </a:lnTo>
                  <a:lnTo>
                    <a:pt x="842" y="887"/>
                  </a:lnTo>
                  <a:lnTo>
                    <a:pt x="844" y="889"/>
                  </a:lnTo>
                  <a:lnTo>
                    <a:pt x="850" y="894"/>
                  </a:lnTo>
                  <a:lnTo>
                    <a:pt x="853" y="900"/>
                  </a:lnTo>
                  <a:lnTo>
                    <a:pt x="854" y="902"/>
                  </a:lnTo>
                  <a:lnTo>
                    <a:pt x="854" y="908"/>
                  </a:lnTo>
                  <a:lnTo>
                    <a:pt x="857" y="913"/>
                  </a:lnTo>
                  <a:lnTo>
                    <a:pt x="860" y="913"/>
                  </a:lnTo>
                  <a:lnTo>
                    <a:pt x="860" y="919"/>
                  </a:lnTo>
                  <a:lnTo>
                    <a:pt x="857" y="921"/>
                  </a:lnTo>
                  <a:lnTo>
                    <a:pt x="856" y="925"/>
                  </a:lnTo>
                  <a:lnTo>
                    <a:pt x="860" y="926"/>
                  </a:lnTo>
                  <a:lnTo>
                    <a:pt x="860" y="926"/>
                  </a:lnTo>
                  <a:lnTo>
                    <a:pt x="859" y="927"/>
                  </a:lnTo>
                  <a:lnTo>
                    <a:pt x="854" y="930"/>
                  </a:lnTo>
                  <a:lnTo>
                    <a:pt x="855" y="932"/>
                  </a:lnTo>
                  <a:lnTo>
                    <a:pt x="856" y="935"/>
                  </a:lnTo>
                  <a:lnTo>
                    <a:pt x="862" y="943"/>
                  </a:lnTo>
                  <a:lnTo>
                    <a:pt x="865" y="946"/>
                  </a:lnTo>
                  <a:lnTo>
                    <a:pt x="872" y="948"/>
                  </a:lnTo>
                  <a:lnTo>
                    <a:pt x="877" y="952"/>
                  </a:lnTo>
                  <a:lnTo>
                    <a:pt x="880" y="954"/>
                  </a:lnTo>
                  <a:lnTo>
                    <a:pt x="885" y="960"/>
                  </a:lnTo>
                  <a:lnTo>
                    <a:pt x="890" y="961"/>
                  </a:lnTo>
                  <a:lnTo>
                    <a:pt x="893" y="963"/>
                  </a:lnTo>
                  <a:lnTo>
                    <a:pt x="902" y="964"/>
                  </a:lnTo>
                  <a:lnTo>
                    <a:pt x="903" y="964"/>
                  </a:lnTo>
                  <a:lnTo>
                    <a:pt x="906" y="964"/>
                  </a:lnTo>
                  <a:lnTo>
                    <a:pt x="908" y="968"/>
                  </a:lnTo>
                  <a:lnTo>
                    <a:pt x="916" y="974"/>
                  </a:lnTo>
                  <a:lnTo>
                    <a:pt x="931" y="979"/>
                  </a:lnTo>
                  <a:lnTo>
                    <a:pt x="935" y="981"/>
                  </a:lnTo>
                  <a:lnTo>
                    <a:pt x="949" y="985"/>
                  </a:lnTo>
                  <a:lnTo>
                    <a:pt x="950" y="987"/>
                  </a:lnTo>
                  <a:lnTo>
                    <a:pt x="957" y="989"/>
                  </a:lnTo>
                  <a:lnTo>
                    <a:pt x="962" y="992"/>
                  </a:lnTo>
                  <a:lnTo>
                    <a:pt x="965" y="992"/>
                  </a:lnTo>
                  <a:lnTo>
                    <a:pt x="970" y="994"/>
                  </a:lnTo>
                  <a:lnTo>
                    <a:pt x="974" y="996"/>
                  </a:lnTo>
                  <a:lnTo>
                    <a:pt x="980" y="997"/>
                  </a:lnTo>
                  <a:lnTo>
                    <a:pt x="980" y="996"/>
                  </a:lnTo>
                  <a:lnTo>
                    <a:pt x="982" y="996"/>
                  </a:lnTo>
                  <a:lnTo>
                    <a:pt x="985" y="995"/>
                  </a:lnTo>
                  <a:lnTo>
                    <a:pt x="987" y="994"/>
                  </a:lnTo>
                  <a:lnTo>
                    <a:pt x="992" y="992"/>
                  </a:lnTo>
                  <a:lnTo>
                    <a:pt x="998" y="989"/>
                  </a:lnTo>
                  <a:lnTo>
                    <a:pt x="998" y="989"/>
                  </a:lnTo>
                  <a:lnTo>
                    <a:pt x="1000" y="989"/>
                  </a:lnTo>
                  <a:lnTo>
                    <a:pt x="1002" y="989"/>
                  </a:lnTo>
                  <a:lnTo>
                    <a:pt x="1000" y="988"/>
                  </a:lnTo>
                  <a:lnTo>
                    <a:pt x="1000" y="987"/>
                  </a:lnTo>
                  <a:lnTo>
                    <a:pt x="1002" y="986"/>
                  </a:lnTo>
                  <a:lnTo>
                    <a:pt x="1004" y="989"/>
                  </a:lnTo>
                  <a:lnTo>
                    <a:pt x="1006" y="989"/>
                  </a:lnTo>
                  <a:lnTo>
                    <a:pt x="1013" y="991"/>
                  </a:lnTo>
                  <a:lnTo>
                    <a:pt x="1012" y="990"/>
                  </a:lnTo>
                  <a:lnTo>
                    <a:pt x="1009" y="989"/>
                  </a:lnTo>
                  <a:lnTo>
                    <a:pt x="1013" y="989"/>
                  </a:lnTo>
                  <a:lnTo>
                    <a:pt x="1015" y="990"/>
                  </a:lnTo>
                  <a:lnTo>
                    <a:pt x="1017" y="994"/>
                  </a:lnTo>
                  <a:lnTo>
                    <a:pt x="1027" y="1002"/>
                  </a:lnTo>
                  <a:lnTo>
                    <a:pt x="1030" y="1003"/>
                  </a:lnTo>
                  <a:lnTo>
                    <a:pt x="1031" y="1006"/>
                  </a:lnTo>
                  <a:lnTo>
                    <a:pt x="1038" y="1012"/>
                  </a:lnTo>
                  <a:lnTo>
                    <a:pt x="1047" y="1020"/>
                  </a:lnTo>
                  <a:lnTo>
                    <a:pt x="1050" y="1021"/>
                  </a:lnTo>
                  <a:lnTo>
                    <a:pt x="1053" y="1021"/>
                  </a:lnTo>
                  <a:lnTo>
                    <a:pt x="1059" y="1021"/>
                  </a:lnTo>
                  <a:lnTo>
                    <a:pt x="1061" y="1021"/>
                  </a:lnTo>
                  <a:lnTo>
                    <a:pt x="1068" y="1024"/>
                  </a:lnTo>
                  <a:lnTo>
                    <a:pt x="1070" y="1026"/>
                  </a:lnTo>
                  <a:lnTo>
                    <a:pt x="1077" y="1028"/>
                  </a:lnTo>
                  <a:lnTo>
                    <a:pt x="1079" y="1028"/>
                  </a:lnTo>
                  <a:lnTo>
                    <a:pt x="1084" y="1030"/>
                  </a:lnTo>
                  <a:lnTo>
                    <a:pt x="1090" y="1031"/>
                  </a:lnTo>
                  <a:lnTo>
                    <a:pt x="1086" y="1030"/>
                  </a:lnTo>
                  <a:lnTo>
                    <a:pt x="1091" y="1031"/>
                  </a:lnTo>
                  <a:lnTo>
                    <a:pt x="1091" y="1031"/>
                  </a:lnTo>
                  <a:lnTo>
                    <a:pt x="1095" y="1031"/>
                  </a:lnTo>
                  <a:lnTo>
                    <a:pt x="1098" y="1030"/>
                  </a:lnTo>
                  <a:lnTo>
                    <a:pt x="1098" y="1028"/>
                  </a:lnTo>
                  <a:lnTo>
                    <a:pt x="1098" y="1029"/>
                  </a:lnTo>
                  <a:lnTo>
                    <a:pt x="1100" y="1029"/>
                  </a:lnTo>
                  <a:lnTo>
                    <a:pt x="1101" y="1029"/>
                  </a:lnTo>
                  <a:lnTo>
                    <a:pt x="1104" y="1029"/>
                  </a:lnTo>
                  <a:lnTo>
                    <a:pt x="1103" y="1029"/>
                  </a:lnTo>
                  <a:lnTo>
                    <a:pt x="1103" y="1032"/>
                  </a:lnTo>
                  <a:lnTo>
                    <a:pt x="1106" y="1033"/>
                  </a:lnTo>
                  <a:lnTo>
                    <a:pt x="1106" y="1034"/>
                  </a:lnTo>
                  <a:lnTo>
                    <a:pt x="1104" y="1034"/>
                  </a:lnTo>
                  <a:lnTo>
                    <a:pt x="1101" y="1033"/>
                  </a:lnTo>
                  <a:lnTo>
                    <a:pt x="1100" y="1033"/>
                  </a:lnTo>
                  <a:lnTo>
                    <a:pt x="1102" y="1037"/>
                  </a:lnTo>
                  <a:lnTo>
                    <a:pt x="1107" y="1041"/>
                  </a:lnTo>
                  <a:lnTo>
                    <a:pt x="1108" y="1041"/>
                  </a:lnTo>
                  <a:lnTo>
                    <a:pt x="1108" y="1041"/>
                  </a:lnTo>
                  <a:lnTo>
                    <a:pt x="1107" y="1041"/>
                  </a:lnTo>
                  <a:lnTo>
                    <a:pt x="1112" y="1045"/>
                  </a:lnTo>
                  <a:lnTo>
                    <a:pt x="1113" y="1048"/>
                  </a:lnTo>
                  <a:lnTo>
                    <a:pt x="1118" y="1052"/>
                  </a:lnTo>
                  <a:lnTo>
                    <a:pt x="1120" y="1055"/>
                  </a:lnTo>
                  <a:lnTo>
                    <a:pt x="1127" y="1060"/>
                  </a:lnTo>
                  <a:lnTo>
                    <a:pt x="1125" y="1063"/>
                  </a:lnTo>
                  <a:lnTo>
                    <a:pt x="1125" y="1064"/>
                  </a:lnTo>
                  <a:lnTo>
                    <a:pt x="1128" y="1065"/>
                  </a:lnTo>
                  <a:lnTo>
                    <a:pt x="1127" y="1067"/>
                  </a:lnTo>
                  <a:lnTo>
                    <a:pt x="1125" y="1071"/>
                  </a:lnTo>
                  <a:lnTo>
                    <a:pt x="1125" y="1073"/>
                  </a:lnTo>
                  <a:lnTo>
                    <a:pt x="1128" y="1076"/>
                  </a:lnTo>
                  <a:lnTo>
                    <a:pt x="1130" y="1077"/>
                  </a:lnTo>
                  <a:lnTo>
                    <a:pt x="1134" y="1079"/>
                  </a:lnTo>
                  <a:lnTo>
                    <a:pt x="1135" y="1081"/>
                  </a:lnTo>
                  <a:lnTo>
                    <a:pt x="1137" y="1079"/>
                  </a:lnTo>
                  <a:lnTo>
                    <a:pt x="1137" y="1076"/>
                  </a:lnTo>
                  <a:lnTo>
                    <a:pt x="1135" y="1075"/>
                  </a:lnTo>
                  <a:lnTo>
                    <a:pt x="1134" y="1074"/>
                  </a:lnTo>
                  <a:lnTo>
                    <a:pt x="1133" y="1072"/>
                  </a:lnTo>
                  <a:lnTo>
                    <a:pt x="1134" y="1072"/>
                  </a:lnTo>
                  <a:lnTo>
                    <a:pt x="1134" y="1073"/>
                  </a:lnTo>
                  <a:lnTo>
                    <a:pt x="1136" y="1073"/>
                  </a:lnTo>
                  <a:lnTo>
                    <a:pt x="1142" y="1079"/>
                  </a:lnTo>
                  <a:lnTo>
                    <a:pt x="1142" y="1080"/>
                  </a:lnTo>
                  <a:lnTo>
                    <a:pt x="1143" y="1082"/>
                  </a:lnTo>
                  <a:lnTo>
                    <a:pt x="1147" y="1083"/>
                  </a:lnTo>
                  <a:lnTo>
                    <a:pt x="1153" y="1086"/>
                  </a:lnTo>
                  <a:lnTo>
                    <a:pt x="1155" y="1090"/>
                  </a:lnTo>
                  <a:lnTo>
                    <a:pt x="1157" y="1091"/>
                  </a:lnTo>
                  <a:lnTo>
                    <a:pt x="1154" y="1093"/>
                  </a:lnTo>
                  <a:lnTo>
                    <a:pt x="1154" y="1096"/>
                  </a:lnTo>
                  <a:lnTo>
                    <a:pt x="1160" y="1098"/>
                  </a:lnTo>
                  <a:lnTo>
                    <a:pt x="1160" y="1096"/>
                  </a:lnTo>
                  <a:lnTo>
                    <a:pt x="1159" y="1093"/>
                  </a:lnTo>
                  <a:lnTo>
                    <a:pt x="1161" y="1094"/>
                  </a:lnTo>
                  <a:lnTo>
                    <a:pt x="1166" y="1102"/>
                  </a:lnTo>
                  <a:lnTo>
                    <a:pt x="1164" y="1099"/>
                  </a:lnTo>
                  <a:lnTo>
                    <a:pt x="1164" y="1099"/>
                  </a:lnTo>
                  <a:lnTo>
                    <a:pt x="1164" y="1098"/>
                  </a:lnTo>
                  <a:lnTo>
                    <a:pt x="1166" y="1097"/>
                  </a:lnTo>
                  <a:lnTo>
                    <a:pt x="1167" y="1097"/>
                  </a:lnTo>
                  <a:lnTo>
                    <a:pt x="1167" y="1096"/>
                  </a:lnTo>
                  <a:lnTo>
                    <a:pt x="1166" y="1092"/>
                  </a:lnTo>
                  <a:lnTo>
                    <a:pt x="1167" y="1091"/>
                  </a:lnTo>
                  <a:lnTo>
                    <a:pt x="1168" y="1090"/>
                  </a:lnTo>
                  <a:lnTo>
                    <a:pt x="1168" y="1090"/>
                  </a:lnTo>
                  <a:lnTo>
                    <a:pt x="1164" y="1089"/>
                  </a:lnTo>
                  <a:lnTo>
                    <a:pt x="1164" y="1085"/>
                  </a:lnTo>
                  <a:lnTo>
                    <a:pt x="1167" y="1082"/>
                  </a:lnTo>
                  <a:lnTo>
                    <a:pt x="1166" y="1081"/>
                  </a:lnTo>
                  <a:lnTo>
                    <a:pt x="1167" y="1081"/>
                  </a:lnTo>
                  <a:lnTo>
                    <a:pt x="1169" y="1082"/>
                  </a:lnTo>
                  <a:lnTo>
                    <a:pt x="1170" y="1081"/>
                  </a:lnTo>
                  <a:lnTo>
                    <a:pt x="1166" y="1079"/>
                  </a:lnTo>
                  <a:lnTo>
                    <a:pt x="1163" y="1075"/>
                  </a:lnTo>
                  <a:lnTo>
                    <a:pt x="1163" y="1075"/>
                  </a:lnTo>
                  <a:lnTo>
                    <a:pt x="1160" y="1072"/>
                  </a:lnTo>
                  <a:lnTo>
                    <a:pt x="1157" y="1067"/>
                  </a:lnTo>
                  <a:lnTo>
                    <a:pt x="1155" y="1065"/>
                  </a:lnTo>
                  <a:lnTo>
                    <a:pt x="1155" y="1065"/>
                  </a:lnTo>
                  <a:lnTo>
                    <a:pt x="1155" y="1063"/>
                  </a:lnTo>
                  <a:lnTo>
                    <a:pt x="1154" y="1063"/>
                  </a:lnTo>
                  <a:lnTo>
                    <a:pt x="1153" y="1060"/>
                  </a:lnTo>
                  <a:lnTo>
                    <a:pt x="1152" y="1057"/>
                  </a:lnTo>
                  <a:lnTo>
                    <a:pt x="1155" y="1051"/>
                  </a:lnTo>
                  <a:lnTo>
                    <a:pt x="1153" y="1049"/>
                  </a:lnTo>
                  <a:lnTo>
                    <a:pt x="1154" y="1046"/>
                  </a:lnTo>
                  <a:lnTo>
                    <a:pt x="1155" y="1043"/>
                  </a:lnTo>
                  <a:lnTo>
                    <a:pt x="1154" y="1042"/>
                  </a:lnTo>
                  <a:lnTo>
                    <a:pt x="1155" y="1039"/>
                  </a:lnTo>
                  <a:lnTo>
                    <a:pt x="1155" y="1037"/>
                  </a:lnTo>
                  <a:lnTo>
                    <a:pt x="1157" y="1037"/>
                  </a:lnTo>
                  <a:lnTo>
                    <a:pt x="1155" y="1040"/>
                  </a:lnTo>
                  <a:lnTo>
                    <a:pt x="1155" y="1040"/>
                  </a:lnTo>
                  <a:lnTo>
                    <a:pt x="1155" y="1042"/>
                  </a:lnTo>
                  <a:lnTo>
                    <a:pt x="1157" y="1040"/>
                  </a:lnTo>
                  <a:lnTo>
                    <a:pt x="1157" y="1038"/>
                  </a:lnTo>
                  <a:lnTo>
                    <a:pt x="1158" y="1035"/>
                  </a:lnTo>
                  <a:lnTo>
                    <a:pt x="1157" y="1033"/>
                  </a:lnTo>
                  <a:lnTo>
                    <a:pt x="1157" y="1029"/>
                  </a:lnTo>
                  <a:lnTo>
                    <a:pt x="1158" y="1021"/>
                  </a:lnTo>
                  <a:lnTo>
                    <a:pt x="1161" y="1016"/>
                  </a:lnTo>
                  <a:lnTo>
                    <a:pt x="1161" y="1014"/>
                  </a:lnTo>
                  <a:lnTo>
                    <a:pt x="1160" y="1009"/>
                  </a:lnTo>
                  <a:lnTo>
                    <a:pt x="1162" y="1006"/>
                  </a:lnTo>
                  <a:lnTo>
                    <a:pt x="1161" y="1005"/>
                  </a:lnTo>
                  <a:lnTo>
                    <a:pt x="1159" y="1003"/>
                  </a:lnTo>
                  <a:lnTo>
                    <a:pt x="1157" y="1002"/>
                  </a:lnTo>
                  <a:lnTo>
                    <a:pt x="1157" y="1002"/>
                  </a:lnTo>
                  <a:lnTo>
                    <a:pt x="1153" y="1003"/>
                  </a:lnTo>
                  <a:lnTo>
                    <a:pt x="1151" y="1000"/>
                  </a:lnTo>
                  <a:lnTo>
                    <a:pt x="1152" y="1003"/>
                  </a:lnTo>
                  <a:lnTo>
                    <a:pt x="1151" y="1002"/>
                  </a:lnTo>
                  <a:lnTo>
                    <a:pt x="1149" y="999"/>
                  </a:lnTo>
                  <a:lnTo>
                    <a:pt x="1151" y="998"/>
                  </a:lnTo>
                  <a:lnTo>
                    <a:pt x="1154" y="1000"/>
                  </a:lnTo>
                  <a:lnTo>
                    <a:pt x="1154" y="1000"/>
                  </a:lnTo>
                  <a:lnTo>
                    <a:pt x="1151" y="998"/>
                  </a:lnTo>
                  <a:lnTo>
                    <a:pt x="1146" y="994"/>
                  </a:lnTo>
                  <a:lnTo>
                    <a:pt x="1144" y="995"/>
                  </a:lnTo>
                  <a:lnTo>
                    <a:pt x="1142" y="994"/>
                  </a:lnTo>
                  <a:lnTo>
                    <a:pt x="1137" y="992"/>
                  </a:lnTo>
                  <a:lnTo>
                    <a:pt x="1130" y="994"/>
                  </a:lnTo>
                  <a:lnTo>
                    <a:pt x="1127" y="992"/>
                  </a:lnTo>
                  <a:lnTo>
                    <a:pt x="1127" y="992"/>
                  </a:lnTo>
                  <a:lnTo>
                    <a:pt x="1125" y="992"/>
                  </a:lnTo>
                  <a:lnTo>
                    <a:pt x="1124" y="994"/>
                  </a:lnTo>
                  <a:lnTo>
                    <a:pt x="1120" y="994"/>
                  </a:lnTo>
                  <a:lnTo>
                    <a:pt x="1118" y="995"/>
                  </a:lnTo>
                  <a:lnTo>
                    <a:pt x="1117" y="995"/>
                  </a:lnTo>
                  <a:lnTo>
                    <a:pt x="1108" y="995"/>
                  </a:lnTo>
                  <a:lnTo>
                    <a:pt x="1104" y="994"/>
                  </a:lnTo>
                  <a:lnTo>
                    <a:pt x="1102" y="995"/>
                  </a:lnTo>
                  <a:lnTo>
                    <a:pt x="1099" y="992"/>
                  </a:lnTo>
                  <a:lnTo>
                    <a:pt x="1095" y="995"/>
                  </a:lnTo>
                  <a:lnTo>
                    <a:pt x="1093" y="996"/>
                  </a:lnTo>
                  <a:lnTo>
                    <a:pt x="1090" y="994"/>
                  </a:lnTo>
                  <a:lnTo>
                    <a:pt x="1089" y="994"/>
                  </a:lnTo>
                  <a:lnTo>
                    <a:pt x="1087" y="996"/>
                  </a:lnTo>
                  <a:lnTo>
                    <a:pt x="1087" y="995"/>
                  </a:lnTo>
                  <a:lnTo>
                    <a:pt x="1083" y="994"/>
                  </a:lnTo>
                  <a:lnTo>
                    <a:pt x="1083" y="992"/>
                  </a:lnTo>
                  <a:lnTo>
                    <a:pt x="1086" y="988"/>
                  </a:lnTo>
                  <a:lnTo>
                    <a:pt x="1089" y="987"/>
                  </a:lnTo>
                  <a:lnTo>
                    <a:pt x="1090" y="985"/>
                  </a:lnTo>
                  <a:lnTo>
                    <a:pt x="1091" y="985"/>
                  </a:lnTo>
                  <a:lnTo>
                    <a:pt x="1092" y="981"/>
                  </a:lnTo>
                  <a:lnTo>
                    <a:pt x="1092" y="973"/>
                  </a:lnTo>
                  <a:lnTo>
                    <a:pt x="1093" y="971"/>
                  </a:lnTo>
                  <a:lnTo>
                    <a:pt x="1092" y="970"/>
                  </a:lnTo>
                  <a:lnTo>
                    <a:pt x="1094" y="962"/>
                  </a:lnTo>
                  <a:lnTo>
                    <a:pt x="1094" y="960"/>
                  </a:lnTo>
                  <a:lnTo>
                    <a:pt x="1092" y="956"/>
                  </a:lnTo>
                  <a:lnTo>
                    <a:pt x="1092" y="954"/>
                  </a:lnTo>
                  <a:lnTo>
                    <a:pt x="1095" y="953"/>
                  </a:lnTo>
                  <a:lnTo>
                    <a:pt x="1094" y="955"/>
                  </a:lnTo>
                  <a:lnTo>
                    <a:pt x="1098" y="961"/>
                  </a:lnTo>
                  <a:lnTo>
                    <a:pt x="1103" y="945"/>
                  </a:lnTo>
                  <a:lnTo>
                    <a:pt x="1101" y="946"/>
                  </a:lnTo>
                  <a:lnTo>
                    <a:pt x="1100" y="945"/>
                  </a:lnTo>
                  <a:lnTo>
                    <a:pt x="1102" y="941"/>
                  </a:lnTo>
                  <a:lnTo>
                    <a:pt x="1100" y="941"/>
                  </a:lnTo>
                  <a:lnTo>
                    <a:pt x="1103" y="936"/>
                  </a:lnTo>
                  <a:lnTo>
                    <a:pt x="1103" y="934"/>
                  </a:lnTo>
                  <a:lnTo>
                    <a:pt x="1104" y="931"/>
                  </a:lnTo>
                  <a:lnTo>
                    <a:pt x="1106" y="929"/>
                  </a:lnTo>
                  <a:lnTo>
                    <a:pt x="1109" y="926"/>
                  </a:lnTo>
                  <a:lnTo>
                    <a:pt x="1111" y="923"/>
                  </a:lnTo>
                  <a:lnTo>
                    <a:pt x="1111" y="921"/>
                  </a:lnTo>
                  <a:lnTo>
                    <a:pt x="1111" y="917"/>
                  </a:lnTo>
                  <a:lnTo>
                    <a:pt x="1110" y="914"/>
                  </a:lnTo>
                  <a:lnTo>
                    <a:pt x="1108" y="912"/>
                  </a:lnTo>
                  <a:lnTo>
                    <a:pt x="1104" y="914"/>
                  </a:lnTo>
                  <a:lnTo>
                    <a:pt x="1094" y="912"/>
                  </a:lnTo>
                  <a:lnTo>
                    <a:pt x="1091" y="913"/>
                  </a:lnTo>
                  <a:lnTo>
                    <a:pt x="1090" y="913"/>
                  </a:lnTo>
                  <a:lnTo>
                    <a:pt x="1084" y="915"/>
                  </a:lnTo>
                  <a:lnTo>
                    <a:pt x="1070" y="917"/>
                  </a:lnTo>
                  <a:lnTo>
                    <a:pt x="1065" y="920"/>
                  </a:lnTo>
                  <a:lnTo>
                    <a:pt x="1063" y="922"/>
                  </a:lnTo>
                  <a:lnTo>
                    <a:pt x="1064" y="923"/>
                  </a:lnTo>
                  <a:lnTo>
                    <a:pt x="1063" y="925"/>
                  </a:lnTo>
                  <a:lnTo>
                    <a:pt x="1061" y="927"/>
                  </a:lnTo>
                  <a:lnTo>
                    <a:pt x="1061" y="930"/>
                  </a:lnTo>
                  <a:lnTo>
                    <a:pt x="1061" y="932"/>
                  </a:lnTo>
                  <a:lnTo>
                    <a:pt x="1061" y="935"/>
                  </a:lnTo>
                  <a:lnTo>
                    <a:pt x="1061" y="936"/>
                  </a:lnTo>
                  <a:lnTo>
                    <a:pt x="1059" y="938"/>
                  </a:lnTo>
                  <a:lnTo>
                    <a:pt x="1058" y="944"/>
                  </a:lnTo>
                  <a:lnTo>
                    <a:pt x="1056" y="947"/>
                  </a:lnTo>
                  <a:lnTo>
                    <a:pt x="1050" y="949"/>
                  </a:lnTo>
                  <a:lnTo>
                    <a:pt x="1048" y="952"/>
                  </a:lnTo>
                  <a:lnTo>
                    <a:pt x="1049" y="952"/>
                  </a:lnTo>
                  <a:lnTo>
                    <a:pt x="1051" y="955"/>
                  </a:lnTo>
                  <a:lnTo>
                    <a:pt x="1050" y="955"/>
                  </a:lnTo>
                  <a:lnTo>
                    <a:pt x="1048" y="957"/>
                  </a:lnTo>
                  <a:lnTo>
                    <a:pt x="1046" y="957"/>
                  </a:lnTo>
                  <a:lnTo>
                    <a:pt x="1043" y="957"/>
                  </a:lnTo>
                  <a:lnTo>
                    <a:pt x="1041" y="955"/>
                  </a:lnTo>
                  <a:lnTo>
                    <a:pt x="1042" y="955"/>
                  </a:lnTo>
                  <a:lnTo>
                    <a:pt x="1040" y="954"/>
                  </a:lnTo>
                  <a:lnTo>
                    <a:pt x="1034" y="954"/>
                  </a:lnTo>
                  <a:lnTo>
                    <a:pt x="1033" y="955"/>
                  </a:lnTo>
                  <a:lnTo>
                    <a:pt x="1032" y="957"/>
                  </a:lnTo>
                  <a:lnTo>
                    <a:pt x="1031" y="956"/>
                  </a:lnTo>
                  <a:lnTo>
                    <a:pt x="1029" y="957"/>
                  </a:lnTo>
                  <a:lnTo>
                    <a:pt x="1025" y="957"/>
                  </a:lnTo>
                  <a:lnTo>
                    <a:pt x="1021" y="957"/>
                  </a:lnTo>
                  <a:lnTo>
                    <a:pt x="1010" y="961"/>
                  </a:lnTo>
                  <a:lnTo>
                    <a:pt x="1007" y="962"/>
                  </a:lnTo>
                  <a:lnTo>
                    <a:pt x="1006" y="961"/>
                  </a:lnTo>
                  <a:lnTo>
                    <a:pt x="1002" y="956"/>
                  </a:lnTo>
                  <a:lnTo>
                    <a:pt x="1000" y="956"/>
                  </a:lnTo>
                  <a:lnTo>
                    <a:pt x="996" y="954"/>
                  </a:lnTo>
                  <a:lnTo>
                    <a:pt x="991" y="953"/>
                  </a:lnTo>
                  <a:lnTo>
                    <a:pt x="989" y="953"/>
                  </a:lnTo>
                  <a:lnTo>
                    <a:pt x="989" y="953"/>
                  </a:lnTo>
                  <a:lnTo>
                    <a:pt x="988" y="954"/>
                  </a:lnTo>
                  <a:lnTo>
                    <a:pt x="988" y="955"/>
                  </a:lnTo>
                  <a:lnTo>
                    <a:pt x="987" y="955"/>
                  </a:lnTo>
                  <a:lnTo>
                    <a:pt x="988" y="954"/>
                  </a:lnTo>
                  <a:lnTo>
                    <a:pt x="987" y="952"/>
                  </a:lnTo>
                  <a:lnTo>
                    <a:pt x="989" y="953"/>
                  </a:lnTo>
                  <a:lnTo>
                    <a:pt x="987" y="952"/>
                  </a:lnTo>
                  <a:lnTo>
                    <a:pt x="985" y="948"/>
                  </a:lnTo>
                  <a:lnTo>
                    <a:pt x="982" y="945"/>
                  </a:lnTo>
                  <a:lnTo>
                    <a:pt x="981" y="944"/>
                  </a:lnTo>
                  <a:lnTo>
                    <a:pt x="980" y="938"/>
                  </a:lnTo>
                  <a:lnTo>
                    <a:pt x="979" y="935"/>
                  </a:lnTo>
                  <a:lnTo>
                    <a:pt x="971" y="927"/>
                  </a:lnTo>
                  <a:lnTo>
                    <a:pt x="967" y="919"/>
                  </a:lnTo>
                  <a:lnTo>
                    <a:pt x="965" y="914"/>
                  </a:lnTo>
                  <a:lnTo>
                    <a:pt x="964" y="912"/>
                  </a:lnTo>
                  <a:lnTo>
                    <a:pt x="963" y="910"/>
                  </a:lnTo>
                  <a:lnTo>
                    <a:pt x="963" y="906"/>
                  </a:lnTo>
                  <a:lnTo>
                    <a:pt x="964" y="910"/>
                  </a:lnTo>
                  <a:lnTo>
                    <a:pt x="967" y="913"/>
                  </a:lnTo>
                  <a:lnTo>
                    <a:pt x="966" y="915"/>
                  </a:lnTo>
                  <a:lnTo>
                    <a:pt x="967" y="917"/>
                  </a:lnTo>
                  <a:lnTo>
                    <a:pt x="968" y="913"/>
                  </a:lnTo>
                  <a:lnTo>
                    <a:pt x="967" y="912"/>
                  </a:lnTo>
                  <a:lnTo>
                    <a:pt x="964" y="910"/>
                  </a:lnTo>
                  <a:lnTo>
                    <a:pt x="963" y="906"/>
                  </a:lnTo>
                  <a:lnTo>
                    <a:pt x="962" y="904"/>
                  </a:lnTo>
                  <a:lnTo>
                    <a:pt x="962" y="903"/>
                  </a:lnTo>
                  <a:lnTo>
                    <a:pt x="961" y="901"/>
                  </a:lnTo>
                  <a:lnTo>
                    <a:pt x="961" y="896"/>
                  </a:lnTo>
                  <a:lnTo>
                    <a:pt x="962" y="893"/>
                  </a:lnTo>
                  <a:lnTo>
                    <a:pt x="962" y="891"/>
                  </a:lnTo>
                  <a:lnTo>
                    <a:pt x="962" y="884"/>
                  </a:lnTo>
                  <a:lnTo>
                    <a:pt x="961" y="880"/>
                  </a:lnTo>
                  <a:lnTo>
                    <a:pt x="962" y="880"/>
                  </a:lnTo>
                  <a:lnTo>
                    <a:pt x="962" y="878"/>
                  </a:lnTo>
                  <a:lnTo>
                    <a:pt x="962" y="872"/>
                  </a:lnTo>
                  <a:lnTo>
                    <a:pt x="961" y="869"/>
                  </a:lnTo>
                  <a:lnTo>
                    <a:pt x="963" y="867"/>
                  </a:lnTo>
                  <a:lnTo>
                    <a:pt x="963" y="864"/>
                  </a:lnTo>
                  <a:lnTo>
                    <a:pt x="963" y="863"/>
                  </a:lnTo>
                  <a:lnTo>
                    <a:pt x="963" y="858"/>
                  </a:lnTo>
                  <a:lnTo>
                    <a:pt x="965" y="859"/>
                  </a:lnTo>
                  <a:lnTo>
                    <a:pt x="965" y="863"/>
                  </a:lnTo>
                  <a:lnTo>
                    <a:pt x="964" y="869"/>
                  </a:lnTo>
                  <a:lnTo>
                    <a:pt x="962" y="879"/>
                  </a:lnTo>
                  <a:lnTo>
                    <a:pt x="963" y="879"/>
                  </a:lnTo>
                  <a:lnTo>
                    <a:pt x="963" y="871"/>
                  </a:lnTo>
                  <a:lnTo>
                    <a:pt x="965" y="862"/>
                  </a:lnTo>
                  <a:lnTo>
                    <a:pt x="970" y="854"/>
                  </a:lnTo>
                  <a:lnTo>
                    <a:pt x="971" y="849"/>
                  </a:lnTo>
                  <a:lnTo>
                    <a:pt x="968" y="846"/>
                  </a:lnTo>
                  <a:lnTo>
                    <a:pt x="964" y="834"/>
                  </a:lnTo>
                  <a:lnTo>
                    <a:pt x="966" y="832"/>
                  </a:lnTo>
                  <a:lnTo>
                    <a:pt x="964" y="831"/>
                  </a:lnTo>
                  <a:lnTo>
                    <a:pt x="962" y="827"/>
                  </a:lnTo>
                  <a:lnTo>
                    <a:pt x="964" y="828"/>
                  </a:lnTo>
                  <a:lnTo>
                    <a:pt x="966" y="829"/>
                  </a:lnTo>
                  <a:lnTo>
                    <a:pt x="968" y="824"/>
                  </a:lnTo>
                  <a:lnTo>
                    <a:pt x="967" y="821"/>
                  </a:lnTo>
                  <a:lnTo>
                    <a:pt x="965" y="821"/>
                  </a:lnTo>
                  <a:lnTo>
                    <a:pt x="970" y="821"/>
                  </a:lnTo>
                  <a:lnTo>
                    <a:pt x="972" y="818"/>
                  </a:lnTo>
                  <a:lnTo>
                    <a:pt x="972" y="817"/>
                  </a:lnTo>
                  <a:lnTo>
                    <a:pt x="975" y="816"/>
                  </a:lnTo>
                  <a:lnTo>
                    <a:pt x="974" y="814"/>
                  </a:lnTo>
                  <a:lnTo>
                    <a:pt x="975" y="812"/>
                  </a:lnTo>
                  <a:lnTo>
                    <a:pt x="978" y="815"/>
                  </a:lnTo>
                  <a:lnTo>
                    <a:pt x="981" y="812"/>
                  </a:lnTo>
                  <a:lnTo>
                    <a:pt x="978" y="810"/>
                  </a:lnTo>
                  <a:lnTo>
                    <a:pt x="978" y="810"/>
                  </a:lnTo>
                  <a:lnTo>
                    <a:pt x="979" y="809"/>
                  </a:lnTo>
                  <a:lnTo>
                    <a:pt x="980" y="810"/>
                  </a:lnTo>
                  <a:lnTo>
                    <a:pt x="980" y="808"/>
                  </a:lnTo>
                  <a:lnTo>
                    <a:pt x="983" y="809"/>
                  </a:lnTo>
                  <a:lnTo>
                    <a:pt x="984" y="810"/>
                  </a:lnTo>
                  <a:lnTo>
                    <a:pt x="983" y="810"/>
                  </a:lnTo>
                  <a:lnTo>
                    <a:pt x="987" y="810"/>
                  </a:lnTo>
                  <a:lnTo>
                    <a:pt x="983" y="812"/>
                  </a:lnTo>
                  <a:lnTo>
                    <a:pt x="991" y="808"/>
                  </a:lnTo>
                  <a:lnTo>
                    <a:pt x="993" y="807"/>
                  </a:lnTo>
                  <a:lnTo>
                    <a:pt x="995" y="807"/>
                  </a:lnTo>
                  <a:lnTo>
                    <a:pt x="997" y="804"/>
                  </a:lnTo>
                  <a:lnTo>
                    <a:pt x="998" y="802"/>
                  </a:lnTo>
                  <a:lnTo>
                    <a:pt x="1001" y="800"/>
                  </a:lnTo>
                  <a:lnTo>
                    <a:pt x="999" y="794"/>
                  </a:lnTo>
                  <a:lnTo>
                    <a:pt x="999" y="793"/>
                  </a:lnTo>
                  <a:lnTo>
                    <a:pt x="1001" y="794"/>
                  </a:lnTo>
                  <a:lnTo>
                    <a:pt x="1004" y="793"/>
                  </a:lnTo>
                  <a:lnTo>
                    <a:pt x="1005" y="797"/>
                  </a:lnTo>
                  <a:lnTo>
                    <a:pt x="1007" y="797"/>
                  </a:lnTo>
                  <a:lnTo>
                    <a:pt x="1006" y="797"/>
                  </a:lnTo>
                  <a:lnTo>
                    <a:pt x="1002" y="799"/>
                  </a:lnTo>
                  <a:lnTo>
                    <a:pt x="1008" y="795"/>
                  </a:lnTo>
                  <a:lnTo>
                    <a:pt x="1012" y="794"/>
                  </a:lnTo>
                  <a:lnTo>
                    <a:pt x="1014" y="794"/>
                  </a:lnTo>
                  <a:lnTo>
                    <a:pt x="1015" y="793"/>
                  </a:lnTo>
                  <a:lnTo>
                    <a:pt x="1014" y="792"/>
                  </a:lnTo>
                  <a:lnTo>
                    <a:pt x="1016" y="790"/>
                  </a:lnTo>
                  <a:lnTo>
                    <a:pt x="1015" y="792"/>
                  </a:lnTo>
                  <a:lnTo>
                    <a:pt x="1015" y="793"/>
                  </a:lnTo>
                  <a:lnTo>
                    <a:pt x="1021" y="793"/>
                  </a:lnTo>
                  <a:lnTo>
                    <a:pt x="1022" y="792"/>
                  </a:lnTo>
                  <a:lnTo>
                    <a:pt x="1023" y="790"/>
                  </a:lnTo>
                  <a:lnTo>
                    <a:pt x="1023" y="790"/>
                  </a:lnTo>
                  <a:lnTo>
                    <a:pt x="1022" y="792"/>
                  </a:lnTo>
                  <a:lnTo>
                    <a:pt x="1027" y="793"/>
                  </a:lnTo>
                  <a:lnTo>
                    <a:pt x="1031" y="795"/>
                  </a:lnTo>
                  <a:lnTo>
                    <a:pt x="1036" y="797"/>
                  </a:lnTo>
                  <a:lnTo>
                    <a:pt x="1039" y="795"/>
                  </a:lnTo>
                  <a:lnTo>
                    <a:pt x="1040" y="795"/>
                  </a:lnTo>
                  <a:lnTo>
                    <a:pt x="1041" y="792"/>
                  </a:lnTo>
                  <a:lnTo>
                    <a:pt x="1043" y="793"/>
                  </a:lnTo>
                  <a:lnTo>
                    <a:pt x="1049" y="797"/>
                  </a:lnTo>
                  <a:lnTo>
                    <a:pt x="1051" y="795"/>
                  </a:lnTo>
                  <a:lnTo>
                    <a:pt x="1051" y="797"/>
                  </a:lnTo>
                  <a:lnTo>
                    <a:pt x="1055" y="802"/>
                  </a:lnTo>
                  <a:lnTo>
                    <a:pt x="1059" y="802"/>
                  </a:lnTo>
                  <a:lnTo>
                    <a:pt x="1059" y="801"/>
                  </a:lnTo>
                  <a:lnTo>
                    <a:pt x="1063" y="799"/>
                  </a:lnTo>
                  <a:lnTo>
                    <a:pt x="1066" y="802"/>
                  </a:lnTo>
                  <a:lnTo>
                    <a:pt x="1067" y="801"/>
                  </a:lnTo>
                  <a:lnTo>
                    <a:pt x="1067" y="799"/>
                  </a:lnTo>
                  <a:lnTo>
                    <a:pt x="1066" y="795"/>
                  </a:lnTo>
                  <a:lnTo>
                    <a:pt x="1070" y="798"/>
                  </a:lnTo>
                  <a:lnTo>
                    <a:pt x="1074" y="801"/>
                  </a:lnTo>
                  <a:lnTo>
                    <a:pt x="1076" y="802"/>
                  </a:lnTo>
                  <a:lnTo>
                    <a:pt x="1076" y="806"/>
                  </a:lnTo>
                  <a:lnTo>
                    <a:pt x="1078" y="803"/>
                  </a:lnTo>
                  <a:lnTo>
                    <a:pt x="1082" y="802"/>
                  </a:lnTo>
                  <a:lnTo>
                    <a:pt x="1082" y="801"/>
                  </a:lnTo>
                  <a:lnTo>
                    <a:pt x="1079" y="800"/>
                  </a:lnTo>
                  <a:lnTo>
                    <a:pt x="1077" y="799"/>
                  </a:lnTo>
                  <a:lnTo>
                    <a:pt x="1074" y="797"/>
                  </a:lnTo>
                  <a:lnTo>
                    <a:pt x="1073" y="794"/>
                  </a:lnTo>
                  <a:lnTo>
                    <a:pt x="1076" y="792"/>
                  </a:lnTo>
                  <a:lnTo>
                    <a:pt x="1076" y="790"/>
                  </a:lnTo>
                  <a:lnTo>
                    <a:pt x="1074" y="790"/>
                  </a:lnTo>
                  <a:lnTo>
                    <a:pt x="1072" y="790"/>
                  </a:lnTo>
                  <a:lnTo>
                    <a:pt x="1070" y="790"/>
                  </a:lnTo>
                  <a:lnTo>
                    <a:pt x="1073" y="787"/>
                  </a:lnTo>
                  <a:lnTo>
                    <a:pt x="1073" y="787"/>
                  </a:lnTo>
                  <a:lnTo>
                    <a:pt x="1070" y="787"/>
                  </a:lnTo>
                  <a:lnTo>
                    <a:pt x="1068" y="789"/>
                  </a:lnTo>
                  <a:lnTo>
                    <a:pt x="1066" y="789"/>
                  </a:lnTo>
                  <a:lnTo>
                    <a:pt x="1063" y="787"/>
                  </a:lnTo>
                  <a:lnTo>
                    <a:pt x="1064" y="785"/>
                  </a:lnTo>
                  <a:lnTo>
                    <a:pt x="1067" y="784"/>
                  </a:lnTo>
                  <a:lnTo>
                    <a:pt x="1070" y="786"/>
                  </a:lnTo>
                  <a:lnTo>
                    <a:pt x="1072" y="785"/>
                  </a:lnTo>
                  <a:lnTo>
                    <a:pt x="1074" y="786"/>
                  </a:lnTo>
                  <a:lnTo>
                    <a:pt x="1074" y="787"/>
                  </a:lnTo>
                  <a:lnTo>
                    <a:pt x="1077" y="785"/>
                  </a:lnTo>
                  <a:lnTo>
                    <a:pt x="1077" y="784"/>
                  </a:lnTo>
                  <a:lnTo>
                    <a:pt x="1084" y="784"/>
                  </a:lnTo>
                  <a:lnTo>
                    <a:pt x="1084" y="783"/>
                  </a:lnTo>
                  <a:lnTo>
                    <a:pt x="1083" y="783"/>
                  </a:lnTo>
                  <a:lnTo>
                    <a:pt x="1086" y="784"/>
                  </a:lnTo>
                  <a:lnTo>
                    <a:pt x="1093" y="784"/>
                  </a:lnTo>
                  <a:lnTo>
                    <a:pt x="1094" y="781"/>
                  </a:lnTo>
                  <a:lnTo>
                    <a:pt x="1095" y="778"/>
                  </a:lnTo>
                  <a:lnTo>
                    <a:pt x="1096" y="780"/>
                  </a:lnTo>
                  <a:lnTo>
                    <a:pt x="1096" y="782"/>
                  </a:lnTo>
                  <a:lnTo>
                    <a:pt x="1099" y="784"/>
                  </a:lnTo>
                  <a:lnTo>
                    <a:pt x="1095" y="785"/>
                  </a:lnTo>
                  <a:lnTo>
                    <a:pt x="1099" y="786"/>
                  </a:lnTo>
                  <a:lnTo>
                    <a:pt x="1101" y="785"/>
                  </a:lnTo>
                  <a:lnTo>
                    <a:pt x="1103" y="783"/>
                  </a:lnTo>
                  <a:lnTo>
                    <a:pt x="1103" y="782"/>
                  </a:lnTo>
                  <a:lnTo>
                    <a:pt x="1104" y="783"/>
                  </a:lnTo>
                  <a:lnTo>
                    <a:pt x="1107" y="783"/>
                  </a:lnTo>
                  <a:lnTo>
                    <a:pt x="1107" y="782"/>
                  </a:lnTo>
                  <a:lnTo>
                    <a:pt x="1109" y="781"/>
                  </a:lnTo>
                  <a:lnTo>
                    <a:pt x="1109" y="783"/>
                  </a:lnTo>
                  <a:lnTo>
                    <a:pt x="1108" y="784"/>
                  </a:lnTo>
                  <a:lnTo>
                    <a:pt x="1115" y="783"/>
                  </a:lnTo>
                  <a:lnTo>
                    <a:pt x="1120" y="782"/>
                  </a:lnTo>
                  <a:lnTo>
                    <a:pt x="1121" y="783"/>
                  </a:lnTo>
                  <a:lnTo>
                    <a:pt x="1121" y="784"/>
                  </a:lnTo>
                  <a:lnTo>
                    <a:pt x="1120" y="783"/>
                  </a:lnTo>
                  <a:lnTo>
                    <a:pt x="1116" y="783"/>
                  </a:lnTo>
                  <a:lnTo>
                    <a:pt x="1121" y="784"/>
                  </a:lnTo>
                  <a:lnTo>
                    <a:pt x="1127" y="787"/>
                  </a:lnTo>
                  <a:lnTo>
                    <a:pt x="1125" y="785"/>
                  </a:lnTo>
                  <a:lnTo>
                    <a:pt x="1128" y="785"/>
                  </a:lnTo>
                  <a:lnTo>
                    <a:pt x="1127" y="786"/>
                  </a:lnTo>
                  <a:lnTo>
                    <a:pt x="1132" y="789"/>
                  </a:lnTo>
                  <a:lnTo>
                    <a:pt x="1128" y="787"/>
                  </a:lnTo>
                  <a:lnTo>
                    <a:pt x="1129" y="790"/>
                  </a:lnTo>
                  <a:lnTo>
                    <a:pt x="1132" y="791"/>
                  </a:lnTo>
                  <a:lnTo>
                    <a:pt x="1133" y="794"/>
                  </a:lnTo>
                  <a:lnTo>
                    <a:pt x="1134" y="793"/>
                  </a:lnTo>
                  <a:lnTo>
                    <a:pt x="1137" y="793"/>
                  </a:lnTo>
                  <a:lnTo>
                    <a:pt x="1144" y="791"/>
                  </a:lnTo>
                  <a:lnTo>
                    <a:pt x="1144" y="790"/>
                  </a:lnTo>
                  <a:lnTo>
                    <a:pt x="1145" y="790"/>
                  </a:lnTo>
                  <a:lnTo>
                    <a:pt x="1147" y="787"/>
                  </a:lnTo>
                  <a:lnTo>
                    <a:pt x="1151" y="789"/>
                  </a:lnTo>
                  <a:lnTo>
                    <a:pt x="1155" y="791"/>
                  </a:lnTo>
                  <a:lnTo>
                    <a:pt x="1159" y="797"/>
                  </a:lnTo>
                  <a:lnTo>
                    <a:pt x="1161" y="799"/>
                  </a:lnTo>
                  <a:lnTo>
                    <a:pt x="1162" y="800"/>
                  </a:lnTo>
                  <a:lnTo>
                    <a:pt x="1168" y="803"/>
                  </a:lnTo>
                  <a:lnTo>
                    <a:pt x="1169" y="806"/>
                  </a:lnTo>
                  <a:lnTo>
                    <a:pt x="1169" y="811"/>
                  </a:lnTo>
                  <a:lnTo>
                    <a:pt x="1167" y="817"/>
                  </a:lnTo>
                  <a:lnTo>
                    <a:pt x="1167" y="819"/>
                  </a:lnTo>
                  <a:lnTo>
                    <a:pt x="1166" y="821"/>
                  </a:lnTo>
                  <a:lnTo>
                    <a:pt x="1168" y="824"/>
                  </a:lnTo>
                  <a:lnTo>
                    <a:pt x="1169" y="821"/>
                  </a:lnTo>
                  <a:lnTo>
                    <a:pt x="1168" y="819"/>
                  </a:lnTo>
                  <a:lnTo>
                    <a:pt x="1170" y="821"/>
                  </a:lnTo>
                  <a:lnTo>
                    <a:pt x="1171" y="824"/>
                  </a:lnTo>
                  <a:lnTo>
                    <a:pt x="1170" y="825"/>
                  </a:lnTo>
                  <a:lnTo>
                    <a:pt x="1169" y="828"/>
                  </a:lnTo>
                  <a:lnTo>
                    <a:pt x="1171" y="831"/>
                  </a:lnTo>
                  <a:lnTo>
                    <a:pt x="1172" y="835"/>
                  </a:lnTo>
                  <a:lnTo>
                    <a:pt x="1176" y="836"/>
                  </a:lnTo>
                  <a:lnTo>
                    <a:pt x="1174" y="834"/>
                  </a:lnTo>
                  <a:lnTo>
                    <a:pt x="1177" y="835"/>
                  </a:lnTo>
                  <a:lnTo>
                    <a:pt x="1177" y="840"/>
                  </a:lnTo>
                  <a:lnTo>
                    <a:pt x="1180" y="838"/>
                  </a:lnTo>
                  <a:lnTo>
                    <a:pt x="1179" y="841"/>
                  </a:lnTo>
                  <a:lnTo>
                    <a:pt x="1180" y="846"/>
                  </a:lnTo>
                  <a:lnTo>
                    <a:pt x="1181" y="849"/>
                  </a:lnTo>
                  <a:lnTo>
                    <a:pt x="1181" y="850"/>
                  </a:lnTo>
                  <a:lnTo>
                    <a:pt x="1187" y="851"/>
                  </a:lnTo>
                  <a:lnTo>
                    <a:pt x="1189" y="857"/>
                  </a:lnTo>
                  <a:lnTo>
                    <a:pt x="1192" y="859"/>
                  </a:lnTo>
                  <a:lnTo>
                    <a:pt x="1189" y="859"/>
                  </a:lnTo>
                  <a:lnTo>
                    <a:pt x="1192" y="861"/>
                  </a:lnTo>
                  <a:lnTo>
                    <a:pt x="1195" y="861"/>
                  </a:lnTo>
                  <a:lnTo>
                    <a:pt x="1200" y="859"/>
                  </a:lnTo>
                  <a:lnTo>
                    <a:pt x="1202" y="853"/>
                  </a:lnTo>
                  <a:lnTo>
                    <a:pt x="1203" y="852"/>
                  </a:lnTo>
                  <a:lnTo>
                    <a:pt x="1203" y="850"/>
                  </a:lnTo>
                  <a:lnTo>
                    <a:pt x="1204" y="838"/>
                  </a:lnTo>
                  <a:lnTo>
                    <a:pt x="1204" y="836"/>
                  </a:lnTo>
                  <a:lnTo>
                    <a:pt x="1204" y="835"/>
                  </a:lnTo>
                  <a:lnTo>
                    <a:pt x="1203" y="832"/>
                  </a:lnTo>
                  <a:lnTo>
                    <a:pt x="1202" y="831"/>
                  </a:lnTo>
                  <a:lnTo>
                    <a:pt x="1202" y="831"/>
                  </a:lnTo>
                  <a:lnTo>
                    <a:pt x="1201" y="825"/>
                  </a:lnTo>
                  <a:lnTo>
                    <a:pt x="1195" y="814"/>
                  </a:lnTo>
                  <a:lnTo>
                    <a:pt x="1194" y="811"/>
                  </a:lnTo>
                  <a:lnTo>
                    <a:pt x="1194" y="808"/>
                  </a:lnTo>
                  <a:lnTo>
                    <a:pt x="1196" y="810"/>
                  </a:lnTo>
                  <a:lnTo>
                    <a:pt x="1197" y="812"/>
                  </a:lnTo>
                  <a:lnTo>
                    <a:pt x="1196" y="816"/>
                  </a:lnTo>
                  <a:lnTo>
                    <a:pt x="1197" y="818"/>
                  </a:lnTo>
                  <a:lnTo>
                    <a:pt x="1198" y="821"/>
                  </a:lnTo>
                  <a:lnTo>
                    <a:pt x="1197" y="816"/>
                  </a:lnTo>
                  <a:lnTo>
                    <a:pt x="1197" y="810"/>
                  </a:lnTo>
                  <a:lnTo>
                    <a:pt x="1193" y="803"/>
                  </a:lnTo>
                  <a:lnTo>
                    <a:pt x="1191" y="799"/>
                  </a:lnTo>
                  <a:lnTo>
                    <a:pt x="1188" y="793"/>
                  </a:lnTo>
                  <a:lnTo>
                    <a:pt x="1186" y="784"/>
                  </a:lnTo>
                  <a:lnTo>
                    <a:pt x="1185" y="781"/>
                  </a:lnTo>
                  <a:lnTo>
                    <a:pt x="1185" y="773"/>
                  </a:lnTo>
                  <a:lnTo>
                    <a:pt x="1187" y="772"/>
                  </a:lnTo>
                  <a:lnTo>
                    <a:pt x="1185" y="768"/>
                  </a:lnTo>
                  <a:lnTo>
                    <a:pt x="1187" y="769"/>
                  </a:lnTo>
                  <a:lnTo>
                    <a:pt x="1188" y="768"/>
                  </a:lnTo>
                  <a:lnTo>
                    <a:pt x="1187" y="766"/>
                  </a:lnTo>
                  <a:lnTo>
                    <a:pt x="1189" y="764"/>
                  </a:lnTo>
                  <a:lnTo>
                    <a:pt x="1189" y="761"/>
                  </a:lnTo>
                  <a:lnTo>
                    <a:pt x="1193" y="760"/>
                  </a:lnTo>
                  <a:lnTo>
                    <a:pt x="1193" y="759"/>
                  </a:lnTo>
                  <a:lnTo>
                    <a:pt x="1195" y="756"/>
                  </a:lnTo>
                  <a:lnTo>
                    <a:pt x="1194" y="752"/>
                  </a:lnTo>
                  <a:lnTo>
                    <a:pt x="1196" y="755"/>
                  </a:lnTo>
                  <a:lnTo>
                    <a:pt x="1198" y="755"/>
                  </a:lnTo>
                  <a:lnTo>
                    <a:pt x="1198" y="751"/>
                  </a:lnTo>
                  <a:lnTo>
                    <a:pt x="1201" y="751"/>
                  </a:lnTo>
                  <a:lnTo>
                    <a:pt x="1203" y="750"/>
                  </a:lnTo>
                  <a:lnTo>
                    <a:pt x="1205" y="750"/>
                  </a:lnTo>
                  <a:lnTo>
                    <a:pt x="1206" y="746"/>
                  </a:lnTo>
                  <a:lnTo>
                    <a:pt x="1209" y="747"/>
                  </a:lnTo>
                  <a:lnTo>
                    <a:pt x="1211" y="744"/>
                  </a:lnTo>
                  <a:lnTo>
                    <a:pt x="1213" y="743"/>
                  </a:lnTo>
                  <a:lnTo>
                    <a:pt x="1215" y="739"/>
                  </a:lnTo>
                  <a:lnTo>
                    <a:pt x="1222" y="732"/>
                  </a:lnTo>
                  <a:lnTo>
                    <a:pt x="1224" y="731"/>
                  </a:lnTo>
                  <a:lnTo>
                    <a:pt x="1224" y="731"/>
                  </a:lnTo>
                  <a:lnTo>
                    <a:pt x="1230" y="730"/>
                  </a:lnTo>
                  <a:lnTo>
                    <a:pt x="1234" y="729"/>
                  </a:lnTo>
                  <a:lnTo>
                    <a:pt x="1234" y="726"/>
                  </a:lnTo>
                  <a:lnTo>
                    <a:pt x="1234" y="729"/>
                  </a:lnTo>
                  <a:lnTo>
                    <a:pt x="1235" y="726"/>
                  </a:lnTo>
                  <a:lnTo>
                    <a:pt x="1236" y="724"/>
                  </a:lnTo>
                  <a:lnTo>
                    <a:pt x="1239" y="722"/>
                  </a:lnTo>
                  <a:lnTo>
                    <a:pt x="1241" y="720"/>
                  </a:lnTo>
                  <a:lnTo>
                    <a:pt x="1249" y="717"/>
                  </a:lnTo>
                  <a:lnTo>
                    <a:pt x="1252" y="717"/>
                  </a:lnTo>
                  <a:lnTo>
                    <a:pt x="1255" y="715"/>
                  </a:lnTo>
                  <a:lnTo>
                    <a:pt x="1255" y="713"/>
                  </a:lnTo>
                  <a:lnTo>
                    <a:pt x="1253" y="713"/>
                  </a:lnTo>
                  <a:lnTo>
                    <a:pt x="1249" y="715"/>
                  </a:lnTo>
                  <a:lnTo>
                    <a:pt x="1247" y="714"/>
                  </a:lnTo>
                  <a:lnTo>
                    <a:pt x="1246" y="713"/>
                  </a:lnTo>
                  <a:lnTo>
                    <a:pt x="1251" y="713"/>
                  </a:lnTo>
                  <a:lnTo>
                    <a:pt x="1252" y="710"/>
                  </a:lnTo>
                  <a:lnTo>
                    <a:pt x="1251" y="708"/>
                  </a:lnTo>
                  <a:lnTo>
                    <a:pt x="1248" y="706"/>
                  </a:lnTo>
                  <a:lnTo>
                    <a:pt x="1251" y="706"/>
                  </a:lnTo>
                  <a:lnTo>
                    <a:pt x="1254" y="705"/>
                  </a:lnTo>
                  <a:lnTo>
                    <a:pt x="1254" y="707"/>
                  </a:lnTo>
                  <a:lnTo>
                    <a:pt x="1257" y="708"/>
                  </a:lnTo>
                  <a:lnTo>
                    <a:pt x="1260" y="705"/>
                  </a:lnTo>
                  <a:lnTo>
                    <a:pt x="1263" y="704"/>
                  </a:lnTo>
                  <a:lnTo>
                    <a:pt x="1264" y="701"/>
                  </a:lnTo>
                  <a:lnTo>
                    <a:pt x="1263" y="699"/>
                  </a:lnTo>
                  <a:lnTo>
                    <a:pt x="1260" y="699"/>
                  </a:lnTo>
                  <a:lnTo>
                    <a:pt x="1260" y="701"/>
                  </a:lnTo>
                  <a:lnTo>
                    <a:pt x="1260" y="699"/>
                  </a:lnTo>
                  <a:lnTo>
                    <a:pt x="1256" y="698"/>
                  </a:lnTo>
                  <a:lnTo>
                    <a:pt x="1251" y="698"/>
                  </a:lnTo>
                  <a:lnTo>
                    <a:pt x="1249" y="696"/>
                  </a:lnTo>
                  <a:lnTo>
                    <a:pt x="1251" y="693"/>
                  </a:lnTo>
                  <a:lnTo>
                    <a:pt x="1251" y="696"/>
                  </a:lnTo>
                  <a:lnTo>
                    <a:pt x="1253" y="698"/>
                  </a:lnTo>
                  <a:lnTo>
                    <a:pt x="1255" y="696"/>
                  </a:lnTo>
                  <a:lnTo>
                    <a:pt x="1258" y="696"/>
                  </a:lnTo>
                  <a:lnTo>
                    <a:pt x="1257" y="693"/>
                  </a:lnTo>
                  <a:lnTo>
                    <a:pt x="1262" y="696"/>
                  </a:lnTo>
                  <a:lnTo>
                    <a:pt x="1262" y="693"/>
                  </a:lnTo>
                  <a:lnTo>
                    <a:pt x="1260" y="691"/>
                  </a:lnTo>
                  <a:lnTo>
                    <a:pt x="1260" y="689"/>
                  </a:lnTo>
                  <a:lnTo>
                    <a:pt x="1262" y="689"/>
                  </a:lnTo>
                  <a:lnTo>
                    <a:pt x="1263" y="695"/>
                  </a:lnTo>
                  <a:lnTo>
                    <a:pt x="1265" y="700"/>
                  </a:lnTo>
                  <a:lnTo>
                    <a:pt x="1263" y="695"/>
                  </a:lnTo>
                  <a:lnTo>
                    <a:pt x="1260" y="683"/>
                  </a:lnTo>
                  <a:lnTo>
                    <a:pt x="1257" y="683"/>
                  </a:lnTo>
                  <a:lnTo>
                    <a:pt x="1255" y="683"/>
                  </a:lnTo>
                  <a:lnTo>
                    <a:pt x="1256" y="684"/>
                  </a:lnTo>
                  <a:lnTo>
                    <a:pt x="1252" y="681"/>
                  </a:lnTo>
                  <a:lnTo>
                    <a:pt x="1248" y="679"/>
                  </a:lnTo>
                  <a:lnTo>
                    <a:pt x="1246" y="678"/>
                  </a:lnTo>
                  <a:lnTo>
                    <a:pt x="1244" y="678"/>
                  </a:lnTo>
                  <a:lnTo>
                    <a:pt x="1243" y="677"/>
                  </a:lnTo>
                  <a:lnTo>
                    <a:pt x="1246" y="678"/>
                  </a:lnTo>
                  <a:lnTo>
                    <a:pt x="1248" y="677"/>
                  </a:lnTo>
                  <a:lnTo>
                    <a:pt x="1251" y="679"/>
                  </a:lnTo>
                  <a:lnTo>
                    <a:pt x="1253" y="681"/>
                  </a:lnTo>
                  <a:lnTo>
                    <a:pt x="1255" y="682"/>
                  </a:lnTo>
                  <a:lnTo>
                    <a:pt x="1255" y="679"/>
                  </a:lnTo>
                  <a:lnTo>
                    <a:pt x="1253" y="678"/>
                  </a:lnTo>
                  <a:lnTo>
                    <a:pt x="1251" y="675"/>
                  </a:lnTo>
                  <a:lnTo>
                    <a:pt x="1252" y="677"/>
                  </a:lnTo>
                  <a:lnTo>
                    <a:pt x="1255" y="678"/>
                  </a:lnTo>
                  <a:lnTo>
                    <a:pt x="1256" y="675"/>
                  </a:lnTo>
                  <a:lnTo>
                    <a:pt x="1248" y="667"/>
                  </a:lnTo>
                  <a:lnTo>
                    <a:pt x="1247" y="665"/>
                  </a:lnTo>
                  <a:lnTo>
                    <a:pt x="1245" y="663"/>
                  </a:lnTo>
                  <a:lnTo>
                    <a:pt x="1247" y="664"/>
                  </a:lnTo>
                  <a:lnTo>
                    <a:pt x="1249" y="667"/>
                  </a:lnTo>
                  <a:lnTo>
                    <a:pt x="1254" y="671"/>
                  </a:lnTo>
                  <a:lnTo>
                    <a:pt x="1255" y="669"/>
                  </a:lnTo>
                  <a:lnTo>
                    <a:pt x="1256" y="667"/>
                  </a:lnTo>
                  <a:lnTo>
                    <a:pt x="1254" y="666"/>
                  </a:lnTo>
                  <a:lnTo>
                    <a:pt x="1252" y="664"/>
                  </a:lnTo>
                  <a:lnTo>
                    <a:pt x="1247" y="663"/>
                  </a:lnTo>
                  <a:lnTo>
                    <a:pt x="1244" y="661"/>
                  </a:lnTo>
                  <a:lnTo>
                    <a:pt x="1243" y="661"/>
                  </a:lnTo>
                  <a:lnTo>
                    <a:pt x="1243" y="660"/>
                  </a:lnTo>
                  <a:lnTo>
                    <a:pt x="1243" y="657"/>
                  </a:lnTo>
                  <a:lnTo>
                    <a:pt x="1245" y="656"/>
                  </a:lnTo>
                  <a:lnTo>
                    <a:pt x="1245" y="655"/>
                  </a:lnTo>
                  <a:lnTo>
                    <a:pt x="1246" y="654"/>
                  </a:lnTo>
                  <a:lnTo>
                    <a:pt x="1246" y="654"/>
                  </a:lnTo>
                  <a:lnTo>
                    <a:pt x="1245" y="652"/>
                  </a:lnTo>
                  <a:lnTo>
                    <a:pt x="1246" y="653"/>
                  </a:lnTo>
                  <a:lnTo>
                    <a:pt x="1246" y="654"/>
                  </a:lnTo>
                  <a:lnTo>
                    <a:pt x="1246" y="654"/>
                  </a:lnTo>
                  <a:lnTo>
                    <a:pt x="1246" y="654"/>
                  </a:lnTo>
                  <a:lnTo>
                    <a:pt x="1245" y="656"/>
                  </a:lnTo>
                  <a:lnTo>
                    <a:pt x="1243" y="658"/>
                  </a:lnTo>
                  <a:lnTo>
                    <a:pt x="1245" y="660"/>
                  </a:lnTo>
                  <a:lnTo>
                    <a:pt x="1248" y="662"/>
                  </a:lnTo>
                  <a:lnTo>
                    <a:pt x="1248" y="661"/>
                  </a:lnTo>
                  <a:lnTo>
                    <a:pt x="1252" y="663"/>
                  </a:lnTo>
                  <a:lnTo>
                    <a:pt x="1254" y="663"/>
                  </a:lnTo>
                  <a:lnTo>
                    <a:pt x="1253" y="661"/>
                  </a:lnTo>
                  <a:lnTo>
                    <a:pt x="1252" y="658"/>
                  </a:lnTo>
                  <a:lnTo>
                    <a:pt x="1251" y="658"/>
                  </a:lnTo>
                  <a:lnTo>
                    <a:pt x="1251" y="655"/>
                  </a:lnTo>
                  <a:lnTo>
                    <a:pt x="1252" y="658"/>
                  </a:lnTo>
                  <a:lnTo>
                    <a:pt x="1254" y="661"/>
                  </a:lnTo>
                  <a:lnTo>
                    <a:pt x="1253" y="655"/>
                  </a:lnTo>
                  <a:lnTo>
                    <a:pt x="1253" y="647"/>
                  </a:lnTo>
                  <a:lnTo>
                    <a:pt x="1255" y="645"/>
                  </a:lnTo>
                  <a:lnTo>
                    <a:pt x="1255" y="645"/>
                  </a:lnTo>
                  <a:lnTo>
                    <a:pt x="1257" y="643"/>
                  </a:lnTo>
                  <a:lnTo>
                    <a:pt x="1258" y="641"/>
                  </a:lnTo>
                  <a:lnTo>
                    <a:pt x="1261" y="641"/>
                  </a:lnTo>
                  <a:lnTo>
                    <a:pt x="1260" y="644"/>
                  </a:lnTo>
                  <a:lnTo>
                    <a:pt x="1257" y="646"/>
                  </a:lnTo>
                  <a:lnTo>
                    <a:pt x="1257" y="649"/>
                  </a:lnTo>
                  <a:lnTo>
                    <a:pt x="1257" y="649"/>
                  </a:lnTo>
                  <a:lnTo>
                    <a:pt x="1255" y="650"/>
                  </a:lnTo>
                  <a:lnTo>
                    <a:pt x="1256" y="652"/>
                  </a:lnTo>
                  <a:lnTo>
                    <a:pt x="1258" y="654"/>
                  </a:lnTo>
                  <a:lnTo>
                    <a:pt x="1255" y="654"/>
                  </a:lnTo>
                  <a:lnTo>
                    <a:pt x="1258" y="655"/>
                  </a:lnTo>
                  <a:lnTo>
                    <a:pt x="1260" y="657"/>
                  </a:lnTo>
                  <a:lnTo>
                    <a:pt x="1256" y="656"/>
                  </a:lnTo>
                  <a:lnTo>
                    <a:pt x="1256" y="658"/>
                  </a:lnTo>
                  <a:lnTo>
                    <a:pt x="1258" y="662"/>
                  </a:lnTo>
                  <a:lnTo>
                    <a:pt x="1261" y="662"/>
                  </a:lnTo>
                  <a:lnTo>
                    <a:pt x="1262" y="664"/>
                  </a:lnTo>
                  <a:lnTo>
                    <a:pt x="1262" y="667"/>
                  </a:lnTo>
                  <a:lnTo>
                    <a:pt x="1264" y="666"/>
                  </a:lnTo>
                  <a:lnTo>
                    <a:pt x="1264" y="670"/>
                  </a:lnTo>
                  <a:lnTo>
                    <a:pt x="1261" y="675"/>
                  </a:lnTo>
                  <a:lnTo>
                    <a:pt x="1260" y="678"/>
                  </a:lnTo>
                  <a:lnTo>
                    <a:pt x="1261" y="680"/>
                  </a:lnTo>
                  <a:lnTo>
                    <a:pt x="1263" y="674"/>
                  </a:lnTo>
                  <a:lnTo>
                    <a:pt x="1265" y="671"/>
                  </a:lnTo>
                  <a:lnTo>
                    <a:pt x="1272" y="658"/>
                  </a:lnTo>
                  <a:lnTo>
                    <a:pt x="1273" y="658"/>
                  </a:lnTo>
                  <a:lnTo>
                    <a:pt x="1272" y="656"/>
                  </a:lnTo>
                  <a:lnTo>
                    <a:pt x="1271" y="654"/>
                  </a:lnTo>
                  <a:lnTo>
                    <a:pt x="1269" y="648"/>
                  </a:lnTo>
                  <a:lnTo>
                    <a:pt x="1268" y="645"/>
                  </a:lnTo>
                  <a:lnTo>
                    <a:pt x="1265" y="643"/>
                  </a:lnTo>
                  <a:lnTo>
                    <a:pt x="1265" y="640"/>
                  </a:lnTo>
                  <a:lnTo>
                    <a:pt x="1268" y="637"/>
                  </a:lnTo>
                  <a:lnTo>
                    <a:pt x="1271" y="637"/>
                  </a:lnTo>
                  <a:lnTo>
                    <a:pt x="1270" y="637"/>
                  </a:lnTo>
                  <a:lnTo>
                    <a:pt x="1269" y="637"/>
                  </a:lnTo>
                  <a:lnTo>
                    <a:pt x="1266" y="640"/>
                  </a:lnTo>
                  <a:lnTo>
                    <a:pt x="1266" y="643"/>
                  </a:lnTo>
                  <a:lnTo>
                    <a:pt x="1269" y="645"/>
                  </a:lnTo>
                  <a:lnTo>
                    <a:pt x="1271" y="646"/>
                  </a:lnTo>
                  <a:lnTo>
                    <a:pt x="1274" y="647"/>
                  </a:lnTo>
                  <a:lnTo>
                    <a:pt x="1274" y="649"/>
                  </a:lnTo>
                  <a:lnTo>
                    <a:pt x="1277" y="650"/>
                  </a:lnTo>
                  <a:lnTo>
                    <a:pt x="1278" y="648"/>
                  </a:lnTo>
                  <a:lnTo>
                    <a:pt x="1279" y="645"/>
                  </a:lnTo>
                  <a:lnTo>
                    <a:pt x="1281" y="645"/>
                  </a:lnTo>
                  <a:lnTo>
                    <a:pt x="1281" y="641"/>
                  </a:lnTo>
                  <a:lnTo>
                    <a:pt x="1283" y="640"/>
                  </a:lnTo>
                  <a:lnTo>
                    <a:pt x="1285" y="638"/>
                  </a:lnTo>
                  <a:lnTo>
                    <a:pt x="1286" y="636"/>
                  </a:lnTo>
                  <a:lnTo>
                    <a:pt x="1286" y="635"/>
                  </a:lnTo>
                  <a:lnTo>
                    <a:pt x="1287" y="635"/>
                  </a:lnTo>
                  <a:lnTo>
                    <a:pt x="1288" y="629"/>
                  </a:lnTo>
                  <a:lnTo>
                    <a:pt x="1283" y="626"/>
                  </a:lnTo>
                  <a:lnTo>
                    <a:pt x="1286" y="623"/>
                  </a:lnTo>
                  <a:lnTo>
                    <a:pt x="1286" y="623"/>
                  </a:lnTo>
                  <a:lnTo>
                    <a:pt x="1287" y="622"/>
                  </a:lnTo>
                  <a:lnTo>
                    <a:pt x="1288" y="619"/>
                  </a:lnTo>
                  <a:lnTo>
                    <a:pt x="1289" y="615"/>
                  </a:lnTo>
                  <a:lnTo>
                    <a:pt x="1288" y="613"/>
                  </a:lnTo>
                  <a:lnTo>
                    <a:pt x="1289" y="615"/>
                  </a:lnTo>
                  <a:lnTo>
                    <a:pt x="1289" y="619"/>
                  </a:lnTo>
                  <a:lnTo>
                    <a:pt x="1287" y="622"/>
                  </a:lnTo>
                  <a:lnTo>
                    <a:pt x="1290" y="621"/>
                  </a:lnTo>
                  <a:lnTo>
                    <a:pt x="1292" y="618"/>
                  </a:lnTo>
                  <a:lnTo>
                    <a:pt x="1303" y="614"/>
                  </a:lnTo>
                  <a:lnTo>
                    <a:pt x="1309" y="613"/>
                  </a:lnTo>
                  <a:lnTo>
                    <a:pt x="1315" y="612"/>
                  </a:lnTo>
                  <a:lnTo>
                    <a:pt x="1316" y="613"/>
                  </a:lnTo>
                  <a:lnTo>
                    <a:pt x="1320" y="612"/>
                  </a:lnTo>
                  <a:lnTo>
                    <a:pt x="1322" y="611"/>
                  </a:lnTo>
                  <a:lnTo>
                    <a:pt x="1323" y="605"/>
                  </a:lnTo>
                  <a:lnTo>
                    <a:pt x="1325" y="606"/>
                  </a:lnTo>
                  <a:lnTo>
                    <a:pt x="1325" y="610"/>
                  </a:lnTo>
                  <a:lnTo>
                    <a:pt x="1329" y="609"/>
                  </a:lnTo>
                  <a:lnTo>
                    <a:pt x="1333" y="606"/>
                  </a:lnTo>
                  <a:lnTo>
                    <a:pt x="1333" y="609"/>
                  </a:lnTo>
                  <a:lnTo>
                    <a:pt x="1335" y="609"/>
                  </a:lnTo>
                  <a:lnTo>
                    <a:pt x="1339" y="607"/>
                  </a:lnTo>
                  <a:lnTo>
                    <a:pt x="1341" y="606"/>
                  </a:lnTo>
                  <a:lnTo>
                    <a:pt x="1342" y="607"/>
                  </a:lnTo>
                  <a:lnTo>
                    <a:pt x="1342" y="604"/>
                  </a:lnTo>
                  <a:lnTo>
                    <a:pt x="1342" y="602"/>
                  </a:lnTo>
                  <a:lnTo>
                    <a:pt x="1339" y="601"/>
                  </a:lnTo>
                  <a:lnTo>
                    <a:pt x="1341" y="603"/>
                  </a:lnTo>
                  <a:lnTo>
                    <a:pt x="1342" y="603"/>
                  </a:lnTo>
                  <a:lnTo>
                    <a:pt x="1342" y="605"/>
                  </a:lnTo>
                  <a:lnTo>
                    <a:pt x="1339" y="606"/>
                  </a:lnTo>
                  <a:lnTo>
                    <a:pt x="1337" y="606"/>
                  </a:lnTo>
                  <a:lnTo>
                    <a:pt x="1335" y="605"/>
                  </a:lnTo>
                  <a:lnTo>
                    <a:pt x="1333" y="600"/>
                  </a:lnTo>
                  <a:lnTo>
                    <a:pt x="1331" y="597"/>
                  </a:lnTo>
                  <a:lnTo>
                    <a:pt x="1328" y="597"/>
                  </a:lnTo>
                  <a:lnTo>
                    <a:pt x="1330" y="594"/>
                  </a:lnTo>
                  <a:lnTo>
                    <a:pt x="1332" y="592"/>
                  </a:lnTo>
                  <a:lnTo>
                    <a:pt x="1330" y="588"/>
                  </a:lnTo>
                  <a:lnTo>
                    <a:pt x="1332" y="584"/>
                  </a:lnTo>
                  <a:lnTo>
                    <a:pt x="1332" y="584"/>
                  </a:lnTo>
                  <a:lnTo>
                    <a:pt x="1337" y="578"/>
                  </a:lnTo>
                  <a:lnTo>
                    <a:pt x="1339" y="573"/>
                  </a:lnTo>
                  <a:lnTo>
                    <a:pt x="1342" y="570"/>
                  </a:lnTo>
                  <a:lnTo>
                    <a:pt x="1342" y="572"/>
                  </a:lnTo>
                  <a:lnTo>
                    <a:pt x="1345" y="573"/>
                  </a:lnTo>
                  <a:lnTo>
                    <a:pt x="1345" y="570"/>
                  </a:lnTo>
                  <a:lnTo>
                    <a:pt x="1343" y="569"/>
                  </a:lnTo>
                  <a:lnTo>
                    <a:pt x="1346" y="567"/>
                  </a:lnTo>
                  <a:lnTo>
                    <a:pt x="1345" y="570"/>
                  </a:lnTo>
                  <a:lnTo>
                    <a:pt x="1348" y="571"/>
                  </a:lnTo>
                  <a:lnTo>
                    <a:pt x="1348" y="568"/>
                  </a:lnTo>
                  <a:lnTo>
                    <a:pt x="1348" y="571"/>
                  </a:lnTo>
                  <a:lnTo>
                    <a:pt x="1349" y="571"/>
                  </a:lnTo>
                  <a:lnTo>
                    <a:pt x="1350" y="568"/>
                  </a:lnTo>
                  <a:lnTo>
                    <a:pt x="1352" y="569"/>
                  </a:lnTo>
                  <a:lnTo>
                    <a:pt x="1355" y="567"/>
                  </a:lnTo>
                  <a:lnTo>
                    <a:pt x="1356" y="563"/>
                  </a:lnTo>
                  <a:lnTo>
                    <a:pt x="1356" y="561"/>
                  </a:lnTo>
                  <a:lnTo>
                    <a:pt x="1358" y="559"/>
                  </a:lnTo>
                  <a:lnTo>
                    <a:pt x="1358" y="561"/>
                  </a:lnTo>
                  <a:lnTo>
                    <a:pt x="1363" y="564"/>
                  </a:lnTo>
                  <a:lnTo>
                    <a:pt x="1362" y="561"/>
                  </a:lnTo>
                  <a:lnTo>
                    <a:pt x="1367" y="560"/>
                  </a:lnTo>
                  <a:lnTo>
                    <a:pt x="1368" y="561"/>
                  </a:lnTo>
                  <a:lnTo>
                    <a:pt x="1371" y="560"/>
                  </a:lnTo>
                  <a:lnTo>
                    <a:pt x="1373" y="560"/>
                  </a:lnTo>
                  <a:lnTo>
                    <a:pt x="1376" y="558"/>
                  </a:lnTo>
                  <a:lnTo>
                    <a:pt x="1379" y="556"/>
                  </a:lnTo>
                  <a:lnTo>
                    <a:pt x="1382" y="556"/>
                  </a:lnTo>
                  <a:lnTo>
                    <a:pt x="1383" y="553"/>
                  </a:lnTo>
                  <a:lnTo>
                    <a:pt x="1382" y="550"/>
                  </a:lnTo>
                  <a:lnTo>
                    <a:pt x="1381" y="549"/>
                  </a:lnTo>
                  <a:lnTo>
                    <a:pt x="1381" y="549"/>
                  </a:lnTo>
                  <a:lnTo>
                    <a:pt x="1382" y="550"/>
                  </a:lnTo>
                  <a:lnTo>
                    <a:pt x="1384" y="551"/>
                  </a:lnTo>
                  <a:lnTo>
                    <a:pt x="1388" y="550"/>
                  </a:lnTo>
                  <a:lnTo>
                    <a:pt x="1390" y="549"/>
                  </a:lnTo>
                  <a:lnTo>
                    <a:pt x="1393" y="550"/>
                  </a:lnTo>
                  <a:lnTo>
                    <a:pt x="1394" y="549"/>
                  </a:lnTo>
                  <a:lnTo>
                    <a:pt x="1394" y="546"/>
                  </a:lnTo>
                  <a:lnTo>
                    <a:pt x="1397" y="544"/>
                  </a:lnTo>
                  <a:lnTo>
                    <a:pt x="1396" y="546"/>
                  </a:lnTo>
                  <a:lnTo>
                    <a:pt x="1398" y="547"/>
                  </a:lnTo>
                  <a:lnTo>
                    <a:pt x="1400" y="547"/>
                  </a:lnTo>
                  <a:lnTo>
                    <a:pt x="1408" y="543"/>
                  </a:lnTo>
                  <a:lnTo>
                    <a:pt x="1414" y="541"/>
                  </a:lnTo>
                  <a:lnTo>
                    <a:pt x="1416" y="538"/>
                  </a:lnTo>
                  <a:lnTo>
                    <a:pt x="1416" y="536"/>
                  </a:lnTo>
                  <a:lnTo>
                    <a:pt x="1414" y="533"/>
                  </a:lnTo>
                  <a:lnTo>
                    <a:pt x="1418" y="538"/>
                  </a:lnTo>
                  <a:lnTo>
                    <a:pt x="1420" y="537"/>
                  </a:lnTo>
                  <a:lnTo>
                    <a:pt x="1420" y="538"/>
                  </a:lnTo>
                  <a:lnTo>
                    <a:pt x="1413" y="544"/>
                  </a:lnTo>
                  <a:lnTo>
                    <a:pt x="1414" y="546"/>
                  </a:lnTo>
                  <a:lnTo>
                    <a:pt x="1417" y="545"/>
                  </a:lnTo>
                  <a:lnTo>
                    <a:pt x="1419" y="545"/>
                  </a:lnTo>
                  <a:lnTo>
                    <a:pt x="1422" y="545"/>
                  </a:lnTo>
                  <a:lnTo>
                    <a:pt x="1427" y="545"/>
                  </a:lnTo>
                  <a:lnTo>
                    <a:pt x="1433" y="545"/>
                  </a:lnTo>
                  <a:lnTo>
                    <a:pt x="1430" y="546"/>
                  </a:lnTo>
                  <a:lnTo>
                    <a:pt x="1427" y="546"/>
                  </a:lnTo>
                  <a:lnTo>
                    <a:pt x="1422" y="549"/>
                  </a:lnTo>
                  <a:lnTo>
                    <a:pt x="1423" y="552"/>
                  </a:lnTo>
                  <a:lnTo>
                    <a:pt x="1422" y="552"/>
                  </a:lnTo>
                  <a:lnTo>
                    <a:pt x="1422" y="551"/>
                  </a:lnTo>
                  <a:lnTo>
                    <a:pt x="1419" y="549"/>
                  </a:lnTo>
                  <a:lnTo>
                    <a:pt x="1419" y="546"/>
                  </a:lnTo>
                  <a:lnTo>
                    <a:pt x="1416" y="547"/>
                  </a:lnTo>
                  <a:lnTo>
                    <a:pt x="1414" y="549"/>
                  </a:lnTo>
                  <a:lnTo>
                    <a:pt x="1403" y="554"/>
                  </a:lnTo>
                  <a:lnTo>
                    <a:pt x="1400" y="558"/>
                  </a:lnTo>
                  <a:lnTo>
                    <a:pt x="1403" y="556"/>
                  </a:lnTo>
                  <a:lnTo>
                    <a:pt x="1400" y="558"/>
                  </a:lnTo>
                  <a:lnTo>
                    <a:pt x="1400" y="556"/>
                  </a:lnTo>
                  <a:lnTo>
                    <a:pt x="1397" y="559"/>
                  </a:lnTo>
                  <a:lnTo>
                    <a:pt x="1394" y="561"/>
                  </a:lnTo>
                  <a:lnTo>
                    <a:pt x="1398" y="560"/>
                  </a:lnTo>
                  <a:lnTo>
                    <a:pt x="1396" y="562"/>
                  </a:lnTo>
                  <a:lnTo>
                    <a:pt x="1394" y="566"/>
                  </a:lnTo>
                  <a:lnTo>
                    <a:pt x="1394" y="571"/>
                  </a:lnTo>
                  <a:lnTo>
                    <a:pt x="1397" y="573"/>
                  </a:lnTo>
                  <a:lnTo>
                    <a:pt x="1397" y="571"/>
                  </a:lnTo>
                  <a:lnTo>
                    <a:pt x="1402" y="576"/>
                  </a:lnTo>
                  <a:lnTo>
                    <a:pt x="1405" y="576"/>
                  </a:lnTo>
                  <a:lnTo>
                    <a:pt x="1406" y="573"/>
                  </a:lnTo>
                  <a:lnTo>
                    <a:pt x="1409" y="573"/>
                  </a:lnTo>
                  <a:lnTo>
                    <a:pt x="1410" y="573"/>
                  </a:lnTo>
                  <a:lnTo>
                    <a:pt x="1411" y="570"/>
                  </a:lnTo>
                  <a:lnTo>
                    <a:pt x="1415" y="569"/>
                  </a:lnTo>
                  <a:lnTo>
                    <a:pt x="1416" y="567"/>
                  </a:lnTo>
                  <a:lnTo>
                    <a:pt x="1418" y="564"/>
                  </a:lnTo>
                  <a:lnTo>
                    <a:pt x="1420" y="562"/>
                  </a:lnTo>
                  <a:lnTo>
                    <a:pt x="1420" y="562"/>
                  </a:lnTo>
                  <a:lnTo>
                    <a:pt x="1422" y="559"/>
                  </a:lnTo>
                  <a:lnTo>
                    <a:pt x="1424" y="560"/>
                  </a:lnTo>
                  <a:lnTo>
                    <a:pt x="1426" y="556"/>
                  </a:lnTo>
                  <a:lnTo>
                    <a:pt x="1425" y="560"/>
                  </a:lnTo>
                  <a:lnTo>
                    <a:pt x="1428" y="561"/>
                  </a:lnTo>
                  <a:lnTo>
                    <a:pt x="1431" y="559"/>
                  </a:lnTo>
                  <a:lnTo>
                    <a:pt x="1430" y="556"/>
                  </a:lnTo>
                  <a:lnTo>
                    <a:pt x="1432" y="558"/>
                  </a:lnTo>
                  <a:lnTo>
                    <a:pt x="1434" y="558"/>
                  </a:lnTo>
                  <a:lnTo>
                    <a:pt x="1435" y="556"/>
                  </a:lnTo>
                  <a:lnTo>
                    <a:pt x="1439" y="556"/>
                  </a:lnTo>
                  <a:lnTo>
                    <a:pt x="1447" y="553"/>
                  </a:lnTo>
                  <a:lnTo>
                    <a:pt x="1451" y="552"/>
                  </a:lnTo>
                  <a:lnTo>
                    <a:pt x="1457" y="549"/>
                  </a:lnTo>
                  <a:lnTo>
                    <a:pt x="1459" y="550"/>
                  </a:lnTo>
                  <a:lnTo>
                    <a:pt x="1465" y="545"/>
                  </a:lnTo>
                  <a:lnTo>
                    <a:pt x="1461" y="546"/>
                  </a:lnTo>
                  <a:lnTo>
                    <a:pt x="1459" y="545"/>
                  </a:lnTo>
                  <a:lnTo>
                    <a:pt x="1462" y="544"/>
                  </a:lnTo>
                  <a:lnTo>
                    <a:pt x="1460" y="542"/>
                  </a:lnTo>
                  <a:lnTo>
                    <a:pt x="1460" y="541"/>
                  </a:lnTo>
                  <a:lnTo>
                    <a:pt x="1459" y="539"/>
                  </a:lnTo>
                  <a:lnTo>
                    <a:pt x="1456" y="541"/>
                  </a:lnTo>
                  <a:lnTo>
                    <a:pt x="1453" y="539"/>
                  </a:lnTo>
                  <a:lnTo>
                    <a:pt x="1452" y="536"/>
                  </a:lnTo>
                  <a:lnTo>
                    <a:pt x="1450" y="538"/>
                  </a:lnTo>
                  <a:lnTo>
                    <a:pt x="1447" y="541"/>
                  </a:lnTo>
                  <a:lnTo>
                    <a:pt x="1444" y="541"/>
                  </a:lnTo>
                  <a:lnTo>
                    <a:pt x="1441" y="541"/>
                  </a:lnTo>
                  <a:lnTo>
                    <a:pt x="1443" y="539"/>
                  </a:lnTo>
                  <a:lnTo>
                    <a:pt x="1440" y="538"/>
                  </a:lnTo>
                  <a:lnTo>
                    <a:pt x="1434" y="537"/>
                  </a:lnTo>
                  <a:lnTo>
                    <a:pt x="1432" y="536"/>
                  </a:lnTo>
                  <a:lnTo>
                    <a:pt x="1430" y="537"/>
                  </a:lnTo>
                  <a:lnTo>
                    <a:pt x="1426" y="536"/>
                  </a:lnTo>
                  <a:lnTo>
                    <a:pt x="1424" y="535"/>
                  </a:lnTo>
                  <a:lnTo>
                    <a:pt x="1424" y="534"/>
                  </a:lnTo>
                  <a:lnTo>
                    <a:pt x="1427" y="532"/>
                  </a:lnTo>
                  <a:lnTo>
                    <a:pt x="1425" y="532"/>
                  </a:lnTo>
                  <a:lnTo>
                    <a:pt x="1419" y="530"/>
                  </a:lnTo>
                  <a:lnTo>
                    <a:pt x="1416" y="529"/>
                  </a:lnTo>
                  <a:lnTo>
                    <a:pt x="1415" y="524"/>
                  </a:lnTo>
                  <a:lnTo>
                    <a:pt x="1413" y="521"/>
                  </a:lnTo>
                  <a:lnTo>
                    <a:pt x="1413" y="519"/>
                  </a:lnTo>
                  <a:lnTo>
                    <a:pt x="1413" y="516"/>
                  </a:lnTo>
                  <a:lnTo>
                    <a:pt x="1410" y="516"/>
                  </a:lnTo>
                  <a:lnTo>
                    <a:pt x="1408" y="517"/>
                  </a:lnTo>
                  <a:lnTo>
                    <a:pt x="1406" y="516"/>
                  </a:lnTo>
                  <a:lnTo>
                    <a:pt x="1409" y="515"/>
                  </a:lnTo>
                  <a:lnTo>
                    <a:pt x="1411" y="511"/>
                  </a:lnTo>
                  <a:lnTo>
                    <a:pt x="1414" y="506"/>
                  </a:lnTo>
                  <a:lnTo>
                    <a:pt x="1413" y="503"/>
                  </a:lnTo>
                  <a:lnTo>
                    <a:pt x="1410" y="502"/>
                  </a:lnTo>
                  <a:lnTo>
                    <a:pt x="1408" y="503"/>
                  </a:lnTo>
                  <a:lnTo>
                    <a:pt x="1402" y="507"/>
                  </a:lnTo>
                  <a:lnTo>
                    <a:pt x="1401" y="504"/>
                  </a:lnTo>
                  <a:lnTo>
                    <a:pt x="1399" y="501"/>
                  </a:lnTo>
                  <a:lnTo>
                    <a:pt x="1397" y="501"/>
                  </a:lnTo>
                  <a:lnTo>
                    <a:pt x="1391" y="499"/>
                  </a:lnTo>
                  <a:lnTo>
                    <a:pt x="1388" y="500"/>
                  </a:lnTo>
                  <a:lnTo>
                    <a:pt x="1386" y="500"/>
                  </a:lnTo>
                  <a:lnTo>
                    <a:pt x="1385" y="500"/>
                  </a:lnTo>
                  <a:lnTo>
                    <a:pt x="1391" y="498"/>
                  </a:lnTo>
                  <a:lnTo>
                    <a:pt x="1393" y="498"/>
                  </a:lnTo>
                  <a:lnTo>
                    <a:pt x="1399" y="498"/>
                  </a:lnTo>
                  <a:lnTo>
                    <a:pt x="1401" y="499"/>
                  </a:lnTo>
                  <a:lnTo>
                    <a:pt x="1407" y="500"/>
                  </a:lnTo>
                  <a:lnTo>
                    <a:pt x="1413" y="496"/>
                  </a:lnTo>
                  <a:lnTo>
                    <a:pt x="1415" y="494"/>
                  </a:lnTo>
                  <a:lnTo>
                    <a:pt x="1418" y="493"/>
                  </a:lnTo>
                  <a:lnTo>
                    <a:pt x="1422" y="491"/>
                  </a:lnTo>
                  <a:lnTo>
                    <a:pt x="1422" y="489"/>
                  </a:lnTo>
                  <a:lnTo>
                    <a:pt x="1419" y="486"/>
                  </a:lnTo>
                  <a:lnTo>
                    <a:pt x="1418" y="486"/>
                  </a:lnTo>
                  <a:lnTo>
                    <a:pt x="1419" y="486"/>
                  </a:lnTo>
                  <a:lnTo>
                    <a:pt x="1417" y="485"/>
                  </a:lnTo>
                  <a:lnTo>
                    <a:pt x="1418" y="485"/>
                  </a:lnTo>
                  <a:lnTo>
                    <a:pt x="1422" y="484"/>
                  </a:lnTo>
                  <a:lnTo>
                    <a:pt x="1418" y="482"/>
                  </a:lnTo>
                  <a:lnTo>
                    <a:pt x="1413" y="479"/>
                  </a:lnTo>
                  <a:lnTo>
                    <a:pt x="1408" y="478"/>
                  </a:lnTo>
                  <a:lnTo>
                    <a:pt x="1405" y="477"/>
                  </a:lnTo>
                  <a:lnTo>
                    <a:pt x="1394" y="478"/>
                  </a:lnTo>
                  <a:lnTo>
                    <a:pt x="1386" y="481"/>
                  </a:lnTo>
                  <a:lnTo>
                    <a:pt x="1382" y="483"/>
                  </a:lnTo>
                  <a:lnTo>
                    <a:pt x="1373" y="486"/>
                  </a:lnTo>
                  <a:lnTo>
                    <a:pt x="1367" y="489"/>
                  </a:lnTo>
                  <a:lnTo>
                    <a:pt x="1363" y="492"/>
                  </a:lnTo>
                  <a:lnTo>
                    <a:pt x="1357" y="494"/>
                  </a:lnTo>
                  <a:lnTo>
                    <a:pt x="1349" y="501"/>
                  </a:lnTo>
                  <a:lnTo>
                    <a:pt x="1347" y="504"/>
                  </a:lnTo>
                  <a:lnTo>
                    <a:pt x="1345" y="507"/>
                  </a:lnTo>
                  <a:lnTo>
                    <a:pt x="1341" y="509"/>
                  </a:lnTo>
                  <a:lnTo>
                    <a:pt x="1338" y="515"/>
                  </a:lnTo>
                  <a:lnTo>
                    <a:pt x="1335" y="517"/>
                  </a:lnTo>
                  <a:lnTo>
                    <a:pt x="1329" y="519"/>
                  </a:lnTo>
                  <a:lnTo>
                    <a:pt x="1326" y="520"/>
                  </a:lnTo>
                  <a:lnTo>
                    <a:pt x="1324" y="521"/>
                  </a:lnTo>
                  <a:lnTo>
                    <a:pt x="1328" y="519"/>
                  </a:lnTo>
                  <a:lnTo>
                    <a:pt x="1330" y="517"/>
                  </a:lnTo>
                  <a:lnTo>
                    <a:pt x="1333" y="515"/>
                  </a:lnTo>
                  <a:lnTo>
                    <a:pt x="1334" y="512"/>
                  </a:lnTo>
                  <a:lnTo>
                    <a:pt x="1337" y="510"/>
                  </a:lnTo>
                  <a:lnTo>
                    <a:pt x="1339" y="507"/>
                  </a:lnTo>
                  <a:lnTo>
                    <a:pt x="1342" y="506"/>
                  </a:lnTo>
                  <a:lnTo>
                    <a:pt x="1343" y="503"/>
                  </a:lnTo>
                  <a:lnTo>
                    <a:pt x="1345" y="500"/>
                  </a:lnTo>
                  <a:lnTo>
                    <a:pt x="1345" y="498"/>
                  </a:lnTo>
                  <a:lnTo>
                    <a:pt x="1342" y="495"/>
                  </a:lnTo>
                  <a:lnTo>
                    <a:pt x="1341" y="495"/>
                  </a:lnTo>
                  <a:lnTo>
                    <a:pt x="1335" y="494"/>
                  </a:lnTo>
                  <a:lnTo>
                    <a:pt x="1333" y="494"/>
                  </a:lnTo>
                  <a:lnTo>
                    <a:pt x="1330" y="493"/>
                  </a:lnTo>
                  <a:lnTo>
                    <a:pt x="1328" y="492"/>
                  </a:lnTo>
                  <a:lnTo>
                    <a:pt x="1329" y="492"/>
                  </a:lnTo>
                  <a:lnTo>
                    <a:pt x="1337" y="493"/>
                  </a:lnTo>
                  <a:lnTo>
                    <a:pt x="1339" y="494"/>
                  </a:lnTo>
                  <a:lnTo>
                    <a:pt x="1342" y="495"/>
                  </a:lnTo>
                  <a:lnTo>
                    <a:pt x="1347" y="498"/>
                  </a:lnTo>
                  <a:lnTo>
                    <a:pt x="1349" y="495"/>
                  </a:lnTo>
                  <a:lnTo>
                    <a:pt x="1354" y="490"/>
                  </a:lnTo>
                  <a:lnTo>
                    <a:pt x="1355" y="487"/>
                  </a:lnTo>
                  <a:lnTo>
                    <a:pt x="1358" y="484"/>
                  </a:lnTo>
                  <a:lnTo>
                    <a:pt x="1364" y="479"/>
                  </a:lnTo>
                  <a:lnTo>
                    <a:pt x="1365" y="479"/>
                  </a:lnTo>
                  <a:lnTo>
                    <a:pt x="1368" y="477"/>
                  </a:lnTo>
                  <a:lnTo>
                    <a:pt x="1376" y="476"/>
                  </a:lnTo>
                  <a:lnTo>
                    <a:pt x="1379" y="475"/>
                  </a:lnTo>
                  <a:lnTo>
                    <a:pt x="1381" y="470"/>
                  </a:lnTo>
                  <a:lnTo>
                    <a:pt x="1383" y="467"/>
                  </a:lnTo>
                  <a:lnTo>
                    <a:pt x="1384" y="465"/>
                  </a:lnTo>
                  <a:lnTo>
                    <a:pt x="1386" y="464"/>
                  </a:lnTo>
                  <a:lnTo>
                    <a:pt x="1388" y="461"/>
                  </a:lnTo>
                  <a:lnTo>
                    <a:pt x="1390" y="461"/>
                  </a:lnTo>
                  <a:lnTo>
                    <a:pt x="1394" y="461"/>
                  </a:lnTo>
                  <a:lnTo>
                    <a:pt x="1398" y="459"/>
                  </a:lnTo>
                  <a:lnTo>
                    <a:pt x="1400" y="460"/>
                  </a:lnTo>
                  <a:lnTo>
                    <a:pt x="1406" y="459"/>
                  </a:lnTo>
                  <a:lnTo>
                    <a:pt x="1413" y="460"/>
                  </a:lnTo>
                  <a:lnTo>
                    <a:pt x="1418" y="459"/>
                  </a:lnTo>
                  <a:lnTo>
                    <a:pt x="1422" y="460"/>
                  </a:lnTo>
                  <a:lnTo>
                    <a:pt x="1426" y="459"/>
                  </a:lnTo>
                  <a:lnTo>
                    <a:pt x="1432" y="460"/>
                  </a:lnTo>
                  <a:lnTo>
                    <a:pt x="1433" y="460"/>
                  </a:lnTo>
                  <a:lnTo>
                    <a:pt x="1435" y="460"/>
                  </a:lnTo>
                  <a:lnTo>
                    <a:pt x="1437" y="459"/>
                  </a:lnTo>
                  <a:lnTo>
                    <a:pt x="1453" y="461"/>
                  </a:lnTo>
                  <a:lnTo>
                    <a:pt x="1454" y="462"/>
                  </a:lnTo>
                  <a:lnTo>
                    <a:pt x="1458" y="461"/>
                  </a:lnTo>
                  <a:lnTo>
                    <a:pt x="1458" y="461"/>
                  </a:lnTo>
                  <a:lnTo>
                    <a:pt x="1454" y="462"/>
                  </a:lnTo>
                  <a:lnTo>
                    <a:pt x="1460" y="461"/>
                  </a:lnTo>
                  <a:lnTo>
                    <a:pt x="1466" y="461"/>
                  </a:lnTo>
                  <a:lnTo>
                    <a:pt x="1471" y="461"/>
                  </a:lnTo>
                  <a:lnTo>
                    <a:pt x="1476" y="460"/>
                  </a:lnTo>
                  <a:lnTo>
                    <a:pt x="1479" y="460"/>
                  </a:lnTo>
                  <a:lnTo>
                    <a:pt x="1480" y="459"/>
                  </a:lnTo>
                  <a:lnTo>
                    <a:pt x="1482" y="457"/>
                  </a:lnTo>
                  <a:lnTo>
                    <a:pt x="1485" y="456"/>
                  </a:lnTo>
                  <a:lnTo>
                    <a:pt x="1487" y="452"/>
                  </a:lnTo>
                  <a:lnTo>
                    <a:pt x="1490" y="451"/>
                  </a:lnTo>
                  <a:lnTo>
                    <a:pt x="1492" y="451"/>
                  </a:lnTo>
                  <a:lnTo>
                    <a:pt x="1494" y="447"/>
                  </a:lnTo>
                  <a:lnTo>
                    <a:pt x="1496" y="444"/>
                  </a:lnTo>
                  <a:lnTo>
                    <a:pt x="1497" y="442"/>
                  </a:lnTo>
                  <a:lnTo>
                    <a:pt x="1503" y="441"/>
                  </a:lnTo>
                  <a:lnTo>
                    <a:pt x="1505" y="441"/>
                  </a:lnTo>
                  <a:lnTo>
                    <a:pt x="1511" y="439"/>
                  </a:lnTo>
                  <a:lnTo>
                    <a:pt x="1513" y="439"/>
                  </a:lnTo>
                  <a:lnTo>
                    <a:pt x="1516" y="438"/>
                  </a:lnTo>
                  <a:lnTo>
                    <a:pt x="1519" y="439"/>
                  </a:lnTo>
                  <a:lnTo>
                    <a:pt x="1521" y="438"/>
                  </a:lnTo>
                  <a:lnTo>
                    <a:pt x="1527" y="434"/>
                  </a:lnTo>
                  <a:lnTo>
                    <a:pt x="1533" y="431"/>
                  </a:lnTo>
                  <a:lnTo>
                    <a:pt x="1538" y="426"/>
                  </a:lnTo>
                  <a:lnTo>
                    <a:pt x="1537" y="423"/>
                  </a:lnTo>
                  <a:lnTo>
                    <a:pt x="1531" y="421"/>
                  </a:lnTo>
                  <a:close/>
                  <a:moveTo>
                    <a:pt x="688" y="144"/>
                  </a:moveTo>
                  <a:lnTo>
                    <a:pt x="685" y="143"/>
                  </a:lnTo>
                  <a:lnTo>
                    <a:pt x="682" y="147"/>
                  </a:lnTo>
                  <a:lnTo>
                    <a:pt x="682" y="149"/>
                  </a:lnTo>
                  <a:lnTo>
                    <a:pt x="685" y="149"/>
                  </a:lnTo>
                  <a:lnTo>
                    <a:pt x="688" y="148"/>
                  </a:lnTo>
                  <a:lnTo>
                    <a:pt x="685" y="150"/>
                  </a:lnTo>
                  <a:lnTo>
                    <a:pt x="688" y="151"/>
                  </a:lnTo>
                  <a:lnTo>
                    <a:pt x="685" y="151"/>
                  </a:lnTo>
                  <a:lnTo>
                    <a:pt x="683" y="152"/>
                  </a:lnTo>
                  <a:lnTo>
                    <a:pt x="681" y="152"/>
                  </a:lnTo>
                  <a:lnTo>
                    <a:pt x="677" y="152"/>
                  </a:lnTo>
                  <a:lnTo>
                    <a:pt x="675" y="152"/>
                  </a:lnTo>
                  <a:lnTo>
                    <a:pt x="673" y="150"/>
                  </a:lnTo>
                  <a:lnTo>
                    <a:pt x="669" y="149"/>
                  </a:lnTo>
                  <a:lnTo>
                    <a:pt x="667" y="150"/>
                  </a:lnTo>
                  <a:lnTo>
                    <a:pt x="664" y="150"/>
                  </a:lnTo>
                  <a:lnTo>
                    <a:pt x="662" y="149"/>
                  </a:lnTo>
                  <a:lnTo>
                    <a:pt x="660" y="152"/>
                  </a:lnTo>
                  <a:lnTo>
                    <a:pt x="657" y="153"/>
                  </a:lnTo>
                  <a:lnTo>
                    <a:pt x="657" y="154"/>
                  </a:lnTo>
                  <a:lnTo>
                    <a:pt x="660" y="157"/>
                  </a:lnTo>
                  <a:lnTo>
                    <a:pt x="663" y="157"/>
                  </a:lnTo>
                  <a:lnTo>
                    <a:pt x="665" y="160"/>
                  </a:lnTo>
                  <a:lnTo>
                    <a:pt x="662" y="160"/>
                  </a:lnTo>
                  <a:lnTo>
                    <a:pt x="659" y="160"/>
                  </a:lnTo>
                  <a:lnTo>
                    <a:pt x="657" y="161"/>
                  </a:lnTo>
                  <a:lnTo>
                    <a:pt x="655" y="164"/>
                  </a:lnTo>
                  <a:lnTo>
                    <a:pt x="651" y="165"/>
                  </a:lnTo>
                  <a:lnTo>
                    <a:pt x="649" y="167"/>
                  </a:lnTo>
                  <a:lnTo>
                    <a:pt x="647" y="168"/>
                  </a:lnTo>
                  <a:lnTo>
                    <a:pt x="643" y="169"/>
                  </a:lnTo>
                  <a:lnTo>
                    <a:pt x="641" y="171"/>
                  </a:lnTo>
                  <a:lnTo>
                    <a:pt x="639" y="171"/>
                  </a:lnTo>
                  <a:lnTo>
                    <a:pt x="637" y="169"/>
                  </a:lnTo>
                  <a:lnTo>
                    <a:pt x="640" y="168"/>
                  </a:lnTo>
                  <a:lnTo>
                    <a:pt x="642" y="168"/>
                  </a:lnTo>
                  <a:lnTo>
                    <a:pt x="643" y="165"/>
                  </a:lnTo>
                  <a:lnTo>
                    <a:pt x="647" y="164"/>
                  </a:lnTo>
                  <a:lnTo>
                    <a:pt x="649" y="161"/>
                  </a:lnTo>
                  <a:lnTo>
                    <a:pt x="651" y="159"/>
                  </a:lnTo>
                  <a:lnTo>
                    <a:pt x="652" y="157"/>
                  </a:lnTo>
                  <a:lnTo>
                    <a:pt x="650" y="153"/>
                  </a:lnTo>
                  <a:lnTo>
                    <a:pt x="647" y="153"/>
                  </a:lnTo>
                  <a:lnTo>
                    <a:pt x="645" y="154"/>
                  </a:lnTo>
                  <a:lnTo>
                    <a:pt x="641" y="156"/>
                  </a:lnTo>
                  <a:lnTo>
                    <a:pt x="639" y="158"/>
                  </a:lnTo>
                  <a:lnTo>
                    <a:pt x="637" y="159"/>
                  </a:lnTo>
                  <a:lnTo>
                    <a:pt x="635" y="161"/>
                  </a:lnTo>
                  <a:lnTo>
                    <a:pt x="635" y="164"/>
                  </a:lnTo>
                  <a:lnTo>
                    <a:pt x="633" y="167"/>
                  </a:lnTo>
                  <a:lnTo>
                    <a:pt x="630" y="168"/>
                  </a:lnTo>
                  <a:lnTo>
                    <a:pt x="628" y="168"/>
                  </a:lnTo>
                  <a:lnTo>
                    <a:pt x="624" y="167"/>
                  </a:lnTo>
                  <a:lnTo>
                    <a:pt x="620" y="166"/>
                  </a:lnTo>
                  <a:lnTo>
                    <a:pt x="616" y="166"/>
                  </a:lnTo>
                  <a:lnTo>
                    <a:pt x="614" y="166"/>
                  </a:lnTo>
                  <a:lnTo>
                    <a:pt x="611" y="165"/>
                  </a:lnTo>
                  <a:lnTo>
                    <a:pt x="609" y="164"/>
                  </a:lnTo>
                  <a:lnTo>
                    <a:pt x="613" y="162"/>
                  </a:lnTo>
                  <a:lnTo>
                    <a:pt x="615" y="162"/>
                  </a:lnTo>
                  <a:lnTo>
                    <a:pt x="618" y="161"/>
                  </a:lnTo>
                  <a:lnTo>
                    <a:pt x="620" y="159"/>
                  </a:lnTo>
                  <a:lnTo>
                    <a:pt x="620" y="156"/>
                  </a:lnTo>
                  <a:lnTo>
                    <a:pt x="622" y="154"/>
                  </a:lnTo>
                  <a:lnTo>
                    <a:pt x="624" y="153"/>
                  </a:lnTo>
                  <a:lnTo>
                    <a:pt x="628" y="151"/>
                  </a:lnTo>
                  <a:lnTo>
                    <a:pt x="626" y="148"/>
                  </a:lnTo>
                  <a:lnTo>
                    <a:pt x="624" y="148"/>
                  </a:lnTo>
                  <a:lnTo>
                    <a:pt x="621" y="145"/>
                  </a:lnTo>
                  <a:lnTo>
                    <a:pt x="624" y="144"/>
                  </a:lnTo>
                  <a:lnTo>
                    <a:pt x="626" y="144"/>
                  </a:lnTo>
                  <a:lnTo>
                    <a:pt x="629" y="145"/>
                  </a:lnTo>
                  <a:lnTo>
                    <a:pt x="632" y="147"/>
                  </a:lnTo>
                  <a:lnTo>
                    <a:pt x="638" y="147"/>
                  </a:lnTo>
                  <a:lnTo>
                    <a:pt x="640" y="144"/>
                  </a:lnTo>
                  <a:lnTo>
                    <a:pt x="638" y="142"/>
                  </a:lnTo>
                  <a:lnTo>
                    <a:pt x="634" y="141"/>
                  </a:lnTo>
                  <a:lnTo>
                    <a:pt x="632" y="140"/>
                  </a:lnTo>
                  <a:lnTo>
                    <a:pt x="629" y="139"/>
                  </a:lnTo>
                  <a:lnTo>
                    <a:pt x="617" y="139"/>
                  </a:lnTo>
                  <a:lnTo>
                    <a:pt x="616" y="142"/>
                  </a:lnTo>
                  <a:lnTo>
                    <a:pt x="614" y="142"/>
                  </a:lnTo>
                  <a:lnTo>
                    <a:pt x="611" y="141"/>
                  </a:lnTo>
                  <a:lnTo>
                    <a:pt x="608" y="142"/>
                  </a:lnTo>
                  <a:lnTo>
                    <a:pt x="605" y="142"/>
                  </a:lnTo>
                  <a:lnTo>
                    <a:pt x="603" y="142"/>
                  </a:lnTo>
                  <a:lnTo>
                    <a:pt x="599" y="141"/>
                  </a:lnTo>
                  <a:lnTo>
                    <a:pt x="597" y="141"/>
                  </a:lnTo>
                  <a:lnTo>
                    <a:pt x="595" y="141"/>
                  </a:lnTo>
                  <a:lnTo>
                    <a:pt x="595" y="144"/>
                  </a:lnTo>
                  <a:lnTo>
                    <a:pt x="592" y="144"/>
                  </a:lnTo>
                  <a:lnTo>
                    <a:pt x="591" y="147"/>
                  </a:lnTo>
                  <a:lnTo>
                    <a:pt x="589" y="144"/>
                  </a:lnTo>
                  <a:lnTo>
                    <a:pt x="587" y="142"/>
                  </a:lnTo>
                  <a:lnTo>
                    <a:pt x="588" y="139"/>
                  </a:lnTo>
                  <a:lnTo>
                    <a:pt x="590" y="139"/>
                  </a:lnTo>
                  <a:lnTo>
                    <a:pt x="594" y="139"/>
                  </a:lnTo>
                  <a:lnTo>
                    <a:pt x="596" y="140"/>
                  </a:lnTo>
                  <a:lnTo>
                    <a:pt x="598" y="136"/>
                  </a:lnTo>
                  <a:lnTo>
                    <a:pt x="601" y="137"/>
                  </a:lnTo>
                  <a:lnTo>
                    <a:pt x="604" y="137"/>
                  </a:lnTo>
                  <a:lnTo>
                    <a:pt x="609" y="135"/>
                  </a:lnTo>
                  <a:lnTo>
                    <a:pt x="612" y="134"/>
                  </a:lnTo>
                  <a:lnTo>
                    <a:pt x="615" y="134"/>
                  </a:lnTo>
                  <a:lnTo>
                    <a:pt x="617" y="132"/>
                  </a:lnTo>
                  <a:lnTo>
                    <a:pt x="623" y="132"/>
                  </a:lnTo>
                  <a:lnTo>
                    <a:pt x="625" y="132"/>
                  </a:lnTo>
                  <a:lnTo>
                    <a:pt x="631" y="131"/>
                  </a:lnTo>
                  <a:lnTo>
                    <a:pt x="634" y="128"/>
                  </a:lnTo>
                  <a:lnTo>
                    <a:pt x="637" y="128"/>
                  </a:lnTo>
                  <a:lnTo>
                    <a:pt x="639" y="127"/>
                  </a:lnTo>
                  <a:lnTo>
                    <a:pt x="642" y="125"/>
                  </a:lnTo>
                  <a:lnTo>
                    <a:pt x="645" y="125"/>
                  </a:lnTo>
                  <a:lnTo>
                    <a:pt x="648" y="124"/>
                  </a:lnTo>
                  <a:lnTo>
                    <a:pt x="650" y="123"/>
                  </a:lnTo>
                  <a:lnTo>
                    <a:pt x="654" y="123"/>
                  </a:lnTo>
                  <a:lnTo>
                    <a:pt x="657" y="122"/>
                  </a:lnTo>
                  <a:lnTo>
                    <a:pt x="660" y="120"/>
                  </a:lnTo>
                  <a:lnTo>
                    <a:pt x="663" y="123"/>
                  </a:lnTo>
                  <a:lnTo>
                    <a:pt x="666" y="124"/>
                  </a:lnTo>
                  <a:lnTo>
                    <a:pt x="668" y="124"/>
                  </a:lnTo>
                  <a:lnTo>
                    <a:pt x="672" y="124"/>
                  </a:lnTo>
                  <a:lnTo>
                    <a:pt x="668" y="126"/>
                  </a:lnTo>
                  <a:lnTo>
                    <a:pt x="666" y="127"/>
                  </a:lnTo>
                  <a:lnTo>
                    <a:pt x="660" y="130"/>
                  </a:lnTo>
                  <a:lnTo>
                    <a:pt x="658" y="130"/>
                  </a:lnTo>
                  <a:lnTo>
                    <a:pt x="657" y="130"/>
                  </a:lnTo>
                  <a:lnTo>
                    <a:pt x="655" y="132"/>
                  </a:lnTo>
                  <a:lnTo>
                    <a:pt x="651" y="134"/>
                  </a:lnTo>
                  <a:lnTo>
                    <a:pt x="655" y="136"/>
                  </a:lnTo>
                  <a:lnTo>
                    <a:pt x="657" y="136"/>
                  </a:lnTo>
                  <a:lnTo>
                    <a:pt x="657" y="136"/>
                  </a:lnTo>
                  <a:lnTo>
                    <a:pt x="660" y="137"/>
                  </a:lnTo>
                  <a:lnTo>
                    <a:pt x="663" y="137"/>
                  </a:lnTo>
                  <a:lnTo>
                    <a:pt x="666" y="137"/>
                  </a:lnTo>
                  <a:lnTo>
                    <a:pt x="668" y="137"/>
                  </a:lnTo>
                  <a:lnTo>
                    <a:pt x="674" y="137"/>
                  </a:lnTo>
                  <a:lnTo>
                    <a:pt x="676" y="137"/>
                  </a:lnTo>
                  <a:lnTo>
                    <a:pt x="680" y="136"/>
                  </a:lnTo>
                  <a:lnTo>
                    <a:pt x="682" y="135"/>
                  </a:lnTo>
                  <a:lnTo>
                    <a:pt x="683" y="132"/>
                  </a:lnTo>
                  <a:lnTo>
                    <a:pt x="686" y="131"/>
                  </a:lnTo>
                  <a:lnTo>
                    <a:pt x="689" y="130"/>
                  </a:lnTo>
                  <a:lnTo>
                    <a:pt x="689" y="132"/>
                  </a:lnTo>
                  <a:lnTo>
                    <a:pt x="686" y="135"/>
                  </a:lnTo>
                  <a:lnTo>
                    <a:pt x="689" y="135"/>
                  </a:lnTo>
                  <a:lnTo>
                    <a:pt x="692" y="134"/>
                  </a:lnTo>
                  <a:lnTo>
                    <a:pt x="690" y="137"/>
                  </a:lnTo>
                  <a:lnTo>
                    <a:pt x="689" y="140"/>
                  </a:lnTo>
                  <a:lnTo>
                    <a:pt x="685" y="141"/>
                  </a:lnTo>
                  <a:lnTo>
                    <a:pt x="688" y="144"/>
                  </a:lnTo>
                  <a:close/>
                  <a:moveTo>
                    <a:pt x="805" y="218"/>
                  </a:moveTo>
                  <a:lnTo>
                    <a:pt x="803" y="217"/>
                  </a:lnTo>
                  <a:lnTo>
                    <a:pt x="800" y="217"/>
                  </a:lnTo>
                  <a:lnTo>
                    <a:pt x="797" y="216"/>
                  </a:lnTo>
                  <a:lnTo>
                    <a:pt x="793" y="214"/>
                  </a:lnTo>
                  <a:lnTo>
                    <a:pt x="787" y="214"/>
                  </a:lnTo>
                  <a:lnTo>
                    <a:pt x="785" y="216"/>
                  </a:lnTo>
                  <a:lnTo>
                    <a:pt x="782" y="217"/>
                  </a:lnTo>
                  <a:lnTo>
                    <a:pt x="777" y="218"/>
                  </a:lnTo>
                  <a:lnTo>
                    <a:pt x="774" y="220"/>
                  </a:lnTo>
                  <a:lnTo>
                    <a:pt x="773" y="224"/>
                  </a:lnTo>
                  <a:lnTo>
                    <a:pt x="778" y="219"/>
                  </a:lnTo>
                  <a:lnTo>
                    <a:pt x="780" y="219"/>
                  </a:lnTo>
                  <a:lnTo>
                    <a:pt x="784" y="218"/>
                  </a:lnTo>
                  <a:lnTo>
                    <a:pt x="786" y="218"/>
                  </a:lnTo>
                  <a:lnTo>
                    <a:pt x="790" y="216"/>
                  </a:lnTo>
                  <a:lnTo>
                    <a:pt x="794" y="216"/>
                  </a:lnTo>
                  <a:lnTo>
                    <a:pt x="797" y="217"/>
                  </a:lnTo>
                  <a:lnTo>
                    <a:pt x="792" y="217"/>
                  </a:lnTo>
                  <a:lnTo>
                    <a:pt x="788" y="218"/>
                  </a:lnTo>
                  <a:lnTo>
                    <a:pt x="794" y="218"/>
                  </a:lnTo>
                  <a:lnTo>
                    <a:pt x="797" y="219"/>
                  </a:lnTo>
                  <a:lnTo>
                    <a:pt x="794" y="220"/>
                  </a:lnTo>
                  <a:lnTo>
                    <a:pt x="788" y="220"/>
                  </a:lnTo>
                  <a:lnTo>
                    <a:pt x="786" y="221"/>
                  </a:lnTo>
                  <a:lnTo>
                    <a:pt x="788" y="221"/>
                  </a:lnTo>
                  <a:lnTo>
                    <a:pt x="786" y="222"/>
                  </a:lnTo>
                  <a:lnTo>
                    <a:pt x="790" y="221"/>
                  </a:lnTo>
                  <a:lnTo>
                    <a:pt x="792" y="222"/>
                  </a:lnTo>
                  <a:lnTo>
                    <a:pt x="794" y="221"/>
                  </a:lnTo>
                  <a:lnTo>
                    <a:pt x="794" y="221"/>
                  </a:lnTo>
                  <a:lnTo>
                    <a:pt x="790" y="225"/>
                  </a:lnTo>
                  <a:lnTo>
                    <a:pt x="786" y="225"/>
                  </a:lnTo>
                  <a:lnTo>
                    <a:pt x="782" y="224"/>
                  </a:lnTo>
                  <a:lnTo>
                    <a:pt x="776" y="228"/>
                  </a:lnTo>
                  <a:lnTo>
                    <a:pt x="773" y="229"/>
                  </a:lnTo>
                  <a:lnTo>
                    <a:pt x="773" y="231"/>
                  </a:lnTo>
                  <a:lnTo>
                    <a:pt x="765" y="238"/>
                  </a:lnTo>
                  <a:lnTo>
                    <a:pt x="762" y="241"/>
                  </a:lnTo>
                  <a:lnTo>
                    <a:pt x="760" y="243"/>
                  </a:lnTo>
                  <a:lnTo>
                    <a:pt x="757" y="244"/>
                  </a:lnTo>
                  <a:lnTo>
                    <a:pt x="753" y="245"/>
                  </a:lnTo>
                  <a:lnTo>
                    <a:pt x="753" y="244"/>
                  </a:lnTo>
                  <a:lnTo>
                    <a:pt x="750" y="244"/>
                  </a:lnTo>
                  <a:lnTo>
                    <a:pt x="745" y="246"/>
                  </a:lnTo>
                  <a:lnTo>
                    <a:pt x="744" y="247"/>
                  </a:lnTo>
                  <a:lnTo>
                    <a:pt x="743" y="248"/>
                  </a:lnTo>
                  <a:lnTo>
                    <a:pt x="744" y="251"/>
                  </a:lnTo>
                  <a:lnTo>
                    <a:pt x="742" y="253"/>
                  </a:lnTo>
                  <a:lnTo>
                    <a:pt x="740" y="254"/>
                  </a:lnTo>
                  <a:lnTo>
                    <a:pt x="736" y="253"/>
                  </a:lnTo>
                  <a:lnTo>
                    <a:pt x="731" y="255"/>
                  </a:lnTo>
                  <a:lnTo>
                    <a:pt x="728" y="255"/>
                  </a:lnTo>
                  <a:lnTo>
                    <a:pt x="720" y="256"/>
                  </a:lnTo>
                  <a:lnTo>
                    <a:pt x="715" y="256"/>
                  </a:lnTo>
                  <a:lnTo>
                    <a:pt x="712" y="256"/>
                  </a:lnTo>
                  <a:lnTo>
                    <a:pt x="707" y="254"/>
                  </a:lnTo>
                  <a:lnTo>
                    <a:pt x="705" y="253"/>
                  </a:lnTo>
                  <a:lnTo>
                    <a:pt x="697" y="252"/>
                  </a:lnTo>
                  <a:lnTo>
                    <a:pt x="694" y="251"/>
                  </a:lnTo>
                  <a:lnTo>
                    <a:pt x="692" y="248"/>
                  </a:lnTo>
                  <a:lnTo>
                    <a:pt x="689" y="247"/>
                  </a:lnTo>
                  <a:lnTo>
                    <a:pt x="692" y="247"/>
                  </a:lnTo>
                  <a:lnTo>
                    <a:pt x="695" y="250"/>
                  </a:lnTo>
                  <a:lnTo>
                    <a:pt x="698" y="250"/>
                  </a:lnTo>
                  <a:lnTo>
                    <a:pt x="701" y="248"/>
                  </a:lnTo>
                  <a:lnTo>
                    <a:pt x="703" y="246"/>
                  </a:lnTo>
                  <a:lnTo>
                    <a:pt x="706" y="247"/>
                  </a:lnTo>
                  <a:lnTo>
                    <a:pt x="709" y="247"/>
                  </a:lnTo>
                  <a:lnTo>
                    <a:pt x="711" y="248"/>
                  </a:lnTo>
                  <a:lnTo>
                    <a:pt x="715" y="247"/>
                  </a:lnTo>
                  <a:lnTo>
                    <a:pt x="714" y="244"/>
                  </a:lnTo>
                  <a:lnTo>
                    <a:pt x="716" y="243"/>
                  </a:lnTo>
                  <a:lnTo>
                    <a:pt x="717" y="241"/>
                  </a:lnTo>
                  <a:lnTo>
                    <a:pt x="719" y="237"/>
                  </a:lnTo>
                  <a:lnTo>
                    <a:pt x="722" y="237"/>
                  </a:lnTo>
                  <a:lnTo>
                    <a:pt x="725" y="238"/>
                  </a:lnTo>
                  <a:lnTo>
                    <a:pt x="727" y="237"/>
                  </a:lnTo>
                  <a:lnTo>
                    <a:pt x="731" y="235"/>
                  </a:lnTo>
                  <a:lnTo>
                    <a:pt x="728" y="231"/>
                  </a:lnTo>
                  <a:lnTo>
                    <a:pt x="726" y="230"/>
                  </a:lnTo>
                  <a:lnTo>
                    <a:pt x="724" y="228"/>
                  </a:lnTo>
                  <a:lnTo>
                    <a:pt x="722" y="227"/>
                  </a:lnTo>
                  <a:lnTo>
                    <a:pt x="722" y="225"/>
                  </a:lnTo>
                  <a:lnTo>
                    <a:pt x="722" y="222"/>
                  </a:lnTo>
                  <a:lnTo>
                    <a:pt x="718" y="222"/>
                  </a:lnTo>
                  <a:lnTo>
                    <a:pt x="712" y="219"/>
                  </a:lnTo>
                  <a:lnTo>
                    <a:pt x="712" y="216"/>
                  </a:lnTo>
                  <a:lnTo>
                    <a:pt x="714" y="216"/>
                  </a:lnTo>
                  <a:lnTo>
                    <a:pt x="716" y="218"/>
                  </a:lnTo>
                  <a:lnTo>
                    <a:pt x="722" y="219"/>
                  </a:lnTo>
                  <a:lnTo>
                    <a:pt x="724" y="221"/>
                  </a:lnTo>
                  <a:lnTo>
                    <a:pt x="727" y="222"/>
                  </a:lnTo>
                  <a:lnTo>
                    <a:pt x="729" y="225"/>
                  </a:lnTo>
                  <a:lnTo>
                    <a:pt x="733" y="225"/>
                  </a:lnTo>
                  <a:lnTo>
                    <a:pt x="735" y="224"/>
                  </a:lnTo>
                  <a:lnTo>
                    <a:pt x="736" y="224"/>
                  </a:lnTo>
                  <a:lnTo>
                    <a:pt x="737" y="227"/>
                  </a:lnTo>
                  <a:lnTo>
                    <a:pt x="741" y="228"/>
                  </a:lnTo>
                  <a:lnTo>
                    <a:pt x="743" y="230"/>
                  </a:lnTo>
                  <a:lnTo>
                    <a:pt x="745" y="231"/>
                  </a:lnTo>
                  <a:lnTo>
                    <a:pt x="749" y="233"/>
                  </a:lnTo>
                  <a:lnTo>
                    <a:pt x="751" y="231"/>
                  </a:lnTo>
                  <a:lnTo>
                    <a:pt x="752" y="231"/>
                  </a:lnTo>
                  <a:lnTo>
                    <a:pt x="760" y="231"/>
                  </a:lnTo>
                  <a:lnTo>
                    <a:pt x="762" y="229"/>
                  </a:lnTo>
                  <a:lnTo>
                    <a:pt x="768" y="226"/>
                  </a:lnTo>
                  <a:lnTo>
                    <a:pt x="770" y="225"/>
                  </a:lnTo>
                  <a:lnTo>
                    <a:pt x="776" y="217"/>
                  </a:lnTo>
                  <a:lnTo>
                    <a:pt x="778" y="214"/>
                  </a:lnTo>
                  <a:lnTo>
                    <a:pt x="784" y="212"/>
                  </a:lnTo>
                  <a:lnTo>
                    <a:pt x="787" y="212"/>
                  </a:lnTo>
                  <a:lnTo>
                    <a:pt x="794" y="212"/>
                  </a:lnTo>
                  <a:lnTo>
                    <a:pt x="800" y="213"/>
                  </a:lnTo>
                  <a:lnTo>
                    <a:pt x="808" y="214"/>
                  </a:lnTo>
                  <a:lnTo>
                    <a:pt x="808" y="218"/>
                  </a:lnTo>
                  <a:lnTo>
                    <a:pt x="805" y="218"/>
                  </a:lnTo>
                  <a:close/>
                  <a:moveTo>
                    <a:pt x="981" y="448"/>
                  </a:moveTo>
                  <a:lnTo>
                    <a:pt x="981" y="451"/>
                  </a:lnTo>
                  <a:lnTo>
                    <a:pt x="982" y="453"/>
                  </a:lnTo>
                  <a:lnTo>
                    <a:pt x="981" y="453"/>
                  </a:lnTo>
                  <a:lnTo>
                    <a:pt x="979" y="451"/>
                  </a:lnTo>
                  <a:lnTo>
                    <a:pt x="978" y="455"/>
                  </a:lnTo>
                  <a:lnTo>
                    <a:pt x="978" y="457"/>
                  </a:lnTo>
                  <a:lnTo>
                    <a:pt x="975" y="458"/>
                  </a:lnTo>
                  <a:lnTo>
                    <a:pt x="973" y="456"/>
                  </a:lnTo>
                  <a:lnTo>
                    <a:pt x="973" y="453"/>
                  </a:lnTo>
                  <a:lnTo>
                    <a:pt x="973" y="451"/>
                  </a:lnTo>
                  <a:lnTo>
                    <a:pt x="973" y="448"/>
                  </a:lnTo>
                  <a:lnTo>
                    <a:pt x="973" y="445"/>
                  </a:lnTo>
                  <a:lnTo>
                    <a:pt x="975" y="442"/>
                  </a:lnTo>
                  <a:lnTo>
                    <a:pt x="976" y="440"/>
                  </a:lnTo>
                  <a:lnTo>
                    <a:pt x="973" y="441"/>
                  </a:lnTo>
                  <a:lnTo>
                    <a:pt x="975" y="439"/>
                  </a:lnTo>
                  <a:lnTo>
                    <a:pt x="976" y="435"/>
                  </a:lnTo>
                  <a:lnTo>
                    <a:pt x="973" y="434"/>
                  </a:lnTo>
                  <a:lnTo>
                    <a:pt x="971" y="436"/>
                  </a:lnTo>
                  <a:lnTo>
                    <a:pt x="968" y="439"/>
                  </a:lnTo>
                  <a:lnTo>
                    <a:pt x="968" y="436"/>
                  </a:lnTo>
                  <a:lnTo>
                    <a:pt x="968" y="433"/>
                  </a:lnTo>
                  <a:lnTo>
                    <a:pt x="968" y="431"/>
                  </a:lnTo>
                  <a:lnTo>
                    <a:pt x="966" y="427"/>
                  </a:lnTo>
                  <a:lnTo>
                    <a:pt x="964" y="429"/>
                  </a:lnTo>
                  <a:lnTo>
                    <a:pt x="965" y="426"/>
                  </a:lnTo>
                  <a:lnTo>
                    <a:pt x="962" y="427"/>
                  </a:lnTo>
                  <a:lnTo>
                    <a:pt x="961" y="431"/>
                  </a:lnTo>
                  <a:lnTo>
                    <a:pt x="958" y="430"/>
                  </a:lnTo>
                  <a:lnTo>
                    <a:pt x="958" y="429"/>
                  </a:lnTo>
                  <a:lnTo>
                    <a:pt x="957" y="425"/>
                  </a:lnTo>
                  <a:lnTo>
                    <a:pt x="955" y="423"/>
                  </a:lnTo>
                  <a:lnTo>
                    <a:pt x="953" y="421"/>
                  </a:lnTo>
                  <a:lnTo>
                    <a:pt x="950" y="418"/>
                  </a:lnTo>
                  <a:lnTo>
                    <a:pt x="948" y="416"/>
                  </a:lnTo>
                  <a:lnTo>
                    <a:pt x="947" y="413"/>
                  </a:lnTo>
                  <a:lnTo>
                    <a:pt x="949" y="410"/>
                  </a:lnTo>
                  <a:lnTo>
                    <a:pt x="951" y="409"/>
                  </a:lnTo>
                  <a:lnTo>
                    <a:pt x="950" y="409"/>
                  </a:lnTo>
                  <a:lnTo>
                    <a:pt x="947" y="409"/>
                  </a:lnTo>
                  <a:lnTo>
                    <a:pt x="945" y="409"/>
                  </a:lnTo>
                  <a:lnTo>
                    <a:pt x="941" y="407"/>
                  </a:lnTo>
                  <a:lnTo>
                    <a:pt x="942" y="405"/>
                  </a:lnTo>
                  <a:lnTo>
                    <a:pt x="944" y="401"/>
                  </a:lnTo>
                  <a:lnTo>
                    <a:pt x="945" y="399"/>
                  </a:lnTo>
                  <a:lnTo>
                    <a:pt x="945" y="397"/>
                  </a:lnTo>
                  <a:lnTo>
                    <a:pt x="946" y="393"/>
                  </a:lnTo>
                  <a:lnTo>
                    <a:pt x="947" y="393"/>
                  </a:lnTo>
                  <a:lnTo>
                    <a:pt x="950" y="395"/>
                  </a:lnTo>
                  <a:lnTo>
                    <a:pt x="953" y="393"/>
                  </a:lnTo>
                  <a:lnTo>
                    <a:pt x="955" y="395"/>
                  </a:lnTo>
                  <a:lnTo>
                    <a:pt x="958" y="396"/>
                  </a:lnTo>
                  <a:lnTo>
                    <a:pt x="959" y="396"/>
                  </a:lnTo>
                  <a:lnTo>
                    <a:pt x="957" y="395"/>
                  </a:lnTo>
                  <a:lnTo>
                    <a:pt x="955" y="392"/>
                  </a:lnTo>
                  <a:lnTo>
                    <a:pt x="956" y="389"/>
                  </a:lnTo>
                  <a:lnTo>
                    <a:pt x="957" y="387"/>
                  </a:lnTo>
                  <a:lnTo>
                    <a:pt x="958" y="383"/>
                  </a:lnTo>
                  <a:lnTo>
                    <a:pt x="959" y="384"/>
                  </a:lnTo>
                  <a:lnTo>
                    <a:pt x="959" y="387"/>
                  </a:lnTo>
                  <a:lnTo>
                    <a:pt x="956" y="389"/>
                  </a:lnTo>
                  <a:lnTo>
                    <a:pt x="957" y="392"/>
                  </a:lnTo>
                  <a:lnTo>
                    <a:pt x="959" y="391"/>
                  </a:lnTo>
                  <a:lnTo>
                    <a:pt x="963" y="390"/>
                  </a:lnTo>
                  <a:lnTo>
                    <a:pt x="962" y="391"/>
                  </a:lnTo>
                  <a:lnTo>
                    <a:pt x="959" y="392"/>
                  </a:lnTo>
                  <a:lnTo>
                    <a:pt x="959" y="393"/>
                  </a:lnTo>
                  <a:lnTo>
                    <a:pt x="961" y="396"/>
                  </a:lnTo>
                  <a:lnTo>
                    <a:pt x="961" y="397"/>
                  </a:lnTo>
                  <a:lnTo>
                    <a:pt x="962" y="399"/>
                  </a:lnTo>
                  <a:lnTo>
                    <a:pt x="963" y="401"/>
                  </a:lnTo>
                  <a:lnTo>
                    <a:pt x="964" y="405"/>
                  </a:lnTo>
                  <a:lnTo>
                    <a:pt x="966" y="407"/>
                  </a:lnTo>
                  <a:lnTo>
                    <a:pt x="968" y="410"/>
                  </a:lnTo>
                  <a:lnTo>
                    <a:pt x="966" y="410"/>
                  </a:lnTo>
                  <a:lnTo>
                    <a:pt x="967" y="414"/>
                  </a:lnTo>
                  <a:lnTo>
                    <a:pt x="970" y="416"/>
                  </a:lnTo>
                  <a:lnTo>
                    <a:pt x="971" y="419"/>
                  </a:lnTo>
                  <a:lnTo>
                    <a:pt x="972" y="422"/>
                  </a:lnTo>
                  <a:lnTo>
                    <a:pt x="972" y="424"/>
                  </a:lnTo>
                  <a:lnTo>
                    <a:pt x="973" y="427"/>
                  </a:lnTo>
                  <a:lnTo>
                    <a:pt x="974" y="430"/>
                  </a:lnTo>
                  <a:lnTo>
                    <a:pt x="976" y="432"/>
                  </a:lnTo>
                  <a:lnTo>
                    <a:pt x="976" y="434"/>
                  </a:lnTo>
                  <a:lnTo>
                    <a:pt x="979" y="438"/>
                  </a:lnTo>
                  <a:lnTo>
                    <a:pt x="980" y="440"/>
                  </a:lnTo>
                  <a:lnTo>
                    <a:pt x="982" y="442"/>
                  </a:lnTo>
                  <a:lnTo>
                    <a:pt x="981" y="445"/>
                  </a:lnTo>
                  <a:lnTo>
                    <a:pt x="981" y="448"/>
                  </a:lnTo>
                  <a:close/>
                  <a:moveTo>
                    <a:pt x="1152" y="575"/>
                  </a:moveTo>
                  <a:lnTo>
                    <a:pt x="1152" y="573"/>
                  </a:lnTo>
                  <a:lnTo>
                    <a:pt x="1151" y="571"/>
                  </a:lnTo>
                  <a:lnTo>
                    <a:pt x="1153" y="569"/>
                  </a:lnTo>
                  <a:lnTo>
                    <a:pt x="1157" y="567"/>
                  </a:lnTo>
                  <a:lnTo>
                    <a:pt x="1158" y="564"/>
                  </a:lnTo>
                  <a:lnTo>
                    <a:pt x="1160" y="561"/>
                  </a:lnTo>
                  <a:lnTo>
                    <a:pt x="1160" y="560"/>
                  </a:lnTo>
                  <a:lnTo>
                    <a:pt x="1160" y="556"/>
                  </a:lnTo>
                  <a:lnTo>
                    <a:pt x="1160" y="554"/>
                  </a:lnTo>
                  <a:lnTo>
                    <a:pt x="1158" y="552"/>
                  </a:lnTo>
                  <a:lnTo>
                    <a:pt x="1160" y="551"/>
                  </a:lnTo>
                  <a:lnTo>
                    <a:pt x="1159" y="549"/>
                  </a:lnTo>
                  <a:lnTo>
                    <a:pt x="1157" y="545"/>
                  </a:lnTo>
                  <a:lnTo>
                    <a:pt x="1154" y="544"/>
                  </a:lnTo>
                  <a:lnTo>
                    <a:pt x="1151" y="543"/>
                  </a:lnTo>
                  <a:lnTo>
                    <a:pt x="1149" y="542"/>
                  </a:lnTo>
                  <a:lnTo>
                    <a:pt x="1146" y="541"/>
                  </a:lnTo>
                  <a:lnTo>
                    <a:pt x="1145" y="541"/>
                  </a:lnTo>
                  <a:lnTo>
                    <a:pt x="1142" y="539"/>
                  </a:lnTo>
                  <a:lnTo>
                    <a:pt x="1140" y="538"/>
                  </a:lnTo>
                  <a:lnTo>
                    <a:pt x="1137" y="541"/>
                  </a:lnTo>
                  <a:lnTo>
                    <a:pt x="1135" y="542"/>
                  </a:lnTo>
                  <a:lnTo>
                    <a:pt x="1137" y="544"/>
                  </a:lnTo>
                  <a:lnTo>
                    <a:pt x="1137" y="545"/>
                  </a:lnTo>
                  <a:lnTo>
                    <a:pt x="1135" y="545"/>
                  </a:lnTo>
                  <a:lnTo>
                    <a:pt x="1133" y="546"/>
                  </a:lnTo>
                  <a:lnTo>
                    <a:pt x="1132" y="549"/>
                  </a:lnTo>
                  <a:lnTo>
                    <a:pt x="1132" y="552"/>
                  </a:lnTo>
                  <a:lnTo>
                    <a:pt x="1129" y="554"/>
                  </a:lnTo>
                  <a:lnTo>
                    <a:pt x="1129" y="552"/>
                  </a:lnTo>
                  <a:lnTo>
                    <a:pt x="1128" y="554"/>
                  </a:lnTo>
                  <a:lnTo>
                    <a:pt x="1128" y="552"/>
                  </a:lnTo>
                  <a:lnTo>
                    <a:pt x="1128" y="549"/>
                  </a:lnTo>
                  <a:lnTo>
                    <a:pt x="1126" y="552"/>
                  </a:lnTo>
                  <a:lnTo>
                    <a:pt x="1125" y="552"/>
                  </a:lnTo>
                  <a:lnTo>
                    <a:pt x="1121" y="554"/>
                  </a:lnTo>
                  <a:lnTo>
                    <a:pt x="1119" y="556"/>
                  </a:lnTo>
                  <a:lnTo>
                    <a:pt x="1120" y="559"/>
                  </a:lnTo>
                  <a:lnTo>
                    <a:pt x="1119" y="562"/>
                  </a:lnTo>
                  <a:lnTo>
                    <a:pt x="1118" y="564"/>
                  </a:lnTo>
                  <a:lnTo>
                    <a:pt x="1116" y="567"/>
                  </a:lnTo>
                  <a:lnTo>
                    <a:pt x="1117" y="570"/>
                  </a:lnTo>
                  <a:lnTo>
                    <a:pt x="1116" y="572"/>
                  </a:lnTo>
                  <a:lnTo>
                    <a:pt x="1116" y="576"/>
                  </a:lnTo>
                  <a:lnTo>
                    <a:pt x="1117" y="578"/>
                  </a:lnTo>
                  <a:lnTo>
                    <a:pt x="1119" y="580"/>
                  </a:lnTo>
                  <a:lnTo>
                    <a:pt x="1119" y="581"/>
                  </a:lnTo>
                  <a:lnTo>
                    <a:pt x="1119" y="584"/>
                  </a:lnTo>
                  <a:lnTo>
                    <a:pt x="1120" y="585"/>
                  </a:lnTo>
                  <a:lnTo>
                    <a:pt x="1120" y="588"/>
                  </a:lnTo>
                  <a:lnTo>
                    <a:pt x="1120" y="590"/>
                  </a:lnTo>
                  <a:lnTo>
                    <a:pt x="1119" y="593"/>
                  </a:lnTo>
                  <a:lnTo>
                    <a:pt x="1118" y="596"/>
                  </a:lnTo>
                  <a:lnTo>
                    <a:pt x="1117" y="598"/>
                  </a:lnTo>
                  <a:lnTo>
                    <a:pt x="1116" y="602"/>
                  </a:lnTo>
                  <a:lnTo>
                    <a:pt x="1113" y="604"/>
                  </a:lnTo>
                  <a:lnTo>
                    <a:pt x="1111" y="605"/>
                  </a:lnTo>
                  <a:lnTo>
                    <a:pt x="1109" y="606"/>
                  </a:lnTo>
                  <a:lnTo>
                    <a:pt x="1107" y="607"/>
                  </a:lnTo>
                  <a:lnTo>
                    <a:pt x="1103" y="607"/>
                  </a:lnTo>
                  <a:lnTo>
                    <a:pt x="1102" y="606"/>
                  </a:lnTo>
                  <a:lnTo>
                    <a:pt x="1102" y="606"/>
                  </a:lnTo>
                  <a:lnTo>
                    <a:pt x="1101" y="603"/>
                  </a:lnTo>
                  <a:lnTo>
                    <a:pt x="1100" y="602"/>
                  </a:lnTo>
                  <a:lnTo>
                    <a:pt x="1099" y="598"/>
                  </a:lnTo>
                  <a:lnTo>
                    <a:pt x="1098" y="596"/>
                  </a:lnTo>
                  <a:lnTo>
                    <a:pt x="1099" y="594"/>
                  </a:lnTo>
                  <a:lnTo>
                    <a:pt x="1099" y="592"/>
                  </a:lnTo>
                  <a:lnTo>
                    <a:pt x="1099" y="589"/>
                  </a:lnTo>
                  <a:lnTo>
                    <a:pt x="1098" y="586"/>
                  </a:lnTo>
                  <a:lnTo>
                    <a:pt x="1096" y="581"/>
                  </a:lnTo>
                  <a:lnTo>
                    <a:pt x="1098" y="578"/>
                  </a:lnTo>
                  <a:lnTo>
                    <a:pt x="1099" y="576"/>
                  </a:lnTo>
                  <a:lnTo>
                    <a:pt x="1100" y="572"/>
                  </a:lnTo>
                  <a:lnTo>
                    <a:pt x="1099" y="570"/>
                  </a:lnTo>
                  <a:lnTo>
                    <a:pt x="1100" y="567"/>
                  </a:lnTo>
                  <a:lnTo>
                    <a:pt x="1102" y="564"/>
                  </a:lnTo>
                  <a:lnTo>
                    <a:pt x="1102" y="562"/>
                  </a:lnTo>
                  <a:lnTo>
                    <a:pt x="1103" y="559"/>
                  </a:lnTo>
                  <a:lnTo>
                    <a:pt x="1104" y="556"/>
                  </a:lnTo>
                  <a:lnTo>
                    <a:pt x="1103" y="554"/>
                  </a:lnTo>
                  <a:lnTo>
                    <a:pt x="1100" y="555"/>
                  </a:lnTo>
                  <a:lnTo>
                    <a:pt x="1098" y="558"/>
                  </a:lnTo>
                  <a:lnTo>
                    <a:pt x="1095" y="558"/>
                  </a:lnTo>
                  <a:lnTo>
                    <a:pt x="1096" y="555"/>
                  </a:lnTo>
                  <a:lnTo>
                    <a:pt x="1098" y="552"/>
                  </a:lnTo>
                  <a:lnTo>
                    <a:pt x="1101" y="552"/>
                  </a:lnTo>
                  <a:lnTo>
                    <a:pt x="1101" y="550"/>
                  </a:lnTo>
                  <a:lnTo>
                    <a:pt x="1102" y="547"/>
                  </a:lnTo>
                  <a:lnTo>
                    <a:pt x="1104" y="545"/>
                  </a:lnTo>
                  <a:lnTo>
                    <a:pt x="1106" y="542"/>
                  </a:lnTo>
                  <a:lnTo>
                    <a:pt x="1108" y="539"/>
                  </a:lnTo>
                  <a:lnTo>
                    <a:pt x="1110" y="536"/>
                  </a:lnTo>
                  <a:lnTo>
                    <a:pt x="1110" y="539"/>
                  </a:lnTo>
                  <a:lnTo>
                    <a:pt x="1112" y="537"/>
                  </a:lnTo>
                  <a:lnTo>
                    <a:pt x="1116" y="536"/>
                  </a:lnTo>
                  <a:lnTo>
                    <a:pt x="1116" y="539"/>
                  </a:lnTo>
                  <a:lnTo>
                    <a:pt x="1118" y="537"/>
                  </a:lnTo>
                  <a:lnTo>
                    <a:pt x="1120" y="535"/>
                  </a:lnTo>
                  <a:lnTo>
                    <a:pt x="1123" y="535"/>
                  </a:lnTo>
                  <a:lnTo>
                    <a:pt x="1126" y="535"/>
                  </a:lnTo>
                  <a:lnTo>
                    <a:pt x="1128" y="534"/>
                  </a:lnTo>
                  <a:lnTo>
                    <a:pt x="1132" y="533"/>
                  </a:lnTo>
                  <a:lnTo>
                    <a:pt x="1134" y="533"/>
                  </a:lnTo>
                  <a:lnTo>
                    <a:pt x="1137" y="534"/>
                  </a:lnTo>
                  <a:lnTo>
                    <a:pt x="1138" y="536"/>
                  </a:lnTo>
                  <a:lnTo>
                    <a:pt x="1141" y="535"/>
                  </a:lnTo>
                  <a:lnTo>
                    <a:pt x="1144" y="535"/>
                  </a:lnTo>
                  <a:lnTo>
                    <a:pt x="1146" y="535"/>
                  </a:lnTo>
                  <a:lnTo>
                    <a:pt x="1149" y="535"/>
                  </a:lnTo>
                  <a:lnTo>
                    <a:pt x="1152" y="535"/>
                  </a:lnTo>
                  <a:lnTo>
                    <a:pt x="1150" y="532"/>
                  </a:lnTo>
                  <a:lnTo>
                    <a:pt x="1147" y="532"/>
                  </a:lnTo>
                  <a:lnTo>
                    <a:pt x="1147" y="528"/>
                  </a:lnTo>
                  <a:lnTo>
                    <a:pt x="1145" y="526"/>
                  </a:lnTo>
                  <a:lnTo>
                    <a:pt x="1145" y="526"/>
                  </a:lnTo>
                  <a:lnTo>
                    <a:pt x="1145" y="526"/>
                  </a:lnTo>
                  <a:lnTo>
                    <a:pt x="1140" y="527"/>
                  </a:lnTo>
                  <a:lnTo>
                    <a:pt x="1137" y="526"/>
                  </a:lnTo>
                  <a:lnTo>
                    <a:pt x="1136" y="525"/>
                  </a:lnTo>
                  <a:lnTo>
                    <a:pt x="1137" y="521"/>
                  </a:lnTo>
                  <a:lnTo>
                    <a:pt x="1137" y="521"/>
                  </a:lnTo>
                  <a:lnTo>
                    <a:pt x="1134" y="521"/>
                  </a:lnTo>
                  <a:lnTo>
                    <a:pt x="1130" y="522"/>
                  </a:lnTo>
                  <a:lnTo>
                    <a:pt x="1128" y="522"/>
                  </a:lnTo>
                  <a:lnTo>
                    <a:pt x="1126" y="522"/>
                  </a:lnTo>
                  <a:lnTo>
                    <a:pt x="1120" y="522"/>
                  </a:lnTo>
                  <a:lnTo>
                    <a:pt x="1118" y="525"/>
                  </a:lnTo>
                  <a:lnTo>
                    <a:pt x="1115" y="527"/>
                  </a:lnTo>
                  <a:lnTo>
                    <a:pt x="1112" y="526"/>
                  </a:lnTo>
                  <a:lnTo>
                    <a:pt x="1109" y="525"/>
                  </a:lnTo>
                  <a:lnTo>
                    <a:pt x="1107" y="526"/>
                  </a:lnTo>
                  <a:lnTo>
                    <a:pt x="1104" y="526"/>
                  </a:lnTo>
                  <a:lnTo>
                    <a:pt x="1102" y="522"/>
                  </a:lnTo>
                  <a:lnTo>
                    <a:pt x="1100" y="520"/>
                  </a:lnTo>
                  <a:lnTo>
                    <a:pt x="1098" y="519"/>
                  </a:lnTo>
                  <a:lnTo>
                    <a:pt x="1094" y="519"/>
                  </a:lnTo>
                  <a:lnTo>
                    <a:pt x="1092" y="519"/>
                  </a:lnTo>
                  <a:lnTo>
                    <a:pt x="1090" y="519"/>
                  </a:lnTo>
                  <a:lnTo>
                    <a:pt x="1089" y="516"/>
                  </a:lnTo>
                  <a:lnTo>
                    <a:pt x="1087" y="513"/>
                  </a:lnTo>
                  <a:lnTo>
                    <a:pt x="1084" y="515"/>
                  </a:lnTo>
                  <a:lnTo>
                    <a:pt x="1082" y="517"/>
                  </a:lnTo>
                  <a:lnTo>
                    <a:pt x="1079" y="518"/>
                  </a:lnTo>
                  <a:lnTo>
                    <a:pt x="1076" y="520"/>
                  </a:lnTo>
                  <a:lnTo>
                    <a:pt x="1074" y="520"/>
                  </a:lnTo>
                  <a:lnTo>
                    <a:pt x="1070" y="520"/>
                  </a:lnTo>
                  <a:lnTo>
                    <a:pt x="1068" y="522"/>
                  </a:lnTo>
                  <a:lnTo>
                    <a:pt x="1068" y="522"/>
                  </a:lnTo>
                  <a:lnTo>
                    <a:pt x="1065" y="524"/>
                  </a:lnTo>
                  <a:lnTo>
                    <a:pt x="1063" y="525"/>
                  </a:lnTo>
                  <a:lnTo>
                    <a:pt x="1060" y="524"/>
                  </a:lnTo>
                  <a:lnTo>
                    <a:pt x="1058" y="522"/>
                  </a:lnTo>
                  <a:lnTo>
                    <a:pt x="1056" y="524"/>
                  </a:lnTo>
                  <a:lnTo>
                    <a:pt x="1057" y="521"/>
                  </a:lnTo>
                  <a:lnTo>
                    <a:pt x="1056" y="518"/>
                  </a:lnTo>
                  <a:lnTo>
                    <a:pt x="1052" y="519"/>
                  </a:lnTo>
                  <a:lnTo>
                    <a:pt x="1050" y="520"/>
                  </a:lnTo>
                  <a:lnTo>
                    <a:pt x="1048" y="521"/>
                  </a:lnTo>
                  <a:lnTo>
                    <a:pt x="1042" y="522"/>
                  </a:lnTo>
                  <a:lnTo>
                    <a:pt x="1039" y="521"/>
                  </a:lnTo>
                  <a:lnTo>
                    <a:pt x="1041" y="519"/>
                  </a:lnTo>
                  <a:lnTo>
                    <a:pt x="1044" y="518"/>
                  </a:lnTo>
                  <a:lnTo>
                    <a:pt x="1047" y="516"/>
                  </a:lnTo>
                  <a:lnTo>
                    <a:pt x="1050" y="513"/>
                  </a:lnTo>
                  <a:lnTo>
                    <a:pt x="1052" y="511"/>
                  </a:lnTo>
                  <a:lnTo>
                    <a:pt x="1055" y="509"/>
                  </a:lnTo>
                  <a:lnTo>
                    <a:pt x="1057" y="507"/>
                  </a:lnTo>
                  <a:lnTo>
                    <a:pt x="1060" y="506"/>
                  </a:lnTo>
                  <a:lnTo>
                    <a:pt x="1063" y="504"/>
                  </a:lnTo>
                  <a:lnTo>
                    <a:pt x="1068" y="503"/>
                  </a:lnTo>
                  <a:lnTo>
                    <a:pt x="1068" y="502"/>
                  </a:lnTo>
                  <a:lnTo>
                    <a:pt x="1072" y="501"/>
                  </a:lnTo>
                  <a:lnTo>
                    <a:pt x="1074" y="500"/>
                  </a:lnTo>
                  <a:lnTo>
                    <a:pt x="1076" y="498"/>
                  </a:lnTo>
                  <a:lnTo>
                    <a:pt x="1078" y="495"/>
                  </a:lnTo>
                  <a:lnTo>
                    <a:pt x="1078" y="493"/>
                  </a:lnTo>
                  <a:lnTo>
                    <a:pt x="1082" y="491"/>
                  </a:lnTo>
                  <a:lnTo>
                    <a:pt x="1084" y="492"/>
                  </a:lnTo>
                  <a:lnTo>
                    <a:pt x="1084" y="494"/>
                  </a:lnTo>
                  <a:lnTo>
                    <a:pt x="1086" y="492"/>
                  </a:lnTo>
                  <a:lnTo>
                    <a:pt x="1089" y="489"/>
                  </a:lnTo>
                  <a:lnTo>
                    <a:pt x="1089" y="486"/>
                  </a:lnTo>
                  <a:lnTo>
                    <a:pt x="1091" y="486"/>
                  </a:lnTo>
                  <a:lnTo>
                    <a:pt x="1090" y="489"/>
                  </a:lnTo>
                  <a:lnTo>
                    <a:pt x="1089" y="491"/>
                  </a:lnTo>
                  <a:lnTo>
                    <a:pt x="1091" y="489"/>
                  </a:lnTo>
                  <a:lnTo>
                    <a:pt x="1094" y="487"/>
                  </a:lnTo>
                  <a:lnTo>
                    <a:pt x="1093" y="485"/>
                  </a:lnTo>
                  <a:lnTo>
                    <a:pt x="1092" y="483"/>
                  </a:lnTo>
                  <a:lnTo>
                    <a:pt x="1093" y="483"/>
                  </a:lnTo>
                  <a:lnTo>
                    <a:pt x="1096" y="483"/>
                  </a:lnTo>
                  <a:lnTo>
                    <a:pt x="1099" y="484"/>
                  </a:lnTo>
                  <a:lnTo>
                    <a:pt x="1102" y="485"/>
                  </a:lnTo>
                  <a:lnTo>
                    <a:pt x="1104" y="486"/>
                  </a:lnTo>
                  <a:lnTo>
                    <a:pt x="1107" y="486"/>
                  </a:lnTo>
                  <a:lnTo>
                    <a:pt x="1110" y="485"/>
                  </a:lnTo>
                  <a:lnTo>
                    <a:pt x="1112" y="486"/>
                  </a:lnTo>
                  <a:lnTo>
                    <a:pt x="1116" y="487"/>
                  </a:lnTo>
                  <a:lnTo>
                    <a:pt x="1118" y="487"/>
                  </a:lnTo>
                  <a:lnTo>
                    <a:pt x="1119" y="491"/>
                  </a:lnTo>
                  <a:lnTo>
                    <a:pt x="1120" y="493"/>
                  </a:lnTo>
                  <a:lnTo>
                    <a:pt x="1121" y="495"/>
                  </a:lnTo>
                  <a:lnTo>
                    <a:pt x="1124" y="499"/>
                  </a:lnTo>
                  <a:lnTo>
                    <a:pt x="1126" y="501"/>
                  </a:lnTo>
                  <a:lnTo>
                    <a:pt x="1132" y="501"/>
                  </a:lnTo>
                  <a:lnTo>
                    <a:pt x="1134" y="501"/>
                  </a:lnTo>
                  <a:lnTo>
                    <a:pt x="1137" y="501"/>
                  </a:lnTo>
                  <a:lnTo>
                    <a:pt x="1137" y="503"/>
                  </a:lnTo>
                  <a:lnTo>
                    <a:pt x="1137" y="506"/>
                  </a:lnTo>
                  <a:lnTo>
                    <a:pt x="1137" y="507"/>
                  </a:lnTo>
                  <a:lnTo>
                    <a:pt x="1140" y="509"/>
                  </a:lnTo>
                  <a:lnTo>
                    <a:pt x="1142" y="511"/>
                  </a:lnTo>
                  <a:lnTo>
                    <a:pt x="1141" y="515"/>
                  </a:lnTo>
                  <a:lnTo>
                    <a:pt x="1140" y="517"/>
                  </a:lnTo>
                  <a:lnTo>
                    <a:pt x="1142" y="518"/>
                  </a:lnTo>
                  <a:lnTo>
                    <a:pt x="1145" y="519"/>
                  </a:lnTo>
                  <a:lnTo>
                    <a:pt x="1143" y="521"/>
                  </a:lnTo>
                  <a:lnTo>
                    <a:pt x="1143" y="525"/>
                  </a:lnTo>
                  <a:lnTo>
                    <a:pt x="1145" y="526"/>
                  </a:lnTo>
                  <a:lnTo>
                    <a:pt x="1145" y="526"/>
                  </a:lnTo>
                  <a:lnTo>
                    <a:pt x="1149" y="525"/>
                  </a:lnTo>
                  <a:lnTo>
                    <a:pt x="1149" y="528"/>
                  </a:lnTo>
                  <a:lnTo>
                    <a:pt x="1154" y="529"/>
                  </a:lnTo>
                  <a:lnTo>
                    <a:pt x="1155" y="529"/>
                  </a:lnTo>
                  <a:lnTo>
                    <a:pt x="1159" y="530"/>
                  </a:lnTo>
                  <a:lnTo>
                    <a:pt x="1161" y="532"/>
                  </a:lnTo>
                  <a:lnTo>
                    <a:pt x="1164" y="532"/>
                  </a:lnTo>
                  <a:lnTo>
                    <a:pt x="1167" y="532"/>
                  </a:lnTo>
                  <a:lnTo>
                    <a:pt x="1169" y="532"/>
                  </a:lnTo>
                  <a:lnTo>
                    <a:pt x="1172" y="532"/>
                  </a:lnTo>
                  <a:lnTo>
                    <a:pt x="1175" y="532"/>
                  </a:lnTo>
                  <a:lnTo>
                    <a:pt x="1180" y="533"/>
                  </a:lnTo>
                  <a:lnTo>
                    <a:pt x="1183" y="533"/>
                  </a:lnTo>
                  <a:lnTo>
                    <a:pt x="1184" y="535"/>
                  </a:lnTo>
                  <a:lnTo>
                    <a:pt x="1186" y="535"/>
                  </a:lnTo>
                  <a:lnTo>
                    <a:pt x="1189" y="535"/>
                  </a:lnTo>
                  <a:lnTo>
                    <a:pt x="1192" y="535"/>
                  </a:lnTo>
                  <a:lnTo>
                    <a:pt x="1195" y="536"/>
                  </a:lnTo>
                  <a:lnTo>
                    <a:pt x="1196" y="538"/>
                  </a:lnTo>
                  <a:lnTo>
                    <a:pt x="1198" y="541"/>
                  </a:lnTo>
                  <a:lnTo>
                    <a:pt x="1200" y="544"/>
                  </a:lnTo>
                  <a:lnTo>
                    <a:pt x="1203" y="545"/>
                  </a:lnTo>
                  <a:lnTo>
                    <a:pt x="1203" y="545"/>
                  </a:lnTo>
                  <a:lnTo>
                    <a:pt x="1205" y="549"/>
                  </a:lnTo>
                  <a:lnTo>
                    <a:pt x="1205" y="549"/>
                  </a:lnTo>
                  <a:lnTo>
                    <a:pt x="1205" y="551"/>
                  </a:lnTo>
                  <a:lnTo>
                    <a:pt x="1206" y="552"/>
                  </a:lnTo>
                  <a:lnTo>
                    <a:pt x="1209" y="554"/>
                  </a:lnTo>
                  <a:lnTo>
                    <a:pt x="1210" y="554"/>
                  </a:lnTo>
                  <a:lnTo>
                    <a:pt x="1209" y="554"/>
                  </a:lnTo>
                  <a:lnTo>
                    <a:pt x="1209" y="554"/>
                  </a:lnTo>
                  <a:lnTo>
                    <a:pt x="1206" y="554"/>
                  </a:lnTo>
                  <a:lnTo>
                    <a:pt x="1205" y="554"/>
                  </a:lnTo>
                  <a:lnTo>
                    <a:pt x="1205" y="559"/>
                  </a:lnTo>
                  <a:lnTo>
                    <a:pt x="1203" y="560"/>
                  </a:lnTo>
                  <a:lnTo>
                    <a:pt x="1200" y="559"/>
                  </a:lnTo>
                  <a:lnTo>
                    <a:pt x="1197" y="558"/>
                  </a:lnTo>
                  <a:lnTo>
                    <a:pt x="1195" y="556"/>
                  </a:lnTo>
                  <a:lnTo>
                    <a:pt x="1192" y="554"/>
                  </a:lnTo>
                  <a:lnTo>
                    <a:pt x="1192" y="552"/>
                  </a:lnTo>
                  <a:lnTo>
                    <a:pt x="1189" y="552"/>
                  </a:lnTo>
                  <a:lnTo>
                    <a:pt x="1189" y="552"/>
                  </a:lnTo>
                  <a:lnTo>
                    <a:pt x="1188" y="552"/>
                  </a:lnTo>
                  <a:lnTo>
                    <a:pt x="1187" y="549"/>
                  </a:lnTo>
                  <a:lnTo>
                    <a:pt x="1184" y="547"/>
                  </a:lnTo>
                  <a:lnTo>
                    <a:pt x="1181" y="547"/>
                  </a:lnTo>
                  <a:lnTo>
                    <a:pt x="1185" y="550"/>
                  </a:lnTo>
                  <a:lnTo>
                    <a:pt x="1186" y="552"/>
                  </a:lnTo>
                  <a:lnTo>
                    <a:pt x="1186" y="553"/>
                  </a:lnTo>
                  <a:lnTo>
                    <a:pt x="1187" y="555"/>
                  </a:lnTo>
                  <a:lnTo>
                    <a:pt x="1187" y="559"/>
                  </a:lnTo>
                  <a:lnTo>
                    <a:pt x="1185" y="561"/>
                  </a:lnTo>
                  <a:lnTo>
                    <a:pt x="1184" y="563"/>
                  </a:lnTo>
                  <a:lnTo>
                    <a:pt x="1181" y="567"/>
                  </a:lnTo>
                  <a:lnTo>
                    <a:pt x="1181" y="569"/>
                  </a:lnTo>
                  <a:lnTo>
                    <a:pt x="1181" y="577"/>
                  </a:lnTo>
                  <a:lnTo>
                    <a:pt x="1180" y="580"/>
                  </a:lnTo>
                  <a:lnTo>
                    <a:pt x="1177" y="581"/>
                  </a:lnTo>
                  <a:lnTo>
                    <a:pt x="1175" y="584"/>
                  </a:lnTo>
                  <a:lnTo>
                    <a:pt x="1172" y="585"/>
                  </a:lnTo>
                  <a:lnTo>
                    <a:pt x="1171" y="584"/>
                  </a:lnTo>
                  <a:lnTo>
                    <a:pt x="1171" y="581"/>
                  </a:lnTo>
                  <a:lnTo>
                    <a:pt x="1170" y="579"/>
                  </a:lnTo>
                  <a:lnTo>
                    <a:pt x="1169" y="573"/>
                  </a:lnTo>
                  <a:lnTo>
                    <a:pt x="1169" y="571"/>
                  </a:lnTo>
                  <a:lnTo>
                    <a:pt x="1167" y="568"/>
                  </a:lnTo>
                  <a:lnTo>
                    <a:pt x="1164" y="568"/>
                  </a:lnTo>
                  <a:lnTo>
                    <a:pt x="1161" y="569"/>
                  </a:lnTo>
                  <a:lnTo>
                    <a:pt x="1159" y="570"/>
                  </a:lnTo>
                  <a:lnTo>
                    <a:pt x="1158" y="572"/>
                  </a:lnTo>
                  <a:lnTo>
                    <a:pt x="1155" y="575"/>
                  </a:lnTo>
                  <a:lnTo>
                    <a:pt x="1152" y="575"/>
                  </a:lnTo>
                  <a:close/>
                  <a:moveTo>
                    <a:pt x="1218" y="589"/>
                  </a:moveTo>
                  <a:lnTo>
                    <a:pt x="1215" y="593"/>
                  </a:lnTo>
                  <a:lnTo>
                    <a:pt x="1213" y="594"/>
                  </a:lnTo>
                  <a:lnTo>
                    <a:pt x="1210" y="596"/>
                  </a:lnTo>
                  <a:lnTo>
                    <a:pt x="1209" y="597"/>
                  </a:lnTo>
                  <a:lnTo>
                    <a:pt x="1205" y="598"/>
                  </a:lnTo>
                  <a:lnTo>
                    <a:pt x="1205" y="598"/>
                  </a:lnTo>
                  <a:lnTo>
                    <a:pt x="1204" y="600"/>
                  </a:lnTo>
                  <a:lnTo>
                    <a:pt x="1201" y="601"/>
                  </a:lnTo>
                  <a:lnTo>
                    <a:pt x="1198" y="602"/>
                  </a:lnTo>
                  <a:lnTo>
                    <a:pt x="1198" y="602"/>
                  </a:lnTo>
                  <a:lnTo>
                    <a:pt x="1193" y="604"/>
                  </a:lnTo>
                  <a:lnTo>
                    <a:pt x="1191" y="605"/>
                  </a:lnTo>
                  <a:lnTo>
                    <a:pt x="1187" y="606"/>
                  </a:lnTo>
                  <a:lnTo>
                    <a:pt x="1185" y="607"/>
                  </a:lnTo>
                  <a:lnTo>
                    <a:pt x="1181" y="610"/>
                  </a:lnTo>
                  <a:lnTo>
                    <a:pt x="1177" y="610"/>
                  </a:lnTo>
                  <a:lnTo>
                    <a:pt x="1174" y="611"/>
                  </a:lnTo>
                  <a:lnTo>
                    <a:pt x="1171" y="611"/>
                  </a:lnTo>
                  <a:lnTo>
                    <a:pt x="1168" y="610"/>
                  </a:lnTo>
                  <a:lnTo>
                    <a:pt x="1166" y="611"/>
                  </a:lnTo>
                  <a:lnTo>
                    <a:pt x="1168" y="610"/>
                  </a:lnTo>
                  <a:lnTo>
                    <a:pt x="1166" y="610"/>
                  </a:lnTo>
                  <a:lnTo>
                    <a:pt x="1160" y="606"/>
                  </a:lnTo>
                  <a:lnTo>
                    <a:pt x="1158" y="606"/>
                  </a:lnTo>
                  <a:lnTo>
                    <a:pt x="1158" y="606"/>
                  </a:lnTo>
                  <a:lnTo>
                    <a:pt x="1160" y="603"/>
                  </a:lnTo>
                  <a:lnTo>
                    <a:pt x="1161" y="601"/>
                  </a:lnTo>
                  <a:lnTo>
                    <a:pt x="1162" y="597"/>
                  </a:lnTo>
                  <a:lnTo>
                    <a:pt x="1163" y="596"/>
                  </a:lnTo>
                  <a:lnTo>
                    <a:pt x="1166" y="594"/>
                  </a:lnTo>
                  <a:lnTo>
                    <a:pt x="1167" y="592"/>
                  </a:lnTo>
                  <a:lnTo>
                    <a:pt x="1169" y="592"/>
                  </a:lnTo>
                  <a:lnTo>
                    <a:pt x="1169" y="593"/>
                  </a:lnTo>
                  <a:lnTo>
                    <a:pt x="1170" y="593"/>
                  </a:lnTo>
                  <a:lnTo>
                    <a:pt x="1172" y="596"/>
                  </a:lnTo>
                  <a:lnTo>
                    <a:pt x="1169" y="596"/>
                  </a:lnTo>
                  <a:lnTo>
                    <a:pt x="1167" y="596"/>
                  </a:lnTo>
                  <a:lnTo>
                    <a:pt x="1163" y="596"/>
                  </a:lnTo>
                  <a:lnTo>
                    <a:pt x="1163" y="596"/>
                  </a:lnTo>
                  <a:lnTo>
                    <a:pt x="1162" y="600"/>
                  </a:lnTo>
                  <a:lnTo>
                    <a:pt x="1166" y="602"/>
                  </a:lnTo>
                  <a:lnTo>
                    <a:pt x="1168" y="601"/>
                  </a:lnTo>
                  <a:lnTo>
                    <a:pt x="1170" y="602"/>
                  </a:lnTo>
                  <a:lnTo>
                    <a:pt x="1172" y="600"/>
                  </a:lnTo>
                  <a:lnTo>
                    <a:pt x="1175" y="598"/>
                  </a:lnTo>
                  <a:lnTo>
                    <a:pt x="1178" y="597"/>
                  </a:lnTo>
                  <a:lnTo>
                    <a:pt x="1180" y="595"/>
                  </a:lnTo>
                  <a:lnTo>
                    <a:pt x="1183" y="593"/>
                  </a:lnTo>
                  <a:lnTo>
                    <a:pt x="1186" y="592"/>
                  </a:lnTo>
                  <a:lnTo>
                    <a:pt x="1188" y="590"/>
                  </a:lnTo>
                  <a:lnTo>
                    <a:pt x="1191" y="590"/>
                  </a:lnTo>
                  <a:lnTo>
                    <a:pt x="1194" y="590"/>
                  </a:lnTo>
                  <a:lnTo>
                    <a:pt x="1196" y="592"/>
                  </a:lnTo>
                  <a:lnTo>
                    <a:pt x="1200" y="592"/>
                  </a:lnTo>
                  <a:lnTo>
                    <a:pt x="1202" y="593"/>
                  </a:lnTo>
                  <a:lnTo>
                    <a:pt x="1200" y="592"/>
                  </a:lnTo>
                  <a:lnTo>
                    <a:pt x="1202" y="589"/>
                  </a:lnTo>
                  <a:lnTo>
                    <a:pt x="1204" y="588"/>
                  </a:lnTo>
                  <a:lnTo>
                    <a:pt x="1205" y="588"/>
                  </a:lnTo>
                  <a:lnTo>
                    <a:pt x="1207" y="588"/>
                  </a:lnTo>
                  <a:lnTo>
                    <a:pt x="1211" y="587"/>
                  </a:lnTo>
                  <a:lnTo>
                    <a:pt x="1211" y="587"/>
                  </a:lnTo>
                  <a:lnTo>
                    <a:pt x="1213" y="587"/>
                  </a:lnTo>
                  <a:lnTo>
                    <a:pt x="1215" y="587"/>
                  </a:lnTo>
                  <a:lnTo>
                    <a:pt x="1218" y="587"/>
                  </a:lnTo>
                  <a:lnTo>
                    <a:pt x="1220" y="586"/>
                  </a:lnTo>
                  <a:lnTo>
                    <a:pt x="1218" y="584"/>
                  </a:lnTo>
                  <a:lnTo>
                    <a:pt x="1218" y="584"/>
                  </a:lnTo>
                  <a:lnTo>
                    <a:pt x="1220" y="585"/>
                  </a:lnTo>
                  <a:lnTo>
                    <a:pt x="1220" y="587"/>
                  </a:lnTo>
                  <a:lnTo>
                    <a:pt x="1218" y="589"/>
                  </a:lnTo>
                  <a:close/>
                  <a:moveTo>
                    <a:pt x="1261" y="563"/>
                  </a:moveTo>
                  <a:lnTo>
                    <a:pt x="1255" y="567"/>
                  </a:lnTo>
                  <a:lnTo>
                    <a:pt x="1256" y="569"/>
                  </a:lnTo>
                  <a:lnTo>
                    <a:pt x="1258" y="568"/>
                  </a:lnTo>
                  <a:lnTo>
                    <a:pt x="1260" y="568"/>
                  </a:lnTo>
                  <a:lnTo>
                    <a:pt x="1256" y="570"/>
                  </a:lnTo>
                  <a:lnTo>
                    <a:pt x="1257" y="573"/>
                  </a:lnTo>
                  <a:lnTo>
                    <a:pt x="1256" y="576"/>
                  </a:lnTo>
                  <a:lnTo>
                    <a:pt x="1254" y="576"/>
                  </a:lnTo>
                  <a:lnTo>
                    <a:pt x="1253" y="577"/>
                  </a:lnTo>
                  <a:lnTo>
                    <a:pt x="1251" y="579"/>
                  </a:lnTo>
                  <a:lnTo>
                    <a:pt x="1247" y="580"/>
                  </a:lnTo>
                  <a:lnTo>
                    <a:pt x="1245" y="580"/>
                  </a:lnTo>
                  <a:lnTo>
                    <a:pt x="1243" y="580"/>
                  </a:lnTo>
                  <a:lnTo>
                    <a:pt x="1239" y="580"/>
                  </a:lnTo>
                  <a:lnTo>
                    <a:pt x="1237" y="580"/>
                  </a:lnTo>
                  <a:lnTo>
                    <a:pt x="1231" y="579"/>
                  </a:lnTo>
                  <a:lnTo>
                    <a:pt x="1226" y="579"/>
                  </a:lnTo>
                  <a:lnTo>
                    <a:pt x="1223" y="579"/>
                  </a:lnTo>
                  <a:lnTo>
                    <a:pt x="1220" y="580"/>
                  </a:lnTo>
                  <a:lnTo>
                    <a:pt x="1218" y="580"/>
                  </a:lnTo>
                  <a:lnTo>
                    <a:pt x="1215" y="581"/>
                  </a:lnTo>
                  <a:lnTo>
                    <a:pt x="1212" y="581"/>
                  </a:lnTo>
                  <a:lnTo>
                    <a:pt x="1210" y="581"/>
                  </a:lnTo>
                  <a:lnTo>
                    <a:pt x="1210" y="578"/>
                  </a:lnTo>
                  <a:lnTo>
                    <a:pt x="1211" y="576"/>
                  </a:lnTo>
                  <a:lnTo>
                    <a:pt x="1219" y="571"/>
                  </a:lnTo>
                  <a:lnTo>
                    <a:pt x="1221" y="570"/>
                  </a:lnTo>
                  <a:lnTo>
                    <a:pt x="1224" y="570"/>
                  </a:lnTo>
                  <a:lnTo>
                    <a:pt x="1227" y="570"/>
                  </a:lnTo>
                  <a:lnTo>
                    <a:pt x="1229" y="569"/>
                  </a:lnTo>
                  <a:lnTo>
                    <a:pt x="1232" y="569"/>
                  </a:lnTo>
                  <a:lnTo>
                    <a:pt x="1235" y="568"/>
                  </a:lnTo>
                  <a:lnTo>
                    <a:pt x="1238" y="568"/>
                  </a:lnTo>
                  <a:lnTo>
                    <a:pt x="1240" y="569"/>
                  </a:lnTo>
                  <a:lnTo>
                    <a:pt x="1243" y="570"/>
                  </a:lnTo>
                  <a:lnTo>
                    <a:pt x="1246" y="570"/>
                  </a:lnTo>
                  <a:lnTo>
                    <a:pt x="1247" y="568"/>
                  </a:lnTo>
                  <a:lnTo>
                    <a:pt x="1245" y="568"/>
                  </a:lnTo>
                  <a:lnTo>
                    <a:pt x="1243" y="567"/>
                  </a:lnTo>
                  <a:lnTo>
                    <a:pt x="1238" y="567"/>
                  </a:lnTo>
                  <a:lnTo>
                    <a:pt x="1241" y="566"/>
                  </a:lnTo>
                  <a:lnTo>
                    <a:pt x="1246" y="566"/>
                  </a:lnTo>
                  <a:lnTo>
                    <a:pt x="1249" y="566"/>
                  </a:lnTo>
                  <a:lnTo>
                    <a:pt x="1252" y="564"/>
                  </a:lnTo>
                  <a:lnTo>
                    <a:pt x="1255" y="563"/>
                  </a:lnTo>
                  <a:lnTo>
                    <a:pt x="1257" y="563"/>
                  </a:lnTo>
                  <a:lnTo>
                    <a:pt x="1260" y="562"/>
                  </a:lnTo>
                  <a:lnTo>
                    <a:pt x="1263" y="560"/>
                  </a:lnTo>
                  <a:lnTo>
                    <a:pt x="1263" y="560"/>
                  </a:lnTo>
                  <a:lnTo>
                    <a:pt x="1261" y="5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0" name="Freeform 220">
              <a:extLst>
                <a:ext uri="{FF2B5EF4-FFF2-40B4-BE49-F238E27FC236}">
                  <a16:creationId xmlns:a16="http://schemas.microsoft.com/office/drawing/2014/main" id="{9642CEA9-EB30-4925-84F8-17AACF9CF19E}"/>
                </a:ext>
              </a:extLst>
            </p:cNvPr>
            <p:cNvSpPr>
              <a:spLocks noEditPoints="1"/>
            </p:cNvSpPr>
            <p:nvPr/>
          </p:nvSpPr>
          <p:spPr bwMode="auto">
            <a:xfrm>
              <a:off x="3746500" y="2101850"/>
              <a:ext cx="4141787" cy="160338"/>
            </a:xfrm>
            <a:custGeom>
              <a:avLst/>
              <a:gdLst>
                <a:gd name="T0" fmla="*/ 103 w 2609"/>
                <a:gd name="T1" fmla="*/ 28 h 101"/>
                <a:gd name="T2" fmla="*/ 111 w 2609"/>
                <a:gd name="T3" fmla="*/ 41 h 101"/>
                <a:gd name="T4" fmla="*/ 110 w 2609"/>
                <a:gd name="T5" fmla="*/ 32 h 101"/>
                <a:gd name="T6" fmla="*/ 125 w 2609"/>
                <a:gd name="T7" fmla="*/ 36 h 101"/>
                <a:gd name="T8" fmla="*/ 128 w 2609"/>
                <a:gd name="T9" fmla="*/ 42 h 101"/>
                <a:gd name="T10" fmla="*/ 134 w 2609"/>
                <a:gd name="T11" fmla="*/ 49 h 101"/>
                <a:gd name="T12" fmla="*/ 133 w 2609"/>
                <a:gd name="T13" fmla="*/ 57 h 101"/>
                <a:gd name="T14" fmla="*/ 147 w 2609"/>
                <a:gd name="T15" fmla="*/ 61 h 101"/>
                <a:gd name="T16" fmla="*/ 160 w 2609"/>
                <a:gd name="T17" fmla="*/ 64 h 101"/>
                <a:gd name="T18" fmla="*/ 143 w 2609"/>
                <a:gd name="T19" fmla="*/ 72 h 101"/>
                <a:gd name="T20" fmla="*/ 132 w 2609"/>
                <a:gd name="T21" fmla="*/ 79 h 101"/>
                <a:gd name="T22" fmla="*/ 120 w 2609"/>
                <a:gd name="T23" fmla="*/ 78 h 101"/>
                <a:gd name="T24" fmla="*/ 117 w 2609"/>
                <a:gd name="T25" fmla="*/ 83 h 101"/>
                <a:gd name="T26" fmla="*/ 113 w 2609"/>
                <a:gd name="T27" fmla="*/ 87 h 101"/>
                <a:gd name="T28" fmla="*/ 105 w 2609"/>
                <a:gd name="T29" fmla="*/ 100 h 101"/>
                <a:gd name="T30" fmla="*/ 93 w 2609"/>
                <a:gd name="T31" fmla="*/ 93 h 101"/>
                <a:gd name="T32" fmla="*/ 88 w 2609"/>
                <a:gd name="T33" fmla="*/ 95 h 101"/>
                <a:gd name="T34" fmla="*/ 85 w 2609"/>
                <a:gd name="T35" fmla="*/ 101 h 101"/>
                <a:gd name="T36" fmla="*/ 66 w 2609"/>
                <a:gd name="T37" fmla="*/ 98 h 101"/>
                <a:gd name="T38" fmla="*/ 53 w 2609"/>
                <a:gd name="T39" fmla="*/ 91 h 101"/>
                <a:gd name="T40" fmla="*/ 70 w 2609"/>
                <a:gd name="T41" fmla="*/ 88 h 101"/>
                <a:gd name="T42" fmla="*/ 53 w 2609"/>
                <a:gd name="T43" fmla="*/ 86 h 101"/>
                <a:gd name="T44" fmla="*/ 45 w 2609"/>
                <a:gd name="T45" fmla="*/ 83 h 101"/>
                <a:gd name="T46" fmla="*/ 39 w 2609"/>
                <a:gd name="T47" fmla="*/ 80 h 101"/>
                <a:gd name="T48" fmla="*/ 46 w 2609"/>
                <a:gd name="T49" fmla="*/ 70 h 101"/>
                <a:gd name="T50" fmla="*/ 63 w 2609"/>
                <a:gd name="T51" fmla="*/ 70 h 101"/>
                <a:gd name="T52" fmla="*/ 79 w 2609"/>
                <a:gd name="T53" fmla="*/ 69 h 101"/>
                <a:gd name="T54" fmla="*/ 71 w 2609"/>
                <a:gd name="T55" fmla="*/ 68 h 101"/>
                <a:gd name="T56" fmla="*/ 59 w 2609"/>
                <a:gd name="T57" fmla="*/ 66 h 101"/>
                <a:gd name="T58" fmla="*/ 76 w 2609"/>
                <a:gd name="T59" fmla="*/ 63 h 101"/>
                <a:gd name="T60" fmla="*/ 58 w 2609"/>
                <a:gd name="T61" fmla="*/ 62 h 101"/>
                <a:gd name="T62" fmla="*/ 49 w 2609"/>
                <a:gd name="T63" fmla="*/ 64 h 101"/>
                <a:gd name="T64" fmla="*/ 36 w 2609"/>
                <a:gd name="T65" fmla="*/ 66 h 101"/>
                <a:gd name="T66" fmla="*/ 23 w 2609"/>
                <a:gd name="T67" fmla="*/ 67 h 101"/>
                <a:gd name="T68" fmla="*/ 17 w 2609"/>
                <a:gd name="T69" fmla="*/ 58 h 101"/>
                <a:gd name="T70" fmla="*/ 30 w 2609"/>
                <a:gd name="T71" fmla="*/ 52 h 101"/>
                <a:gd name="T72" fmla="*/ 13 w 2609"/>
                <a:gd name="T73" fmla="*/ 55 h 101"/>
                <a:gd name="T74" fmla="*/ 4 w 2609"/>
                <a:gd name="T75" fmla="*/ 46 h 101"/>
                <a:gd name="T76" fmla="*/ 6 w 2609"/>
                <a:gd name="T77" fmla="*/ 41 h 101"/>
                <a:gd name="T78" fmla="*/ 23 w 2609"/>
                <a:gd name="T79" fmla="*/ 43 h 101"/>
                <a:gd name="T80" fmla="*/ 29 w 2609"/>
                <a:gd name="T81" fmla="*/ 40 h 101"/>
                <a:gd name="T82" fmla="*/ 23 w 2609"/>
                <a:gd name="T83" fmla="*/ 40 h 101"/>
                <a:gd name="T84" fmla="*/ 17 w 2609"/>
                <a:gd name="T85" fmla="*/ 37 h 101"/>
                <a:gd name="T86" fmla="*/ 0 w 2609"/>
                <a:gd name="T87" fmla="*/ 34 h 101"/>
                <a:gd name="T88" fmla="*/ 17 w 2609"/>
                <a:gd name="T89" fmla="*/ 33 h 101"/>
                <a:gd name="T90" fmla="*/ 19 w 2609"/>
                <a:gd name="T91" fmla="*/ 26 h 101"/>
                <a:gd name="T92" fmla="*/ 38 w 2609"/>
                <a:gd name="T93" fmla="*/ 26 h 101"/>
                <a:gd name="T94" fmla="*/ 37 w 2609"/>
                <a:gd name="T95" fmla="*/ 21 h 101"/>
                <a:gd name="T96" fmla="*/ 21 w 2609"/>
                <a:gd name="T97" fmla="*/ 19 h 101"/>
                <a:gd name="T98" fmla="*/ 31 w 2609"/>
                <a:gd name="T99" fmla="*/ 14 h 101"/>
                <a:gd name="T100" fmla="*/ 41 w 2609"/>
                <a:gd name="T101" fmla="*/ 9 h 101"/>
                <a:gd name="T102" fmla="*/ 43 w 2609"/>
                <a:gd name="T103" fmla="*/ 6 h 101"/>
                <a:gd name="T104" fmla="*/ 36 w 2609"/>
                <a:gd name="T105" fmla="*/ 1 h 101"/>
                <a:gd name="T106" fmla="*/ 56 w 2609"/>
                <a:gd name="T107" fmla="*/ 3 h 101"/>
                <a:gd name="T108" fmla="*/ 71 w 2609"/>
                <a:gd name="T109" fmla="*/ 14 h 101"/>
                <a:gd name="T110" fmla="*/ 83 w 2609"/>
                <a:gd name="T111" fmla="*/ 26 h 101"/>
                <a:gd name="T112" fmla="*/ 2573 w 2609"/>
                <a:gd name="T113" fmla="*/ 43 h 101"/>
                <a:gd name="T114" fmla="*/ 2584 w 2609"/>
                <a:gd name="T115" fmla="*/ 43 h 101"/>
                <a:gd name="T116" fmla="*/ 2601 w 2609"/>
                <a:gd name="T117" fmla="*/ 44 h 101"/>
                <a:gd name="T118" fmla="*/ 2601 w 2609"/>
                <a:gd name="T119" fmla="*/ 52 h 101"/>
                <a:gd name="T120" fmla="*/ 2583 w 2609"/>
                <a:gd name="T121" fmla="*/ 53 h 101"/>
                <a:gd name="T122" fmla="*/ 2577 w 2609"/>
                <a:gd name="T123"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9" h="101">
                  <a:moveTo>
                    <a:pt x="92" y="27"/>
                  </a:moveTo>
                  <a:lnTo>
                    <a:pt x="92" y="27"/>
                  </a:lnTo>
                  <a:lnTo>
                    <a:pt x="96" y="27"/>
                  </a:lnTo>
                  <a:lnTo>
                    <a:pt x="98" y="27"/>
                  </a:lnTo>
                  <a:lnTo>
                    <a:pt x="101" y="27"/>
                  </a:lnTo>
                  <a:lnTo>
                    <a:pt x="103" y="28"/>
                  </a:lnTo>
                  <a:lnTo>
                    <a:pt x="102" y="32"/>
                  </a:lnTo>
                  <a:lnTo>
                    <a:pt x="103" y="34"/>
                  </a:lnTo>
                  <a:lnTo>
                    <a:pt x="103" y="37"/>
                  </a:lnTo>
                  <a:lnTo>
                    <a:pt x="106" y="38"/>
                  </a:lnTo>
                  <a:lnTo>
                    <a:pt x="109" y="40"/>
                  </a:lnTo>
                  <a:lnTo>
                    <a:pt x="111" y="41"/>
                  </a:lnTo>
                  <a:lnTo>
                    <a:pt x="115" y="40"/>
                  </a:lnTo>
                  <a:lnTo>
                    <a:pt x="117" y="41"/>
                  </a:lnTo>
                  <a:lnTo>
                    <a:pt x="116" y="38"/>
                  </a:lnTo>
                  <a:lnTo>
                    <a:pt x="113" y="37"/>
                  </a:lnTo>
                  <a:lnTo>
                    <a:pt x="110" y="35"/>
                  </a:lnTo>
                  <a:lnTo>
                    <a:pt x="110" y="32"/>
                  </a:lnTo>
                  <a:lnTo>
                    <a:pt x="114" y="31"/>
                  </a:lnTo>
                  <a:lnTo>
                    <a:pt x="116" y="31"/>
                  </a:lnTo>
                  <a:lnTo>
                    <a:pt x="119" y="31"/>
                  </a:lnTo>
                  <a:lnTo>
                    <a:pt x="122" y="32"/>
                  </a:lnTo>
                  <a:lnTo>
                    <a:pt x="125" y="33"/>
                  </a:lnTo>
                  <a:lnTo>
                    <a:pt x="125" y="36"/>
                  </a:lnTo>
                  <a:lnTo>
                    <a:pt x="125" y="38"/>
                  </a:lnTo>
                  <a:lnTo>
                    <a:pt x="123" y="40"/>
                  </a:lnTo>
                  <a:lnTo>
                    <a:pt x="119" y="41"/>
                  </a:lnTo>
                  <a:lnTo>
                    <a:pt x="123" y="42"/>
                  </a:lnTo>
                  <a:lnTo>
                    <a:pt x="125" y="42"/>
                  </a:lnTo>
                  <a:lnTo>
                    <a:pt x="128" y="42"/>
                  </a:lnTo>
                  <a:lnTo>
                    <a:pt x="131" y="44"/>
                  </a:lnTo>
                  <a:lnTo>
                    <a:pt x="133" y="46"/>
                  </a:lnTo>
                  <a:lnTo>
                    <a:pt x="131" y="46"/>
                  </a:lnTo>
                  <a:lnTo>
                    <a:pt x="127" y="50"/>
                  </a:lnTo>
                  <a:lnTo>
                    <a:pt x="131" y="49"/>
                  </a:lnTo>
                  <a:lnTo>
                    <a:pt x="134" y="49"/>
                  </a:lnTo>
                  <a:lnTo>
                    <a:pt x="132" y="51"/>
                  </a:lnTo>
                  <a:lnTo>
                    <a:pt x="132" y="53"/>
                  </a:lnTo>
                  <a:lnTo>
                    <a:pt x="130" y="57"/>
                  </a:lnTo>
                  <a:lnTo>
                    <a:pt x="127" y="59"/>
                  </a:lnTo>
                  <a:lnTo>
                    <a:pt x="131" y="59"/>
                  </a:lnTo>
                  <a:lnTo>
                    <a:pt x="133" y="57"/>
                  </a:lnTo>
                  <a:lnTo>
                    <a:pt x="136" y="57"/>
                  </a:lnTo>
                  <a:lnTo>
                    <a:pt x="139" y="55"/>
                  </a:lnTo>
                  <a:lnTo>
                    <a:pt x="142" y="55"/>
                  </a:lnTo>
                  <a:lnTo>
                    <a:pt x="144" y="57"/>
                  </a:lnTo>
                  <a:lnTo>
                    <a:pt x="145" y="59"/>
                  </a:lnTo>
                  <a:lnTo>
                    <a:pt x="147" y="61"/>
                  </a:lnTo>
                  <a:lnTo>
                    <a:pt x="149" y="59"/>
                  </a:lnTo>
                  <a:lnTo>
                    <a:pt x="150" y="57"/>
                  </a:lnTo>
                  <a:lnTo>
                    <a:pt x="153" y="58"/>
                  </a:lnTo>
                  <a:lnTo>
                    <a:pt x="154" y="60"/>
                  </a:lnTo>
                  <a:lnTo>
                    <a:pt x="158" y="63"/>
                  </a:lnTo>
                  <a:lnTo>
                    <a:pt x="160" y="64"/>
                  </a:lnTo>
                  <a:lnTo>
                    <a:pt x="161" y="67"/>
                  </a:lnTo>
                  <a:lnTo>
                    <a:pt x="158" y="68"/>
                  </a:lnTo>
                  <a:lnTo>
                    <a:pt x="156" y="69"/>
                  </a:lnTo>
                  <a:lnTo>
                    <a:pt x="152" y="70"/>
                  </a:lnTo>
                  <a:lnTo>
                    <a:pt x="150" y="71"/>
                  </a:lnTo>
                  <a:lnTo>
                    <a:pt x="143" y="72"/>
                  </a:lnTo>
                  <a:lnTo>
                    <a:pt x="141" y="74"/>
                  </a:lnTo>
                  <a:lnTo>
                    <a:pt x="139" y="76"/>
                  </a:lnTo>
                  <a:lnTo>
                    <a:pt x="136" y="76"/>
                  </a:lnTo>
                  <a:lnTo>
                    <a:pt x="133" y="74"/>
                  </a:lnTo>
                  <a:lnTo>
                    <a:pt x="134" y="77"/>
                  </a:lnTo>
                  <a:lnTo>
                    <a:pt x="132" y="79"/>
                  </a:lnTo>
                  <a:lnTo>
                    <a:pt x="128" y="81"/>
                  </a:lnTo>
                  <a:lnTo>
                    <a:pt x="126" y="84"/>
                  </a:lnTo>
                  <a:lnTo>
                    <a:pt x="124" y="86"/>
                  </a:lnTo>
                  <a:lnTo>
                    <a:pt x="122" y="84"/>
                  </a:lnTo>
                  <a:lnTo>
                    <a:pt x="119" y="81"/>
                  </a:lnTo>
                  <a:lnTo>
                    <a:pt x="120" y="78"/>
                  </a:lnTo>
                  <a:lnTo>
                    <a:pt x="120" y="76"/>
                  </a:lnTo>
                  <a:lnTo>
                    <a:pt x="123" y="74"/>
                  </a:lnTo>
                  <a:lnTo>
                    <a:pt x="119" y="75"/>
                  </a:lnTo>
                  <a:lnTo>
                    <a:pt x="117" y="77"/>
                  </a:lnTo>
                  <a:lnTo>
                    <a:pt x="116" y="80"/>
                  </a:lnTo>
                  <a:lnTo>
                    <a:pt x="117" y="83"/>
                  </a:lnTo>
                  <a:lnTo>
                    <a:pt x="117" y="85"/>
                  </a:lnTo>
                  <a:lnTo>
                    <a:pt x="120" y="86"/>
                  </a:lnTo>
                  <a:lnTo>
                    <a:pt x="120" y="89"/>
                  </a:lnTo>
                  <a:lnTo>
                    <a:pt x="118" y="91"/>
                  </a:lnTo>
                  <a:lnTo>
                    <a:pt x="115" y="91"/>
                  </a:lnTo>
                  <a:lnTo>
                    <a:pt x="113" y="87"/>
                  </a:lnTo>
                  <a:lnTo>
                    <a:pt x="109" y="89"/>
                  </a:lnTo>
                  <a:lnTo>
                    <a:pt x="113" y="92"/>
                  </a:lnTo>
                  <a:lnTo>
                    <a:pt x="111" y="95"/>
                  </a:lnTo>
                  <a:lnTo>
                    <a:pt x="110" y="97"/>
                  </a:lnTo>
                  <a:lnTo>
                    <a:pt x="108" y="101"/>
                  </a:lnTo>
                  <a:lnTo>
                    <a:pt x="105" y="100"/>
                  </a:lnTo>
                  <a:lnTo>
                    <a:pt x="100" y="94"/>
                  </a:lnTo>
                  <a:lnTo>
                    <a:pt x="97" y="92"/>
                  </a:lnTo>
                  <a:lnTo>
                    <a:pt x="92" y="87"/>
                  </a:lnTo>
                  <a:lnTo>
                    <a:pt x="91" y="88"/>
                  </a:lnTo>
                  <a:lnTo>
                    <a:pt x="92" y="91"/>
                  </a:lnTo>
                  <a:lnTo>
                    <a:pt x="93" y="93"/>
                  </a:lnTo>
                  <a:lnTo>
                    <a:pt x="97" y="95"/>
                  </a:lnTo>
                  <a:lnTo>
                    <a:pt x="98" y="97"/>
                  </a:lnTo>
                  <a:lnTo>
                    <a:pt x="98" y="101"/>
                  </a:lnTo>
                  <a:lnTo>
                    <a:pt x="92" y="96"/>
                  </a:lnTo>
                  <a:lnTo>
                    <a:pt x="90" y="95"/>
                  </a:lnTo>
                  <a:lnTo>
                    <a:pt x="88" y="95"/>
                  </a:lnTo>
                  <a:lnTo>
                    <a:pt x="84" y="95"/>
                  </a:lnTo>
                  <a:lnTo>
                    <a:pt x="82" y="95"/>
                  </a:lnTo>
                  <a:lnTo>
                    <a:pt x="84" y="96"/>
                  </a:lnTo>
                  <a:lnTo>
                    <a:pt x="88" y="97"/>
                  </a:lnTo>
                  <a:lnTo>
                    <a:pt x="89" y="100"/>
                  </a:lnTo>
                  <a:lnTo>
                    <a:pt x="85" y="101"/>
                  </a:lnTo>
                  <a:lnTo>
                    <a:pt x="80" y="101"/>
                  </a:lnTo>
                  <a:lnTo>
                    <a:pt x="77" y="100"/>
                  </a:lnTo>
                  <a:lnTo>
                    <a:pt x="74" y="100"/>
                  </a:lnTo>
                  <a:lnTo>
                    <a:pt x="72" y="100"/>
                  </a:lnTo>
                  <a:lnTo>
                    <a:pt x="68" y="98"/>
                  </a:lnTo>
                  <a:lnTo>
                    <a:pt x="66" y="98"/>
                  </a:lnTo>
                  <a:lnTo>
                    <a:pt x="63" y="98"/>
                  </a:lnTo>
                  <a:lnTo>
                    <a:pt x="62" y="95"/>
                  </a:lnTo>
                  <a:lnTo>
                    <a:pt x="59" y="96"/>
                  </a:lnTo>
                  <a:lnTo>
                    <a:pt x="56" y="94"/>
                  </a:lnTo>
                  <a:lnTo>
                    <a:pt x="54" y="93"/>
                  </a:lnTo>
                  <a:lnTo>
                    <a:pt x="53" y="91"/>
                  </a:lnTo>
                  <a:lnTo>
                    <a:pt x="55" y="91"/>
                  </a:lnTo>
                  <a:lnTo>
                    <a:pt x="58" y="89"/>
                  </a:lnTo>
                  <a:lnTo>
                    <a:pt x="62" y="89"/>
                  </a:lnTo>
                  <a:lnTo>
                    <a:pt x="64" y="89"/>
                  </a:lnTo>
                  <a:lnTo>
                    <a:pt x="67" y="88"/>
                  </a:lnTo>
                  <a:lnTo>
                    <a:pt x="70" y="88"/>
                  </a:lnTo>
                  <a:lnTo>
                    <a:pt x="67" y="88"/>
                  </a:lnTo>
                  <a:lnTo>
                    <a:pt x="64" y="87"/>
                  </a:lnTo>
                  <a:lnTo>
                    <a:pt x="62" y="87"/>
                  </a:lnTo>
                  <a:lnTo>
                    <a:pt x="58" y="87"/>
                  </a:lnTo>
                  <a:lnTo>
                    <a:pt x="56" y="87"/>
                  </a:lnTo>
                  <a:lnTo>
                    <a:pt x="53" y="86"/>
                  </a:lnTo>
                  <a:lnTo>
                    <a:pt x="50" y="87"/>
                  </a:lnTo>
                  <a:lnTo>
                    <a:pt x="47" y="87"/>
                  </a:lnTo>
                  <a:lnTo>
                    <a:pt x="46" y="85"/>
                  </a:lnTo>
                  <a:lnTo>
                    <a:pt x="43" y="85"/>
                  </a:lnTo>
                  <a:lnTo>
                    <a:pt x="41" y="81"/>
                  </a:lnTo>
                  <a:lnTo>
                    <a:pt x="45" y="83"/>
                  </a:lnTo>
                  <a:lnTo>
                    <a:pt x="48" y="83"/>
                  </a:lnTo>
                  <a:lnTo>
                    <a:pt x="50" y="83"/>
                  </a:lnTo>
                  <a:lnTo>
                    <a:pt x="48" y="81"/>
                  </a:lnTo>
                  <a:lnTo>
                    <a:pt x="45" y="80"/>
                  </a:lnTo>
                  <a:lnTo>
                    <a:pt x="42" y="80"/>
                  </a:lnTo>
                  <a:lnTo>
                    <a:pt x="39" y="80"/>
                  </a:lnTo>
                  <a:lnTo>
                    <a:pt x="37" y="78"/>
                  </a:lnTo>
                  <a:lnTo>
                    <a:pt x="34" y="75"/>
                  </a:lnTo>
                  <a:lnTo>
                    <a:pt x="37" y="75"/>
                  </a:lnTo>
                  <a:lnTo>
                    <a:pt x="40" y="74"/>
                  </a:lnTo>
                  <a:lnTo>
                    <a:pt x="43" y="74"/>
                  </a:lnTo>
                  <a:lnTo>
                    <a:pt x="46" y="70"/>
                  </a:lnTo>
                  <a:lnTo>
                    <a:pt x="48" y="70"/>
                  </a:lnTo>
                  <a:lnTo>
                    <a:pt x="51" y="70"/>
                  </a:lnTo>
                  <a:lnTo>
                    <a:pt x="54" y="70"/>
                  </a:lnTo>
                  <a:lnTo>
                    <a:pt x="57" y="70"/>
                  </a:lnTo>
                  <a:lnTo>
                    <a:pt x="59" y="70"/>
                  </a:lnTo>
                  <a:lnTo>
                    <a:pt x="63" y="70"/>
                  </a:lnTo>
                  <a:lnTo>
                    <a:pt x="65" y="70"/>
                  </a:lnTo>
                  <a:lnTo>
                    <a:pt x="68" y="70"/>
                  </a:lnTo>
                  <a:lnTo>
                    <a:pt x="71" y="69"/>
                  </a:lnTo>
                  <a:lnTo>
                    <a:pt x="73" y="69"/>
                  </a:lnTo>
                  <a:lnTo>
                    <a:pt x="76" y="69"/>
                  </a:lnTo>
                  <a:lnTo>
                    <a:pt x="79" y="69"/>
                  </a:lnTo>
                  <a:lnTo>
                    <a:pt x="82" y="69"/>
                  </a:lnTo>
                  <a:lnTo>
                    <a:pt x="84" y="68"/>
                  </a:lnTo>
                  <a:lnTo>
                    <a:pt x="82" y="68"/>
                  </a:lnTo>
                  <a:lnTo>
                    <a:pt x="76" y="68"/>
                  </a:lnTo>
                  <a:lnTo>
                    <a:pt x="73" y="68"/>
                  </a:lnTo>
                  <a:lnTo>
                    <a:pt x="71" y="68"/>
                  </a:lnTo>
                  <a:lnTo>
                    <a:pt x="67" y="69"/>
                  </a:lnTo>
                  <a:lnTo>
                    <a:pt x="65" y="69"/>
                  </a:lnTo>
                  <a:lnTo>
                    <a:pt x="62" y="69"/>
                  </a:lnTo>
                  <a:lnTo>
                    <a:pt x="59" y="68"/>
                  </a:lnTo>
                  <a:lnTo>
                    <a:pt x="56" y="66"/>
                  </a:lnTo>
                  <a:lnTo>
                    <a:pt x="59" y="66"/>
                  </a:lnTo>
                  <a:lnTo>
                    <a:pt x="62" y="66"/>
                  </a:lnTo>
                  <a:lnTo>
                    <a:pt x="65" y="66"/>
                  </a:lnTo>
                  <a:lnTo>
                    <a:pt x="67" y="66"/>
                  </a:lnTo>
                  <a:lnTo>
                    <a:pt x="70" y="66"/>
                  </a:lnTo>
                  <a:lnTo>
                    <a:pt x="73" y="64"/>
                  </a:lnTo>
                  <a:lnTo>
                    <a:pt x="76" y="63"/>
                  </a:lnTo>
                  <a:lnTo>
                    <a:pt x="73" y="63"/>
                  </a:lnTo>
                  <a:lnTo>
                    <a:pt x="71" y="63"/>
                  </a:lnTo>
                  <a:lnTo>
                    <a:pt x="67" y="64"/>
                  </a:lnTo>
                  <a:lnTo>
                    <a:pt x="64" y="64"/>
                  </a:lnTo>
                  <a:lnTo>
                    <a:pt x="62" y="64"/>
                  </a:lnTo>
                  <a:lnTo>
                    <a:pt x="58" y="62"/>
                  </a:lnTo>
                  <a:lnTo>
                    <a:pt x="60" y="61"/>
                  </a:lnTo>
                  <a:lnTo>
                    <a:pt x="58" y="61"/>
                  </a:lnTo>
                  <a:lnTo>
                    <a:pt x="55" y="62"/>
                  </a:lnTo>
                  <a:lnTo>
                    <a:pt x="53" y="62"/>
                  </a:lnTo>
                  <a:lnTo>
                    <a:pt x="49" y="61"/>
                  </a:lnTo>
                  <a:lnTo>
                    <a:pt x="49" y="64"/>
                  </a:lnTo>
                  <a:lnTo>
                    <a:pt x="46" y="64"/>
                  </a:lnTo>
                  <a:lnTo>
                    <a:pt x="46" y="61"/>
                  </a:lnTo>
                  <a:lnTo>
                    <a:pt x="45" y="64"/>
                  </a:lnTo>
                  <a:lnTo>
                    <a:pt x="41" y="66"/>
                  </a:lnTo>
                  <a:lnTo>
                    <a:pt x="38" y="67"/>
                  </a:lnTo>
                  <a:lnTo>
                    <a:pt x="36" y="66"/>
                  </a:lnTo>
                  <a:lnTo>
                    <a:pt x="38" y="63"/>
                  </a:lnTo>
                  <a:lnTo>
                    <a:pt x="34" y="63"/>
                  </a:lnTo>
                  <a:lnTo>
                    <a:pt x="32" y="64"/>
                  </a:lnTo>
                  <a:lnTo>
                    <a:pt x="29" y="66"/>
                  </a:lnTo>
                  <a:lnTo>
                    <a:pt x="26" y="66"/>
                  </a:lnTo>
                  <a:lnTo>
                    <a:pt x="23" y="67"/>
                  </a:lnTo>
                  <a:lnTo>
                    <a:pt x="21" y="66"/>
                  </a:lnTo>
                  <a:lnTo>
                    <a:pt x="20" y="62"/>
                  </a:lnTo>
                  <a:lnTo>
                    <a:pt x="17" y="63"/>
                  </a:lnTo>
                  <a:lnTo>
                    <a:pt x="14" y="61"/>
                  </a:lnTo>
                  <a:lnTo>
                    <a:pt x="15" y="58"/>
                  </a:lnTo>
                  <a:lnTo>
                    <a:pt x="17" y="58"/>
                  </a:lnTo>
                  <a:lnTo>
                    <a:pt x="21" y="58"/>
                  </a:lnTo>
                  <a:lnTo>
                    <a:pt x="23" y="57"/>
                  </a:lnTo>
                  <a:lnTo>
                    <a:pt x="26" y="57"/>
                  </a:lnTo>
                  <a:lnTo>
                    <a:pt x="32" y="54"/>
                  </a:lnTo>
                  <a:lnTo>
                    <a:pt x="32" y="52"/>
                  </a:lnTo>
                  <a:lnTo>
                    <a:pt x="30" y="52"/>
                  </a:lnTo>
                  <a:lnTo>
                    <a:pt x="26" y="54"/>
                  </a:lnTo>
                  <a:lnTo>
                    <a:pt x="24" y="54"/>
                  </a:lnTo>
                  <a:lnTo>
                    <a:pt x="21" y="55"/>
                  </a:lnTo>
                  <a:lnTo>
                    <a:pt x="19" y="55"/>
                  </a:lnTo>
                  <a:lnTo>
                    <a:pt x="15" y="55"/>
                  </a:lnTo>
                  <a:lnTo>
                    <a:pt x="13" y="55"/>
                  </a:lnTo>
                  <a:lnTo>
                    <a:pt x="9" y="53"/>
                  </a:lnTo>
                  <a:lnTo>
                    <a:pt x="7" y="52"/>
                  </a:lnTo>
                  <a:lnTo>
                    <a:pt x="5" y="50"/>
                  </a:lnTo>
                  <a:lnTo>
                    <a:pt x="4" y="47"/>
                  </a:lnTo>
                  <a:lnTo>
                    <a:pt x="7" y="46"/>
                  </a:lnTo>
                  <a:lnTo>
                    <a:pt x="4" y="46"/>
                  </a:lnTo>
                  <a:lnTo>
                    <a:pt x="2" y="44"/>
                  </a:lnTo>
                  <a:lnTo>
                    <a:pt x="3" y="43"/>
                  </a:lnTo>
                  <a:lnTo>
                    <a:pt x="0" y="43"/>
                  </a:lnTo>
                  <a:lnTo>
                    <a:pt x="0" y="40"/>
                  </a:lnTo>
                  <a:lnTo>
                    <a:pt x="4" y="40"/>
                  </a:lnTo>
                  <a:lnTo>
                    <a:pt x="6" y="41"/>
                  </a:lnTo>
                  <a:lnTo>
                    <a:pt x="9" y="42"/>
                  </a:lnTo>
                  <a:lnTo>
                    <a:pt x="12" y="43"/>
                  </a:lnTo>
                  <a:lnTo>
                    <a:pt x="15" y="43"/>
                  </a:lnTo>
                  <a:lnTo>
                    <a:pt x="17" y="43"/>
                  </a:lnTo>
                  <a:lnTo>
                    <a:pt x="21" y="43"/>
                  </a:lnTo>
                  <a:lnTo>
                    <a:pt x="23" y="43"/>
                  </a:lnTo>
                  <a:lnTo>
                    <a:pt x="26" y="43"/>
                  </a:lnTo>
                  <a:lnTo>
                    <a:pt x="30" y="44"/>
                  </a:lnTo>
                  <a:lnTo>
                    <a:pt x="31" y="44"/>
                  </a:lnTo>
                  <a:lnTo>
                    <a:pt x="31" y="44"/>
                  </a:lnTo>
                  <a:lnTo>
                    <a:pt x="29" y="43"/>
                  </a:lnTo>
                  <a:lnTo>
                    <a:pt x="29" y="40"/>
                  </a:lnTo>
                  <a:lnTo>
                    <a:pt x="32" y="38"/>
                  </a:lnTo>
                  <a:lnTo>
                    <a:pt x="34" y="38"/>
                  </a:lnTo>
                  <a:lnTo>
                    <a:pt x="31" y="38"/>
                  </a:lnTo>
                  <a:lnTo>
                    <a:pt x="29" y="37"/>
                  </a:lnTo>
                  <a:lnTo>
                    <a:pt x="26" y="40"/>
                  </a:lnTo>
                  <a:lnTo>
                    <a:pt x="23" y="40"/>
                  </a:lnTo>
                  <a:lnTo>
                    <a:pt x="21" y="41"/>
                  </a:lnTo>
                  <a:lnTo>
                    <a:pt x="17" y="41"/>
                  </a:lnTo>
                  <a:lnTo>
                    <a:pt x="15" y="38"/>
                  </a:lnTo>
                  <a:lnTo>
                    <a:pt x="17" y="38"/>
                  </a:lnTo>
                  <a:lnTo>
                    <a:pt x="21" y="36"/>
                  </a:lnTo>
                  <a:lnTo>
                    <a:pt x="17" y="37"/>
                  </a:lnTo>
                  <a:lnTo>
                    <a:pt x="15" y="36"/>
                  </a:lnTo>
                  <a:lnTo>
                    <a:pt x="12" y="38"/>
                  </a:lnTo>
                  <a:lnTo>
                    <a:pt x="9" y="37"/>
                  </a:lnTo>
                  <a:lnTo>
                    <a:pt x="6" y="36"/>
                  </a:lnTo>
                  <a:lnTo>
                    <a:pt x="4" y="34"/>
                  </a:lnTo>
                  <a:lnTo>
                    <a:pt x="0" y="34"/>
                  </a:lnTo>
                  <a:lnTo>
                    <a:pt x="4" y="34"/>
                  </a:lnTo>
                  <a:lnTo>
                    <a:pt x="6" y="33"/>
                  </a:lnTo>
                  <a:lnTo>
                    <a:pt x="9" y="32"/>
                  </a:lnTo>
                  <a:lnTo>
                    <a:pt x="12" y="33"/>
                  </a:lnTo>
                  <a:lnTo>
                    <a:pt x="14" y="33"/>
                  </a:lnTo>
                  <a:lnTo>
                    <a:pt x="17" y="33"/>
                  </a:lnTo>
                  <a:lnTo>
                    <a:pt x="15" y="32"/>
                  </a:lnTo>
                  <a:lnTo>
                    <a:pt x="12" y="31"/>
                  </a:lnTo>
                  <a:lnTo>
                    <a:pt x="9" y="28"/>
                  </a:lnTo>
                  <a:lnTo>
                    <a:pt x="12" y="26"/>
                  </a:lnTo>
                  <a:lnTo>
                    <a:pt x="15" y="26"/>
                  </a:lnTo>
                  <a:lnTo>
                    <a:pt x="19" y="26"/>
                  </a:lnTo>
                  <a:lnTo>
                    <a:pt x="21" y="26"/>
                  </a:lnTo>
                  <a:lnTo>
                    <a:pt x="24" y="25"/>
                  </a:lnTo>
                  <a:lnTo>
                    <a:pt x="26" y="26"/>
                  </a:lnTo>
                  <a:lnTo>
                    <a:pt x="30" y="27"/>
                  </a:lnTo>
                  <a:lnTo>
                    <a:pt x="36" y="27"/>
                  </a:lnTo>
                  <a:lnTo>
                    <a:pt x="38" y="26"/>
                  </a:lnTo>
                  <a:lnTo>
                    <a:pt x="36" y="26"/>
                  </a:lnTo>
                  <a:lnTo>
                    <a:pt x="32" y="25"/>
                  </a:lnTo>
                  <a:lnTo>
                    <a:pt x="30" y="25"/>
                  </a:lnTo>
                  <a:lnTo>
                    <a:pt x="31" y="23"/>
                  </a:lnTo>
                  <a:lnTo>
                    <a:pt x="33" y="23"/>
                  </a:lnTo>
                  <a:lnTo>
                    <a:pt x="37" y="21"/>
                  </a:lnTo>
                  <a:lnTo>
                    <a:pt x="33" y="21"/>
                  </a:lnTo>
                  <a:lnTo>
                    <a:pt x="31" y="21"/>
                  </a:lnTo>
                  <a:lnTo>
                    <a:pt x="30" y="21"/>
                  </a:lnTo>
                  <a:lnTo>
                    <a:pt x="26" y="21"/>
                  </a:lnTo>
                  <a:lnTo>
                    <a:pt x="24" y="18"/>
                  </a:lnTo>
                  <a:lnTo>
                    <a:pt x="21" y="19"/>
                  </a:lnTo>
                  <a:lnTo>
                    <a:pt x="19" y="17"/>
                  </a:lnTo>
                  <a:lnTo>
                    <a:pt x="20" y="15"/>
                  </a:lnTo>
                  <a:lnTo>
                    <a:pt x="22" y="11"/>
                  </a:lnTo>
                  <a:lnTo>
                    <a:pt x="25" y="11"/>
                  </a:lnTo>
                  <a:lnTo>
                    <a:pt x="28" y="11"/>
                  </a:lnTo>
                  <a:lnTo>
                    <a:pt x="31" y="14"/>
                  </a:lnTo>
                  <a:lnTo>
                    <a:pt x="33" y="12"/>
                  </a:lnTo>
                  <a:lnTo>
                    <a:pt x="39" y="11"/>
                  </a:lnTo>
                  <a:lnTo>
                    <a:pt x="36" y="11"/>
                  </a:lnTo>
                  <a:lnTo>
                    <a:pt x="32" y="9"/>
                  </a:lnTo>
                  <a:lnTo>
                    <a:pt x="36" y="9"/>
                  </a:lnTo>
                  <a:lnTo>
                    <a:pt x="41" y="9"/>
                  </a:lnTo>
                  <a:lnTo>
                    <a:pt x="43" y="10"/>
                  </a:lnTo>
                  <a:lnTo>
                    <a:pt x="46" y="10"/>
                  </a:lnTo>
                  <a:lnTo>
                    <a:pt x="49" y="9"/>
                  </a:lnTo>
                  <a:lnTo>
                    <a:pt x="49" y="7"/>
                  </a:lnTo>
                  <a:lnTo>
                    <a:pt x="47" y="6"/>
                  </a:lnTo>
                  <a:lnTo>
                    <a:pt x="43" y="6"/>
                  </a:lnTo>
                  <a:lnTo>
                    <a:pt x="40" y="6"/>
                  </a:lnTo>
                  <a:lnTo>
                    <a:pt x="38" y="6"/>
                  </a:lnTo>
                  <a:lnTo>
                    <a:pt x="36" y="6"/>
                  </a:lnTo>
                  <a:lnTo>
                    <a:pt x="32" y="4"/>
                  </a:lnTo>
                  <a:lnTo>
                    <a:pt x="33" y="1"/>
                  </a:lnTo>
                  <a:lnTo>
                    <a:pt x="36" y="1"/>
                  </a:lnTo>
                  <a:lnTo>
                    <a:pt x="39" y="1"/>
                  </a:lnTo>
                  <a:lnTo>
                    <a:pt x="41" y="1"/>
                  </a:lnTo>
                  <a:lnTo>
                    <a:pt x="45" y="0"/>
                  </a:lnTo>
                  <a:lnTo>
                    <a:pt x="50" y="1"/>
                  </a:lnTo>
                  <a:lnTo>
                    <a:pt x="54" y="2"/>
                  </a:lnTo>
                  <a:lnTo>
                    <a:pt x="56" y="3"/>
                  </a:lnTo>
                  <a:lnTo>
                    <a:pt x="58" y="3"/>
                  </a:lnTo>
                  <a:lnTo>
                    <a:pt x="62" y="4"/>
                  </a:lnTo>
                  <a:lnTo>
                    <a:pt x="64" y="6"/>
                  </a:lnTo>
                  <a:lnTo>
                    <a:pt x="67" y="8"/>
                  </a:lnTo>
                  <a:lnTo>
                    <a:pt x="68" y="11"/>
                  </a:lnTo>
                  <a:lnTo>
                    <a:pt x="71" y="14"/>
                  </a:lnTo>
                  <a:lnTo>
                    <a:pt x="74" y="16"/>
                  </a:lnTo>
                  <a:lnTo>
                    <a:pt x="76" y="18"/>
                  </a:lnTo>
                  <a:lnTo>
                    <a:pt x="79" y="21"/>
                  </a:lnTo>
                  <a:lnTo>
                    <a:pt x="81" y="21"/>
                  </a:lnTo>
                  <a:lnTo>
                    <a:pt x="84" y="24"/>
                  </a:lnTo>
                  <a:lnTo>
                    <a:pt x="83" y="26"/>
                  </a:lnTo>
                  <a:lnTo>
                    <a:pt x="87" y="27"/>
                  </a:lnTo>
                  <a:lnTo>
                    <a:pt x="90" y="27"/>
                  </a:lnTo>
                  <a:lnTo>
                    <a:pt x="92" y="27"/>
                  </a:lnTo>
                  <a:lnTo>
                    <a:pt x="92" y="27"/>
                  </a:lnTo>
                  <a:close/>
                  <a:moveTo>
                    <a:pt x="2573" y="44"/>
                  </a:moveTo>
                  <a:lnTo>
                    <a:pt x="2573" y="43"/>
                  </a:lnTo>
                  <a:lnTo>
                    <a:pt x="2571" y="42"/>
                  </a:lnTo>
                  <a:lnTo>
                    <a:pt x="2573" y="43"/>
                  </a:lnTo>
                  <a:lnTo>
                    <a:pt x="2576" y="43"/>
                  </a:lnTo>
                  <a:lnTo>
                    <a:pt x="2579" y="43"/>
                  </a:lnTo>
                  <a:lnTo>
                    <a:pt x="2582" y="43"/>
                  </a:lnTo>
                  <a:lnTo>
                    <a:pt x="2584" y="43"/>
                  </a:lnTo>
                  <a:lnTo>
                    <a:pt x="2588" y="43"/>
                  </a:lnTo>
                  <a:lnTo>
                    <a:pt x="2591" y="43"/>
                  </a:lnTo>
                  <a:lnTo>
                    <a:pt x="2593" y="44"/>
                  </a:lnTo>
                  <a:lnTo>
                    <a:pt x="2597" y="43"/>
                  </a:lnTo>
                  <a:lnTo>
                    <a:pt x="2599" y="44"/>
                  </a:lnTo>
                  <a:lnTo>
                    <a:pt x="2601" y="44"/>
                  </a:lnTo>
                  <a:lnTo>
                    <a:pt x="2603" y="45"/>
                  </a:lnTo>
                  <a:lnTo>
                    <a:pt x="2607" y="46"/>
                  </a:lnTo>
                  <a:lnTo>
                    <a:pt x="2609" y="47"/>
                  </a:lnTo>
                  <a:lnTo>
                    <a:pt x="2607" y="50"/>
                  </a:lnTo>
                  <a:lnTo>
                    <a:pt x="2603" y="51"/>
                  </a:lnTo>
                  <a:lnTo>
                    <a:pt x="2601" y="52"/>
                  </a:lnTo>
                  <a:lnTo>
                    <a:pt x="2598" y="53"/>
                  </a:lnTo>
                  <a:lnTo>
                    <a:pt x="2596" y="54"/>
                  </a:lnTo>
                  <a:lnTo>
                    <a:pt x="2592" y="54"/>
                  </a:lnTo>
                  <a:lnTo>
                    <a:pt x="2590" y="55"/>
                  </a:lnTo>
                  <a:lnTo>
                    <a:pt x="2586" y="54"/>
                  </a:lnTo>
                  <a:lnTo>
                    <a:pt x="2583" y="53"/>
                  </a:lnTo>
                  <a:lnTo>
                    <a:pt x="2586" y="52"/>
                  </a:lnTo>
                  <a:lnTo>
                    <a:pt x="2589" y="52"/>
                  </a:lnTo>
                  <a:lnTo>
                    <a:pt x="2586" y="51"/>
                  </a:lnTo>
                  <a:lnTo>
                    <a:pt x="2583" y="51"/>
                  </a:lnTo>
                  <a:lnTo>
                    <a:pt x="2581" y="50"/>
                  </a:lnTo>
                  <a:lnTo>
                    <a:pt x="2577" y="50"/>
                  </a:lnTo>
                  <a:lnTo>
                    <a:pt x="2575" y="50"/>
                  </a:lnTo>
                  <a:lnTo>
                    <a:pt x="2572" y="47"/>
                  </a:lnTo>
                  <a:lnTo>
                    <a:pt x="2575" y="47"/>
                  </a:lnTo>
                  <a:lnTo>
                    <a:pt x="2573" y="44"/>
                  </a:lnTo>
                  <a:lnTo>
                    <a:pt x="25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1" name="Freeform 221">
              <a:extLst>
                <a:ext uri="{FF2B5EF4-FFF2-40B4-BE49-F238E27FC236}">
                  <a16:creationId xmlns:a16="http://schemas.microsoft.com/office/drawing/2014/main" id="{1BEEBBBB-95A0-42CF-AFD2-3943A36B2FD9}"/>
                </a:ext>
              </a:extLst>
            </p:cNvPr>
            <p:cNvSpPr>
              <a:spLocks/>
            </p:cNvSpPr>
            <p:nvPr/>
          </p:nvSpPr>
          <p:spPr bwMode="auto">
            <a:xfrm>
              <a:off x="8994775" y="5389563"/>
              <a:ext cx="79375" cy="77788"/>
            </a:xfrm>
            <a:custGeom>
              <a:avLst/>
              <a:gdLst>
                <a:gd name="T0" fmla="*/ 26 w 50"/>
                <a:gd name="T1" fmla="*/ 8 h 49"/>
                <a:gd name="T2" fmla="*/ 31 w 50"/>
                <a:gd name="T3" fmla="*/ 8 h 49"/>
                <a:gd name="T4" fmla="*/ 33 w 50"/>
                <a:gd name="T5" fmla="*/ 6 h 49"/>
                <a:gd name="T6" fmla="*/ 38 w 50"/>
                <a:gd name="T7" fmla="*/ 5 h 49"/>
                <a:gd name="T8" fmla="*/ 44 w 50"/>
                <a:gd name="T9" fmla="*/ 4 h 49"/>
                <a:gd name="T10" fmla="*/ 50 w 50"/>
                <a:gd name="T11" fmla="*/ 4 h 49"/>
                <a:gd name="T12" fmla="*/ 50 w 50"/>
                <a:gd name="T13" fmla="*/ 9 h 49"/>
                <a:gd name="T14" fmla="*/ 50 w 50"/>
                <a:gd name="T15" fmla="*/ 15 h 49"/>
                <a:gd name="T16" fmla="*/ 50 w 50"/>
                <a:gd name="T17" fmla="*/ 21 h 49"/>
                <a:gd name="T18" fmla="*/ 50 w 50"/>
                <a:gd name="T19" fmla="*/ 25 h 49"/>
                <a:gd name="T20" fmla="*/ 46 w 50"/>
                <a:gd name="T21" fmla="*/ 25 h 49"/>
                <a:gd name="T22" fmla="*/ 44 w 50"/>
                <a:gd name="T23" fmla="*/ 31 h 49"/>
                <a:gd name="T24" fmla="*/ 45 w 50"/>
                <a:gd name="T25" fmla="*/ 36 h 49"/>
                <a:gd name="T26" fmla="*/ 45 w 50"/>
                <a:gd name="T27" fmla="*/ 42 h 49"/>
                <a:gd name="T28" fmla="*/ 41 w 50"/>
                <a:gd name="T29" fmla="*/ 38 h 49"/>
                <a:gd name="T30" fmla="*/ 41 w 50"/>
                <a:gd name="T31" fmla="*/ 36 h 49"/>
                <a:gd name="T32" fmla="*/ 36 w 50"/>
                <a:gd name="T33" fmla="*/ 34 h 49"/>
                <a:gd name="T34" fmla="*/ 36 w 50"/>
                <a:gd name="T35" fmla="*/ 38 h 49"/>
                <a:gd name="T36" fmla="*/ 34 w 50"/>
                <a:gd name="T37" fmla="*/ 43 h 49"/>
                <a:gd name="T38" fmla="*/ 31 w 50"/>
                <a:gd name="T39" fmla="*/ 44 h 49"/>
                <a:gd name="T40" fmla="*/ 29 w 50"/>
                <a:gd name="T41" fmla="*/ 49 h 49"/>
                <a:gd name="T42" fmla="*/ 24 w 50"/>
                <a:gd name="T43" fmla="*/ 48 h 49"/>
                <a:gd name="T44" fmla="*/ 19 w 50"/>
                <a:gd name="T45" fmla="*/ 47 h 49"/>
                <a:gd name="T46" fmla="*/ 21 w 50"/>
                <a:gd name="T47" fmla="*/ 43 h 49"/>
                <a:gd name="T48" fmla="*/ 16 w 50"/>
                <a:gd name="T49" fmla="*/ 43 h 49"/>
                <a:gd name="T50" fmla="*/ 11 w 50"/>
                <a:gd name="T51" fmla="*/ 38 h 49"/>
                <a:gd name="T52" fmla="*/ 9 w 50"/>
                <a:gd name="T53" fmla="*/ 32 h 49"/>
                <a:gd name="T54" fmla="*/ 9 w 50"/>
                <a:gd name="T55" fmla="*/ 27 h 49"/>
                <a:gd name="T56" fmla="*/ 10 w 50"/>
                <a:gd name="T57" fmla="*/ 27 h 49"/>
                <a:gd name="T58" fmla="*/ 8 w 50"/>
                <a:gd name="T59" fmla="*/ 23 h 49"/>
                <a:gd name="T60" fmla="*/ 3 w 50"/>
                <a:gd name="T61" fmla="*/ 17 h 49"/>
                <a:gd name="T62" fmla="*/ 1 w 50"/>
                <a:gd name="T63" fmla="*/ 11 h 49"/>
                <a:gd name="T64" fmla="*/ 0 w 50"/>
                <a:gd name="T65" fmla="*/ 6 h 49"/>
                <a:gd name="T66" fmla="*/ 0 w 50"/>
                <a:gd name="T67" fmla="*/ 0 h 49"/>
                <a:gd name="T68" fmla="*/ 5 w 50"/>
                <a:gd name="T69" fmla="*/ 2 h 49"/>
                <a:gd name="T70" fmla="*/ 11 w 50"/>
                <a:gd name="T71" fmla="*/ 4 h 49"/>
                <a:gd name="T72" fmla="*/ 16 w 50"/>
                <a:gd name="T73" fmla="*/ 6 h 49"/>
                <a:gd name="T74" fmla="*/ 21 w 50"/>
                <a:gd name="T75" fmla="*/ 8 h 49"/>
                <a:gd name="T76" fmla="*/ 25 w 50"/>
                <a:gd name="T77"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49">
                  <a:moveTo>
                    <a:pt x="25" y="8"/>
                  </a:moveTo>
                  <a:lnTo>
                    <a:pt x="26" y="8"/>
                  </a:lnTo>
                  <a:lnTo>
                    <a:pt x="28" y="7"/>
                  </a:lnTo>
                  <a:lnTo>
                    <a:pt x="31" y="8"/>
                  </a:lnTo>
                  <a:lnTo>
                    <a:pt x="30" y="6"/>
                  </a:lnTo>
                  <a:lnTo>
                    <a:pt x="33" y="6"/>
                  </a:lnTo>
                  <a:lnTo>
                    <a:pt x="36" y="5"/>
                  </a:lnTo>
                  <a:lnTo>
                    <a:pt x="38" y="5"/>
                  </a:lnTo>
                  <a:lnTo>
                    <a:pt x="42" y="4"/>
                  </a:lnTo>
                  <a:lnTo>
                    <a:pt x="44" y="4"/>
                  </a:lnTo>
                  <a:lnTo>
                    <a:pt x="46" y="1"/>
                  </a:lnTo>
                  <a:lnTo>
                    <a:pt x="50" y="4"/>
                  </a:lnTo>
                  <a:lnTo>
                    <a:pt x="50" y="7"/>
                  </a:lnTo>
                  <a:lnTo>
                    <a:pt x="50" y="9"/>
                  </a:lnTo>
                  <a:lnTo>
                    <a:pt x="50" y="13"/>
                  </a:lnTo>
                  <a:lnTo>
                    <a:pt x="50" y="15"/>
                  </a:lnTo>
                  <a:lnTo>
                    <a:pt x="50" y="17"/>
                  </a:lnTo>
                  <a:lnTo>
                    <a:pt x="50" y="21"/>
                  </a:lnTo>
                  <a:lnTo>
                    <a:pt x="50" y="23"/>
                  </a:lnTo>
                  <a:lnTo>
                    <a:pt x="50" y="25"/>
                  </a:lnTo>
                  <a:lnTo>
                    <a:pt x="47" y="23"/>
                  </a:lnTo>
                  <a:lnTo>
                    <a:pt x="46" y="25"/>
                  </a:lnTo>
                  <a:lnTo>
                    <a:pt x="45" y="28"/>
                  </a:lnTo>
                  <a:lnTo>
                    <a:pt x="44" y="31"/>
                  </a:lnTo>
                  <a:lnTo>
                    <a:pt x="45" y="34"/>
                  </a:lnTo>
                  <a:lnTo>
                    <a:pt x="45" y="36"/>
                  </a:lnTo>
                  <a:lnTo>
                    <a:pt x="45" y="39"/>
                  </a:lnTo>
                  <a:lnTo>
                    <a:pt x="45" y="42"/>
                  </a:lnTo>
                  <a:lnTo>
                    <a:pt x="42" y="40"/>
                  </a:lnTo>
                  <a:lnTo>
                    <a:pt x="41" y="38"/>
                  </a:lnTo>
                  <a:lnTo>
                    <a:pt x="44" y="39"/>
                  </a:lnTo>
                  <a:lnTo>
                    <a:pt x="41" y="36"/>
                  </a:lnTo>
                  <a:lnTo>
                    <a:pt x="38" y="36"/>
                  </a:lnTo>
                  <a:lnTo>
                    <a:pt x="36" y="34"/>
                  </a:lnTo>
                  <a:lnTo>
                    <a:pt x="35" y="35"/>
                  </a:lnTo>
                  <a:lnTo>
                    <a:pt x="36" y="38"/>
                  </a:lnTo>
                  <a:lnTo>
                    <a:pt x="35" y="40"/>
                  </a:lnTo>
                  <a:lnTo>
                    <a:pt x="34" y="43"/>
                  </a:lnTo>
                  <a:lnTo>
                    <a:pt x="31" y="41"/>
                  </a:lnTo>
                  <a:lnTo>
                    <a:pt x="31" y="44"/>
                  </a:lnTo>
                  <a:lnTo>
                    <a:pt x="30" y="47"/>
                  </a:lnTo>
                  <a:lnTo>
                    <a:pt x="29" y="49"/>
                  </a:lnTo>
                  <a:lnTo>
                    <a:pt x="27" y="48"/>
                  </a:lnTo>
                  <a:lnTo>
                    <a:pt x="24" y="48"/>
                  </a:lnTo>
                  <a:lnTo>
                    <a:pt x="21" y="47"/>
                  </a:lnTo>
                  <a:lnTo>
                    <a:pt x="19" y="47"/>
                  </a:lnTo>
                  <a:lnTo>
                    <a:pt x="18" y="44"/>
                  </a:lnTo>
                  <a:lnTo>
                    <a:pt x="21" y="43"/>
                  </a:lnTo>
                  <a:lnTo>
                    <a:pt x="18" y="44"/>
                  </a:lnTo>
                  <a:lnTo>
                    <a:pt x="16" y="43"/>
                  </a:lnTo>
                  <a:lnTo>
                    <a:pt x="13" y="40"/>
                  </a:lnTo>
                  <a:lnTo>
                    <a:pt x="11" y="38"/>
                  </a:lnTo>
                  <a:lnTo>
                    <a:pt x="10" y="35"/>
                  </a:lnTo>
                  <a:lnTo>
                    <a:pt x="9" y="32"/>
                  </a:lnTo>
                  <a:lnTo>
                    <a:pt x="8" y="30"/>
                  </a:lnTo>
                  <a:lnTo>
                    <a:pt x="9" y="27"/>
                  </a:lnTo>
                  <a:lnTo>
                    <a:pt x="11" y="30"/>
                  </a:lnTo>
                  <a:lnTo>
                    <a:pt x="10" y="27"/>
                  </a:lnTo>
                  <a:lnTo>
                    <a:pt x="8" y="25"/>
                  </a:lnTo>
                  <a:lnTo>
                    <a:pt x="8" y="23"/>
                  </a:lnTo>
                  <a:lnTo>
                    <a:pt x="5" y="19"/>
                  </a:lnTo>
                  <a:lnTo>
                    <a:pt x="3" y="17"/>
                  </a:lnTo>
                  <a:lnTo>
                    <a:pt x="2" y="14"/>
                  </a:lnTo>
                  <a:lnTo>
                    <a:pt x="1" y="11"/>
                  </a:lnTo>
                  <a:lnTo>
                    <a:pt x="0" y="9"/>
                  </a:lnTo>
                  <a:lnTo>
                    <a:pt x="0" y="6"/>
                  </a:lnTo>
                  <a:lnTo>
                    <a:pt x="0" y="4"/>
                  </a:lnTo>
                  <a:lnTo>
                    <a:pt x="0" y="0"/>
                  </a:lnTo>
                  <a:lnTo>
                    <a:pt x="2" y="1"/>
                  </a:lnTo>
                  <a:lnTo>
                    <a:pt x="5" y="2"/>
                  </a:lnTo>
                  <a:lnTo>
                    <a:pt x="8" y="2"/>
                  </a:lnTo>
                  <a:lnTo>
                    <a:pt x="11" y="4"/>
                  </a:lnTo>
                  <a:lnTo>
                    <a:pt x="13" y="5"/>
                  </a:lnTo>
                  <a:lnTo>
                    <a:pt x="16" y="6"/>
                  </a:lnTo>
                  <a:lnTo>
                    <a:pt x="19" y="7"/>
                  </a:lnTo>
                  <a:lnTo>
                    <a:pt x="21" y="8"/>
                  </a:lnTo>
                  <a:lnTo>
                    <a:pt x="24" y="8"/>
                  </a:lnTo>
                  <a:lnTo>
                    <a:pt x="25" y="8"/>
                  </a:lnTo>
                  <a:lnTo>
                    <a:pt x="2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2" name="Freeform 222">
              <a:extLst>
                <a:ext uri="{FF2B5EF4-FFF2-40B4-BE49-F238E27FC236}">
                  <a16:creationId xmlns:a16="http://schemas.microsoft.com/office/drawing/2014/main" id="{5DB93F65-E033-4CD4-8218-CAE338C5CA03}"/>
                </a:ext>
              </a:extLst>
            </p:cNvPr>
            <p:cNvSpPr>
              <a:spLocks/>
            </p:cNvSpPr>
            <p:nvPr/>
          </p:nvSpPr>
          <p:spPr bwMode="auto">
            <a:xfrm>
              <a:off x="8697913" y="4462463"/>
              <a:ext cx="431800" cy="223838"/>
            </a:xfrm>
            <a:custGeom>
              <a:avLst/>
              <a:gdLst>
                <a:gd name="T0" fmla="*/ 254 w 272"/>
                <a:gd name="T1" fmla="*/ 137 h 141"/>
                <a:gd name="T2" fmla="*/ 234 w 272"/>
                <a:gd name="T3" fmla="*/ 133 h 141"/>
                <a:gd name="T4" fmla="*/ 223 w 272"/>
                <a:gd name="T5" fmla="*/ 126 h 141"/>
                <a:gd name="T6" fmla="*/ 215 w 272"/>
                <a:gd name="T7" fmla="*/ 119 h 141"/>
                <a:gd name="T8" fmla="*/ 207 w 272"/>
                <a:gd name="T9" fmla="*/ 107 h 141"/>
                <a:gd name="T10" fmla="*/ 191 w 272"/>
                <a:gd name="T11" fmla="*/ 102 h 141"/>
                <a:gd name="T12" fmla="*/ 184 w 272"/>
                <a:gd name="T13" fmla="*/ 97 h 141"/>
                <a:gd name="T14" fmla="*/ 180 w 272"/>
                <a:gd name="T15" fmla="*/ 102 h 141"/>
                <a:gd name="T16" fmla="*/ 175 w 272"/>
                <a:gd name="T17" fmla="*/ 102 h 141"/>
                <a:gd name="T18" fmla="*/ 170 w 272"/>
                <a:gd name="T19" fmla="*/ 103 h 141"/>
                <a:gd name="T20" fmla="*/ 163 w 272"/>
                <a:gd name="T21" fmla="*/ 109 h 141"/>
                <a:gd name="T22" fmla="*/ 155 w 272"/>
                <a:gd name="T23" fmla="*/ 107 h 141"/>
                <a:gd name="T24" fmla="*/ 170 w 272"/>
                <a:gd name="T25" fmla="*/ 116 h 141"/>
                <a:gd name="T26" fmla="*/ 156 w 272"/>
                <a:gd name="T27" fmla="*/ 121 h 141"/>
                <a:gd name="T28" fmla="*/ 139 w 272"/>
                <a:gd name="T29" fmla="*/ 121 h 141"/>
                <a:gd name="T30" fmla="*/ 126 w 272"/>
                <a:gd name="T31" fmla="*/ 110 h 141"/>
                <a:gd name="T32" fmla="*/ 120 w 272"/>
                <a:gd name="T33" fmla="*/ 106 h 141"/>
                <a:gd name="T34" fmla="*/ 107 w 272"/>
                <a:gd name="T35" fmla="*/ 104 h 141"/>
                <a:gd name="T36" fmla="*/ 111 w 272"/>
                <a:gd name="T37" fmla="*/ 94 h 141"/>
                <a:gd name="T38" fmla="*/ 110 w 272"/>
                <a:gd name="T39" fmla="*/ 89 h 141"/>
                <a:gd name="T40" fmla="*/ 101 w 272"/>
                <a:gd name="T41" fmla="*/ 80 h 141"/>
                <a:gd name="T42" fmla="*/ 97 w 272"/>
                <a:gd name="T43" fmla="*/ 73 h 141"/>
                <a:gd name="T44" fmla="*/ 88 w 272"/>
                <a:gd name="T45" fmla="*/ 64 h 141"/>
                <a:gd name="T46" fmla="*/ 78 w 272"/>
                <a:gd name="T47" fmla="*/ 62 h 141"/>
                <a:gd name="T48" fmla="*/ 64 w 272"/>
                <a:gd name="T49" fmla="*/ 56 h 141"/>
                <a:gd name="T50" fmla="*/ 52 w 272"/>
                <a:gd name="T51" fmla="*/ 53 h 141"/>
                <a:gd name="T52" fmla="*/ 45 w 272"/>
                <a:gd name="T53" fmla="*/ 50 h 141"/>
                <a:gd name="T54" fmla="*/ 36 w 272"/>
                <a:gd name="T55" fmla="*/ 39 h 141"/>
                <a:gd name="T56" fmla="*/ 33 w 272"/>
                <a:gd name="T57" fmla="*/ 47 h 141"/>
                <a:gd name="T58" fmla="*/ 25 w 272"/>
                <a:gd name="T59" fmla="*/ 42 h 141"/>
                <a:gd name="T60" fmla="*/ 17 w 272"/>
                <a:gd name="T61" fmla="*/ 32 h 141"/>
                <a:gd name="T62" fmla="*/ 33 w 272"/>
                <a:gd name="T63" fmla="*/ 29 h 141"/>
                <a:gd name="T64" fmla="*/ 35 w 272"/>
                <a:gd name="T65" fmla="*/ 25 h 141"/>
                <a:gd name="T66" fmla="*/ 19 w 272"/>
                <a:gd name="T67" fmla="*/ 25 h 141"/>
                <a:gd name="T68" fmla="*/ 11 w 272"/>
                <a:gd name="T69" fmla="*/ 17 h 141"/>
                <a:gd name="T70" fmla="*/ 3 w 272"/>
                <a:gd name="T71" fmla="*/ 10 h 141"/>
                <a:gd name="T72" fmla="*/ 15 w 272"/>
                <a:gd name="T73" fmla="*/ 2 h 141"/>
                <a:gd name="T74" fmla="*/ 29 w 272"/>
                <a:gd name="T75" fmla="*/ 2 h 141"/>
                <a:gd name="T76" fmla="*/ 42 w 272"/>
                <a:gd name="T77" fmla="*/ 8 h 141"/>
                <a:gd name="T78" fmla="*/ 43 w 272"/>
                <a:gd name="T79" fmla="*/ 25 h 141"/>
                <a:gd name="T80" fmla="*/ 51 w 272"/>
                <a:gd name="T81" fmla="*/ 35 h 141"/>
                <a:gd name="T82" fmla="*/ 64 w 272"/>
                <a:gd name="T83" fmla="*/ 38 h 141"/>
                <a:gd name="T84" fmla="*/ 76 w 272"/>
                <a:gd name="T85" fmla="*/ 25 h 141"/>
                <a:gd name="T86" fmla="*/ 87 w 272"/>
                <a:gd name="T87" fmla="*/ 18 h 141"/>
                <a:gd name="T88" fmla="*/ 102 w 272"/>
                <a:gd name="T89" fmla="*/ 19 h 141"/>
                <a:gd name="T90" fmla="*/ 121 w 272"/>
                <a:gd name="T91" fmla="*/ 27 h 141"/>
                <a:gd name="T92" fmla="*/ 136 w 272"/>
                <a:gd name="T93" fmla="*/ 30 h 141"/>
                <a:gd name="T94" fmla="*/ 154 w 272"/>
                <a:gd name="T95" fmla="*/ 37 h 141"/>
                <a:gd name="T96" fmla="*/ 171 w 272"/>
                <a:gd name="T97" fmla="*/ 42 h 141"/>
                <a:gd name="T98" fmla="*/ 186 w 272"/>
                <a:gd name="T99" fmla="*/ 50 h 141"/>
                <a:gd name="T100" fmla="*/ 195 w 272"/>
                <a:gd name="T101" fmla="*/ 54 h 141"/>
                <a:gd name="T102" fmla="*/ 203 w 272"/>
                <a:gd name="T103" fmla="*/ 70 h 141"/>
                <a:gd name="T104" fmla="*/ 217 w 272"/>
                <a:gd name="T105" fmla="*/ 75 h 141"/>
                <a:gd name="T106" fmla="*/ 230 w 272"/>
                <a:gd name="T107" fmla="*/ 85 h 141"/>
                <a:gd name="T108" fmla="*/ 218 w 272"/>
                <a:gd name="T109" fmla="*/ 89 h 141"/>
                <a:gd name="T110" fmla="*/ 230 w 272"/>
                <a:gd name="T111" fmla="*/ 104 h 141"/>
                <a:gd name="T112" fmla="*/ 239 w 272"/>
                <a:gd name="T113" fmla="*/ 114 h 141"/>
                <a:gd name="T114" fmla="*/ 249 w 272"/>
                <a:gd name="T115" fmla="*/ 122 h 141"/>
                <a:gd name="T116" fmla="*/ 259 w 272"/>
                <a:gd name="T117" fmla="*/ 128 h 141"/>
                <a:gd name="T118" fmla="*/ 264 w 272"/>
                <a:gd name="T119" fmla="*/ 135 h 141"/>
                <a:gd name="T120" fmla="*/ 268 w 272"/>
                <a:gd name="T121" fmla="*/ 14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2" h="141">
                  <a:moveTo>
                    <a:pt x="259" y="139"/>
                  </a:moveTo>
                  <a:lnTo>
                    <a:pt x="260" y="138"/>
                  </a:lnTo>
                  <a:lnTo>
                    <a:pt x="259" y="138"/>
                  </a:lnTo>
                  <a:lnTo>
                    <a:pt x="258" y="138"/>
                  </a:lnTo>
                  <a:lnTo>
                    <a:pt x="256" y="137"/>
                  </a:lnTo>
                  <a:lnTo>
                    <a:pt x="254" y="137"/>
                  </a:lnTo>
                  <a:lnTo>
                    <a:pt x="248" y="136"/>
                  </a:lnTo>
                  <a:lnTo>
                    <a:pt x="246" y="136"/>
                  </a:lnTo>
                  <a:lnTo>
                    <a:pt x="242" y="133"/>
                  </a:lnTo>
                  <a:lnTo>
                    <a:pt x="240" y="135"/>
                  </a:lnTo>
                  <a:lnTo>
                    <a:pt x="237" y="135"/>
                  </a:lnTo>
                  <a:lnTo>
                    <a:pt x="234" y="133"/>
                  </a:lnTo>
                  <a:lnTo>
                    <a:pt x="232" y="135"/>
                  </a:lnTo>
                  <a:lnTo>
                    <a:pt x="230" y="132"/>
                  </a:lnTo>
                  <a:lnTo>
                    <a:pt x="228" y="132"/>
                  </a:lnTo>
                  <a:lnTo>
                    <a:pt x="226" y="131"/>
                  </a:lnTo>
                  <a:lnTo>
                    <a:pt x="225" y="128"/>
                  </a:lnTo>
                  <a:lnTo>
                    <a:pt x="223" y="126"/>
                  </a:lnTo>
                  <a:lnTo>
                    <a:pt x="220" y="124"/>
                  </a:lnTo>
                  <a:lnTo>
                    <a:pt x="220" y="124"/>
                  </a:lnTo>
                  <a:lnTo>
                    <a:pt x="217" y="122"/>
                  </a:lnTo>
                  <a:lnTo>
                    <a:pt x="218" y="119"/>
                  </a:lnTo>
                  <a:lnTo>
                    <a:pt x="218" y="119"/>
                  </a:lnTo>
                  <a:lnTo>
                    <a:pt x="215" y="119"/>
                  </a:lnTo>
                  <a:lnTo>
                    <a:pt x="213" y="118"/>
                  </a:lnTo>
                  <a:lnTo>
                    <a:pt x="213" y="115"/>
                  </a:lnTo>
                  <a:lnTo>
                    <a:pt x="211" y="113"/>
                  </a:lnTo>
                  <a:lnTo>
                    <a:pt x="211" y="112"/>
                  </a:lnTo>
                  <a:lnTo>
                    <a:pt x="208" y="110"/>
                  </a:lnTo>
                  <a:lnTo>
                    <a:pt x="207" y="107"/>
                  </a:lnTo>
                  <a:lnTo>
                    <a:pt x="205" y="105"/>
                  </a:lnTo>
                  <a:lnTo>
                    <a:pt x="201" y="103"/>
                  </a:lnTo>
                  <a:lnTo>
                    <a:pt x="199" y="104"/>
                  </a:lnTo>
                  <a:lnTo>
                    <a:pt x="196" y="103"/>
                  </a:lnTo>
                  <a:lnTo>
                    <a:pt x="194" y="102"/>
                  </a:lnTo>
                  <a:lnTo>
                    <a:pt x="191" y="102"/>
                  </a:lnTo>
                  <a:lnTo>
                    <a:pt x="189" y="102"/>
                  </a:lnTo>
                  <a:lnTo>
                    <a:pt x="189" y="98"/>
                  </a:lnTo>
                  <a:lnTo>
                    <a:pt x="188" y="99"/>
                  </a:lnTo>
                  <a:lnTo>
                    <a:pt x="187" y="98"/>
                  </a:lnTo>
                  <a:lnTo>
                    <a:pt x="187" y="98"/>
                  </a:lnTo>
                  <a:lnTo>
                    <a:pt x="184" y="97"/>
                  </a:lnTo>
                  <a:lnTo>
                    <a:pt x="183" y="97"/>
                  </a:lnTo>
                  <a:lnTo>
                    <a:pt x="183" y="99"/>
                  </a:lnTo>
                  <a:lnTo>
                    <a:pt x="182" y="99"/>
                  </a:lnTo>
                  <a:lnTo>
                    <a:pt x="181" y="99"/>
                  </a:lnTo>
                  <a:lnTo>
                    <a:pt x="181" y="101"/>
                  </a:lnTo>
                  <a:lnTo>
                    <a:pt x="180" y="102"/>
                  </a:lnTo>
                  <a:lnTo>
                    <a:pt x="179" y="101"/>
                  </a:lnTo>
                  <a:lnTo>
                    <a:pt x="175" y="99"/>
                  </a:lnTo>
                  <a:lnTo>
                    <a:pt x="173" y="97"/>
                  </a:lnTo>
                  <a:lnTo>
                    <a:pt x="173" y="97"/>
                  </a:lnTo>
                  <a:lnTo>
                    <a:pt x="174" y="98"/>
                  </a:lnTo>
                  <a:lnTo>
                    <a:pt x="175" y="102"/>
                  </a:lnTo>
                  <a:lnTo>
                    <a:pt x="177" y="104"/>
                  </a:lnTo>
                  <a:lnTo>
                    <a:pt x="174" y="105"/>
                  </a:lnTo>
                  <a:lnTo>
                    <a:pt x="172" y="104"/>
                  </a:lnTo>
                  <a:lnTo>
                    <a:pt x="169" y="103"/>
                  </a:lnTo>
                  <a:lnTo>
                    <a:pt x="169" y="103"/>
                  </a:lnTo>
                  <a:lnTo>
                    <a:pt x="170" y="103"/>
                  </a:lnTo>
                  <a:lnTo>
                    <a:pt x="170" y="104"/>
                  </a:lnTo>
                  <a:lnTo>
                    <a:pt x="172" y="106"/>
                  </a:lnTo>
                  <a:lnTo>
                    <a:pt x="171" y="107"/>
                  </a:lnTo>
                  <a:lnTo>
                    <a:pt x="169" y="109"/>
                  </a:lnTo>
                  <a:lnTo>
                    <a:pt x="165" y="109"/>
                  </a:lnTo>
                  <a:lnTo>
                    <a:pt x="163" y="109"/>
                  </a:lnTo>
                  <a:lnTo>
                    <a:pt x="161" y="109"/>
                  </a:lnTo>
                  <a:lnTo>
                    <a:pt x="157" y="109"/>
                  </a:lnTo>
                  <a:lnTo>
                    <a:pt x="155" y="106"/>
                  </a:lnTo>
                  <a:lnTo>
                    <a:pt x="152" y="107"/>
                  </a:lnTo>
                  <a:lnTo>
                    <a:pt x="153" y="107"/>
                  </a:lnTo>
                  <a:lnTo>
                    <a:pt x="155" y="107"/>
                  </a:lnTo>
                  <a:lnTo>
                    <a:pt x="157" y="110"/>
                  </a:lnTo>
                  <a:lnTo>
                    <a:pt x="161" y="109"/>
                  </a:lnTo>
                  <a:lnTo>
                    <a:pt x="163" y="111"/>
                  </a:lnTo>
                  <a:lnTo>
                    <a:pt x="165" y="111"/>
                  </a:lnTo>
                  <a:lnTo>
                    <a:pt x="169" y="114"/>
                  </a:lnTo>
                  <a:lnTo>
                    <a:pt x="170" y="116"/>
                  </a:lnTo>
                  <a:lnTo>
                    <a:pt x="167" y="119"/>
                  </a:lnTo>
                  <a:lnTo>
                    <a:pt x="164" y="120"/>
                  </a:lnTo>
                  <a:lnTo>
                    <a:pt x="162" y="121"/>
                  </a:lnTo>
                  <a:lnTo>
                    <a:pt x="158" y="123"/>
                  </a:lnTo>
                  <a:lnTo>
                    <a:pt x="158" y="123"/>
                  </a:lnTo>
                  <a:lnTo>
                    <a:pt x="156" y="121"/>
                  </a:lnTo>
                  <a:lnTo>
                    <a:pt x="153" y="120"/>
                  </a:lnTo>
                  <a:lnTo>
                    <a:pt x="150" y="121"/>
                  </a:lnTo>
                  <a:lnTo>
                    <a:pt x="147" y="121"/>
                  </a:lnTo>
                  <a:lnTo>
                    <a:pt x="145" y="121"/>
                  </a:lnTo>
                  <a:lnTo>
                    <a:pt x="143" y="120"/>
                  </a:lnTo>
                  <a:lnTo>
                    <a:pt x="139" y="121"/>
                  </a:lnTo>
                  <a:lnTo>
                    <a:pt x="137" y="120"/>
                  </a:lnTo>
                  <a:lnTo>
                    <a:pt x="133" y="119"/>
                  </a:lnTo>
                  <a:lnTo>
                    <a:pt x="131" y="115"/>
                  </a:lnTo>
                  <a:lnTo>
                    <a:pt x="129" y="113"/>
                  </a:lnTo>
                  <a:lnTo>
                    <a:pt x="128" y="111"/>
                  </a:lnTo>
                  <a:lnTo>
                    <a:pt x="126" y="110"/>
                  </a:lnTo>
                  <a:lnTo>
                    <a:pt x="123" y="107"/>
                  </a:lnTo>
                  <a:lnTo>
                    <a:pt x="123" y="107"/>
                  </a:lnTo>
                  <a:lnTo>
                    <a:pt x="123" y="106"/>
                  </a:lnTo>
                  <a:lnTo>
                    <a:pt x="124" y="103"/>
                  </a:lnTo>
                  <a:lnTo>
                    <a:pt x="123" y="105"/>
                  </a:lnTo>
                  <a:lnTo>
                    <a:pt x="120" y="106"/>
                  </a:lnTo>
                  <a:lnTo>
                    <a:pt x="118" y="106"/>
                  </a:lnTo>
                  <a:lnTo>
                    <a:pt x="115" y="107"/>
                  </a:lnTo>
                  <a:lnTo>
                    <a:pt x="112" y="104"/>
                  </a:lnTo>
                  <a:lnTo>
                    <a:pt x="110" y="106"/>
                  </a:lnTo>
                  <a:lnTo>
                    <a:pt x="107" y="107"/>
                  </a:lnTo>
                  <a:lnTo>
                    <a:pt x="107" y="104"/>
                  </a:lnTo>
                  <a:lnTo>
                    <a:pt x="110" y="102"/>
                  </a:lnTo>
                  <a:lnTo>
                    <a:pt x="111" y="98"/>
                  </a:lnTo>
                  <a:lnTo>
                    <a:pt x="107" y="96"/>
                  </a:lnTo>
                  <a:lnTo>
                    <a:pt x="105" y="94"/>
                  </a:lnTo>
                  <a:lnTo>
                    <a:pt x="109" y="94"/>
                  </a:lnTo>
                  <a:lnTo>
                    <a:pt x="111" y="94"/>
                  </a:lnTo>
                  <a:lnTo>
                    <a:pt x="112" y="93"/>
                  </a:lnTo>
                  <a:lnTo>
                    <a:pt x="110" y="94"/>
                  </a:lnTo>
                  <a:lnTo>
                    <a:pt x="107" y="93"/>
                  </a:lnTo>
                  <a:lnTo>
                    <a:pt x="104" y="90"/>
                  </a:lnTo>
                  <a:lnTo>
                    <a:pt x="107" y="89"/>
                  </a:lnTo>
                  <a:lnTo>
                    <a:pt x="110" y="89"/>
                  </a:lnTo>
                  <a:lnTo>
                    <a:pt x="112" y="90"/>
                  </a:lnTo>
                  <a:lnTo>
                    <a:pt x="109" y="89"/>
                  </a:lnTo>
                  <a:lnTo>
                    <a:pt x="106" y="88"/>
                  </a:lnTo>
                  <a:lnTo>
                    <a:pt x="105" y="85"/>
                  </a:lnTo>
                  <a:lnTo>
                    <a:pt x="102" y="82"/>
                  </a:lnTo>
                  <a:lnTo>
                    <a:pt x="101" y="80"/>
                  </a:lnTo>
                  <a:lnTo>
                    <a:pt x="100" y="77"/>
                  </a:lnTo>
                  <a:lnTo>
                    <a:pt x="100" y="77"/>
                  </a:lnTo>
                  <a:lnTo>
                    <a:pt x="101" y="75"/>
                  </a:lnTo>
                  <a:lnTo>
                    <a:pt x="98" y="75"/>
                  </a:lnTo>
                  <a:lnTo>
                    <a:pt x="101" y="72"/>
                  </a:lnTo>
                  <a:lnTo>
                    <a:pt x="97" y="73"/>
                  </a:lnTo>
                  <a:lnTo>
                    <a:pt x="97" y="73"/>
                  </a:lnTo>
                  <a:lnTo>
                    <a:pt x="96" y="72"/>
                  </a:lnTo>
                  <a:lnTo>
                    <a:pt x="96" y="69"/>
                  </a:lnTo>
                  <a:lnTo>
                    <a:pt x="94" y="68"/>
                  </a:lnTo>
                  <a:lnTo>
                    <a:pt x="90" y="67"/>
                  </a:lnTo>
                  <a:lnTo>
                    <a:pt x="88" y="64"/>
                  </a:lnTo>
                  <a:lnTo>
                    <a:pt x="88" y="64"/>
                  </a:lnTo>
                  <a:lnTo>
                    <a:pt x="85" y="63"/>
                  </a:lnTo>
                  <a:lnTo>
                    <a:pt x="83" y="62"/>
                  </a:lnTo>
                  <a:lnTo>
                    <a:pt x="80" y="62"/>
                  </a:lnTo>
                  <a:lnTo>
                    <a:pt x="79" y="62"/>
                  </a:lnTo>
                  <a:lnTo>
                    <a:pt x="78" y="62"/>
                  </a:lnTo>
                  <a:lnTo>
                    <a:pt x="78" y="62"/>
                  </a:lnTo>
                  <a:lnTo>
                    <a:pt x="76" y="60"/>
                  </a:lnTo>
                  <a:lnTo>
                    <a:pt x="72" y="59"/>
                  </a:lnTo>
                  <a:lnTo>
                    <a:pt x="70" y="58"/>
                  </a:lnTo>
                  <a:lnTo>
                    <a:pt x="68" y="56"/>
                  </a:lnTo>
                  <a:lnTo>
                    <a:pt x="64" y="56"/>
                  </a:lnTo>
                  <a:lnTo>
                    <a:pt x="63" y="56"/>
                  </a:lnTo>
                  <a:lnTo>
                    <a:pt x="60" y="55"/>
                  </a:lnTo>
                  <a:lnTo>
                    <a:pt x="58" y="55"/>
                  </a:lnTo>
                  <a:lnTo>
                    <a:pt x="54" y="54"/>
                  </a:lnTo>
                  <a:lnTo>
                    <a:pt x="52" y="53"/>
                  </a:lnTo>
                  <a:lnTo>
                    <a:pt x="52" y="53"/>
                  </a:lnTo>
                  <a:lnTo>
                    <a:pt x="51" y="52"/>
                  </a:lnTo>
                  <a:lnTo>
                    <a:pt x="50" y="50"/>
                  </a:lnTo>
                  <a:lnTo>
                    <a:pt x="53" y="48"/>
                  </a:lnTo>
                  <a:lnTo>
                    <a:pt x="50" y="48"/>
                  </a:lnTo>
                  <a:lnTo>
                    <a:pt x="47" y="50"/>
                  </a:lnTo>
                  <a:lnTo>
                    <a:pt x="45" y="50"/>
                  </a:lnTo>
                  <a:lnTo>
                    <a:pt x="43" y="46"/>
                  </a:lnTo>
                  <a:lnTo>
                    <a:pt x="41" y="47"/>
                  </a:lnTo>
                  <a:lnTo>
                    <a:pt x="39" y="46"/>
                  </a:lnTo>
                  <a:lnTo>
                    <a:pt x="37" y="45"/>
                  </a:lnTo>
                  <a:lnTo>
                    <a:pt x="36" y="42"/>
                  </a:lnTo>
                  <a:lnTo>
                    <a:pt x="36" y="39"/>
                  </a:lnTo>
                  <a:lnTo>
                    <a:pt x="38" y="37"/>
                  </a:lnTo>
                  <a:lnTo>
                    <a:pt x="36" y="37"/>
                  </a:lnTo>
                  <a:lnTo>
                    <a:pt x="36" y="41"/>
                  </a:lnTo>
                  <a:lnTo>
                    <a:pt x="35" y="43"/>
                  </a:lnTo>
                  <a:lnTo>
                    <a:pt x="33" y="45"/>
                  </a:lnTo>
                  <a:lnTo>
                    <a:pt x="33" y="47"/>
                  </a:lnTo>
                  <a:lnTo>
                    <a:pt x="30" y="51"/>
                  </a:lnTo>
                  <a:lnTo>
                    <a:pt x="28" y="50"/>
                  </a:lnTo>
                  <a:lnTo>
                    <a:pt x="25" y="50"/>
                  </a:lnTo>
                  <a:lnTo>
                    <a:pt x="24" y="47"/>
                  </a:lnTo>
                  <a:lnTo>
                    <a:pt x="26" y="44"/>
                  </a:lnTo>
                  <a:lnTo>
                    <a:pt x="25" y="42"/>
                  </a:lnTo>
                  <a:lnTo>
                    <a:pt x="22" y="39"/>
                  </a:lnTo>
                  <a:lnTo>
                    <a:pt x="20" y="37"/>
                  </a:lnTo>
                  <a:lnTo>
                    <a:pt x="18" y="35"/>
                  </a:lnTo>
                  <a:lnTo>
                    <a:pt x="15" y="35"/>
                  </a:lnTo>
                  <a:lnTo>
                    <a:pt x="15" y="33"/>
                  </a:lnTo>
                  <a:lnTo>
                    <a:pt x="17" y="32"/>
                  </a:lnTo>
                  <a:lnTo>
                    <a:pt x="20" y="33"/>
                  </a:lnTo>
                  <a:lnTo>
                    <a:pt x="22" y="33"/>
                  </a:lnTo>
                  <a:lnTo>
                    <a:pt x="25" y="33"/>
                  </a:lnTo>
                  <a:lnTo>
                    <a:pt x="27" y="29"/>
                  </a:lnTo>
                  <a:lnTo>
                    <a:pt x="29" y="28"/>
                  </a:lnTo>
                  <a:lnTo>
                    <a:pt x="33" y="29"/>
                  </a:lnTo>
                  <a:lnTo>
                    <a:pt x="37" y="30"/>
                  </a:lnTo>
                  <a:lnTo>
                    <a:pt x="37" y="28"/>
                  </a:lnTo>
                  <a:lnTo>
                    <a:pt x="41" y="28"/>
                  </a:lnTo>
                  <a:lnTo>
                    <a:pt x="41" y="25"/>
                  </a:lnTo>
                  <a:lnTo>
                    <a:pt x="37" y="25"/>
                  </a:lnTo>
                  <a:lnTo>
                    <a:pt x="35" y="25"/>
                  </a:lnTo>
                  <a:lnTo>
                    <a:pt x="29" y="25"/>
                  </a:lnTo>
                  <a:lnTo>
                    <a:pt x="27" y="26"/>
                  </a:lnTo>
                  <a:lnTo>
                    <a:pt x="26" y="26"/>
                  </a:lnTo>
                  <a:lnTo>
                    <a:pt x="24" y="26"/>
                  </a:lnTo>
                  <a:lnTo>
                    <a:pt x="22" y="26"/>
                  </a:lnTo>
                  <a:lnTo>
                    <a:pt x="19" y="25"/>
                  </a:lnTo>
                  <a:lnTo>
                    <a:pt x="17" y="25"/>
                  </a:lnTo>
                  <a:lnTo>
                    <a:pt x="15" y="24"/>
                  </a:lnTo>
                  <a:lnTo>
                    <a:pt x="12" y="20"/>
                  </a:lnTo>
                  <a:lnTo>
                    <a:pt x="13" y="18"/>
                  </a:lnTo>
                  <a:lnTo>
                    <a:pt x="13" y="18"/>
                  </a:lnTo>
                  <a:lnTo>
                    <a:pt x="11" y="17"/>
                  </a:lnTo>
                  <a:lnTo>
                    <a:pt x="8" y="15"/>
                  </a:lnTo>
                  <a:lnTo>
                    <a:pt x="5" y="15"/>
                  </a:lnTo>
                  <a:lnTo>
                    <a:pt x="2" y="16"/>
                  </a:lnTo>
                  <a:lnTo>
                    <a:pt x="0" y="15"/>
                  </a:lnTo>
                  <a:lnTo>
                    <a:pt x="0" y="12"/>
                  </a:lnTo>
                  <a:lnTo>
                    <a:pt x="3" y="10"/>
                  </a:lnTo>
                  <a:lnTo>
                    <a:pt x="3" y="9"/>
                  </a:lnTo>
                  <a:lnTo>
                    <a:pt x="3" y="5"/>
                  </a:lnTo>
                  <a:lnTo>
                    <a:pt x="7" y="4"/>
                  </a:lnTo>
                  <a:lnTo>
                    <a:pt x="9" y="4"/>
                  </a:lnTo>
                  <a:lnTo>
                    <a:pt x="11" y="4"/>
                  </a:lnTo>
                  <a:lnTo>
                    <a:pt x="15" y="2"/>
                  </a:lnTo>
                  <a:lnTo>
                    <a:pt x="17" y="0"/>
                  </a:lnTo>
                  <a:lnTo>
                    <a:pt x="19" y="0"/>
                  </a:lnTo>
                  <a:lnTo>
                    <a:pt x="21" y="0"/>
                  </a:lnTo>
                  <a:lnTo>
                    <a:pt x="24" y="0"/>
                  </a:lnTo>
                  <a:lnTo>
                    <a:pt x="27" y="1"/>
                  </a:lnTo>
                  <a:lnTo>
                    <a:pt x="29" y="2"/>
                  </a:lnTo>
                  <a:lnTo>
                    <a:pt x="33" y="4"/>
                  </a:lnTo>
                  <a:lnTo>
                    <a:pt x="35" y="5"/>
                  </a:lnTo>
                  <a:lnTo>
                    <a:pt x="37" y="4"/>
                  </a:lnTo>
                  <a:lnTo>
                    <a:pt x="38" y="5"/>
                  </a:lnTo>
                  <a:lnTo>
                    <a:pt x="42" y="5"/>
                  </a:lnTo>
                  <a:lnTo>
                    <a:pt x="42" y="8"/>
                  </a:lnTo>
                  <a:lnTo>
                    <a:pt x="43" y="11"/>
                  </a:lnTo>
                  <a:lnTo>
                    <a:pt x="44" y="13"/>
                  </a:lnTo>
                  <a:lnTo>
                    <a:pt x="43" y="16"/>
                  </a:lnTo>
                  <a:lnTo>
                    <a:pt x="42" y="19"/>
                  </a:lnTo>
                  <a:lnTo>
                    <a:pt x="43" y="21"/>
                  </a:lnTo>
                  <a:lnTo>
                    <a:pt x="43" y="25"/>
                  </a:lnTo>
                  <a:lnTo>
                    <a:pt x="43" y="27"/>
                  </a:lnTo>
                  <a:lnTo>
                    <a:pt x="45" y="29"/>
                  </a:lnTo>
                  <a:lnTo>
                    <a:pt x="46" y="33"/>
                  </a:lnTo>
                  <a:lnTo>
                    <a:pt x="47" y="29"/>
                  </a:lnTo>
                  <a:lnTo>
                    <a:pt x="50" y="33"/>
                  </a:lnTo>
                  <a:lnTo>
                    <a:pt x="51" y="35"/>
                  </a:lnTo>
                  <a:lnTo>
                    <a:pt x="52" y="37"/>
                  </a:lnTo>
                  <a:lnTo>
                    <a:pt x="54" y="41"/>
                  </a:lnTo>
                  <a:lnTo>
                    <a:pt x="56" y="41"/>
                  </a:lnTo>
                  <a:lnTo>
                    <a:pt x="59" y="41"/>
                  </a:lnTo>
                  <a:lnTo>
                    <a:pt x="62" y="41"/>
                  </a:lnTo>
                  <a:lnTo>
                    <a:pt x="64" y="38"/>
                  </a:lnTo>
                  <a:lnTo>
                    <a:pt x="67" y="36"/>
                  </a:lnTo>
                  <a:lnTo>
                    <a:pt x="68" y="34"/>
                  </a:lnTo>
                  <a:lnTo>
                    <a:pt x="69" y="32"/>
                  </a:lnTo>
                  <a:lnTo>
                    <a:pt x="71" y="29"/>
                  </a:lnTo>
                  <a:lnTo>
                    <a:pt x="72" y="27"/>
                  </a:lnTo>
                  <a:lnTo>
                    <a:pt x="76" y="25"/>
                  </a:lnTo>
                  <a:lnTo>
                    <a:pt x="78" y="26"/>
                  </a:lnTo>
                  <a:lnTo>
                    <a:pt x="80" y="25"/>
                  </a:lnTo>
                  <a:lnTo>
                    <a:pt x="84" y="24"/>
                  </a:lnTo>
                  <a:lnTo>
                    <a:pt x="85" y="21"/>
                  </a:lnTo>
                  <a:lnTo>
                    <a:pt x="85" y="19"/>
                  </a:lnTo>
                  <a:lnTo>
                    <a:pt x="87" y="18"/>
                  </a:lnTo>
                  <a:lnTo>
                    <a:pt x="90" y="16"/>
                  </a:lnTo>
                  <a:lnTo>
                    <a:pt x="93" y="15"/>
                  </a:lnTo>
                  <a:lnTo>
                    <a:pt x="94" y="15"/>
                  </a:lnTo>
                  <a:lnTo>
                    <a:pt x="97" y="17"/>
                  </a:lnTo>
                  <a:lnTo>
                    <a:pt x="100" y="18"/>
                  </a:lnTo>
                  <a:lnTo>
                    <a:pt x="102" y="19"/>
                  </a:lnTo>
                  <a:lnTo>
                    <a:pt x="105" y="19"/>
                  </a:lnTo>
                  <a:lnTo>
                    <a:pt x="107" y="21"/>
                  </a:lnTo>
                  <a:lnTo>
                    <a:pt x="111" y="22"/>
                  </a:lnTo>
                  <a:lnTo>
                    <a:pt x="113" y="24"/>
                  </a:lnTo>
                  <a:lnTo>
                    <a:pt x="115" y="25"/>
                  </a:lnTo>
                  <a:lnTo>
                    <a:pt x="121" y="27"/>
                  </a:lnTo>
                  <a:lnTo>
                    <a:pt x="123" y="27"/>
                  </a:lnTo>
                  <a:lnTo>
                    <a:pt x="126" y="27"/>
                  </a:lnTo>
                  <a:lnTo>
                    <a:pt x="128" y="28"/>
                  </a:lnTo>
                  <a:lnTo>
                    <a:pt x="131" y="28"/>
                  </a:lnTo>
                  <a:lnTo>
                    <a:pt x="132" y="30"/>
                  </a:lnTo>
                  <a:lnTo>
                    <a:pt x="136" y="30"/>
                  </a:lnTo>
                  <a:lnTo>
                    <a:pt x="137" y="30"/>
                  </a:lnTo>
                  <a:lnTo>
                    <a:pt x="138" y="30"/>
                  </a:lnTo>
                  <a:lnTo>
                    <a:pt x="141" y="32"/>
                  </a:lnTo>
                  <a:lnTo>
                    <a:pt x="144" y="33"/>
                  </a:lnTo>
                  <a:lnTo>
                    <a:pt x="152" y="37"/>
                  </a:lnTo>
                  <a:lnTo>
                    <a:pt x="154" y="37"/>
                  </a:lnTo>
                  <a:lnTo>
                    <a:pt x="157" y="38"/>
                  </a:lnTo>
                  <a:lnTo>
                    <a:pt x="163" y="41"/>
                  </a:lnTo>
                  <a:lnTo>
                    <a:pt x="165" y="41"/>
                  </a:lnTo>
                  <a:lnTo>
                    <a:pt x="167" y="41"/>
                  </a:lnTo>
                  <a:lnTo>
                    <a:pt x="169" y="41"/>
                  </a:lnTo>
                  <a:lnTo>
                    <a:pt x="171" y="42"/>
                  </a:lnTo>
                  <a:lnTo>
                    <a:pt x="173" y="43"/>
                  </a:lnTo>
                  <a:lnTo>
                    <a:pt x="177" y="45"/>
                  </a:lnTo>
                  <a:lnTo>
                    <a:pt x="179" y="46"/>
                  </a:lnTo>
                  <a:lnTo>
                    <a:pt x="182" y="46"/>
                  </a:lnTo>
                  <a:lnTo>
                    <a:pt x="184" y="47"/>
                  </a:lnTo>
                  <a:lnTo>
                    <a:pt x="186" y="50"/>
                  </a:lnTo>
                  <a:lnTo>
                    <a:pt x="187" y="50"/>
                  </a:lnTo>
                  <a:lnTo>
                    <a:pt x="187" y="50"/>
                  </a:lnTo>
                  <a:lnTo>
                    <a:pt x="189" y="51"/>
                  </a:lnTo>
                  <a:lnTo>
                    <a:pt x="191" y="54"/>
                  </a:lnTo>
                  <a:lnTo>
                    <a:pt x="192" y="54"/>
                  </a:lnTo>
                  <a:lnTo>
                    <a:pt x="195" y="54"/>
                  </a:lnTo>
                  <a:lnTo>
                    <a:pt x="198" y="56"/>
                  </a:lnTo>
                  <a:lnTo>
                    <a:pt x="199" y="59"/>
                  </a:lnTo>
                  <a:lnTo>
                    <a:pt x="203" y="62"/>
                  </a:lnTo>
                  <a:lnTo>
                    <a:pt x="203" y="64"/>
                  </a:lnTo>
                  <a:lnTo>
                    <a:pt x="201" y="67"/>
                  </a:lnTo>
                  <a:lnTo>
                    <a:pt x="203" y="70"/>
                  </a:lnTo>
                  <a:lnTo>
                    <a:pt x="205" y="70"/>
                  </a:lnTo>
                  <a:lnTo>
                    <a:pt x="208" y="71"/>
                  </a:lnTo>
                  <a:lnTo>
                    <a:pt x="211" y="71"/>
                  </a:lnTo>
                  <a:lnTo>
                    <a:pt x="213" y="72"/>
                  </a:lnTo>
                  <a:lnTo>
                    <a:pt x="216" y="75"/>
                  </a:lnTo>
                  <a:lnTo>
                    <a:pt x="217" y="75"/>
                  </a:lnTo>
                  <a:lnTo>
                    <a:pt x="220" y="77"/>
                  </a:lnTo>
                  <a:lnTo>
                    <a:pt x="223" y="76"/>
                  </a:lnTo>
                  <a:lnTo>
                    <a:pt x="225" y="77"/>
                  </a:lnTo>
                  <a:lnTo>
                    <a:pt x="228" y="79"/>
                  </a:lnTo>
                  <a:lnTo>
                    <a:pt x="230" y="81"/>
                  </a:lnTo>
                  <a:lnTo>
                    <a:pt x="230" y="85"/>
                  </a:lnTo>
                  <a:lnTo>
                    <a:pt x="229" y="87"/>
                  </a:lnTo>
                  <a:lnTo>
                    <a:pt x="226" y="87"/>
                  </a:lnTo>
                  <a:lnTo>
                    <a:pt x="224" y="87"/>
                  </a:lnTo>
                  <a:lnTo>
                    <a:pt x="221" y="87"/>
                  </a:lnTo>
                  <a:lnTo>
                    <a:pt x="218" y="87"/>
                  </a:lnTo>
                  <a:lnTo>
                    <a:pt x="218" y="89"/>
                  </a:lnTo>
                  <a:lnTo>
                    <a:pt x="220" y="92"/>
                  </a:lnTo>
                  <a:lnTo>
                    <a:pt x="221" y="94"/>
                  </a:lnTo>
                  <a:lnTo>
                    <a:pt x="222" y="97"/>
                  </a:lnTo>
                  <a:lnTo>
                    <a:pt x="224" y="98"/>
                  </a:lnTo>
                  <a:lnTo>
                    <a:pt x="226" y="101"/>
                  </a:lnTo>
                  <a:lnTo>
                    <a:pt x="230" y="104"/>
                  </a:lnTo>
                  <a:lnTo>
                    <a:pt x="232" y="104"/>
                  </a:lnTo>
                  <a:lnTo>
                    <a:pt x="233" y="105"/>
                  </a:lnTo>
                  <a:lnTo>
                    <a:pt x="234" y="106"/>
                  </a:lnTo>
                  <a:lnTo>
                    <a:pt x="234" y="107"/>
                  </a:lnTo>
                  <a:lnTo>
                    <a:pt x="235" y="112"/>
                  </a:lnTo>
                  <a:lnTo>
                    <a:pt x="239" y="114"/>
                  </a:lnTo>
                  <a:lnTo>
                    <a:pt x="240" y="116"/>
                  </a:lnTo>
                  <a:lnTo>
                    <a:pt x="242" y="120"/>
                  </a:lnTo>
                  <a:lnTo>
                    <a:pt x="245" y="119"/>
                  </a:lnTo>
                  <a:lnTo>
                    <a:pt x="248" y="119"/>
                  </a:lnTo>
                  <a:lnTo>
                    <a:pt x="250" y="120"/>
                  </a:lnTo>
                  <a:lnTo>
                    <a:pt x="249" y="122"/>
                  </a:lnTo>
                  <a:lnTo>
                    <a:pt x="250" y="126"/>
                  </a:lnTo>
                  <a:lnTo>
                    <a:pt x="252" y="127"/>
                  </a:lnTo>
                  <a:lnTo>
                    <a:pt x="255" y="127"/>
                  </a:lnTo>
                  <a:lnTo>
                    <a:pt x="257" y="127"/>
                  </a:lnTo>
                  <a:lnTo>
                    <a:pt x="259" y="127"/>
                  </a:lnTo>
                  <a:lnTo>
                    <a:pt x="259" y="128"/>
                  </a:lnTo>
                  <a:lnTo>
                    <a:pt x="259" y="129"/>
                  </a:lnTo>
                  <a:lnTo>
                    <a:pt x="256" y="129"/>
                  </a:lnTo>
                  <a:lnTo>
                    <a:pt x="258" y="132"/>
                  </a:lnTo>
                  <a:lnTo>
                    <a:pt x="259" y="133"/>
                  </a:lnTo>
                  <a:lnTo>
                    <a:pt x="260" y="133"/>
                  </a:lnTo>
                  <a:lnTo>
                    <a:pt x="264" y="135"/>
                  </a:lnTo>
                  <a:lnTo>
                    <a:pt x="266" y="135"/>
                  </a:lnTo>
                  <a:lnTo>
                    <a:pt x="268" y="136"/>
                  </a:lnTo>
                  <a:lnTo>
                    <a:pt x="272" y="136"/>
                  </a:lnTo>
                  <a:lnTo>
                    <a:pt x="268" y="137"/>
                  </a:lnTo>
                  <a:lnTo>
                    <a:pt x="266" y="138"/>
                  </a:lnTo>
                  <a:lnTo>
                    <a:pt x="268" y="140"/>
                  </a:lnTo>
                  <a:lnTo>
                    <a:pt x="265" y="141"/>
                  </a:lnTo>
                  <a:lnTo>
                    <a:pt x="263" y="141"/>
                  </a:lnTo>
                  <a:lnTo>
                    <a:pt x="259" y="140"/>
                  </a:lnTo>
                  <a:lnTo>
                    <a:pt x="259" y="139"/>
                  </a:lnTo>
                  <a:lnTo>
                    <a:pt x="25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3" name="Freeform 223">
              <a:extLst>
                <a:ext uri="{FF2B5EF4-FFF2-40B4-BE49-F238E27FC236}">
                  <a16:creationId xmlns:a16="http://schemas.microsoft.com/office/drawing/2014/main" id="{D20B03B4-FFC7-4B25-9897-7A8F1A946B30}"/>
                </a:ext>
              </a:extLst>
            </p:cNvPr>
            <p:cNvSpPr>
              <a:spLocks/>
            </p:cNvSpPr>
            <p:nvPr/>
          </p:nvSpPr>
          <p:spPr bwMode="auto">
            <a:xfrm>
              <a:off x="8216900" y="4302125"/>
              <a:ext cx="225425" cy="241300"/>
            </a:xfrm>
            <a:custGeom>
              <a:avLst/>
              <a:gdLst>
                <a:gd name="T0" fmla="*/ 19 w 142"/>
                <a:gd name="T1" fmla="*/ 135 h 152"/>
                <a:gd name="T2" fmla="*/ 15 w 142"/>
                <a:gd name="T3" fmla="*/ 121 h 152"/>
                <a:gd name="T4" fmla="*/ 14 w 142"/>
                <a:gd name="T5" fmla="*/ 111 h 152"/>
                <a:gd name="T6" fmla="*/ 8 w 142"/>
                <a:gd name="T7" fmla="*/ 105 h 152"/>
                <a:gd name="T8" fmla="*/ 3 w 142"/>
                <a:gd name="T9" fmla="*/ 93 h 152"/>
                <a:gd name="T10" fmla="*/ 0 w 142"/>
                <a:gd name="T11" fmla="*/ 82 h 152"/>
                <a:gd name="T12" fmla="*/ 3 w 142"/>
                <a:gd name="T13" fmla="*/ 76 h 152"/>
                <a:gd name="T14" fmla="*/ 11 w 142"/>
                <a:gd name="T15" fmla="*/ 68 h 152"/>
                <a:gd name="T16" fmla="*/ 22 w 142"/>
                <a:gd name="T17" fmla="*/ 72 h 152"/>
                <a:gd name="T18" fmla="*/ 30 w 142"/>
                <a:gd name="T19" fmla="*/ 77 h 152"/>
                <a:gd name="T20" fmla="*/ 29 w 142"/>
                <a:gd name="T21" fmla="*/ 74 h 152"/>
                <a:gd name="T22" fmla="*/ 34 w 142"/>
                <a:gd name="T23" fmla="*/ 66 h 152"/>
                <a:gd name="T24" fmla="*/ 34 w 142"/>
                <a:gd name="T25" fmla="*/ 61 h 152"/>
                <a:gd name="T26" fmla="*/ 46 w 142"/>
                <a:gd name="T27" fmla="*/ 56 h 152"/>
                <a:gd name="T28" fmla="*/ 57 w 142"/>
                <a:gd name="T29" fmla="*/ 52 h 152"/>
                <a:gd name="T30" fmla="*/ 67 w 142"/>
                <a:gd name="T31" fmla="*/ 40 h 152"/>
                <a:gd name="T32" fmla="*/ 75 w 142"/>
                <a:gd name="T33" fmla="*/ 33 h 152"/>
                <a:gd name="T34" fmla="*/ 84 w 142"/>
                <a:gd name="T35" fmla="*/ 27 h 152"/>
                <a:gd name="T36" fmla="*/ 85 w 142"/>
                <a:gd name="T37" fmla="*/ 28 h 152"/>
                <a:gd name="T38" fmla="*/ 90 w 142"/>
                <a:gd name="T39" fmla="*/ 24 h 152"/>
                <a:gd name="T40" fmla="*/ 96 w 142"/>
                <a:gd name="T41" fmla="*/ 19 h 152"/>
                <a:gd name="T42" fmla="*/ 102 w 142"/>
                <a:gd name="T43" fmla="*/ 8 h 152"/>
                <a:gd name="T44" fmla="*/ 108 w 142"/>
                <a:gd name="T45" fmla="*/ 6 h 152"/>
                <a:gd name="T46" fmla="*/ 118 w 142"/>
                <a:gd name="T47" fmla="*/ 5 h 152"/>
                <a:gd name="T48" fmla="*/ 123 w 142"/>
                <a:gd name="T49" fmla="*/ 15 h 152"/>
                <a:gd name="T50" fmla="*/ 130 w 142"/>
                <a:gd name="T51" fmla="*/ 16 h 152"/>
                <a:gd name="T52" fmla="*/ 140 w 142"/>
                <a:gd name="T53" fmla="*/ 22 h 152"/>
                <a:gd name="T54" fmla="*/ 132 w 142"/>
                <a:gd name="T55" fmla="*/ 28 h 152"/>
                <a:gd name="T56" fmla="*/ 132 w 142"/>
                <a:gd name="T57" fmla="*/ 36 h 152"/>
                <a:gd name="T58" fmla="*/ 119 w 142"/>
                <a:gd name="T59" fmla="*/ 36 h 152"/>
                <a:gd name="T60" fmla="*/ 119 w 142"/>
                <a:gd name="T61" fmla="*/ 46 h 152"/>
                <a:gd name="T62" fmla="*/ 117 w 142"/>
                <a:gd name="T63" fmla="*/ 53 h 152"/>
                <a:gd name="T64" fmla="*/ 119 w 142"/>
                <a:gd name="T65" fmla="*/ 57 h 152"/>
                <a:gd name="T66" fmla="*/ 123 w 142"/>
                <a:gd name="T67" fmla="*/ 68 h 152"/>
                <a:gd name="T68" fmla="*/ 139 w 142"/>
                <a:gd name="T69" fmla="*/ 82 h 152"/>
                <a:gd name="T70" fmla="*/ 130 w 142"/>
                <a:gd name="T71" fmla="*/ 85 h 152"/>
                <a:gd name="T72" fmla="*/ 120 w 142"/>
                <a:gd name="T73" fmla="*/ 87 h 152"/>
                <a:gd name="T74" fmla="*/ 117 w 142"/>
                <a:gd name="T75" fmla="*/ 100 h 152"/>
                <a:gd name="T76" fmla="*/ 116 w 142"/>
                <a:gd name="T77" fmla="*/ 108 h 152"/>
                <a:gd name="T78" fmla="*/ 108 w 142"/>
                <a:gd name="T79" fmla="*/ 112 h 152"/>
                <a:gd name="T80" fmla="*/ 103 w 142"/>
                <a:gd name="T81" fmla="*/ 120 h 152"/>
                <a:gd name="T82" fmla="*/ 105 w 142"/>
                <a:gd name="T83" fmla="*/ 130 h 152"/>
                <a:gd name="T84" fmla="*/ 100 w 142"/>
                <a:gd name="T85" fmla="*/ 139 h 152"/>
                <a:gd name="T86" fmla="*/ 86 w 142"/>
                <a:gd name="T87" fmla="*/ 149 h 152"/>
                <a:gd name="T88" fmla="*/ 79 w 142"/>
                <a:gd name="T89" fmla="*/ 147 h 152"/>
                <a:gd name="T90" fmla="*/ 74 w 142"/>
                <a:gd name="T91" fmla="*/ 143 h 152"/>
                <a:gd name="T92" fmla="*/ 67 w 142"/>
                <a:gd name="T93" fmla="*/ 143 h 152"/>
                <a:gd name="T94" fmla="*/ 57 w 142"/>
                <a:gd name="T95" fmla="*/ 137 h 152"/>
                <a:gd name="T96" fmla="*/ 46 w 142"/>
                <a:gd name="T97" fmla="*/ 142 h 152"/>
                <a:gd name="T98" fmla="*/ 40 w 142"/>
                <a:gd name="T99" fmla="*/ 136 h 152"/>
                <a:gd name="T100" fmla="*/ 30 w 142"/>
                <a:gd name="T10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 h="152">
                  <a:moveTo>
                    <a:pt x="28" y="135"/>
                  </a:moveTo>
                  <a:lnTo>
                    <a:pt x="26" y="136"/>
                  </a:lnTo>
                  <a:lnTo>
                    <a:pt x="23" y="135"/>
                  </a:lnTo>
                  <a:lnTo>
                    <a:pt x="21" y="136"/>
                  </a:lnTo>
                  <a:lnTo>
                    <a:pt x="19" y="135"/>
                  </a:lnTo>
                  <a:lnTo>
                    <a:pt x="19" y="133"/>
                  </a:lnTo>
                  <a:lnTo>
                    <a:pt x="17" y="129"/>
                  </a:lnTo>
                  <a:lnTo>
                    <a:pt x="17" y="127"/>
                  </a:lnTo>
                  <a:lnTo>
                    <a:pt x="16" y="125"/>
                  </a:lnTo>
                  <a:lnTo>
                    <a:pt x="15" y="121"/>
                  </a:lnTo>
                  <a:lnTo>
                    <a:pt x="15" y="119"/>
                  </a:lnTo>
                  <a:lnTo>
                    <a:pt x="15" y="119"/>
                  </a:lnTo>
                  <a:lnTo>
                    <a:pt x="16" y="116"/>
                  </a:lnTo>
                  <a:lnTo>
                    <a:pt x="15" y="113"/>
                  </a:lnTo>
                  <a:lnTo>
                    <a:pt x="14" y="111"/>
                  </a:lnTo>
                  <a:lnTo>
                    <a:pt x="11" y="109"/>
                  </a:lnTo>
                  <a:lnTo>
                    <a:pt x="8" y="108"/>
                  </a:lnTo>
                  <a:lnTo>
                    <a:pt x="6" y="108"/>
                  </a:lnTo>
                  <a:lnTo>
                    <a:pt x="5" y="105"/>
                  </a:lnTo>
                  <a:lnTo>
                    <a:pt x="8" y="105"/>
                  </a:lnTo>
                  <a:lnTo>
                    <a:pt x="3" y="102"/>
                  </a:lnTo>
                  <a:lnTo>
                    <a:pt x="5" y="99"/>
                  </a:lnTo>
                  <a:lnTo>
                    <a:pt x="4" y="99"/>
                  </a:lnTo>
                  <a:lnTo>
                    <a:pt x="4" y="95"/>
                  </a:lnTo>
                  <a:lnTo>
                    <a:pt x="3" y="93"/>
                  </a:lnTo>
                  <a:lnTo>
                    <a:pt x="0" y="92"/>
                  </a:lnTo>
                  <a:lnTo>
                    <a:pt x="0" y="88"/>
                  </a:lnTo>
                  <a:lnTo>
                    <a:pt x="0" y="86"/>
                  </a:lnTo>
                  <a:lnTo>
                    <a:pt x="0" y="84"/>
                  </a:lnTo>
                  <a:lnTo>
                    <a:pt x="0" y="82"/>
                  </a:lnTo>
                  <a:lnTo>
                    <a:pt x="4" y="78"/>
                  </a:lnTo>
                  <a:lnTo>
                    <a:pt x="5" y="77"/>
                  </a:lnTo>
                  <a:lnTo>
                    <a:pt x="5" y="77"/>
                  </a:lnTo>
                  <a:lnTo>
                    <a:pt x="2" y="79"/>
                  </a:lnTo>
                  <a:lnTo>
                    <a:pt x="3" y="76"/>
                  </a:lnTo>
                  <a:lnTo>
                    <a:pt x="4" y="74"/>
                  </a:lnTo>
                  <a:lnTo>
                    <a:pt x="6" y="71"/>
                  </a:lnTo>
                  <a:lnTo>
                    <a:pt x="9" y="68"/>
                  </a:lnTo>
                  <a:lnTo>
                    <a:pt x="11" y="67"/>
                  </a:lnTo>
                  <a:lnTo>
                    <a:pt x="11" y="68"/>
                  </a:lnTo>
                  <a:lnTo>
                    <a:pt x="13" y="71"/>
                  </a:lnTo>
                  <a:lnTo>
                    <a:pt x="15" y="72"/>
                  </a:lnTo>
                  <a:lnTo>
                    <a:pt x="17" y="72"/>
                  </a:lnTo>
                  <a:lnTo>
                    <a:pt x="20" y="72"/>
                  </a:lnTo>
                  <a:lnTo>
                    <a:pt x="22" y="72"/>
                  </a:lnTo>
                  <a:lnTo>
                    <a:pt x="22" y="74"/>
                  </a:lnTo>
                  <a:lnTo>
                    <a:pt x="24" y="74"/>
                  </a:lnTo>
                  <a:lnTo>
                    <a:pt x="24" y="76"/>
                  </a:lnTo>
                  <a:lnTo>
                    <a:pt x="26" y="75"/>
                  </a:lnTo>
                  <a:lnTo>
                    <a:pt x="30" y="77"/>
                  </a:lnTo>
                  <a:lnTo>
                    <a:pt x="32" y="77"/>
                  </a:lnTo>
                  <a:lnTo>
                    <a:pt x="33" y="77"/>
                  </a:lnTo>
                  <a:lnTo>
                    <a:pt x="34" y="77"/>
                  </a:lnTo>
                  <a:lnTo>
                    <a:pt x="31" y="77"/>
                  </a:lnTo>
                  <a:lnTo>
                    <a:pt x="29" y="74"/>
                  </a:lnTo>
                  <a:lnTo>
                    <a:pt x="31" y="74"/>
                  </a:lnTo>
                  <a:lnTo>
                    <a:pt x="30" y="70"/>
                  </a:lnTo>
                  <a:lnTo>
                    <a:pt x="31" y="68"/>
                  </a:lnTo>
                  <a:lnTo>
                    <a:pt x="32" y="67"/>
                  </a:lnTo>
                  <a:lnTo>
                    <a:pt x="34" y="66"/>
                  </a:lnTo>
                  <a:lnTo>
                    <a:pt x="31" y="67"/>
                  </a:lnTo>
                  <a:lnTo>
                    <a:pt x="31" y="63"/>
                  </a:lnTo>
                  <a:lnTo>
                    <a:pt x="34" y="63"/>
                  </a:lnTo>
                  <a:lnTo>
                    <a:pt x="36" y="63"/>
                  </a:lnTo>
                  <a:lnTo>
                    <a:pt x="34" y="61"/>
                  </a:lnTo>
                  <a:lnTo>
                    <a:pt x="36" y="58"/>
                  </a:lnTo>
                  <a:lnTo>
                    <a:pt x="38" y="57"/>
                  </a:lnTo>
                  <a:lnTo>
                    <a:pt x="40" y="57"/>
                  </a:lnTo>
                  <a:lnTo>
                    <a:pt x="43" y="56"/>
                  </a:lnTo>
                  <a:lnTo>
                    <a:pt x="46" y="56"/>
                  </a:lnTo>
                  <a:lnTo>
                    <a:pt x="48" y="54"/>
                  </a:lnTo>
                  <a:lnTo>
                    <a:pt x="50" y="54"/>
                  </a:lnTo>
                  <a:lnTo>
                    <a:pt x="54" y="53"/>
                  </a:lnTo>
                  <a:lnTo>
                    <a:pt x="56" y="52"/>
                  </a:lnTo>
                  <a:lnTo>
                    <a:pt x="57" y="52"/>
                  </a:lnTo>
                  <a:lnTo>
                    <a:pt x="58" y="50"/>
                  </a:lnTo>
                  <a:lnTo>
                    <a:pt x="60" y="46"/>
                  </a:lnTo>
                  <a:lnTo>
                    <a:pt x="63" y="44"/>
                  </a:lnTo>
                  <a:lnTo>
                    <a:pt x="65" y="42"/>
                  </a:lnTo>
                  <a:lnTo>
                    <a:pt x="67" y="40"/>
                  </a:lnTo>
                  <a:lnTo>
                    <a:pt x="69" y="36"/>
                  </a:lnTo>
                  <a:lnTo>
                    <a:pt x="69" y="34"/>
                  </a:lnTo>
                  <a:lnTo>
                    <a:pt x="69" y="33"/>
                  </a:lnTo>
                  <a:lnTo>
                    <a:pt x="72" y="33"/>
                  </a:lnTo>
                  <a:lnTo>
                    <a:pt x="75" y="33"/>
                  </a:lnTo>
                  <a:lnTo>
                    <a:pt x="77" y="31"/>
                  </a:lnTo>
                  <a:lnTo>
                    <a:pt x="79" y="31"/>
                  </a:lnTo>
                  <a:lnTo>
                    <a:pt x="81" y="28"/>
                  </a:lnTo>
                  <a:lnTo>
                    <a:pt x="82" y="27"/>
                  </a:lnTo>
                  <a:lnTo>
                    <a:pt x="84" y="27"/>
                  </a:lnTo>
                  <a:lnTo>
                    <a:pt x="83" y="28"/>
                  </a:lnTo>
                  <a:lnTo>
                    <a:pt x="84" y="29"/>
                  </a:lnTo>
                  <a:lnTo>
                    <a:pt x="84" y="29"/>
                  </a:lnTo>
                  <a:lnTo>
                    <a:pt x="84" y="29"/>
                  </a:lnTo>
                  <a:lnTo>
                    <a:pt x="85" y="28"/>
                  </a:lnTo>
                  <a:lnTo>
                    <a:pt x="86" y="27"/>
                  </a:lnTo>
                  <a:lnTo>
                    <a:pt x="89" y="27"/>
                  </a:lnTo>
                  <a:lnTo>
                    <a:pt x="90" y="27"/>
                  </a:lnTo>
                  <a:lnTo>
                    <a:pt x="91" y="24"/>
                  </a:lnTo>
                  <a:lnTo>
                    <a:pt x="90" y="24"/>
                  </a:lnTo>
                  <a:lnTo>
                    <a:pt x="89" y="23"/>
                  </a:lnTo>
                  <a:lnTo>
                    <a:pt x="89" y="22"/>
                  </a:lnTo>
                  <a:lnTo>
                    <a:pt x="92" y="20"/>
                  </a:lnTo>
                  <a:lnTo>
                    <a:pt x="92" y="20"/>
                  </a:lnTo>
                  <a:lnTo>
                    <a:pt x="96" y="19"/>
                  </a:lnTo>
                  <a:lnTo>
                    <a:pt x="97" y="17"/>
                  </a:lnTo>
                  <a:lnTo>
                    <a:pt x="97" y="16"/>
                  </a:lnTo>
                  <a:lnTo>
                    <a:pt x="99" y="14"/>
                  </a:lnTo>
                  <a:lnTo>
                    <a:pt x="100" y="11"/>
                  </a:lnTo>
                  <a:lnTo>
                    <a:pt x="102" y="8"/>
                  </a:lnTo>
                  <a:lnTo>
                    <a:pt x="105" y="6"/>
                  </a:lnTo>
                  <a:lnTo>
                    <a:pt x="106" y="2"/>
                  </a:lnTo>
                  <a:lnTo>
                    <a:pt x="109" y="0"/>
                  </a:lnTo>
                  <a:lnTo>
                    <a:pt x="109" y="2"/>
                  </a:lnTo>
                  <a:lnTo>
                    <a:pt x="108" y="6"/>
                  </a:lnTo>
                  <a:lnTo>
                    <a:pt x="110" y="3"/>
                  </a:lnTo>
                  <a:lnTo>
                    <a:pt x="111" y="0"/>
                  </a:lnTo>
                  <a:lnTo>
                    <a:pt x="114" y="2"/>
                  </a:lnTo>
                  <a:lnTo>
                    <a:pt x="116" y="5"/>
                  </a:lnTo>
                  <a:lnTo>
                    <a:pt x="118" y="5"/>
                  </a:lnTo>
                  <a:lnTo>
                    <a:pt x="120" y="8"/>
                  </a:lnTo>
                  <a:lnTo>
                    <a:pt x="120" y="9"/>
                  </a:lnTo>
                  <a:lnTo>
                    <a:pt x="120" y="12"/>
                  </a:lnTo>
                  <a:lnTo>
                    <a:pt x="119" y="15"/>
                  </a:lnTo>
                  <a:lnTo>
                    <a:pt x="123" y="15"/>
                  </a:lnTo>
                  <a:lnTo>
                    <a:pt x="125" y="12"/>
                  </a:lnTo>
                  <a:lnTo>
                    <a:pt x="126" y="16"/>
                  </a:lnTo>
                  <a:lnTo>
                    <a:pt x="124" y="18"/>
                  </a:lnTo>
                  <a:lnTo>
                    <a:pt x="126" y="18"/>
                  </a:lnTo>
                  <a:lnTo>
                    <a:pt x="130" y="16"/>
                  </a:lnTo>
                  <a:lnTo>
                    <a:pt x="130" y="16"/>
                  </a:lnTo>
                  <a:lnTo>
                    <a:pt x="133" y="18"/>
                  </a:lnTo>
                  <a:lnTo>
                    <a:pt x="135" y="19"/>
                  </a:lnTo>
                  <a:lnTo>
                    <a:pt x="137" y="22"/>
                  </a:lnTo>
                  <a:lnTo>
                    <a:pt x="140" y="22"/>
                  </a:lnTo>
                  <a:lnTo>
                    <a:pt x="142" y="23"/>
                  </a:lnTo>
                  <a:lnTo>
                    <a:pt x="140" y="26"/>
                  </a:lnTo>
                  <a:lnTo>
                    <a:pt x="137" y="27"/>
                  </a:lnTo>
                  <a:lnTo>
                    <a:pt x="135" y="27"/>
                  </a:lnTo>
                  <a:lnTo>
                    <a:pt x="132" y="28"/>
                  </a:lnTo>
                  <a:lnTo>
                    <a:pt x="130" y="27"/>
                  </a:lnTo>
                  <a:lnTo>
                    <a:pt x="126" y="28"/>
                  </a:lnTo>
                  <a:lnTo>
                    <a:pt x="128" y="32"/>
                  </a:lnTo>
                  <a:lnTo>
                    <a:pt x="131" y="33"/>
                  </a:lnTo>
                  <a:lnTo>
                    <a:pt x="132" y="36"/>
                  </a:lnTo>
                  <a:lnTo>
                    <a:pt x="130" y="36"/>
                  </a:lnTo>
                  <a:lnTo>
                    <a:pt x="127" y="36"/>
                  </a:lnTo>
                  <a:lnTo>
                    <a:pt x="125" y="37"/>
                  </a:lnTo>
                  <a:lnTo>
                    <a:pt x="122" y="36"/>
                  </a:lnTo>
                  <a:lnTo>
                    <a:pt x="119" y="36"/>
                  </a:lnTo>
                  <a:lnTo>
                    <a:pt x="119" y="39"/>
                  </a:lnTo>
                  <a:lnTo>
                    <a:pt x="117" y="40"/>
                  </a:lnTo>
                  <a:lnTo>
                    <a:pt x="119" y="42"/>
                  </a:lnTo>
                  <a:lnTo>
                    <a:pt x="122" y="45"/>
                  </a:lnTo>
                  <a:lnTo>
                    <a:pt x="119" y="46"/>
                  </a:lnTo>
                  <a:lnTo>
                    <a:pt x="117" y="46"/>
                  </a:lnTo>
                  <a:lnTo>
                    <a:pt x="114" y="48"/>
                  </a:lnTo>
                  <a:lnTo>
                    <a:pt x="116" y="50"/>
                  </a:lnTo>
                  <a:lnTo>
                    <a:pt x="117" y="53"/>
                  </a:lnTo>
                  <a:lnTo>
                    <a:pt x="117" y="53"/>
                  </a:lnTo>
                  <a:lnTo>
                    <a:pt x="119" y="53"/>
                  </a:lnTo>
                  <a:lnTo>
                    <a:pt x="119" y="54"/>
                  </a:lnTo>
                  <a:lnTo>
                    <a:pt x="118" y="54"/>
                  </a:lnTo>
                  <a:lnTo>
                    <a:pt x="118" y="56"/>
                  </a:lnTo>
                  <a:lnTo>
                    <a:pt x="119" y="57"/>
                  </a:lnTo>
                  <a:lnTo>
                    <a:pt x="122" y="58"/>
                  </a:lnTo>
                  <a:lnTo>
                    <a:pt x="123" y="60"/>
                  </a:lnTo>
                  <a:lnTo>
                    <a:pt x="125" y="63"/>
                  </a:lnTo>
                  <a:lnTo>
                    <a:pt x="124" y="66"/>
                  </a:lnTo>
                  <a:lnTo>
                    <a:pt x="123" y="68"/>
                  </a:lnTo>
                  <a:lnTo>
                    <a:pt x="125" y="71"/>
                  </a:lnTo>
                  <a:lnTo>
                    <a:pt x="131" y="76"/>
                  </a:lnTo>
                  <a:lnTo>
                    <a:pt x="133" y="77"/>
                  </a:lnTo>
                  <a:lnTo>
                    <a:pt x="135" y="80"/>
                  </a:lnTo>
                  <a:lnTo>
                    <a:pt x="139" y="82"/>
                  </a:lnTo>
                  <a:lnTo>
                    <a:pt x="139" y="82"/>
                  </a:lnTo>
                  <a:lnTo>
                    <a:pt x="137" y="83"/>
                  </a:lnTo>
                  <a:lnTo>
                    <a:pt x="135" y="85"/>
                  </a:lnTo>
                  <a:lnTo>
                    <a:pt x="132" y="85"/>
                  </a:lnTo>
                  <a:lnTo>
                    <a:pt x="130" y="85"/>
                  </a:lnTo>
                  <a:lnTo>
                    <a:pt x="127" y="84"/>
                  </a:lnTo>
                  <a:lnTo>
                    <a:pt x="124" y="82"/>
                  </a:lnTo>
                  <a:lnTo>
                    <a:pt x="124" y="85"/>
                  </a:lnTo>
                  <a:lnTo>
                    <a:pt x="122" y="85"/>
                  </a:lnTo>
                  <a:lnTo>
                    <a:pt x="120" y="87"/>
                  </a:lnTo>
                  <a:lnTo>
                    <a:pt x="118" y="91"/>
                  </a:lnTo>
                  <a:lnTo>
                    <a:pt x="118" y="93"/>
                  </a:lnTo>
                  <a:lnTo>
                    <a:pt x="118" y="95"/>
                  </a:lnTo>
                  <a:lnTo>
                    <a:pt x="117" y="97"/>
                  </a:lnTo>
                  <a:lnTo>
                    <a:pt x="117" y="100"/>
                  </a:lnTo>
                  <a:lnTo>
                    <a:pt x="117" y="103"/>
                  </a:lnTo>
                  <a:lnTo>
                    <a:pt x="119" y="102"/>
                  </a:lnTo>
                  <a:lnTo>
                    <a:pt x="118" y="104"/>
                  </a:lnTo>
                  <a:lnTo>
                    <a:pt x="117" y="106"/>
                  </a:lnTo>
                  <a:lnTo>
                    <a:pt x="116" y="108"/>
                  </a:lnTo>
                  <a:lnTo>
                    <a:pt x="115" y="106"/>
                  </a:lnTo>
                  <a:lnTo>
                    <a:pt x="115" y="108"/>
                  </a:lnTo>
                  <a:lnTo>
                    <a:pt x="113" y="110"/>
                  </a:lnTo>
                  <a:lnTo>
                    <a:pt x="110" y="112"/>
                  </a:lnTo>
                  <a:lnTo>
                    <a:pt x="108" y="112"/>
                  </a:lnTo>
                  <a:lnTo>
                    <a:pt x="107" y="114"/>
                  </a:lnTo>
                  <a:lnTo>
                    <a:pt x="105" y="116"/>
                  </a:lnTo>
                  <a:lnTo>
                    <a:pt x="103" y="119"/>
                  </a:lnTo>
                  <a:lnTo>
                    <a:pt x="100" y="120"/>
                  </a:lnTo>
                  <a:lnTo>
                    <a:pt x="103" y="120"/>
                  </a:lnTo>
                  <a:lnTo>
                    <a:pt x="103" y="123"/>
                  </a:lnTo>
                  <a:lnTo>
                    <a:pt x="102" y="126"/>
                  </a:lnTo>
                  <a:lnTo>
                    <a:pt x="105" y="127"/>
                  </a:lnTo>
                  <a:lnTo>
                    <a:pt x="105" y="127"/>
                  </a:lnTo>
                  <a:lnTo>
                    <a:pt x="105" y="130"/>
                  </a:lnTo>
                  <a:lnTo>
                    <a:pt x="102" y="130"/>
                  </a:lnTo>
                  <a:lnTo>
                    <a:pt x="102" y="133"/>
                  </a:lnTo>
                  <a:lnTo>
                    <a:pt x="102" y="136"/>
                  </a:lnTo>
                  <a:lnTo>
                    <a:pt x="99" y="137"/>
                  </a:lnTo>
                  <a:lnTo>
                    <a:pt x="100" y="139"/>
                  </a:lnTo>
                  <a:lnTo>
                    <a:pt x="98" y="142"/>
                  </a:lnTo>
                  <a:lnTo>
                    <a:pt x="97" y="145"/>
                  </a:lnTo>
                  <a:lnTo>
                    <a:pt x="92" y="147"/>
                  </a:lnTo>
                  <a:lnTo>
                    <a:pt x="89" y="148"/>
                  </a:lnTo>
                  <a:lnTo>
                    <a:pt x="86" y="149"/>
                  </a:lnTo>
                  <a:lnTo>
                    <a:pt x="83" y="151"/>
                  </a:lnTo>
                  <a:lnTo>
                    <a:pt x="81" y="152"/>
                  </a:lnTo>
                  <a:lnTo>
                    <a:pt x="79" y="152"/>
                  </a:lnTo>
                  <a:lnTo>
                    <a:pt x="79" y="149"/>
                  </a:lnTo>
                  <a:lnTo>
                    <a:pt x="79" y="147"/>
                  </a:lnTo>
                  <a:lnTo>
                    <a:pt x="77" y="144"/>
                  </a:lnTo>
                  <a:lnTo>
                    <a:pt x="77" y="142"/>
                  </a:lnTo>
                  <a:lnTo>
                    <a:pt x="76" y="142"/>
                  </a:lnTo>
                  <a:lnTo>
                    <a:pt x="74" y="143"/>
                  </a:lnTo>
                  <a:lnTo>
                    <a:pt x="74" y="143"/>
                  </a:lnTo>
                  <a:lnTo>
                    <a:pt x="75" y="139"/>
                  </a:lnTo>
                  <a:lnTo>
                    <a:pt x="74" y="140"/>
                  </a:lnTo>
                  <a:lnTo>
                    <a:pt x="72" y="139"/>
                  </a:lnTo>
                  <a:lnTo>
                    <a:pt x="71" y="142"/>
                  </a:lnTo>
                  <a:lnTo>
                    <a:pt x="67" y="143"/>
                  </a:lnTo>
                  <a:lnTo>
                    <a:pt x="65" y="142"/>
                  </a:lnTo>
                  <a:lnTo>
                    <a:pt x="65" y="139"/>
                  </a:lnTo>
                  <a:lnTo>
                    <a:pt x="62" y="140"/>
                  </a:lnTo>
                  <a:lnTo>
                    <a:pt x="59" y="139"/>
                  </a:lnTo>
                  <a:lnTo>
                    <a:pt x="57" y="137"/>
                  </a:lnTo>
                  <a:lnTo>
                    <a:pt x="56" y="139"/>
                  </a:lnTo>
                  <a:lnTo>
                    <a:pt x="52" y="142"/>
                  </a:lnTo>
                  <a:lnTo>
                    <a:pt x="50" y="143"/>
                  </a:lnTo>
                  <a:lnTo>
                    <a:pt x="48" y="142"/>
                  </a:lnTo>
                  <a:lnTo>
                    <a:pt x="46" y="142"/>
                  </a:lnTo>
                  <a:lnTo>
                    <a:pt x="42" y="143"/>
                  </a:lnTo>
                  <a:lnTo>
                    <a:pt x="40" y="144"/>
                  </a:lnTo>
                  <a:lnTo>
                    <a:pt x="40" y="142"/>
                  </a:lnTo>
                  <a:lnTo>
                    <a:pt x="40" y="139"/>
                  </a:lnTo>
                  <a:lnTo>
                    <a:pt x="40" y="136"/>
                  </a:lnTo>
                  <a:lnTo>
                    <a:pt x="39" y="134"/>
                  </a:lnTo>
                  <a:lnTo>
                    <a:pt x="38" y="136"/>
                  </a:lnTo>
                  <a:lnTo>
                    <a:pt x="36" y="136"/>
                  </a:lnTo>
                  <a:lnTo>
                    <a:pt x="32" y="136"/>
                  </a:lnTo>
                  <a:lnTo>
                    <a:pt x="30" y="138"/>
                  </a:lnTo>
                  <a:lnTo>
                    <a:pt x="26" y="138"/>
                  </a:lnTo>
                  <a:lnTo>
                    <a:pt x="28" y="135"/>
                  </a:lnTo>
                  <a:lnTo>
                    <a:pt x="28"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4" name="Freeform 224">
              <a:extLst>
                <a:ext uri="{FF2B5EF4-FFF2-40B4-BE49-F238E27FC236}">
                  <a16:creationId xmlns:a16="http://schemas.microsoft.com/office/drawing/2014/main" id="{8DDCECC2-EE63-4AC0-8B07-B5F35D1EACF5}"/>
                </a:ext>
              </a:extLst>
            </p:cNvPr>
            <p:cNvSpPr>
              <a:spLocks noEditPoints="1"/>
            </p:cNvSpPr>
            <p:nvPr/>
          </p:nvSpPr>
          <p:spPr bwMode="auto">
            <a:xfrm>
              <a:off x="7918450" y="4330700"/>
              <a:ext cx="393700" cy="307975"/>
            </a:xfrm>
            <a:custGeom>
              <a:avLst/>
              <a:gdLst>
                <a:gd name="T0" fmla="*/ 120 w 248"/>
                <a:gd name="T1" fmla="*/ 92 h 194"/>
                <a:gd name="T2" fmla="*/ 127 w 248"/>
                <a:gd name="T3" fmla="*/ 96 h 194"/>
                <a:gd name="T4" fmla="*/ 129 w 248"/>
                <a:gd name="T5" fmla="*/ 104 h 194"/>
                <a:gd name="T6" fmla="*/ 131 w 248"/>
                <a:gd name="T7" fmla="*/ 110 h 194"/>
                <a:gd name="T8" fmla="*/ 133 w 248"/>
                <a:gd name="T9" fmla="*/ 110 h 194"/>
                <a:gd name="T10" fmla="*/ 143 w 248"/>
                <a:gd name="T11" fmla="*/ 112 h 194"/>
                <a:gd name="T12" fmla="*/ 149 w 248"/>
                <a:gd name="T13" fmla="*/ 121 h 194"/>
                <a:gd name="T14" fmla="*/ 146 w 248"/>
                <a:gd name="T15" fmla="*/ 131 h 194"/>
                <a:gd name="T16" fmla="*/ 146 w 248"/>
                <a:gd name="T17" fmla="*/ 142 h 194"/>
                <a:gd name="T18" fmla="*/ 145 w 248"/>
                <a:gd name="T19" fmla="*/ 153 h 194"/>
                <a:gd name="T20" fmla="*/ 140 w 248"/>
                <a:gd name="T21" fmla="*/ 154 h 194"/>
                <a:gd name="T22" fmla="*/ 131 w 248"/>
                <a:gd name="T23" fmla="*/ 154 h 194"/>
                <a:gd name="T24" fmla="*/ 128 w 248"/>
                <a:gd name="T25" fmla="*/ 159 h 194"/>
                <a:gd name="T26" fmla="*/ 123 w 248"/>
                <a:gd name="T27" fmla="*/ 152 h 194"/>
                <a:gd name="T28" fmla="*/ 115 w 248"/>
                <a:gd name="T29" fmla="*/ 145 h 194"/>
                <a:gd name="T30" fmla="*/ 105 w 248"/>
                <a:gd name="T31" fmla="*/ 137 h 194"/>
                <a:gd name="T32" fmla="*/ 97 w 248"/>
                <a:gd name="T33" fmla="*/ 128 h 194"/>
                <a:gd name="T34" fmla="*/ 86 w 248"/>
                <a:gd name="T35" fmla="*/ 120 h 194"/>
                <a:gd name="T36" fmla="*/ 80 w 248"/>
                <a:gd name="T37" fmla="*/ 111 h 194"/>
                <a:gd name="T38" fmla="*/ 75 w 248"/>
                <a:gd name="T39" fmla="*/ 100 h 194"/>
                <a:gd name="T40" fmla="*/ 71 w 248"/>
                <a:gd name="T41" fmla="*/ 90 h 194"/>
                <a:gd name="T42" fmla="*/ 63 w 248"/>
                <a:gd name="T43" fmla="*/ 81 h 194"/>
                <a:gd name="T44" fmla="*/ 55 w 248"/>
                <a:gd name="T45" fmla="*/ 74 h 194"/>
                <a:gd name="T46" fmla="*/ 51 w 248"/>
                <a:gd name="T47" fmla="*/ 64 h 194"/>
                <a:gd name="T48" fmla="*/ 45 w 248"/>
                <a:gd name="T49" fmla="*/ 50 h 194"/>
                <a:gd name="T50" fmla="*/ 37 w 248"/>
                <a:gd name="T51" fmla="*/ 47 h 194"/>
                <a:gd name="T52" fmla="*/ 31 w 248"/>
                <a:gd name="T53" fmla="*/ 38 h 194"/>
                <a:gd name="T54" fmla="*/ 23 w 248"/>
                <a:gd name="T55" fmla="*/ 27 h 194"/>
                <a:gd name="T56" fmla="*/ 13 w 248"/>
                <a:gd name="T57" fmla="*/ 21 h 194"/>
                <a:gd name="T58" fmla="*/ 3 w 248"/>
                <a:gd name="T59" fmla="*/ 10 h 194"/>
                <a:gd name="T60" fmla="*/ 6 w 248"/>
                <a:gd name="T61" fmla="*/ 0 h 194"/>
                <a:gd name="T62" fmla="*/ 17 w 248"/>
                <a:gd name="T63" fmla="*/ 6 h 194"/>
                <a:gd name="T64" fmla="*/ 28 w 248"/>
                <a:gd name="T65" fmla="*/ 7 h 194"/>
                <a:gd name="T66" fmla="*/ 37 w 248"/>
                <a:gd name="T67" fmla="*/ 10 h 194"/>
                <a:gd name="T68" fmla="*/ 42 w 248"/>
                <a:gd name="T69" fmla="*/ 19 h 194"/>
                <a:gd name="T70" fmla="*/ 52 w 248"/>
                <a:gd name="T71" fmla="*/ 27 h 194"/>
                <a:gd name="T72" fmla="*/ 63 w 248"/>
                <a:gd name="T73" fmla="*/ 35 h 194"/>
                <a:gd name="T74" fmla="*/ 66 w 248"/>
                <a:gd name="T75" fmla="*/ 41 h 194"/>
                <a:gd name="T76" fmla="*/ 72 w 248"/>
                <a:gd name="T77" fmla="*/ 45 h 194"/>
                <a:gd name="T78" fmla="*/ 79 w 248"/>
                <a:gd name="T79" fmla="*/ 52 h 194"/>
                <a:gd name="T80" fmla="*/ 82 w 248"/>
                <a:gd name="T81" fmla="*/ 49 h 194"/>
                <a:gd name="T82" fmla="*/ 91 w 248"/>
                <a:gd name="T83" fmla="*/ 56 h 194"/>
                <a:gd name="T84" fmla="*/ 97 w 248"/>
                <a:gd name="T85" fmla="*/ 64 h 194"/>
                <a:gd name="T86" fmla="*/ 107 w 248"/>
                <a:gd name="T87" fmla="*/ 68 h 194"/>
                <a:gd name="T88" fmla="*/ 100 w 248"/>
                <a:gd name="T89" fmla="*/ 75 h 194"/>
                <a:gd name="T90" fmla="*/ 107 w 248"/>
                <a:gd name="T91" fmla="*/ 73 h 194"/>
                <a:gd name="T92" fmla="*/ 118 w 248"/>
                <a:gd name="T93" fmla="*/ 76 h 194"/>
                <a:gd name="T94" fmla="*/ 111 w 248"/>
                <a:gd name="T95" fmla="*/ 83 h 194"/>
                <a:gd name="T96" fmla="*/ 112 w 248"/>
                <a:gd name="T97" fmla="*/ 85 h 194"/>
                <a:gd name="T98" fmla="*/ 248 w 248"/>
                <a:gd name="T9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8" h="194">
                  <a:moveTo>
                    <a:pt x="112" y="88"/>
                  </a:moveTo>
                  <a:lnTo>
                    <a:pt x="116" y="90"/>
                  </a:lnTo>
                  <a:lnTo>
                    <a:pt x="118" y="92"/>
                  </a:lnTo>
                  <a:lnTo>
                    <a:pt x="120" y="92"/>
                  </a:lnTo>
                  <a:lnTo>
                    <a:pt x="124" y="92"/>
                  </a:lnTo>
                  <a:lnTo>
                    <a:pt x="124" y="92"/>
                  </a:lnTo>
                  <a:lnTo>
                    <a:pt x="126" y="93"/>
                  </a:lnTo>
                  <a:lnTo>
                    <a:pt x="127" y="96"/>
                  </a:lnTo>
                  <a:lnTo>
                    <a:pt x="127" y="99"/>
                  </a:lnTo>
                  <a:lnTo>
                    <a:pt x="128" y="101"/>
                  </a:lnTo>
                  <a:lnTo>
                    <a:pt x="128" y="102"/>
                  </a:lnTo>
                  <a:lnTo>
                    <a:pt x="129" y="104"/>
                  </a:lnTo>
                  <a:lnTo>
                    <a:pt x="133" y="105"/>
                  </a:lnTo>
                  <a:lnTo>
                    <a:pt x="132" y="108"/>
                  </a:lnTo>
                  <a:lnTo>
                    <a:pt x="129" y="110"/>
                  </a:lnTo>
                  <a:lnTo>
                    <a:pt x="131" y="110"/>
                  </a:lnTo>
                  <a:lnTo>
                    <a:pt x="131" y="113"/>
                  </a:lnTo>
                  <a:lnTo>
                    <a:pt x="128" y="116"/>
                  </a:lnTo>
                  <a:lnTo>
                    <a:pt x="131" y="112"/>
                  </a:lnTo>
                  <a:lnTo>
                    <a:pt x="133" y="110"/>
                  </a:lnTo>
                  <a:lnTo>
                    <a:pt x="135" y="110"/>
                  </a:lnTo>
                  <a:lnTo>
                    <a:pt x="137" y="110"/>
                  </a:lnTo>
                  <a:lnTo>
                    <a:pt x="140" y="110"/>
                  </a:lnTo>
                  <a:lnTo>
                    <a:pt x="143" y="112"/>
                  </a:lnTo>
                  <a:lnTo>
                    <a:pt x="145" y="115"/>
                  </a:lnTo>
                  <a:lnTo>
                    <a:pt x="145" y="118"/>
                  </a:lnTo>
                  <a:lnTo>
                    <a:pt x="149" y="119"/>
                  </a:lnTo>
                  <a:lnTo>
                    <a:pt x="149" y="121"/>
                  </a:lnTo>
                  <a:lnTo>
                    <a:pt x="148" y="124"/>
                  </a:lnTo>
                  <a:lnTo>
                    <a:pt x="146" y="127"/>
                  </a:lnTo>
                  <a:lnTo>
                    <a:pt x="146" y="129"/>
                  </a:lnTo>
                  <a:lnTo>
                    <a:pt x="146" y="131"/>
                  </a:lnTo>
                  <a:lnTo>
                    <a:pt x="145" y="135"/>
                  </a:lnTo>
                  <a:lnTo>
                    <a:pt x="145" y="137"/>
                  </a:lnTo>
                  <a:lnTo>
                    <a:pt x="146" y="139"/>
                  </a:lnTo>
                  <a:lnTo>
                    <a:pt x="146" y="142"/>
                  </a:lnTo>
                  <a:lnTo>
                    <a:pt x="146" y="145"/>
                  </a:lnTo>
                  <a:lnTo>
                    <a:pt x="146" y="147"/>
                  </a:lnTo>
                  <a:lnTo>
                    <a:pt x="146" y="150"/>
                  </a:lnTo>
                  <a:lnTo>
                    <a:pt x="145" y="153"/>
                  </a:lnTo>
                  <a:lnTo>
                    <a:pt x="145" y="155"/>
                  </a:lnTo>
                  <a:lnTo>
                    <a:pt x="144" y="159"/>
                  </a:lnTo>
                  <a:lnTo>
                    <a:pt x="142" y="155"/>
                  </a:lnTo>
                  <a:lnTo>
                    <a:pt x="140" y="154"/>
                  </a:lnTo>
                  <a:lnTo>
                    <a:pt x="137" y="154"/>
                  </a:lnTo>
                  <a:lnTo>
                    <a:pt x="136" y="156"/>
                  </a:lnTo>
                  <a:lnTo>
                    <a:pt x="133" y="155"/>
                  </a:lnTo>
                  <a:lnTo>
                    <a:pt x="131" y="154"/>
                  </a:lnTo>
                  <a:lnTo>
                    <a:pt x="128" y="154"/>
                  </a:lnTo>
                  <a:lnTo>
                    <a:pt x="129" y="156"/>
                  </a:lnTo>
                  <a:lnTo>
                    <a:pt x="128" y="159"/>
                  </a:lnTo>
                  <a:lnTo>
                    <a:pt x="128" y="159"/>
                  </a:lnTo>
                  <a:lnTo>
                    <a:pt x="127" y="158"/>
                  </a:lnTo>
                  <a:lnTo>
                    <a:pt x="125" y="155"/>
                  </a:lnTo>
                  <a:lnTo>
                    <a:pt x="125" y="154"/>
                  </a:lnTo>
                  <a:lnTo>
                    <a:pt x="123" y="152"/>
                  </a:lnTo>
                  <a:lnTo>
                    <a:pt x="120" y="150"/>
                  </a:lnTo>
                  <a:lnTo>
                    <a:pt x="118" y="146"/>
                  </a:lnTo>
                  <a:lnTo>
                    <a:pt x="116" y="145"/>
                  </a:lnTo>
                  <a:lnTo>
                    <a:pt x="115" y="145"/>
                  </a:lnTo>
                  <a:lnTo>
                    <a:pt x="112" y="143"/>
                  </a:lnTo>
                  <a:lnTo>
                    <a:pt x="109" y="142"/>
                  </a:lnTo>
                  <a:lnTo>
                    <a:pt x="107" y="139"/>
                  </a:lnTo>
                  <a:lnTo>
                    <a:pt x="105" y="137"/>
                  </a:lnTo>
                  <a:lnTo>
                    <a:pt x="101" y="135"/>
                  </a:lnTo>
                  <a:lnTo>
                    <a:pt x="99" y="133"/>
                  </a:lnTo>
                  <a:lnTo>
                    <a:pt x="98" y="130"/>
                  </a:lnTo>
                  <a:lnTo>
                    <a:pt x="97" y="128"/>
                  </a:lnTo>
                  <a:lnTo>
                    <a:pt x="94" y="126"/>
                  </a:lnTo>
                  <a:lnTo>
                    <a:pt x="91" y="124"/>
                  </a:lnTo>
                  <a:lnTo>
                    <a:pt x="89" y="122"/>
                  </a:lnTo>
                  <a:lnTo>
                    <a:pt x="86" y="120"/>
                  </a:lnTo>
                  <a:lnTo>
                    <a:pt x="85" y="117"/>
                  </a:lnTo>
                  <a:lnTo>
                    <a:pt x="83" y="115"/>
                  </a:lnTo>
                  <a:lnTo>
                    <a:pt x="80" y="111"/>
                  </a:lnTo>
                  <a:lnTo>
                    <a:pt x="80" y="111"/>
                  </a:lnTo>
                  <a:lnTo>
                    <a:pt x="79" y="108"/>
                  </a:lnTo>
                  <a:lnTo>
                    <a:pt x="79" y="105"/>
                  </a:lnTo>
                  <a:lnTo>
                    <a:pt x="77" y="102"/>
                  </a:lnTo>
                  <a:lnTo>
                    <a:pt x="75" y="100"/>
                  </a:lnTo>
                  <a:lnTo>
                    <a:pt x="74" y="98"/>
                  </a:lnTo>
                  <a:lnTo>
                    <a:pt x="72" y="94"/>
                  </a:lnTo>
                  <a:lnTo>
                    <a:pt x="72" y="92"/>
                  </a:lnTo>
                  <a:lnTo>
                    <a:pt x="71" y="90"/>
                  </a:lnTo>
                  <a:lnTo>
                    <a:pt x="68" y="86"/>
                  </a:lnTo>
                  <a:lnTo>
                    <a:pt x="66" y="84"/>
                  </a:lnTo>
                  <a:lnTo>
                    <a:pt x="65" y="83"/>
                  </a:lnTo>
                  <a:lnTo>
                    <a:pt x="63" y="81"/>
                  </a:lnTo>
                  <a:lnTo>
                    <a:pt x="63" y="77"/>
                  </a:lnTo>
                  <a:lnTo>
                    <a:pt x="59" y="76"/>
                  </a:lnTo>
                  <a:lnTo>
                    <a:pt x="57" y="75"/>
                  </a:lnTo>
                  <a:lnTo>
                    <a:pt x="55" y="74"/>
                  </a:lnTo>
                  <a:lnTo>
                    <a:pt x="54" y="71"/>
                  </a:lnTo>
                  <a:lnTo>
                    <a:pt x="54" y="69"/>
                  </a:lnTo>
                  <a:lnTo>
                    <a:pt x="52" y="66"/>
                  </a:lnTo>
                  <a:lnTo>
                    <a:pt x="51" y="64"/>
                  </a:lnTo>
                  <a:lnTo>
                    <a:pt x="50" y="61"/>
                  </a:lnTo>
                  <a:lnTo>
                    <a:pt x="49" y="58"/>
                  </a:lnTo>
                  <a:lnTo>
                    <a:pt x="50" y="56"/>
                  </a:lnTo>
                  <a:lnTo>
                    <a:pt x="45" y="50"/>
                  </a:lnTo>
                  <a:lnTo>
                    <a:pt x="42" y="49"/>
                  </a:lnTo>
                  <a:lnTo>
                    <a:pt x="39" y="48"/>
                  </a:lnTo>
                  <a:lnTo>
                    <a:pt x="39" y="47"/>
                  </a:lnTo>
                  <a:lnTo>
                    <a:pt x="37" y="47"/>
                  </a:lnTo>
                  <a:lnTo>
                    <a:pt x="34" y="44"/>
                  </a:lnTo>
                  <a:lnTo>
                    <a:pt x="34" y="41"/>
                  </a:lnTo>
                  <a:lnTo>
                    <a:pt x="33" y="39"/>
                  </a:lnTo>
                  <a:lnTo>
                    <a:pt x="31" y="38"/>
                  </a:lnTo>
                  <a:lnTo>
                    <a:pt x="29" y="35"/>
                  </a:lnTo>
                  <a:lnTo>
                    <a:pt x="26" y="32"/>
                  </a:lnTo>
                  <a:lnTo>
                    <a:pt x="25" y="30"/>
                  </a:lnTo>
                  <a:lnTo>
                    <a:pt x="23" y="27"/>
                  </a:lnTo>
                  <a:lnTo>
                    <a:pt x="20" y="26"/>
                  </a:lnTo>
                  <a:lnTo>
                    <a:pt x="17" y="25"/>
                  </a:lnTo>
                  <a:lnTo>
                    <a:pt x="15" y="23"/>
                  </a:lnTo>
                  <a:lnTo>
                    <a:pt x="13" y="21"/>
                  </a:lnTo>
                  <a:lnTo>
                    <a:pt x="9" y="18"/>
                  </a:lnTo>
                  <a:lnTo>
                    <a:pt x="7" y="15"/>
                  </a:lnTo>
                  <a:lnTo>
                    <a:pt x="5" y="13"/>
                  </a:lnTo>
                  <a:lnTo>
                    <a:pt x="3" y="10"/>
                  </a:lnTo>
                  <a:lnTo>
                    <a:pt x="0" y="5"/>
                  </a:lnTo>
                  <a:lnTo>
                    <a:pt x="0" y="2"/>
                  </a:lnTo>
                  <a:lnTo>
                    <a:pt x="4" y="0"/>
                  </a:lnTo>
                  <a:lnTo>
                    <a:pt x="6" y="0"/>
                  </a:lnTo>
                  <a:lnTo>
                    <a:pt x="8" y="1"/>
                  </a:lnTo>
                  <a:lnTo>
                    <a:pt x="12" y="5"/>
                  </a:lnTo>
                  <a:lnTo>
                    <a:pt x="14" y="6"/>
                  </a:lnTo>
                  <a:lnTo>
                    <a:pt x="17" y="6"/>
                  </a:lnTo>
                  <a:lnTo>
                    <a:pt x="20" y="6"/>
                  </a:lnTo>
                  <a:lnTo>
                    <a:pt x="22" y="6"/>
                  </a:lnTo>
                  <a:lnTo>
                    <a:pt x="25" y="6"/>
                  </a:lnTo>
                  <a:lnTo>
                    <a:pt x="28" y="7"/>
                  </a:lnTo>
                  <a:lnTo>
                    <a:pt x="31" y="6"/>
                  </a:lnTo>
                  <a:lnTo>
                    <a:pt x="32" y="6"/>
                  </a:lnTo>
                  <a:lnTo>
                    <a:pt x="34" y="8"/>
                  </a:lnTo>
                  <a:lnTo>
                    <a:pt x="37" y="10"/>
                  </a:lnTo>
                  <a:lnTo>
                    <a:pt x="38" y="13"/>
                  </a:lnTo>
                  <a:lnTo>
                    <a:pt x="41" y="16"/>
                  </a:lnTo>
                  <a:lnTo>
                    <a:pt x="42" y="18"/>
                  </a:lnTo>
                  <a:lnTo>
                    <a:pt x="42" y="19"/>
                  </a:lnTo>
                  <a:lnTo>
                    <a:pt x="45" y="22"/>
                  </a:lnTo>
                  <a:lnTo>
                    <a:pt x="47" y="24"/>
                  </a:lnTo>
                  <a:lnTo>
                    <a:pt x="49" y="26"/>
                  </a:lnTo>
                  <a:lnTo>
                    <a:pt x="52" y="27"/>
                  </a:lnTo>
                  <a:lnTo>
                    <a:pt x="55" y="28"/>
                  </a:lnTo>
                  <a:lnTo>
                    <a:pt x="58" y="31"/>
                  </a:lnTo>
                  <a:lnTo>
                    <a:pt x="60" y="33"/>
                  </a:lnTo>
                  <a:lnTo>
                    <a:pt x="63" y="35"/>
                  </a:lnTo>
                  <a:lnTo>
                    <a:pt x="64" y="36"/>
                  </a:lnTo>
                  <a:lnTo>
                    <a:pt x="66" y="39"/>
                  </a:lnTo>
                  <a:lnTo>
                    <a:pt x="66" y="42"/>
                  </a:lnTo>
                  <a:lnTo>
                    <a:pt x="66" y="41"/>
                  </a:lnTo>
                  <a:lnTo>
                    <a:pt x="67" y="43"/>
                  </a:lnTo>
                  <a:lnTo>
                    <a:pt x="68" y="43"/>
                  </a:lnTo>
                  <a:lnTo>
                    <a:pt x="71" y="43"/>
                  </a:lnTo>
                  <a:lnTo>
                    <a:pt x="72" y="45"/>
                  </a:lnTo>
                  <a:lnTo>
                    <a:pt x="74" y="48"/>
                  </a:lnTo>
                  <a:lnTo>
                    <a:pt x="76" y="50"/>
                  </a:lnTo>
                  <a:lnTo>
                    <a:pt x="79" y="52"/>
                  </a:lnTo>
                  <a:lnTo>
                    <a:pt x="79" y="52"/>
                  </a:lnTo>
                  <a:lnTo>
                    <a:pt x="79" y="50"/>
                  </a:lnTo>
                  <a:lnTo>
                    <a:pt x="77" y="48"/>
                  </a:lnTo>
                  <a:lnTo>
                    <a:pt x="80" y="47"/>
                  </a:lnTo>
                  <a:lnTo>
                    <a:pt x="82" y="49"/>
                  </a:lnTo>
                  <a:lnTo>
                    <a:pt x="84" y="51"/>
                  </a:lnTo>
                  <a:lnTo>
                    <a:pt x="85" y="54"/>
                  </a:lnTo>
                  <a:lnTo>
                    <a:pt x="88" y="54"/>
                  </a:lnTo>
                  <a:lnTo>
                    <a:pt x="91" y="56"/>
                  </a:lnTo>
                  <a:lnTo>
                    <a:pt x="93" y="58"/>
                  </a:lnTo>
                  <a:lnTo>
                    <a:pt x="96" y="60"/>
                  </a:lnTo>
                  <a:lnTo>
                    <a:pt x="96" y="61"/>
                  </a:lnTo>
                  <a:lnTo>
                    <a:pt x="97" y="64"/>
                  </a:lnTo>
                  <a:lnTo>
                    <a:pt x="99" y="66"/>
                  </a:lnTo>
                  <a:lnTo>
                    <a:pt x="101" y="68"/>
                  </a:lnTo>
                  <a:lnTo>
                    <a:pt x="103" y="68"/>
                  </a:lnTo>
                  <a:lnTo>
                    <a:pt x="107" y="68"/>
                  </a:lnTo>
                  <a:lnTo>
                    <a:pt x="108" y="71"/>
                  </a:lnTo>
                  <a:lnTo>
                    <a:pt x="106" y="73"/>
                  </a:lnTo>
                  <a:lnTo>
                    <a:pt x="103" y="74"/>
                  </a:lnTo>
                  <a:lnTo>
                    <a:pt x="100" y="75"/>
                  </a:lnTo>
                  <a:lnTo>
                    <a:pt x="99" y="74"/>
                  </a:lnTo>
                  <a:lnTo>
                    <a:pt x="102" y="75"/>
                  </a:lnTo>
                  <a:lnTo>
                    <a:pt x="105" y="74"/>
                  </a:lnTo>
                  <a:lnTo>
                    <a:pt x="107" y="73"/>
                  </a:lnTo>
                  <a:lnTo>
                    <a:pt x="110" y="71"/>
                  </a:lnTo>
                  <a:lnTo>
                    <a:pt x="112" y="70"/>
                  </a:lnTo>
                  <a:lnTo>
                    <a:pt x="115" y="74"/>
                  </a:lnTo>
                  <a:lnTo>
                    <a:pt x="118" y="76"/>
                  </a:lnTo>
                  <a:lnTo>
                    <a:pt x="118" y="77"/>
                  </a:lnTo>
                  <a:lnTo>
                    <a:pt x="117" y="78"/>
                  </a:lnTo>
                  <a:lnTo>
                    <a:pt x="114" y="81"/>
                  </a:lnTo>
                  <a:lnTo>
                    <a:pt x="111" y="83"/>
                  </a:lnTo>
                  <a:lnTo>
                    <a:pt x="112" y="83"/>
                  </a:lnTo>
                  <a:lnTo>
                    <a:pt x="115" y="84"/>
                  </a:lnTo>
                  <a:lnTo>
                    <a:pt x="112" y="84"/>
                  </a:lnTo>
                  <a:lnTo>
                    <a:pt x="112" y="85"/>
                  </a:lnTo>
                  <a:lnTo>
                    <a:pt x="112" y="88"/>
                  </a:lnTo>
                  <a:lnTo>
                    <a:pt x="112" y="88"/>
                  </a:lnTo>
                  <a:close/>
                  <a:moveTo>
                    <a:pt x="248" y="194"/>
                  </a:moveTo>
                  <a:lnTo>
                    <a:pt x="248" y="194"/>
                  </a:lnTo>
                  <a:lnTo>
                    <a:pt x="248" y="194"/>
                  </a:lnTo>
                  <a:lnTo>
                    <a:pt x="248"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5" name="Freeform 225">
              <a:extLst>
                <a:ext uri="{FF2B5EF4-FFF2-40B4-BE49-F238E27FC236}">
                  <a16:creationId xmlns:a16="http://schemas.microsoft.com/office/drawing/2014/main" id="{71557924-DBDC-4786-AEF5-8000AD39455A}"/>
                </a:ext>
              </a:extLst>
            </p:cNvPr>
            <p:cNvSpPr>
              <a:spLocks noEditPoints="1"/>
            </p:cNvSpPr>
            <p:nvPr/>
          </p:nvSpPr>
          <p:spPr bwMode="auto">
            <a:xfrm>
              <a:off x="4044950" y="2201863"/>
              <a:ext cx="2239962" cy="3606800"/>
            </a:xfrm>
            <a:custGeom>
              <a:avLst/>
              <a:gdLst>
                <a:gd name="T0" fmla="*/ 178 w 1411"/>
                <a:gd name="T1" fmla="*/ 2262 h 2272"/>
                <a:gd name="T2" fmla="*/ 312 w 1411"/>
                <a:gd name="T3" fmla="*/ 2194 h 2272"/>
                <a:gd name="T4" fmla="*/ 230 w 1411"/>
                <a:gd name="T5" fmla="*/ 2250 h 2272"/>
                <a:gd name="T6" fmla="*/ 185 w 1411"/>
                <a:gd name="T7" fmla="*/ 2212 h 2272"/>
                <a:gd name="T8" fmla="*/ 177 w 1411"/>
                <a:gd name="T9" fmla="*/ 2239 h 2272"/>
                <a:gd name="T10" fmla="*/ 161 w 1411"/>
                <a:gd name="T11" fmla="*/ 2248 h 2272"/>
                <a:gd name="T12" fmla="*/ 188 w 1411"/>
                <a:gd name="T13" fmla="*/ 2257 h 2272"/>
                <a:gd name="T14" fmla="*/ 244 w 1411"/>
                <a:gd name="T15" fmla="*/ 2253 h 2272"/>
                <a:gd name="T16" fmla="*/ 587 w 1411"/>
                <a:gd name="T17" fmla="*/ 1458 h 2272"/>
                <a:gd name="T18" fmla="*/ 525 w 1411"/>
                <a:gd name="T19" fmla="*/ 1461 h 2272"/>
                <a:gd name="T20" fmla="*/ 478 w 1411"/>
                <a:gd name="T21" fmla="*/ 1428 h 2272"/>
                <a:gd name="T22" fmla="*/ 441 w 1411"/>
                <a:gd name="T23" fmla="*/ 1439 h 2272"/>
                <a:gd name="T24" fmla="*/ 452 w 1411"/>
                <a:gd name="T25" fmla="*/ 1401 h 2272"/>
                <a:gd name="T26" fmla="*/ 424 w 1411"/>
                <a:gd name="T27" fmla="*/ 1354 h 2272"/>
                <a:gd name="T28" fmla="*/ 356 w 1411"/>
                <a:gd name="T29" fmla="*/ 1337 h 2272"/>
                <a:gd name="T30" fmla="*/ 322 w 1411"/>
                <a:gd name="T31" fmla="*/ 1307 h 2272"/>
                <a:gd name="T32" fmla="*/ 285 w 1411"/>
                <a:gd name="T33" fmla="*/ 1287 h 2272"/>
                <a:gd name="T34" fmla="*/ 261 w 1411"/>
                <a:gd name="T35" fmla="*/ 1272 h 2272"/>
                <a:gd name="T36" fmla="*/ 175 w 1411"/>
                <a:gd name="T37" fmla="*/ 1252 h 2272"/>
                <a:gd name="T38" fmla="*/ 151 w 1411"/>
                <a:gd name="T39" fmla="*/ 1281 h 2272"/>
                <a:gd name="T40" fmla="*/ 119 w 1411"/>
                <a:gd name="T41" fmla="*/ 1269 h 2272"/>
                <a:gd name="T42" fmla="*/ 84 w 1411"/>
                <a:gd name="T43" fmla="*/ 1307 h 2272"/>
                <a:gd name="T44" fmla="*/ 17 w 1411"/>
                <a:gd name="T45" fmla="*/ 1296 h 2272"/>
                <a:gd name="T46" fmla="*/ 12 w 1411"/>
                <a:gd name="T47" fmla="*/ 1306 h 2272"/>
                <a:gd name="T48" fmla="*/ 60 w 1411"/>
                <a:gd name="T49" fmla="*/ 1299 h 2272"/>
                <a:gd name="T50" fmla="*/ 76 w 1411"/>
                <a:gd name="T51" fmla="*/ 1364 h 2272"/>
                <a:gd name="T52" fmla="*/ 43 w 1411"/>
                <a:gd name="T53" fmla="*/ 1407 h 2272"/>
                <a:gd name="T54" fmla="*/ 41 w 1411"/>
                <a:gd name="T55" fmla="*/ 1452 h 2272"/>
                <a:gd name="T56" fmla="*/ 29 w 1411"/>
                <a:gd name="T57" fmla="*/ 1496 h 2272"/>
                <a:gd name="T58" fmla="*/ 85 w 1411"/>
                <a:gd name="T59" fmla="*/ 1590 h 2272"/>
                <a:gd name="T60" fmla="*/ 159 w 1411"/>
                <a:gd name="T61" fmla="*/ 1660 h 2272"/>
                <a:gd name="T62" fmla="*/ 169 w 1411"/>
                <a:gd name="T63" fmla="*/ 1776 h 2272"/>
                <a:gd name="T64" fmla="*/ 155 w 1411"/>
                <a:gd name="T65" fmla="*/ 1888 h 2272"/>
                <a:gd name="T66" fmla="*/ 131 w 1411"/>
                <a:gd name="T67" fmla="*/ 1966 h 2272"/>
                <a:gd name="T68" fmla="*/ 142 w 1411"/>
                <a:gd name="T69" fmla="*/ 2025 h 2272"/>
                <a:gd name="T70" fmla="*/ 141 w 1411"/>
                <a:gd name="T71" fmla="*/ 2075 h 2272"/>
                <a:gd name="T72" fmla="*/ 125 w 1411"/>
                <a:gd name="T73" fmla="*/ 2102 h 2272"/>
                <a:gd name="T74" fmla="*/ 109 w 1411"/>
                <a:gd name="T75" fmla="*/ 2108 h 2272"/>
                <a:gd name="T76" fmla="*/ 131 w 1411"/>
                <a:gd name="T77" fmla="*/ 2134 h 2272"/>
                <a:gd name="T78" fmla="*/ 125 w 1411"/>
                <a:gd name="T79" fmla="*/ 2154 h 2272"/>
                <a:gd name="T80" fmla="*/ 121 w 1411"/>
                <a:gd name="T81" fmla="*/ 2178 h 2272"/>
                <a:gd name="T82" fmla="*/ 133 w 1411"/>
                <a:gd name="T83" fmla="*/ 2203 h 2272"/>
                <a:gd name="T84" fmla="*/ 128 w 1411"/>
                <a:gd name="T85" fmla="*/ 2205 h 2272"/>
                <a:gd name="T86" fmla="*/ 144 w 1411"/>
                <a:gd name="T87" fmla="*/ 2219 h 2272"/>
                <a:gd name="T88" fmla="*/ 153 w 1411"/>
                <a:gd name="T89" fmla="*/ 2230 h 2272"/>
                <a:gd name="T90" fmla="*/ 198 w 1411"/>
                <a:gd name="T91" fmla="*/ 2209 h 2272"/>
                <a:gd name="T92" fmla="*/ 192 w 1411"/>
                <a:gd name="T93" fmla="*/ 2167 h 2272"/>
                <a:gd name="T94" fmla="*/ 230 w 1411"/>
                <a:gd name="T95" fmla="*/ 2128 h 2272"/>
                <a:gd name="T96" fmla="*/ 243 w 1411"/>
                <a:gd name="T97" fmla="*/ 2067 h 2272"/>
                <a:gd name="T98" fmla="*/ 249 w 1411"/>
                <a:gd name="T99" fmla="*/ 2033 h 2272"/>
                <a:gd name="T100" fmla="*/ 288 w 1411"/>
                <a:gd name="T101" fmla="*/ 1981 h 2272"/>
                <a:gd name="T102" fmla="*/ 345 w 1411"/>
                <a:gd name="T103" fmla="*/ 1916 h 2272"/>
                <a:gd name="T104" fmla="*/ 347 w 1411"/>
                <a:gd name="T105" fmla="*/ 1910 h 2272"/>
                <a:gd name="T106" fmla="*/ 427 w 1411"/>
                <a:gd name="T107" fmla="*/ 1861 h 2272"/>
                <a:gd name="T108" fmla="*/ 442 w 1411"/>
                <a:gd name="T109" fmla="*/ 1858 h 2272"/>
                <a:gd name="T110" fmla="*/ 478 w 1411"/>
                <a:gd name="T111" fmla="*/ 1768 h 2272"/>
                <a:gd name="T112" fmla="*/ 545 w 1411"/>
                <a:gd name="T113" fmla="*/ 1739 h 2272"/>
                <a:gd name="T114" fmla="*/ 593 w 1411"/>
                <a:gd name="T115" fmla="*/ 1685 h 2272"/>
                <a:gd name="T116" fmla="*/ 623 w 1411"/>
                <a:gd name="T117" fmla="*/ 1577 h 2272"/>
                <a:gd name="T118" fmla="*/ 195 w 1411"/>
                <a:gd name="T119" fmla="*/ 1646 h 2272"/>
                <a:gd name="T120" fmla="*/ 196 w 1411"/>
                <a:gd name="T121" fmla="*/ 1642 h 2272"/>
                <a:gd name="T122" fmla="*/ 329 w 1411"/>
                <a:gd name="T123" fmla="*/ 2200 h 2272"/>
                <a:gd name="T124" fmla="*/ 472 w 1411"/>
                <a:gd name="T125" fmla="*/ 142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1" h="2272">
                  <a:moveTo>
                    <a:pt x="1407" y="1"/>
                  </a:moveTo>
                  <a:lnTo>
                    <a:pt x="1411" y="1"/>
                  </a:lnTo>
                  <a:lnTo>
                    <a:pt x="1411" y="0"/>
                  </a:lnTo>
                  <a:lnTo>
                    <a:pt x="1407" y="1"/>
                  </a:lnTo>
                  <a:close/>
                  <a:moveTo>
                    <a:pt x="202" y="2266"/>
                  </a:moveTo>
                  <a:lnTo>
                    <a:pt x="200" y="2265"/>
                  </a:lnTo>
                  <a:lnTo>
                    <a:pt x="196" y="2264"/>
                  </a:lnTo>
                  <a:lnTo>
                    <a:pt x="200" y="2264"/>
                  </a:lnTo>
                  <a:lnTo>
                    <a:pt x="202" y="2264"/>
                  </a:lnTo>
                  <a:lnTo>
                    <a:pt x="200" y="2262"/>
                  </a:lnTo>
                  <a:lnTo>
                    <a:pt x="196" y="2262"/>
                  </a:lnTo>
                  <a:lnTo>
                    <a:pt x="194" y="2262"/>
                  </a:lnTo>
                  <a:lnTo>
                    <a:pt x="191" y="2260"/>
                  </a:lnTo>
                  <a:lnTo>
                    <a:pt x="194" y="2261"/>
                  </a:lnTo>
                  <a:lnTo>
                    <a:pt x="196" y="2262"/>
                  </a:lnTo>
                  <a:lnTo>
                    <a:pt x="200" y="2261"/>
                  </a:lnTo>
                  <a:lnTo>
                    <a:pt x="200" y="2258"/>
                  </a:lnTo>
                  <a:lnTo>
                    <a:pt x="198" y="2257"/>
                  </a:lnTo>
                  <a:lnTo>
                    <a:pt x="194" y="2258"/>
                  </a:lnTo>
                  <a:lnTo>
                    <a:pt x="192" y="2258"/>
                  </a:lnTo>
                  <a:lnTo>
                    <a:pt x="188" y="2260"/>
                  </a:lnTo>
                  <a:lnTo>
                    <a:pt x="186" y="2260"/>
                  </a:lnTo>
                  <a:lnTo>
                    <a:pt x="184" y="2260"/>
                  </a:lnTo>
                  <a:lnTo>
                    <a:pt x="181" y="2260"/>
                  </a:lnTo>
                  <a:lnTo>
                    <a:pt x="178" y="2262"/>
                  </a:lnTo>
                  <a:lnTo>
                    <a:pt x="178" y="2262"/>
                  </a:lnTo>
                  <a:lnTo>
                    <a:pt x="178" y="2262"/>
                  </a:lnTo>
                  <a:lnTo>
                    <a:pt x="182" y="2263"/>
                  </a:lnTo>
                  <a:lnTo>
                    <a:pt x="184" y="2263"/>
                  </a:lnTo>
                  <a:lnTo>
                    <a:pt x="182" y="2265"/>
                  </a:lnTo>
                  <a:lnTo>
                    <a:pt x="184" y="2266"/>
                  </a:lnTo>
                  <a:lnTo>
                    <a:pt x="187" y="2267"/>
                  </a:lnTo>
                  <a:lnTo>
                    <a:pt x="190" y="2269"/>
                  </a:lnTo>
                  <a:lnTo>
                    <a:pt x="188" y="2266"/>
                  </a:lnTo>
                  <a:lnTo>
                    <a:pt x="186" y="2264"/>
                  </a:lnTo>
                  <a:lnTo>
                    <a:pt x="187" y="2262"/>
                  </a:lnTo>
                  <a:lnTo>
                    <a:pt x="191" y="2263"/>
                  </a:lnTo>
                  <a:lnTo>
                    <a:pt x="193" y="2264"/>
                  </a:lnTo>
                  <a:lnTo>
                    <a:pt x="194" y="2267"/>
                  </a:lnTo>
                  <a:lnTo>
                    <a:pt x="198" y="2266"/>
                  </a:lnTo>
                  <a:lnTo>
                    <a:pt x="200" y="2269"/>
                  </a:lnTo>
                  <a:lnTo>
                    <a:pt x="202" y="2271"/>
                  </a:lnTo>
                  <a:lnTo>
                    <a:pt x="205" y="2272"/>
                  </a:lnTo>
                  <a:lnTo>
                    <a:pt x="204" y="2270"/>
                  </a:lnTo>
                  <a:lnTo>
                    <a:pt x="202" y="2266"/>
                  </a:lnTo>
                  <a:close/>
                  <a:moveTo>
                    <a:pt x="323" y="2195"/>
                  </a:moveTo>
                  <a:lnTo>
                    <a:pt x="326" y="2193"/>
                  </a:lnTo>
                  <a:lnTo>
                    <a:pt x="323" y="2193"/>
                  </a:lnTo>
                  <a:lnTo>
                    <a:pt x="321" y="2193"/>
                  </a:lnTo>
                  <a:lnTo>
                    <a:pt x="318" y="2193"/>
                  </a:lnTo>
                  <a:lnTo>
                    <a:pt x="315" y="2192"/>
                  </a:lnTo>
                  <a:lnTo>
                    <a:pt x="315" y="2193"/>
                  </a:lnTo>
                  <a:lnTo>
                    <a:pt x="314" y="2193"/>
                  </a:lnTo>
                  <a:lnTo>
                    <a:pt x="312" y="2194"/>
                  </a:lnTo>
                  <a:lnTo>
                    <a:pt x="309" y="2192"/>
                  </a:lnTo>
                  <a:lnTo>
                    <a:pt x="306" y="2192"/>
                  </a:lnTo>
                  <a:lnTo>
                    <a:pt x="309" y="2194"/>
                  </a:lnTo>
                  <a:lnTo>
                    <a:pt x="311" y="2196"/>
                  </a:lnTo>
                  <a:lnTo>
                    <a:pt x="314" y="2197"/>
                  </a:lnTo>
                  <a:lnTo>
                    <a:pt x="312" y="2196"/>
                  </a:lnTo>
                  <a:lnTo>
                    <a:pt x="309" y="2197"/>
                  </a:lnTo>
                  <a:lnTo>
                    <a:pt x="306" y="2197"/>
                  </a:lnTo>
                  <a:lnTo>
                    <a:pt x="309" y="2198"/>
                  </a:lnTo>
                  <a:lnTo>
                    <a:pt x="312" y="2198"/>
                  </a:lnTo>
                  <a:lnTo>
                    <a:pt x="309" y="2200"/>
                  </a:lnTo>
                  <a:lnTo>
                    <a:pt x="307" y="2203"/>
                  </a:lnTo>
                  <a:lnTo>
                    <a:pt x="304" y="2203"/>
                  </a:lnTo>
                  <a:lnTo>
                    <a:pt x="302" y="2204"/>
                  </a:lnTo>
                  <a:lnTo>
                    <a:pt x="304" y="2205"/>
                  </a:lnTo>
                  <a:lnTo>
                    <a:pt x="307" y="2205"/>
                  </a:lnTo>
                  <a:lnTo>
                    <a:pt x="310" y="2205"/>
                  </a:lnTo>
                  <a:lnTo>
                    <a:pt x="312" y="2203"/>
                  </a:lnTo>
                  <a:lnTo>
                    <a:pt x="315" y="2202"/>
                  </a:lnTo>
                  <a:lnTo>
                    <a:pt x="316" y="2202"/>
                  </a:lnTo>
                  <a:lnTo>
                    <a:pt x="319" y="2200"/>
                  </a:lnTo>
                  <a:lnTo>
                    <a:pt x="321" y="2196"/>
                  </a:lnTo>
                  <a:lnTo>
                    <a:pt x="323" y="2195"/>
                  </a:lnTo>
                  <a:close/>
                  <a:moveTo>
                    <a:pt x="239" y="2253"/>
                  </a:moveTo>
                  <a:lnTo>
                    <a:pt x="236" y="2253"/>
                  </a:lnTo>
                  <a:lnTo>
                    <a:pt x="234" y="2252"/>
                  </a:lnTo>
                  <a:lnTo>
                    <a:pt x="230" y="2250"/>
                  </a:lnTo>
                  <a:lnTo>
                    <a:pt x="228" y="2249"/>
                  </a:lnTo>
                  <a:lnTo>
                    <a:pt x="226" y="2248"/>
                  </a:lnTo>
                  <a:lnTo>
                    <a:pt x="222" y="2245"/>
                  </a:lnTo>
                  <a:lnTo>
                    <a:pt x="220" y="2244"/>
                  </a:lnTo>
                  <a:lnTo>
                    <a:pt x="218" y="2243"/>
                  </a:lnTo>
                  <a:lnTo>
                    <a:pt x="215" y="2240"/>
                  </a:lnTo>
                  <a:lnTo>
                    <a:pt x="212" y="2239"/>
                  </a:lnTo>
                  <a:lnTo>
                    <a:pt x="209" y="2236"/>
                  </a:lnTo>
                  <a:lnTo>
                    <a:pt x="209" y="2235"/>
                  </a:lnTo>
                  <a:lnTo>
                    <a:pt x="205" y="2232"/>
                  </a:lnTo>
                  <a:lnTo>
                    <a:pt x="204" y="2230"/>
                  </a:lnTo>
                  <a:lnTo>
                    <a:pt x="203" y="2227"/>
                  </a:lnTo>
                  <a:lnTo>
                    <a:pt x="201" y="2227"/>
                  </a:lnTo>
                  <a:lnTo>
                    <a:pt x="198" y="2226"/>
                  </a:lnTo>
                  <a:lnTo>
                    <a:pt x="200" y="2223"/>
                  </a:lnTo>
                  <a:lnTo>
                    <a:pt x="202" y="2222"/>
                  </a:lnTo>
                  <a:lnTo>
                    <a:pt x="201" y="2219"/>
                  </a:lnTo>
                  <a:lnTo>
                    <a:pt x="199" y="2216"/>
                  </a:lnTo>
                  <a:lnTo>
                    <a:pt x="198" y="2215"/>
                  </a:lnTo>
                  <a:lnTo>
                    <a:pt x="198" y="2214"/>
                  </a:lnTo>
                  <a:lnTo>
                    <a:pt x="196" y="2214"/>
                  </a:lnTo>
                  <a:lnTo>
                    <a:pt x="196" y="2214"/>
                  </a:lnTo>
                  <a:lnTo>
                    <a:pt x="196" y="2214"/>
                  </a:lnTo>
                  <a:lnTo>
                    <a:pt x="193" y="2214"/>
                  </a:lnTo>
                  <a:lnTo>
                    <a:pt x="191" y="2215"/>
                  </a:lnTo>
                  <a:lnTo>
                    <a:pt x="188" y="2214"/>
                  </a:lnTo>
                  <a:lnTo>
                    <a:pt x="185" y="2212"/>
                  </a:lnTo>
                  <a:lnTo>
                    <a:pt x="185" y="2212"/>
                  </a:lnTo>
                  <a:lnTo>
                    <a:pt x="184" y="2214"/>
                  </a:lnTo>
                  <a:lnTo>
                    <a:pt x="182" y="2216"/>
                  </a:lnTo>
                  <a:lnTo>
                    <a:pt x="182" y="2216"/>
                  </a:lnTo>
                  <a:lnTo>
                    <a:pt x="181" y="2218"/>
                  </a:lnTo>
                  <a:lnTo>
                    <a:pt x="178" y="2218"/>
                  </a:lnTo>
                  <a:lnTo>
                    <a:pt x="176" y="2216"/>
                  </a:lnTo>
                  <a:lnTo>
                    <a:pt x="173" y="2216"/>
                  </a:lnTo>
                  <a:lnTo>
                    <a:pt x="174" y="2219"/>
                  </a:lnTo>
                  <a:lnTo>
                    <a:pt x="177" y="2219"/>
                  </a:lnTo>
                  <a:lnTo>
                    <a:pt x="175" y="2222"/>
                  </a:lnTo>
                  <a:lnTo>
                    <a:pt x="171" y="2222"/>
                  </a:lnTo>
                  <a:lnTo>
                    <a:pt x="171" y="2224"/>
                  </a:lnTo>
                  <a:lnTo>
                    <a:pt x="171" y="2227"/>
                  </a:lnTo>
                  <a:lnTo>
                    <a:pt x="173" y="2228"/>
                  </a:lnTo>
                  <a:lnTo>
                    <a:pt x="175" y="2230"/>
                  </a:lnTo>
                  <a:lnTo>
                    <a:pt x="178" y="2229"/>
                  </a:lnTo>
                  <a:lnTo>
                    <a:pt x="178" y="2228"/>
                  </a:lnTo>
                  <a:lnTo>
                    <a:pt x="182" y="2228"/>
                  </a:lnTo>
                  <a:lnTo>
                    <a:pt x="184" y="2227"/>
                  </a:lnTo>
                  <a:lnTo>
                    <a:pt x="187" y="2228"/>
                  </a:lnTo>
                  <a:lnTo>
                    <a:pt x="186" y="2231"/>
                  </a:lnTo>
                  <a:lnTo>
                    <a:pt x="183" y="2232"/>
                  </a:lnTo>
                  <a:lnTo>
                    <a:pt x="181" y="2233"/>
                  </a:lnTo>
                  <a:lnTo>
                    <a:pt x="178" y="2235"/>
                  </a:lnTo>
                  <a:lnTo>
                    <a:pt x="176" y="2237"/>
                  </a:lnTo>
                  <a:lnTo>
                    <a:pt x="177" y="2239"/>
                  </a:lnTo>
                  <a:lnTo>
                    <a:pt x="178" y="2243"/>
                  </a:lnTo>
                  <a:lnTo>
                    <a:pt x="181" y="2244"/>
                  </a:lnTo>
                  <a:lnTo>
                    <a:pt x="184" y="2244"/>
                  </a:lnTo>
                  <a:lnTo>
                    <a:pt x="186" y="2246"/>
                  </a:lnTo>
                  <a:lnTo>
                    <a:pt x="190" y="2247"/>
                  </a:lnTo>
                  <a:lnTo>
                    <a:pt x="192" y="2248"/>
                  </a:lnTo>
                  <a:lnTo>
                    <a:pt x="190" y="2250"/>
                  </a:lnTo>
                  <a:lnTo>
                    <a:pt x="186" y="2250"/>
                  </a:lnTo>
                  <a:lnTo>
                    <a:pt x="188" y="2248"/>
                  </a:lnTo>
                  <a:lnTo>
                    <a:pt x="185" y="2247"/>
                  </a:lnTo>
                  <a:lnTo>
                    <a:pt x="183" y="2246"/>
                  </a:lnTo>
                  <a:lnTo>
                    <a:pt x="181" y="2245"/>
                  </a:lnTo>
                  <a:lnTo>
                    <a:pt x="179" y="2248"/>
                  </a:lnTo>
                  <a:lnTo>
                    <a:pt x="178" y="2245"/>
                  </a:lnTo>
                  <a:lnTo>
                    <a:pt x="177" y="2247"/>
                  </a:lnTo>
                  <a:lnTo>
                    <a:pt x="174" y="2247"/>
                  </a:lnTo>
                  <a:lnTo>
                    <a:pt x="169" y="2244"/>
                  </a:lnTo>
                  <a:lnTo>
                    <a:pt x="166" y="2245"/>
                  </a:lnTo>
                  <a:lnTo>
                    <a:pt x="169" y="2245"/>
                  </a:lnTo>
                  <a:lnTo>
                    <a:pt x="171" y="2247"/>
                  </a:lnTo>
                  <a:lnTo>
                    <a:pt x="174" y="2249"/>
                  </a:lnTo>
                  <a:lnTo>
                    <a:pt x="171" y="2248"/>
                  </a:lnTo>
                  <a:lnTo>
                    <a:pt x="168" y="2249"/>
                  </a:lnTo>
                  <a:lnTo>
                    <a:pt x="169" y="2246"/>
                  </a:lnTo>
                  <a:lnTo>
                    <a:pt x="167" y="2246"/>
                  </a:lnTo>
                  <a:lnTo>
                    <a:pt x="165" y="2248"/>
                  </a:lnTo>
                  <a:lnTo>
                    <a:pt x="161" y="2248"/>
                  </a:lnTo>
                  <a:lnTo>
                    <a:pt x="159" y="2248"/>
                  </a:lnTo>
                  <a:lnTo>
                    <a:pt x="157" y="2249"/>
                  </a:lnTo>
                  <a:lnTo>
                    <a:pt x="153" y="2248"/>
                  </a:lnTo>
                  <a:lnTo>
                    <a:pt x="157" y="2250"/>
                  </a:lnTo>
                  <a:lnTo>
                    <a:pt x="153" y="2250"/>
                  </a:lnTo>
                  <a:lnTo>
                    <a:pt x="151" y="2249"/>
                  </a:lnTo>
                  <a:lnTo>
                    <a:pt x="152" y="2253"/>
                  </a:lnTo>
                  <a:lnTo>
                    <a:pt x="156" y="2253"/>
                  </a:lnTo>
                  <a:lnTo>
                    <a:pt x="158" y="2252"/>
                  </a:lnTo>
                  <a:lnTo>
                    <a:pt x="161" y="2250"/>
                  </a:lnTo>
                  <a:lnTo>
                    <a:pt x="162" y="2253"/>
                  </a:lnTo>
                  <a:lnTo>
                    <a:pt x="165" y="2252"/>
                  </a:lnTo>
                  <a:lnTo>
                    <a:pt x="164" y="2255"/>
                  </a:lnTo>
                  <a:lnTo>
                    <a:pt x="167" y="2254"/>
                  </a:lnTo>
                  <a:lnTo>
                    <a:pt x="169" y="2254"/>
                  </a:lnTo>
                  <a:lnTo>
                    <a:pt x="167" y="2256"/>
                  </a:lnTo>
                  <a:lnTo>
                    <a:pt x="169" y="2255"/>
                  </a:lnTo>
                  <a:lnTo>
                    <a:pt x="173" y="2255"/>
                  </a:lnTo>
                  <a:lnTo>
                    <a:pt x="175" y="2253"/>
                  </a:lnTo>
                  <a:lnTo>
                    <a:pt x="175" y="2256"/>
                  </a:lnTo>
                  <a:lnTo>
                    <a:pt x="178" y="2256"/>
                  </a:lnTo>
                  <a:lnTo>
                    <a:pt x="178" y="2254"/>
                  </a:lnTo>
                  <a:lnTo>
                    <a:pt x="178" y="2253"/>
                  </a:lnTo>
                  <a:lnTo>
                    <a:pt x="181" y="2255"/>
                  </a:lnTo>
                  <a:lnTo>
                    <a:pt x="183" y="2256"/>
                  </a:lnTo>
                  <a:lnTo>
                    <a:pt x="186" y="2256"/>
                  </a:lnTo>
                  <a:lnTo>
                    <a:pt x="188" y="2257"/>
                  </a:lnTo>
                  <a:lnTo>
                    <a:pt x="192" y="2257"/>
                  </a:lnTo>
                  <a:lnTo>
                    <a:pt x="194" y="2255"/>
                  </a:lnTo>
                  <a:lnTo>
                    <a:pt x="196" y="2257"/>
                  </a:lnTo>
                  <a:lnTo>
                    <a:pt x="198" y="2256"/>
                  </a:lnTo>
                  <a:lnTo>
                    <a:pt x="196" y="2255"/>
                  </a:lnTo>
                  <a:lnTo>
                    <a:pt x="196" y="2255"/>
                  </a:lnTo>
                  <a:lnTo>
                    <a:pt x="199" y="2256"/>
                  </a:lnTo>
                  <a:lnTo>
                    <a:pt x="199" y="2256"/>
                  </a:lnTo>
                  <a:lnTo>
                    <a:pt x="201" y="2255"/>
                  </a:lnTo>
                  <a:lnTo>
                    <a:pt x="202" y="2255"/>
                  </a:lnTo>
                  <a:lnTo>
                    <a:pt x="203" y="2256"/>
                  </a:lnTo>
                  <a:lnTo>
                    <a:pt x="207" y="2256"/>
                  </a:lnTo>
                  <a:lnTo>
                    <a:pt x="209" y="2257"/>
                  </a:lnTo>
                  <a:lnTo>
                    <a:pt x="212" y="2256"/>
                  </a:lnTo>
                  <a:lnTo>
                    <a:pt x="215" y="2257"/>
                  </a:lnTo>
                  <a:lnTo>
                    <a:pt x="217" y="2257"/>
                  </a:lnTo>
                  <a:lnTo>
                    <a:pt x="220" y="2257"/>
                  </a:lnTo>
                  <a:lnTo>
                    <a:pt x="222" y="2258"/>
                  </a:lnTo>
                  <a:lnTo>
                    <a:pt x="226" y="2260"/>
                  </a:lnTo>
                  <a:lnTo>
                    <a:pt x="228" y="2258"/>
                  </a:lnTo>
                  <a:lnTo>
                    <a:pt x="230" y="2258"/>
                  </a:lnTo>
                  <a:lnTo>
                    <a:pt x="234" y="2257"/>
                  </a:lnTo>
                  <a:lnTo>
                    <a:pt x="236" y="2257"/>
                  </a:lnTo>
                  <a:lnTo>
                    <a:pt x="239" y="2257"/>
                  </a:lnTo>
                  <a:lnTo>
                    <a:pt x="242" y="2257"/>
                  </a:lnTo>
                  <a:lnTo>
                    <a:pt x="243" y="2255"/>
                  </a:lnTo>
                  <a:lnTo>
                    <a:pt x="244" y="2253"/>
                  </a:lnTo>
                  <a:lnTo>
                    <a:pt x="242" y="2252"/>
                  </a:lnTo>
                  <a:lnTo>
                    <a:pt x="239" y="2253"/>
                  </a:lnTo>
                  <a:close/>
                  <a:moveTo>
                    <a:pt x="659" y="1517"/>
                  </a:moveTo>
                  <a:lnTo>
                    <a:pt x="660" y="1513"/>
                  </a:lnTo>
                  <a:lnTo>
                    <a:pt x="657" y="1510"/>
                  </a:lnTo>
                  <a:lnTo>
                    <a:pt x="657" y="1508"/>
                  </a:lnTo>
                  <a:lnTo>
                    <a:pt x="656" y="1502"/>
                  </a:lnTo>
                  <a:lnTo>
                    <a:pt x="654" y="1495"/>
                  </a:lnTo>
                  <a:lnTo>
                    <a:pt x="653" y="1492"/>
                  </a:lnTo>
                  <a:lnTo>
                    <a:pt x="651" y="1489"/>
                  </a:lnTo>
                  <a:lnTo>
                    <a:pt x="648" y="1488"/>
                  </a:lnTo>
                  <a:lnTo>
                    <a:pt x="645" y="1488"/>
                  </a:lnTo>
                  <a:lnTo>
                    <a:pt x="635" y="1488"/>
                  </a:lnTo>
                  <a:lnTo>
                    <a:pt x="631" y="1487"/>
                  </a:lnTo>
                  <a:lnTo>
                    <a:pt x="628" y="1486"/>
                  </a:lnTo>
                  <a:lnTo>
                    <a:pt x="623" y="1483"/>
                  </a:lnTo>
                  <a:lnTo>
                    <a:pt x="623" y="1483"/>
                  </a:lnTo>
                  <a:lnTo>
                    <a:pt x="621" y="1482"/>
                  </a:lnTo>
                  <a:lnTo>
                    <a:pt x="620" y="1479"/>
                  </a:lnTo>
                  <a:lnTo>
                    <a:pt x="617" y="1477"/>
                  </a:lnTo>
                  <a:lnTo>
                    <a:pt x="614" y="1475"/>
                  </a:lnTo>
                  <a:lnTo>
                    <a:pt x="612" y="1472"/>
                  </a:lnTo>
                  <a:lnTo>
                    <a:pt x="610" y="1469"/>
                  </a:lnTo>
                  <a:lnTo>
                    <a:pt x="608" y="1469"/>
                  </a:lnTo>
                  <a:lnTo>
                    <a:pt x="600" y="1463"/>
                  </a:lnTo>
                  <a:lnTo>
                    <a:pt x="588" y="1458"/>
                  </a:lnTo>
                  <a:lnTo>
                    <a:pt x="587" y="1458"/>
                  </a:lnTo>
                  <a:lnTo>
                    <a:pt x="582" y="1457"/>
                  </a:lnTo>
                  <a:lnTo>
                    <a:pt x="575" y="1458"/>
                  </a:lnTo>
                  <a:lnTo>
                    <a:pt x="572" y="1458"/>
                  </a:lnTo>
                  <a:lnTo>
                    <a:pt x="571" y="1460"/>
                  </a:lnTo>
                  <a:lnTo>
                    <a:pt x="567" y="1458"/>
                  </a:lnTo>
                  <a:lnTo>
                    <a:pt x="563" y="1457"/>
                  </a:lnTo>
                  <a:lnTo>
                    <a:pt x="562" y="1458"/>
                  </a:lnTo>
                  <a:lnTo>
                    <a:pt x="559" y="1457"/>
                  </a:lnTo>
                  <a:lnTo>
                    <a:pt x="558" y="1457"/>
                  </a:lnTo>
                  <a:lnTo>
                    <a:pt x="555" y="1457"/>
                  </a:lnTo>
                  <a:lnTo>
                    <a:pt x="550" y="1453"/>
                  </a:lnTo>
                  <a:lnTo>
                    <a:pt x="544" y="1451"/>
                  </a:lnTo>
                  <a:lnTo>
                    <a:pt x="542" y="1451"/>
                  </a:lnTo>
                  <a:lnTo>
                    <a:pt x="542" y="1452"/>
                  </a:lnTo>
                  <a:lnTo>
                    <a:pt x="536" y="1453"/>
                  </a:lnTo>
                  <a:lnTo>
                    <a:pt x="534" y="1456"/>
                  </a:lnTo>
                  <a:lnTo>
                    <a:pt x="533" y="1457"/>
                  </a:lnTo>
                  <a:lnTo>
                    <a:pt x="532" y="1458"/>
                  </a:lnTo>
                  <a:lnTo>
                    <a:pt x="531" y="1456"/>
                  </a:lnTo>
                  <a:lnTo>
                    <a:pt x="534" y="1452"/>
                  </a:lnTo>
                  <a:lnTo>
                    <a:pt x="531" y="1452"/>
                  </a:lnTo>
                  <a:lnTo>
                    <a:pt x="529" y="1453"/>
                  </a:lnTo>
                  <a:lnTo>
                    <a:pt x="528" y="1459"/>
                  </a:lnTo>
                  <a:lnTo>
                    <a:pt x="526" y="1461"/>
                  </a:lnTo>
                  <a:lnTo>
                    <a:pt x="524" y="1465"/>
                  </a:lnTo>
                  <a:lnTo>
                    <a:pt x="523" y="1463"/>
                  </a:lnTo>
                  <a:lnTo>
                    <a:pt x="525" y="1461"/>
                  </a:lnTo>
                  <a:lnTo>
                    <a:pt x="525" y="1459"/>
                  </a:lnTo>
                  <a:lnTo>
                    <a:pt x="526" y="1453"/>
                  </a:lnTo>
                  <a:lnTo>
                    <a:pt x="529" y="1451"/>
                  </a:lnTo>
                  <a:lnTo>
                    <a:pt x="528" y="1448"/>
                  </a:lnTo>
                  <a:lnTo>
                    <a:pt x="526" y="1450"/>
                  </a:lnTo>
                  <a:lnTo>
                    <a:pt x="523" y="1450"/>
                  </a:lnTo>
                  <a:lnTo>
                    <a:pt x="526" y="1449"/>
                  </a:lnTo>
                  <a:lnTo>
                    <a:pt x="527" y="1446"/>
                  </a:lnTo>
                  <a:lnTo>
                    <a:pt x="523" y="1441"/>
                  </a:lnTo>
                  <a:lnTo>
                    <a:pt x="520" y="1441"/>
                  </a:lnTo>
                  <a:lnTo>
                    <a:pt x="520" y="1439"/>
                  </a:lnTo>
                  <a:lnTo>
                    <a:pt x="518" y="1440"/>
                  </a:lnTo>
                  <a:lnTo>
                    <a:pt x="517" y="1442"/>
                  </a:lnTo>
                  <a:lnTo>
                    <a:pt x="516" y="1440"/>
                  </a:lnTo>
                  <a:lnTo>
                    <a:pt x="516" y="1437"/>
                  </a:lnTo>
                  <a:lnTo>
                    <a:pt x="515" y="1440"/>
                  </a:lnTo>
                  <a:lnTo>
                    <a:pt x="515" y="1437"/>
                  </a:lnTo>
                  <a:lnTo>
                    <a:pt x="506" y="1435"/>
                  </a:lnTo>
                  <a:lnTo>
                    <a:pt x="505" y="1433"/>
                  </a:lnTo>
                  <a:lnTo>
                    <a:pt x="499" y="1433"/>
                  </a:lnTo>
                  <a:lnTo>
                    <a:pt x="493" y="1429"/>
                  </a:lnTo>
                  <a:lnTo>
                    <a:pt x="491" y="1429"/>
                  </a:lnTo>
                  <a:lnTo>
                    <a:pt x="489" y="1427"/>
                  </a:lnTo>
                  <a:lnTo>
                    <a:pt x="488" y="1429"/>
                  </a:lnTo>
                  <a:lnTo>
                    <a:pt x="485" y="1427"/>
                  </a:lnTo>
                  <a:lnTo>
                    <a:pt x="483" y="1428"/>
                  </a:lnTo>
                  <a:lnTo>
                    <a:pt x="478" y="1428"/>
                  </a:lnTo>
                  <a:lnTo>
                    <a:pt x="476" y="1431"/>
                  </a:lnTo>
                  <a:lnTo>
                    <a:pt x="475" y="1435"/>
                  </a:lnTo>
                  <a:lnTo>
                    <a:pt x="473" y="1439"/>
                  </a:lnTo>
                  <a:lnTo>
                    <a:pt x="477" y="1439"/>
                  </a:lnTo>
                  <a:lnTo>
                    <a:pt x="474" y="1440"/>
                  </a:lnTo>
                  <a:lnTo>
                    <a:pt x="474" y="1442"/>
                  </a:lnTo>
                  <a:lnTo>
                    <a:pt x="471" y="1439"/>
                  </a:lnTo>
                  <a:lnTo>
                    <a:pt x="468" y="1441"/>
                  </a:lnTo>
                  <a:lnTo>
                    <a:pt x="466" y="1443"/>
                  </a:lnTo>
                  <a:lnTo>
                    <a:pt x="464" y="1444"/>
                  </a:lnTo>
                  <a:lnTo>
                    <a:pt x="461" y="1448"/>
                  </a:lnTo>
                  <a:lnTo>
                    <a:pt x="459" y="1452"/>
                  </a:lnTo>
                  <a:lnTo>
                    <a:pt x="459" y="1453"/>
                  </a:lnTo>
                  <a:lnTo>
                    <a:pt x="459" y="1451"/>
                  </a:lnTo>
                  <a:lnTo>
                    <a:pt x="461" y="1443"/>
                  </a:lnTo>
                  <a:lnTo>
                    <a:pt x="459" y="1443"/>
                  </a:lnTo>
                  <a:lnTo>
                    <a:pt x="457" y="1444"/>
                  </a:lnTo>
                  <a:lnTo>
                    <a:pt x="455" y="1448"/>
                  </a:lnTo>
                  <a:lnTo>
                    <a:pt x="454" y="1444"/>
                  </a:lnTo>
                  <a:lnTo>
                    <a:pt x="452" y="1443"/>
                  </a:lnTo>
                  <a:lnTo>
                    <a:pt x="449" y="1445"/>
                  </a:lnTo>
                  <a:lnTo>
                    <a:pt x="447" y="1445"/>
                  </a:lnTo>
                  <a:lnTo>
                    <a:pt x="443" y="1443"/>
                  </a:lnTo>
                  <a:lnTo>
                    <a:pt x="442" y="1443"/>
                  </a:lnTo>
                  <a:lnTo>
                    <a:pt x="442" y="1441"/>
                  </a:lnTo>
                  <a:lnTo>
                    <a:pt x="442" y="1440"/>
                  </a:lnTo>
                  <a:lnTo>
                    <a:pt x="441" y="1439"/>
                  </a:lnTo>
                  <a:lnTo>
                    <a:pt x="441" y="1439"/>
                  </a:lnTo>
                  <a:lnTo>
                    <a:pt x="441" y="1437"/>
                  </a:lnTo>
                  <a:lnTo>
                    <a:pt x="441" y="1432"/>
                  </a:lnTo>
                  <a:lnTo>
                    <a:pt x="438" y="1433"/>
                  </a:lnTo>
                  <a:lnTo>
                    <a:pt x="430" y="1437"/>
                  </a:lnTo>
                  <a:lnTo>
                    <a:pt x="429" y="1437"/>
                  </a:lnTo>
                  <a:lnTo>
                    <a:pt x="426" y="1440"/>
                  </a:lnTo>
                  <a:lnTo>
                    <a:pt x="421" y="1442"/>
                  </a:lnTo>
                  <a:lnTo>
                    <a:pt x="421" y="1442"/>
                  </a:lnTo>
                  <a:lnTo>
                    <a:pt x="418" y="1441"/>
                  </a:lnTo>
                  <a:lnTo>
                    <a:pt x="415" y="1441"/>
                  </a:lnTo>
                  <a:lnTo>
                    <a:pt x="415" y="1440"/>
                  </a:lnTo>
                  <a:lnTo>
                    <a:pt x="422" y="1437"/>
                  </a:lnTo>
                  <a:lnTo>
                    <a:pt x="424" y="1439"/>
                  </a:lnTo>
                  <a:lnTo>
                    <a:pt x="426" y="1434"/>
                  </a:lnTo>
                  <a:lnTo>
                    <a:pt x="429" y="1433"/>
                  </a:lnTo>
                  <a:lnTo>
                    <a:pt x="429" y="1431"/>
                  </a:lnTo>
                  <a:lnTo>
                    <a:pt x="434" y="1422"/>
                  </a:lnTo>
                  <a:lnTo>
                    <a:pt x="435" y="1420"/>
                  </a:lnTo>
                  <a:lnTo>
                    <a:pt x="437" y="1419"/>
                  </a:lnTo>
                  <a:lnTo>
                    <a:pt x="440" y="1416"/>
                  </a:lnTo>
                  <a:lnTo>
                    <a:pt x="443" y="1415"/>
                  </a:lnTo>
                  <a:lnTo>
                    <a:pt x="449" y="1406"/>
                  </a:lnTo>
                  <a:lnTo>
                    <a:pt x="452" y="1403"/>
                  </a:lnTo>
                  <a:lnTo>
                    <a:pt x="452" y="1402"/>
                  </a:lnTo>
                  <a:lnTo>
                    <a:pt x="450" y="1402"/>
                  </a:lnTo>
                  <a:lnTo>
                    <a:pt x="452" y="1401"/>
                  </a:lnTo>
                  <a:lnTo>
                    <a:pt x="454" y="1399"/>
                  </a:lnTo>
                  <a:lnTo>
                    <a:pt x="454" y="1395"/>
                  </a:lnTo>
                  <a:lnTo>
                    <a:pt x="452" y="1394"/>
                  </a:lnTo>
                  <a:lnTo>
                    <a:pt x="449" y="1393"/>
                  </a:lnTo>
                  <a:lnTo>
                    <a:pt x="447" y="1393"/>
                  </a:lnTo>
                  <a:lnTo>
                    <a:pt x="444" y="1391"/>
                  </a:lnTo>
                  <a:lnTo>
                    <a:pt x="442" y="1390"/>
                  </a:lnTo>
                  <a:lnTo>
                    <a:pt x="442" y="1386"/>
                  </a:lnTo>
                  <a:lnTo>
                    <a:pt x="440" y="1384"/>
                  </a:lnTo>
                  <a:lnTo>
                    <a:pt x="440" y="1382"/>
                  </a:lnTo>
                  <a:lnTo>
                    <a:pt x="438" y="1376"/>
                  </a:lnTo>
                  <a:lnTo>
                    <a:pt x="438" y="1374"/>
                  </a:lnTo>
                  <a:lnTo>
                    <a:pt x="437" y="1365"/>
                  </a:lnTo>
                  <a:lnTo>
                    <a:pt x="435" y="1368"/>
                  </a:lnTo>
                  <a:lnTo>
                    <a:pt x="435" y="1363"/>
                  </a:lnTo>
                  <a:lnTo>
                    <a:pt x="433" y="1360"/>
                  </a:lnTo>
                  <a:lnTo>
                    <a:pt x="431" y="1359"/>
                  </a:lnTo>
                  <a:lnTo>
                    <a:pt x="431" y="1362"/>
                  </a:lnTo>
                  <a:lnTo>
                    <a:pt x="432" y="1365"/>
                  </a:lnTo>
                  <a:lnTo>
                    <a:pt x="431" y="1362"/>
                  </a:lnTo>
                  <a:lnTo>
                    <a:pt x="429" y="1364"/>
                  </a:lnTo>
                  <a:lnTo>
                    <a:pt x="430" y="1360"/>
                  </a:lnTo>
                  <a:lnTo>
                    <a:pt x="426" y="1356"/>
                  </a:lnTo>
                  <a:lnTo>
                    <a:pt x="425" y="1358"/>
                  </a:lnTo>
                  <a:lnTo>
                    <a:pt x="424" y="1359"/>
                  </a:lnTo>
                  <a:lnTo>
                    <a:pt x="425" y="1356"/>
                  </a:lnTo>
                  <a:lnTo>
                    <a:pt x="424" y="1354"/>
                  </a:lnTo>
                  <a:lnTo>
                    <a:pt x="421" y="1352"/>
                  </a:lnTo>
                  <a:lnTo>
                    <a:pt x="420" y="1354"/>
                  </a:lnTo>
                  <a:lnTo>
                    <a:pt x="421" y="1351"/>
                  </a:lnTo>
                  <a:lnTo>
                    <a:pt x="420" y="1351"/>
                  </a:lnTo>
                  <a:lnTo>
                    <a:pt x="417" y="1349"/>
                  </a:lnTo>
                  <a:lnTo>
                    <a:pt x="412" y="1343"/>
                  </a:lnTo>
                  <a:lnTo>
                    <a:pt x="411" y="1343"/>
                  </a:lnTo>
                  <a:lnTo>
                    <a:pt x="404" y="1342"/>
                  </a:lnTo>
                  <a:lnTo>
                    <a:pt x="401" y="1340"/>
                  </a:lnTo>
                  <a:lnTo>
                    <a:pt x="399" y="1340"/>
                  </a:lnTo>
                  <a:lnTo>
                    <a:pt x="396" y="1345"/>
                  </a:lnTo>
                  <a:lnTo>
                    <a:pt x="395" y="1346"/>
                  </a:lnTo>
                  <a:lnTo>
                    <a:pt x="397" y="1342"/>
                  </a:lnTo>
                  <a:lnTo>
                    <a:pt x="397" y="1340"/>
                  </a:lnTo>
                  <a:lnTo>
                    <a:pt x="395" y="1338"/>
                  </a:lnTo>
                  <a:lnTo>
                    <a:pt x="383" y="1337"/>
                  </a:lnTo>
                  <a:lnTo>
                    <a:pt x="383" y="1339"/>
                  </a:lnTo>
                  <a:lnTo>
                    <a:pt x="382" y="1339"/>
                  </a:lnTo>
                  <a:lnTo>
                    <a:pt x="379" y="1337"/>
                  </a:lnTo>
                  <a:lnTo>
                    <a:pt x="373" y="1337"/>
                  </a:lnTo>
                  <a:lnTo>
                    <a:pt x="371" y="1338"/>
                  </a:lnTo>
                  <a:lnTo>
                    <a:pt x="371" y="1339"/>
                  </a:lnTo>
                  <a:lnTo>
                    <a:pt x="371" y="1341"/>
                  </a:lnTo>
                  <a:lnTo>
                    <a:pt x="369" y="1339"/>
                  </a:lnTo>
                  <a:lnTo>
                    <a:pt x="363" y="1338"/>
                  </a:lnTo>
                  <a:lnTo>
                    <a:pt x="356" y="1337"/>
                  </a:lnTo>
                  <a:lnTo>
                    <a:pt x="356" y="1337"/>
                  </a:lnTo>
                  <a:lnTo>
                    <a:pt x="355" y="1337"/>
                  </a:lnTo>
                  <a:lnTo>
                    <a:pt x="354" y="1341"/>
                  </a:lnTo>
                  <a:lnTo>
                    <a:pt x="353" y="1343"/>
                  </a:lnTo>
                  <a:lnTo>
                    <a:pt x="354" y="1341"/>
                  </a:lnTo>
                  <a:lnTo>
                    <a:pt x="354" y="1335"/>
                  </a:lnTo>
                  <a:lnTo>
                    <a:pt x="352" y="1333"/>
                  </a:lnTo>
                  <a:lnTo>
                    <a:pt x="349" y="1333"/>
                  </a:lnTo>
                  <a:lnTo>
                    <a:pt x="346" y="1329"/>
                  </a:lnTo>
                  <a:lnTo>
                    <a:pt x="343" y="1325"/>
                  </a:lnTo>
                  <a:lnTo>
                    <a:pt x="340" y="1325"/>
                  </a:lnTo>
                  <a:lnTo>
                    <a:pt x="339" y="1324"/>
                  </a:lnTo>
                  <a:lnTo>
                    <a:pt x="337" y="1324"/>
                  </a:lnTo>
                  <a:lnTo>
                    <a:pt x="335" y="1328"/>
                  </a:lnTo>
                  <a:lnTo>
                    <a:pt x="335" y="1331"/>
                  </a:lnTo>
                  <a:lnTo>
                    <a:pt x="333" y="1331"/>
                  </a:lnTo>
                  <a:lnTo>
                    <a:pt x="335" y="1329"/>
                  </a:lnTo>
                  <a:lnTo>
                    <a:pt x="335" y="1325"/>
                  </a:lnTo>
                  <a:lnTo>
                    <a:pt x="336" y="1323"/>
                  </a:lnTo>
                  <a:lnTo>
                    <a:pt x="336" y="1321"/>
                  </a:lnTo>
                  <a:lnTo>
                    <a:pt x="336" y="1318"/>
                  </a:lnTo>
                  <a:lnTo>
                    <a:pt x="335" y="1316"/>
                  </a:lnTo>
                  <a:lnTo>
                    <a:pt x="331" y="1313"/>
                  </a:lnTo>
                  <a:lnTo>
                    <a:pt x="328" y="1309"/>
                  </a:lnTo>
                  <a:lnTo>
                    <a:pt x="326" y="1307"/>
                  </a:lnTo>
                  <a:lnTo>
                    <a:pt x="322" y="1306"/>
                  </a:lnTo>
                  <a:lnTo>
                    <a:pt x="320" y="1305"/>
                  </a:lnTo>
                  <a:lnTo>
                    <a:pt x="322" y="1307"/>
                  </a:lnTo>
                  <a:lnTo>
                    <a:pt x="318" y="1304"/>
                  </a:lnTo>
                  <a:lnTo>
                    <a:pt x="315" y="1302"/>
                  </a:lnTo>
                  <a:lnTo>
                    <a:pt x="312" y="1300"/>
                  </a:lnTo>
                  <a:lnTo>
                    <a:pt x="309" y="1300"/>
                  </a:lnTo>
                  <a:lnTo>
                    <a:pt x="309" y="1302"/>
                  </a:lnTo>
                  <a:lnTo>
                    <a:pt x="305" y="1300"/>
                  </a:lnTo>
                  <a:lnTo>
                    <a:pt x="303" y="1300"/>
                  </a:lnTo>
                  <a:lnTo>
                    <a:pt x="297" y="1304"/>
                  </a:lnTo>
                  <a:lnTo>
                    <a:pt x="293" y="1300"/>
                  </a:lnTo>
                  <a:lnTo>
                    <a:pt x="293" y="1300"/>
                  </a:lnTo>
                  <a:lnTo>
                    <a:pt x="298" y="1300"/>
                  </a:lnTo>
                  <a:lnTo>
                    <a:pt x="301" y="1294"/>
                  </a:lnTo>
                  <a:lnTo>
                    <a:pt x="304" y="1290"/>
                  </a:lnTo>
                  <a:lnTo>
                    <a:pt x="301" y="1287"/>
                  </a:lnTo>
                  <a:lnTo>
                    <a:pt x="298" y="1287"/>
                  </a:lnTo>
                  <a:lnTo>
                    <a:pt x="294" y="1285"/>
                  </a:lnTo>
                  <a:lnTo>
                    <a:pt x="290" y="1285"/>
                  </a:lnTo>
                  <a:lnTo>
                    <a:pt x="290" y="1285"/>
                  </a:lnTo>
                  <a:lnTo>
                    <a:pt x="289" y="1287"/>
                  </a:lnTo>
                  <a:lnTo>
                    <a:pt x="290" y="1285"/>
                  </a:lnTo>
                  <a:lnTo>
                    <a:pt x="288" y="1282"/>
                  </a:lnTo>
                  <a:lnTo>
                    <a:pt x="286" y="1281"/>
                  </a:lnTo>
                  <a:lnTo>
                    <a:pt x="285" y="1281"/>
                  </a:lnTo>
                  <a:lnTo>
                    <a:pt x="285" y="1282"/>
                  </a:lnTo>
                  <a:lnTo>
                    <a:pt x="287" y="1283"/>
                  </a:lnTo>
                  <a:lnTo>
                    <a:pt x="286" y="1283"/>
                  </a:lnTo>
                  <a:lnTo>
                    <a:pt x="285" y="1287"/>
                  </a:lnTo>
                  <a:lnTo>
                    <a:pt x="285" y="1287"/>
                  </a:lnTo>
                  <a:lnTo>
                    <a:pt x="285" y="1286"/>
                  </a:lnTo>
                  <a:lnTo>
                    <a:pt x="285" y="1282"/>
                  </a:lnTo>
                  <a:lnTo>
                    <a:pt x="284" y="1286"/>
                  </a:lnTo>
                  <a:lnTo>
                    <a:pt x="283" y="1286"/>
                  </a:lnTo>
                  <a:lnTo>
                    <a:pt x="281" y="1282"/>
                  </a:lnTo>
                  <a:lnTo>
                    <a:pt x="281" y="1281"/>
                  </a:lnTo>
                  <a:lnTo>
                    <a:pt x="279" y="1279"/>
                  </a:lnTo>
                  <a:lnTo>
                    <a:pt x="277" y="1281"/>
                  </a:lnTo>
                  <a:lnTo>
                    <a:pt x="275" y="1281"/>
                  </a:lnTo>
                  <a:lnTo>
                    <a:pt x="273" y="1280"/>
                  </a:lnTo>
                  <a:lnTo>
                    <a:pt x="276" y="1280"/>
                  </a:lnTo>
                  <a:lnTo>
                    <a:pt x="279" y="1279"/>
                  </a:lnTo>
                  <a:lnTo>
                    <a:pt x="277" y="1275"/>
                  </a:lnTo>
                  <a:lnTo>
                    <a:pt x="275" y="1278"/>
                  </a:lnTo>
                  <a:lnTo>
                    <a:pt x="275" y="1274"/>
                  </a:lnTo>
                  <a:lnTo>
                    <a:pt x="277" y="1273"/>
                  </a:lnTo>
                  <a:lnTo>
                    <a:pt x="283" y="1274"/>
                  </a:lnTo>
                  <a:lnTo>
                    <a:pt x="285" y="1272"/>
                  </a:lnTo>
                  <a:lnTo>
                    <a:pt x="288" y="1271"/>
                  </a:lnTo>
                  <a:lnTo>
                    <a:pt x="286" y="1272"/>
                  </a:lnTo>
                  <a:lnTo>
                    <a:pt x="277" y="1271"/>
                  </a:lnTo>
                  <a:lnTo>
                    <a:pt x="275" y="1272"/>
                  </a:lnTo>
                  <a:lnTo>
                    <a:pt x="272" y="1271"/>
                  </a:lnTo>
                  <a:lnTo>
                    <a:pt x="267" y="1273"/>
                  </a:lnTo>
                  <a:lnTo>
                    <a:pt x="263" y="1272"/>
                  </a:lnTo>
                  <a:lnTo>
                    <a:pt x="261" y="1272"/>
                  </a:lnTo>
                  <a:lnTo>
                    <a:pt x="259" y="1273"/>
                  </a:lnTo>
                  <a:lnTo>
                    <a:pt x="261" y="1273"/>
                  </a:lnTo>
                  <a:lnTo>
                    <a:pt x="263" y="1274"/>
                  </a:lnTo>
                  <a:lnTo>
                    <a:pt x="259" y="1274"/>
                  </a:lnTo>
                  <a:lnTo>
                    <a:pt x="255" y="1275"/>
                  </a:lnTo>
                  <a:lnTo>
                    <a:pt x="251" y="1279"/>
                  </a:lnTo>
                  <a:lnTo>
                    <a:pt x="250" y="1280"/>
                  </a:lnTo>
                  <a:lnTo>
                    <a:pt x="244" y="1280"/>
                  </a:lnTo>
                  <a:lnTo>
                    <a:pt x="238" y="1279"/>
                  </a:lnTo>
                  <a:lnTo>
                    <a:pt x="236" y="1278"/>
                  </a:lnTo>
                  <a:lnTo>
                    <a:pt x="232" y="1274"/>
                  </a:lnTo>
                  <a:lnTo>
                    <a:pt x="232" y="1273"/>
                  </a:lnTo>
                  <a:lnTo>
                    <a:pt x="228" y="1273"/>
                  </a:lnTo>
                  <a:lnTo>
                    <a:pt x="222" y="1273"/>
                  </a:lnTo>
                  <a:lnTo>
                    <a:pt x="210" y="1274"/>
                  </a:lnTo>
                  <a:lnTo>
                    <a:pt x="204" y="1274"/>
                  </a:lnTo>
                  <a:lnTo>
                    <a:pt x="202" y="1273"/>
                  </a:lnTo>
                  <a:lnTo>
                    <a:pt x="201" y="1272"/>
                  </a:lnTo>
                  <a:lnTo>
                    <a:pt x="202" y="1269"/>
                  </a:lnTo>
                  <a:lnTo>
                    <a:pt x="200" y="1264"/>
                  </a:lnTo>
                  <a:lnTo>
                    <a:pt x="194" y="1261"/>
                  </a:lnTo>
                  <a:lnTo>
                    <a:pt x="184" y="1261"/>
                  </a:lnTo>
                  <a:lnTo>
                    <a:pt x="182" y="1258"/>
                  </a:lnTo>
                  <a:lnTo>
                    <a:pt x="181" y="1256"/>
                  </a:lnTo>
                  <a:lnTo>
                    <a:pt x="181" y="1254"/>
                  </a:lnTo>
                  <a:lnTo>
                    <a:pt x="178" y="1251"/>
                  </a:lnTo>
                  <a:lnTo>
                    <a:pt x="175" y="1252"/>
                  </a:lnTo>
                  <a:lnTo>
                    <a:pt x="175" y="1254"/>
                  </a:lnTo>
                  <a:lnTo>
                    <a:pt x="175" y="1256"/>
                  </a:lnTo>
                  <a:lnTo>
                    <a:pt x="175" y="1257"/>
                  </a:lnTo>
                  <a:lnTo>
                    <a:pt x="175" y="1260"/>
                  </a:lnTo>
                  <a:lnTo>
                    <a:pt x="178" y="1258"/>
                  </a:lnTo>
                  <a:lnTo>
                    <a:pt x="181" y="1258"/>
                  </a:lnTo>
                  <a:lnTo>
                    <a:pt x="179" y="1261"/>
                  </a:lnTo>
                  <a:lnTo>
                    <a:pt x="176" y="1260"/>
                  </a:lnTo>
                  <a:lnTo>
                    <a:pt x="176" y="1262"/>
                  </a:lnTo>
                  <a:lnTo>
                    <a:pt x="171" y="1264"/>
                  </a:lnTo>
                  <a:lnTo>
                    <a:pt x="166" y="1264"/>
                  </a:lnTo>
                  <a:lnTo>
                    <a:pt x="159" y="1269"/>
                  </a:lnTo>
                  <a:lnTo>
                    <a:pt x="157" y="1270"/>
                  </a:lnTo>
                  <a:lnTo>
                    <a:pt x="157" y="1271"/>
                  </a:lnTo>
                  <a:lnTo>
                    <a:pt x="157" y="1273"/>
                  </a:lnTo>
                  <a:lnTo>
                    <a:pt x="160" y="1279"/>
                  </a:lnTo>
                  <a:lnTo>
                    <a:pt x="164" y="1283"/>
                  </a:lnTo>
                  <a:lnTo>
                    <a:pt x="164" y="1283"/>
                  </a:lnTo>
                  <a:lnTo>
                    <a:pt x="164" y="1290"/>
                  </a:lnTo>
                  <a:lnTo>
                    <a:pt x="160" y="1294"/>
                  </a:lnTo>
                  <a:lnTo>
                    <a:pt x="157" y="1295"/>
                  </a:lnTo>
                  <a:lnTo>
                    <a:pt x="153" y="1292"/>
                  </a:lnTo>
                  <a:lnTo>
                    <a:pt x="155" y="1290"/>
                  </a:lnTo>
                  <a:lnTo>
                    <a:pt x="151" y="1289"/>
                  </a:lnTo>
                  <a:lnTo>
                    <a:pt x="150" y="1286"/>
                  </a:lnTo>
                  <a:lnTo>
                    <a:pt x="149" y="1285"/>
                  </a:lnTo>
                  <a:lnTo>
                    <a:pt x="151" y="1281"/>
                  </a:lnTo>
                  <a:lnTo>
                    <a:pt x="156" y="1275"/>
                  </a:lnTo>
                  <a:lnTo>
                    <a:pt x="156" y="1273"/>
                  </a:lnTo>
                  <a:lnTo>
                    <a:pt x="156" y="1271"/>
                  </a:lnTo>
                  <a:lnTo>
                    <a:pt x="153" y="1268"/>
                  </a:lnTo>
                  <a:lnTo>
                    <a:pt x="156" y="1266"/>
                  </a:lnTo>
                  <a:lnTo>
                    <a:pt x="152" y="1264"/>
                  </a:lnTo>
                  <a:lnTo>
                    <a:pt x="151" y="1262"/>
                  </a:lnTo>
                  <a:lnTo>
                    <a:pt x="152" y="1260"/>
                  </a:lnTo>
                  <a:lnTo>
                    <a:pt x="155" y="1258"/>
                  </a:lnTo>
                  <a:lnTo>
                    <a:pt x="157" y="1257"/>
                  </a:lnTo>
                  <a:lnTo>
                    <a:pt x="160" y="1256"/>
                  </a:lnTo>
                  <a:lnTo>
                    <a:pt x="160" y="1255"/>
                  </a:lnTo>
                  <a:lnTo>
                    <a:pt x="162" y="1252"/>
                  </a:lnTo>
                  <a:lnTo>
                    <a:pt x="161" y="1249"/>
                  </a:lnTo>
                  <a:lnTo>
                    <a:pt x="157" y="1247"/>
                  </a:lnTo>
                  <a:lnTo>
                    <a:pt x="151" y="1251"/>
                  </a:lnTo>
                  <a:lnTo>
                    <a:pt x="149" y="1253"/>
                  </a:lnTo>
                  <a:lnTo>
                    <a:pt x="148" y="1255"/>
                  </a:lnTo>
                  <a:lnTo>
                    <a:pt x="141" y="1257"/>
                  </a:lnTo>
                  <a:lnTo>
                    <a:pt x="140" y="1258"/>
                  </a:lnTo>
                  <a:lnTo>
                    <a:pt x="139" y="1260"/>
                  </a:lnTo>
                  <a:lnTo>
                    <a:pt x="135" y="1262"/>
                  </a:lnTo>
                  <a:lnTo>
                    <a:pt x="132" y="1264"/>
                  </a:lnTo>
                  <a:lnTo>
                    <a:pt x="125" y="1264"/>
                  </a:lnTo>
                  <a:lnTo>
                    <a:pt x="123" y="1263"/>
                  </a:lnTo>
                  <a:lnTo>
                    <a:pt x="121" y="1264"/>
                  </a:lnTo>
                  <a:lnTo>
                    <a:pt x="119" y="1269"/>
                  </a:lnTo>
                  <a:lnTo>
                    <a:pt x="117" y="1271"/>
                  </a:lnTo>
                  <a:lnTo>
                    <a:pt x="116" y="1271"/>
                  </a:lnTo>
                  <a:lnTo>
                    <a:pt x="116" y="1269"/>
                  </a:lnTo>
                  <a:lnTo>
                    <a:pt x="119" y="1268"/>
                  </a:lnTo>
                  <a:lnTo>
                    <a:pt x="117" y="1268"/>
                  </a:lnTo>
                  <a:lnTo>
                    <a:pt x="111" y="1265"/>
                  </a:lnTo>
                  <a:lnTo>
                    <a:pt x="111" y="1266"/>
                  </a:lnTo>
                  <a:lnTo>
                    <a:pt x="109" y="1269"/>
                  </a:lnTo>
                  <a:lnTo>
                    <a:pt x="106" y="1270"/>
                  </a:lnTo>
                  <a:lnTo>
                    <a:pt x="106" y="1272"/>
                  </a:lnTo>
                  <a:lnTo>
                    <a:pt x="105" y="1272"/>
                  </a:lnTo>
                  <a:lnTo>
                    <a:pt x="102" y="1273"/>
                  </a:lnTo>
                  <a:lnTo>
                    <a:pt x="102" y="1277"/>
                  </a:lnTo>
                  <a:lnTo>
                    <a:pt x="101" y="1278"/>
                  </a:lnTo>
                  <a:lnTo>
                    <a:pt x="101" y="1280"/>
                  </a:lnTo>
                  <a:lnTo>
                    <a:pt x="101" y="1283"/>
                  </a:lnTo>
                  <a:lnTo>
                    <a:pt x="101" y="1287"/>
                  </a:lnTo>
                  <a:lnTo>
                    <a:pt x="100" y="1289"/>
                  </a:lnTo>
                  <a:lnTo>
                    <a:pt x="97" y="1289"/>
                  </a:lnTo>
                  <a:lnTo>
                    <a:pt x="94" y="1291"/>
                  </a:lnTo>
                  <a:lnTo>
                    <a:pt x="92" y="1294"/>
                  </a:lnTo>
                  <a:lnTo>
                    <a:pt x="89" y="1297"/>
                  </a:lnTo>
                  <a:lnTo>
                    <a:pt x="87" y="1299"/>
                  </a:lnTo>
                  <a:lnTo>
                    <a:pt x="84" y="1303"/>
                  </a:lnTo>
                  <a:lnTo>
                    <a:pt x="85" y="1308"/>
                  </a:lnTo>
                  <a:lnTo>
                    <a:pt x="83" y="1309"/>
                  </a:lnTo>
                  <a:lnTo>
                    <a:pt x="84" y="1307"/>
                  </a:lnTo>
                  <a:lnTo>
                    <a:pt x="79" y="1302"/>
                  </a:lnTo>
                  <a:lnTo>
                    <a:pt x="77" y="1299"/>
                  </a:lnTo>
                  <a:lnTo>
                    <a:pt x="75" y="1299"/>
                  </a:lnTo>
                  <a:lnTo>
                    <a:pt x="73" y="1297"/>
                  </a:lnTo>
                  <a:lnTo>
                    <a:pt x="71" y="1295"/>
                  </a:lnTo>
                  <a:lnTo>
                    <a:pt x="68" y="1292"/>
                  </a:lnTo>
                  <a:lnTo>
                    <a:pt x="66" y="1291"/>
                  </a:lnTo>
                  <a:lnTo>
                    <a:pt x="60" y="1289"/>
                  </a:lnTo>
                  <a:lnTo>
                    <a:pt x="56" y="1289"/>
                  </a:lnTo>
                  <a:lnTo>
                    <a:pt x="54" y="1289"/>
                  </a:lnTo>
                  <a:lnTo>
                    <a:pt x="55" y="1288"/>
                  </a:lnTo>
                  <a:lnTo>
                    <a:pt x="54" y="1288"/>
                  </a:lnTo>
                  <a:lnTo>
                    <a:pt x="50" y="1288"/>
                  </a:lnTo>
                  <a:lnTo>
                    <a:pt x="48" y="1287"/>
                  </a:lnTo>
                  <a:lnTo>
                    <a:pt x="46" y="1287"/>
                  </a:lnTo>
                  <a:lnTo>
                    <a:pt x="43" y="1290"/>
                  </a:lnTo>
                  <a:lnTo>
                    <a:pt x="42" y="1290"/>
                  </a:lnTo>
                  <a:lnTo>
                    <a:pt x="42" y="1290"/>
                  </a:lnTo>
                  <a:lnTo>
                    <a:pt x="42" y="1291"/>
                  </a:lnTo>
                  <a:lnTo>
                    <a:pt x="41" y="1291"/>
                  </a:lnTo>
                  <a:lnTo>
                    <a:pt x="39" y="1292"/>
                  </a:lnTo>
                  <a:lnTo>
                    <a:pt x="33" y="1295"/>
                  </a:lnTo>
                  <a:lnTo>
                    <a:pt x="29" y="1297"/>
                  </a:lnTo>
                  <a:lnTo>
                    <a:pt x="24" y="1298"/>
                  </a:lnTo>
                  <a:lnTo>
                    <a:pt x="20" y="1297"/>
                  </a:lnTo>
                  <a:lnTo>
                    <a:pt x="15" y="1294"/>
                  </a:lnTo>
                  <a:lnTo>
                    <a:pt x="17" y="1296"/>
                  </a:lnTo>
                  <a:lnTo>
                    <a:pt x="13" y="1296"/>
                  </a:lnTo>
                  <a:lnTo>
                    <a:pt x="11" y="1295"/>
                  </a:lnTo>
                  <a:lnTo>
                    <a:pt x="11" y="1292"/>
                  </a:lnTo>
                  <a:lnTo>
                    <a:pt x="8" y="1291"/>
                  </a:lnTo>
                  <a:lnTo>
                    <a:pt x="8" y="1289"/>
                  </a:lnTo>
                  <a:lnTo>
                    <a:pt x="6" y="1287"/>
                  </a:lnTo>
                  <a:lnTo>
                    <a:pt x="5" y="1288"/>
                  </a:lnTo>
                  <a:lnTo>
                    <a:pt x="3" y="1287"/>
                  </a:lnTo>
                  <a:lnTo>
                    <a:pt x="2" y="1287"/>
                  </a:lnTo>
                  <a:lnTo>
                    <a:pt x="3" y="1288"/>
                  </a:lnTo>
                  <a:lnTo>
                    <a:pt x="0" y="1291"/>
                  </a:lnTo>
                  <a:lnTo>
                    <a:pt x="0" y="1295"/>
                  </a:lnTo>
                  <a:lnTo>
                    <a:pt x="4" y="1296"/>
                  </a:lnTo>
                  <a:lnTo>
                    <a:pt x="4" y="1296"/>
                  </a:lnTo>
                  <a:lnTo>
                    <a:pt x="3" y="1297"/>
                  </a:lnTo>
                  <a:lnTo>
                    <a:pt x="2" y="1298"/>
                  </a:lnTo>
                  <a:lnTo>
                    <a:pt x="3" y="1302"/>
                  </a:lnTo>
                  <a:lnTo>
                    <a:pt x="3" y="1303"/>
                  </a:lnTo>
                  <a:lnTo>
                    <a:pt x="2" y="1303"/>
                  </a:lnTo>
                  <a:lnTo>
                    <a:pt x="0" y="1304"/>
                  </a:lnTo>
                  <a:lnTo>
                    <a:pt x="0" y="1305"/>
                  </a:lnTo>
                  <a:lnTo>
                    <a:pt x="0" y="1305"/>
                  </a:lnTo>
                  <a:lnTo>
                    <a:pt x="2" y="1308"/>
                  </a:lnTo>
                  <a:lnTo>
                    <a:pt x="3" y="1305"/>
                  </a:lnTo>
                  <a:lnTo>
                    <a:pt x="8" y="1304"/>
                  </a:lnTo>
                  <a:lnTo>
                    <a:pt x="10" y="1304"/>
                  </a:lnTo>
                  <a:lnTo>
                    <a:pt x="12" y="1306"/>
                  </a:lnTo>
                  <a:lnTo>
                    <a:pt x="14" y="1306"/>
                  </a:lnTo>
                  <a:lnTo>
                    <a:pt x="15" y="1307"/>
                  </a:lnTo>
                  <a:lnTo>
                    <a:pt x="19" y="1309"/>
                  </a:lnTo>
                  <a:lnTo>
                    <a:pt x="19" y="1311"/>
                  </a:lnTo>
                  <a:lnTo>
                    <a:pt x="22" y="1313"/>
                  </a:lnTo>
                  <a:lnTo>
                    <a:pt x="24" y="1314"/>
                  </a:lnTo>
                  <a:lnTo>
                    <a:pt x="24" y="1311"/>
                  </a:lnTo>
                  <a:lnTo>
                    <a:pt x="27" y="1311"/>
                  </a:lnTo>
                  <a:lnTo>
                    <a:pt x="28" y="1314"/>
                  </a:lnTo>
                  <a:lnTo>
                    <a:pt x="30" y="1320"/>
                  </a:lnTo>
                  <a:lnTo>
                    <a:pt x="33" y="1320"/>
                  </a:lnTo>
                  <a:lnTo>
                    <a:pt x="36" y="1318"/>
                  </a:lnTo>
                  <a:lnTo>
                    <a:pt x="36" y="1317"/>
                  </a:lnTo>
                  <a:lnTo>
                    <a:pt x="41" y="1316"/>
                  </a:lnTo>
                  <a:lnTo>
                    <a:pt x="40" y="1314"/>
                  </a:lnTo>
                  <a:lnTo>
                    <a:pt x="34" y="1307"/>
                  </a:lnTo>
                  <a:lnTo>
                    <a:pt x="36" y="1305"/>
                  </a:lnTo>
                  <a:lnTo>
                    <a:pt x="38" y="1305"/>
                  </a:lnTo>
                  <a:lnTo>
                    <a:pt x="43" y="1302"/>
                  </a:lnTo>
                  <a:lnTo>
                    <a:pt x="46" y="1297"/>
                  </a:lnTo>
                  <a:lnTo>
                    <a:pt x="47" y="1296"/>
                  </a:lnTo>
                  <a:lnTo>
                    <a:pt x="48" y="1296"/>
                  </a:lnTo>
                  <a:lnTo>
                    <a:pt x="49" y="1295"/>
                  </a:lnTo>
                  <a:lnTo>
                    <a:pt x="51" y="1295"/>
                  </a:lnTo>
                  <a:lnTo>
                    <a:pt x="55" y="1294"/>
                  </a:lnTo>
                  <a:lnTo>
                    <a:pt x="55" y="1296"/>
                  </a:lnTo>
                  <a:lnTo>
                    <a:pt x="60" y="1299"/>
                  </a:lnTo>
                  <a:lnTo>
                    <a:pt x="63" y="1304"/>
                  </a:lnTo>
                  <a:lnTo>
                    <a:pt x="63" y="1302"/>
                  </a:lnTo>
                  <a:lnTo>
                    <a:pt x="64" y="1303"/>
                  </a:lnTo>
                  <a:lnTo>
                    <a:pt x="66" y="1302"/>
                  </a:lnTo>
                  <a:lnTo>
                    <a:pt x="70" y="1305"/>
                  </a:lnTo>
                  <a:lnTo>
                    <a:pt x="67" y="1304"/>
                  </a:lnTo>
                  <a:lnTo>
                    <a:pt x="65" y="1305"/>
                  </a:lnTo>
                  <a:lnTo>
                    <a:pt x="65" y="1308"/>
                  </a:lnTo>
                  <a:lnTo>
                    <a:pt x="64" y="1308"/>
                  </a:lnTo>
                  <a:lnTo>
                    <a:pt x="63" y="1307"/>
                  </a:lnTo>
                  <a:lnTo>
                    <a:pt x="63" y="1311"/>
                  </a:lnTo>
                  <a:lnTo>
                    <a:pt x="66" y="1315"/>
                  </a:lnTo>
                  <a:lnTo>
                    <a:pt x="73" y="1322"/>
                  </a:lnTo>
                  <a:lnTo>
                    <a:pt x="74" y="1325"/>
                  </a:lnTo>
                  <a:lnTo>
                    <a:pt x="76" y="1328"/>
                  </a:lnTo>
                  <a:lnTo>
                    <a:pt x="77" y="1330"/>
                  </a:lnTo>
                  <a:lnTo>
                    <a:pt x="75" y="1333"/>
                  </a:lnTo>
                  <a:lnTo>
                    <a:pt x="79" y="1339"/>
                  </a:lnTo>
                  <a:lnTo>
                    <a:pt x="79" y="1341"/>
                  </a:lnTo>
                  <a:lnTo>
                    <a:pt x="75" y="1342"/>
                  </a:lnTo>
                  <a:lnTo>
                    <a:pt x="76" y="1345"/>
                  </a:lnTo>
                  <a:lnTo>
                    <a:pt x="77" y="1347"/>
                  </a:lnTo>
                  <a:lnTo>
                    <a:pt x="77" y="1355"/>
                  </a:lnTo>
                  <a:lnTo>
                    <a:pt x="77" y="1357"/>
                  </a:lnTo>
                  <a:lnTo>
                    <a:pt x="79" y="1360"/>
                  </a:lnTo>
                  <a:lnTo>
                    <a:pt x="76" y="1362"/>
                  </a:lnTo>
                  <a:lnTo>
                    <a:pt x="76" y="1364"/>
                  </a:lnTo>
                  <a:lnTo>
                    <a:pt x="80" y="1364"/>
                  </a:lnTo>
                  <a:lnTo>
                    <a:pt x="79" y="1366"/>
                  </a:lnTo>
                  <a:lnTo>
                    <a:pt x="81" y="1366"/>
                  </a:lnTo>
                  <a:lnTo>
                    <a:pt x="80" y="1366"/>
                  </a:lnTo>
                  <a:lnTo>
                    <a:pt x="79" y="1369"/>
                  </a:lnTo>
                  <a:lnTo>
                    <a:pt x="77" y="1371"/>
                  </a:lnTo>
                  <a:lnTo>
                    <a:pt x="76" y="1374"/>
                  </a:lnTo>
                  <a:lnTo>
                    <a:pt x="76" y="1374"/>
                  </a:lnTo>
                  <a:lnTo>
                    <a:pt x="74" y="1377"/>
                  </a:lnTo>
                  <a:lnTo>
                    <a:pt x="72" y="1381"/>
                  </a:lnTo>
                  <a:lnTo>
                    <a:pt x="72" y="1383"/>
                  </a:lnTo>
                  <a:lnTo>
                    <a:pt x="70" y="1383"/>
                  </a:lnTo>
                  <a:lnTo>
                    <a:pt x="68" y="1384"/>
                  </a:lnTo>
                  <a:lnTo>
                    <a:pt x="66" y="1384"/>
                  </a:lnTo>
                  <a:lnTo>
                    <a:pt x="60" y="1385"/>
                  </a:lnTo>
                  <a:lnTo>
                    <a:pt x="59" y="1389"/>
                  </a:lnTo>
                  <a:lnTo>
                    <a:pt x="60" y="1392"/>
                  </a:lnTo>
                  <a:lnTo>
                    <a:pt x="58" y="1394"/>
                  </a:lnTo>
                  <a:lnTo>
                    <a:pt x="56" y="1394"/>
                  </a:lnTo>
                  <a:lnTo>
                    <a:pt x="56" y="1397"/>
                  </a:lnTo>
                  <a:lnTo>
                    <a:pt x="57" y="1399"/>
                  </a:lnTo>
                  <a:lnTo>
                    <a:pt x="56" y="1401"/>
                  </a:lnTo>
                  <a:lnTo>
                    <a:pt x="55" y="1403"/>
                  </a:lnTo>
                  <a:lnTo>
                    <a:pt x="49" y="1405"/>
                  </a:lnTo>
                  <a:lnTo>
                    <a:pt x="47" y="1405"/>
                  </a:lnTo>
                  <a:lnTo>
                    <a:pt x="46" y="1407"/>
                  </a:lnTo>
                  <a:lnTo>
                    <a:pt x="43" y="1407"/>
                  </a:lnTo>
                  <a:lnTo>
                    <a:pt x="41" y="1408"/>
                  </a:lnTo>
                  <a:lnTo>
                    <a:pt x="40" y="1410"/>
                  </a:lnTo>
                  <a:lnTo>
                    <a:pt x="41" y="1414"/>
                  </a:lnTo>
                  <a:lnTo>
                    <a:pt x="40" y="1417"/>
                  </a:lnTo>
                  <a:lnTo>
                    <a:pt x="39" y="1418"/>
                  </a:lnTo>
                  <a:lnTo>
                    <a:pt x="34" y="1424"/>
                  </a:lnTo>
                  <a:lnTo>
                    <a:pt x="36" y="1426"/>
                  </a:lnTo>
                  <a:lnTo>
                    <a:pt x="38" y="1427"/>
                  </a:lnTo>
                  <a:lnTo>
                    <a:pt x="34" y="1427"/>
                  </a:lnTo>
                  <a:lnTo>
                    <a:pt x="33" y="1431"/>
                  </a:lnTo>
                  <a:lnTo>
                    <a:pt x="31" y="1432"/>
                  </a:lnTo>
                  <a:lnTo>
                    <a:pt x="29" y="1434"/>
                  </a:lnTo>
                  <a:lnTo>
                    <a:pt x="31" y="1436"/>
                  </a:lnTo>
                  <a:lnTo>
                    <a:pt x="30" y="1440"/>
                  </a:lnTo>
                  <a:lnTo>
                    <a:pt x="30" y="1442"/>
                  </a:lnTo>
                  <a:lnTo>
                    <a:pt x="31" y="1444"/>
                  </a:lnTo>
                  <a:lnTo>
                    <a:pt x="31" y="1448"/>
                  </a:lnTo>
                  <a:lnTo>
                    <a:pt x="29" y="1449"/>
                  </a:lnTo>
                  <a:lnTo>
                    <a:pt x="28" y="1449"/>
                  </a:lnTo>
                  <a:lnTo>
                    <a:pt x="30" y="1451"/>
                  </a:lnTo>
                  <a:lnTo>
                    <a:pt x="33" y="1452"/>
                  </a:lnTo>
                  <a:lnTo>
                    <a:pt x="36" y="1454"/>
                  </a:lnTo>
                  <a:lnTo>
                    <a:pt x="38" y="1454"/>
                  </a:lnTo>
                  <a:lnTo>
                    <a:pt x="41" y="1451"/>
                  </a:lnTo>
                  <a:lnTo>
                    <a:pt x="41" y="1452"/>
                  </a:lnTo>
                  <a:lnTo>
                    <a:pt x="42" y="1452"/>
                  </a:lnTo>
                  <a:lnTo>
                    <a:pt x="41" y="1452"/>
                  </a:lnTo>
                  <a:lnTo>
                    <a:pt x="41" y="1454"/>
                  </a:lnTo>
                  <a:lnTo>
                    <a:pt x="42" y="1454"/>
                  </a:lnTo>
                  <a:lnTo>
                    <a:pt x="43" y="1451"/>
                  </a:lnTo>
                  <a:lnTo>
                    <a:pt x="42" y="1449"/>
                  </a:lnTo>
                  <a:lnTo>
                    <a:pt x="42" y="1448"/>
                  </a:lnTo>
                  <a:lnTo>
                    <a:pt x="45" y="1446"/>
                  </a:lnTo>
                  <a:lnTo>
                    <a:pt x="43" y="1449"/>
                  </a:lnTo>
                  <a:lnTo>
                    <a:pt x="43" y="1451"/>
                  </a:lnTo>
                  <a:lnTo>
                    <a:pt x="45" y="1454"/>
                  </a:lnTo>
                  <a:lnTo>
                    <a:pt x="43" y="1457"/>
                  </a:lnTo>
                  <a:lnTo>
                    <a:pt x="42" y="1461"/>
                  </a:lnTo>
                  <a:lnTo>
                    <a:pt x="41" y="1462"/>
                  </a:lnTo>
                  <a:lnTo>
                    <a:pt x="39" y="1465"/>
                  </a:lnTo>
                  <a:lnTo>
                    <a:pt x="38" y="1465"/>
                  </a:lnTo>
                  <a:lnTo>
                    <a:pt x="37" y="1465"/>
                  </a:lnTo>
                  <a:lnTo>
                    <a:pt x="33" y="1467"/>
                  </a:lnTo>
                  <a:lnTo>
                    <a:pt x="31" y="1469"/>
                  </a:lnTo>
                  <a:lnTo>
                    <a:pt x="29" y="1472"/>
                  </a:lnTo>
                  <a:lnTo>
                    <a:pt x="23" y="1477"/>
                  </a:lnTo>
                  <a:lnTo>
                    <a:pt x="23" y="1479"/>
                  </a:lnTo>
                  <a:lnTo>
                    <a:pt x="23" y="1480"/>
                  </a:lnTo>
                  <a:lnTo>
                    <a:pt x="23" y="1484"/>
                  </a:lnTo>
                  <a:lnTo>
                    <a:pt x="25" y="1486"/>
                  </a:lnTo>
                  <a:lnTo>
                    <a:pt x="25" y="1488"/>
                  </a:lnTo>
                  <a:lnTo>
                    <a:pt x="25" y="1491"/>
                  </a:lnTo>
                  <a:lnTo>
                    <a:pt x="29" y="1494"/>
                  </a:lnTo>
                  <a:lnTo>
                    <a:pt x="29" y="1496"/>
                  </a:lnTo>
                  <a:lnTo>
                    <a:pt x="28" y="1499"/>
                  </a:lnTo>
                  <a:lnTo>
                    <a:pt x="25" y="1499"/>
                  </a:lnTo>
                  <a:lnTo>
                    <a:pt x="25" y="1502"/>
                  </a:lnTo>
                  <a:lnTo>
                    <a:pt x="28" y="1503"/>
                  </a:lnTo>
                  <a:lnTo>
                    <a:pt x="33" y="1505"/>
                  </a:lnTo>
                  <a:lnTo>
                    <a:pt x="41" y="1511"/>
                  </a:lnTo>
                  <a:lnTo>
                    <a:pt x="41" y="1512"/>
                  </a:lnTo>
                  <a:lnTo>
                    <a:pt x="45" y="1517"/>
                  </a:lnTo>
                  <a:lnTo>
                    <a:pt x="45" y="1517"/>
                  </a:lnTo>
                  <a:lnTo>
                    <a:pt x="47" y="1519"/>
                  </a:lnTo>
                  <a:lnTo>
                    <a:pt x="47" y="1520"/>
                  </a:lnTo>
                  <a:lnTo>
                    <a:pt x="49" y="1526"/>
                  </a:lnTo>
                  <a:lnTo>
                    <a:pt x="50" y="1528"/>
                  </a:lnTo>
                  <a:lnTo>
                    <a:pt x="54" y="1530"/>
                  </a:lnTo>
                  <a:lnTo>
                    <a:pt x="57" y="1535"/>
                  </a:lnTo>
                  <a:lnTo>
                    <a:pt x="62" y="1546"/>
                  </a:lnTo>
                  <a:lnTo>
                    <a:pt x="63" y="1548"/>
                  </a:lnTo>
                  <a:lnTo>
                    <a:pt x="66" y="1559"/>
                  </a:lnTo>
                  <a:lnTo>
                    <a:pt x="72" y="1568"/>
                  </a:lnTo>
                  <a:lnTo>
                    <a:pt x="73" y="1571"/>
                  </a:lnTo>
                  <a:lnTo>
                    <a:pt x="73" y="1573"/>
                  </a:lnTo>
                  <a:lnTo>
                    <a:pt x="76" y="1576"/>
                  </a:lnTo>
                  <a:lnTo>
                    <a:pt x="79" y="1578"/>
                  </a:lnTo>
                  <a:lnTo>
                    <a:pt x="80" y="1581"/>
                  </a:lnTo>
                  <a:lnTo>
                    <a:pt x="80" y="1583"/>
                  </a:lnTo>
                  <a:lnTo>
                    <a:pt x="80" y="1585"/>
                  </a:lnTo>
                  <a:lnTo>
                    <a:pt x="85" y="1590"/>
                  </a:lnTo>
                  <a:lnTo>
                    <a:pt x="88" y="1595"/>
                  </a:lnTo>
                  <a:lnTo>
                    <a:pt x="89" y="1598"/>
                  </a:lnTo>
                  <a:lnTo>
                    <a:pt x="92" y="1602"/>
                  </a:lnTo>
                  <a:lnTo>
                    <a:pt x="93" y="1605"/>
                  </a:lnTo>
                  <a:lnTo>
                    <a:pt x="93" y="1607"/>
                  </a:lnTo>
                  <a:lnTo>
                    <a:pt x="91" y="1610"/>
                  </a:lnTo>
                  <a:lnTo>
                    <a:pt x="92" y="1613"/>
                  </a:lnTo>
                  <a:lnTo>
                    <a:pt x="96" y="1617"/>
                  </a:lnTo>
                  <a:lnTo>
                    <a:pt x="97" y="1621"/>
                  </a:lnTo>
                  <a:lnTo>
                    <a:pt x="102" y="1624"/>
                  </a:lnTo>
                  <a:lnTo>
                    <a:pt x="106" y="1629"/>
                  </a:lnTo>
                  <a:lnTo>
                    <a:pt x="107" y="1631"/>
                  </a:lnTo>
                  <a:lnTo>
                    <a:pt x="109" y="1632"/>
                  </a:lnTo>
                  <a:lnTo>
                    <a:pt x="116" y="1636"/>
                  </a:lnTo>
                  <a:lnTo>
                    <a:pt x="118" y="1638"/>
                  </a:lnTo>
                  <a:lnTo>
                    <a:pt x="122" y="1638"/>
                  </a:lnTo>
                  <a:lnTo>
                    <a:pt x="126" y="1642"/>
                  </a:lnTo>
                  <a:lnTo>
                    <a:pt x="139" y="1647"/>
                  </a:lnTo>
                  <a:lnTo>
                    <a:pt x="140" y="1648"/>
                  </a:lnTo>
                  <a:lnTo>
                    <a:pt x="143" y="1649"/>
                  </a:lnTo>
                  <a:lnTo>
                    <a:pt x="145" y="1650"/>
                  </a:lnTo>
                  <a:lnTo>
                    <a:pt x="149" y="1654"/>
                  </a:lnTo>
                  <a:lnTo>
                    <a:pt x="150" y="1654"/>
                  </a:lnTo>
                  <a:lnTo>
                    <a:pt x="152" y="1656"/>
                  </a:lnTo>
                  <a:lnTo>
                    <a:pt x="156" y="1657"/>
                  </a:lnTo>
                  <a:lnTo>
                    <a:pt x="158" y="1658"/>
                  </a:lnTo>
                  <a:lnTo>
                    <a:pt x="159" y="1660"/>
                  </a:lnTo>
                  <a:lnTo>
                    <a:pt x="159" y="1664"/>
                  </a:lnTo>
                  <a:lnTo>
                    <a:pt x="165" y="1666"/>
                  </a:lnTo>
                  <a:lnTo>
                    <a:pt x="173" y="1673"/>
                  </a:lnTo>
                  <a:lnTo>
                    <a:pt x="174" y="1674"/>
                  </a:lnTo>
                  <a:lnTo>
                    <a:pt x="174" y="1676"/>
                  </a:lnTo>
                  <a:lnTo>
                    <a:pt x="174" y="1682"/>
                  </a:lnTo>
                  <a:lnTo>
                    <a:pt x="175" y="1688"/>
                  </a:lnTo>
                  <a:lnTo>
                    <a:pt x="176" y="1696"/>
                  </a:lnTo>
                  <a:lnTo>
                    <a:pt x="175" y="1701"/>
                  </a:lnTo>
                  <a:lnTo>
                    <a:pt x="175" y="1707"/>
                  </a:lnTo>
                  <a:lnTo>
                    <a:pt x="176" y="1709"/>
                  </a:lnTo>
                  <a:lnTo>
                    <a:pt x="177" y="1717"/>
                  </a:lnTo>
                  <a:lnTo>
                    <a:pt x="176" y="1719"/>
                  </a:lnTo>
                  <a:lnTo>
                    <a:pt x="176" y="1722"/>
                  </a:lnTo>
                  <a:lnTo>
                    <a:pt x="175" y="1731"/>
                  </a:lnTo>
                  <a:lnTo>
                    <a:pt x="174" y="1739"/>
                  </a:lnTo>
                  <a:lnTo>
                    <a:pt x="169" y="1743"/>
                  </a:lnTo>
                  <a:lnTo>
                    <a:pt x="169" y="1745"/>
                  </a:lnTo>
                  <a:lnTo>
                    <a:pt x="173" y="1747"/>
                  </a:lnTo>
                  <a:lnTo>
                    <a:pt x="173" y="1749"/>
                  </a:lnTo>
                  <a:lnTo>
                    <a:pt x="171" y="1751"/>
                  </a:lnTo>
                  <a:lnTo>
                    <a:pt x="171" y="1757"/>
                  </a:lnTo>
                  <a:lnTo>
                    <a:pt x="170" y="1762"/>
                  </a:lnTo>
                  <a:lnTo>
                    <a:pt x="171" y="1768"/>
                  </a:lnTo>
                  <a:lnTo>
                    <a:pt x="171" y="1770"/>
                  </a:lnTo>
                  <a:lnTo>
                    <a:pt x="171" y="1773"/>
                  </a:lnTo>
                  <a:lnTo>
                    <a:pt x="169" y="1776"/>
                  </a:lnTo>
                  <a:lnTo>
                    <a:pt x="169" y="1778"/>
                  </a:lnTo>
                  <a:lnTo>
                    <a:pt x="168" y="1781"/>
                  </a:lnTo>
                  <a:lnTo>
                    <a:pt x="169" y="1783"/>
                  </a:lnTo>
                  <a:lnTo>
                    <a:pt x="169" y="1786"/>
                  </a:lnTo>
                  <a:lnTo>
                    <a:pt x="169" y="1787"/>
                  </a:lnTo>
                  <a:lnTo>
                    <a:pt x="165" y="1801"/>
                  </a:lnTo>
                  <a:lnTo>
                    <a:pt x="166" y="1804"/>
                  </a:lnTo>
                  <a:lnTo>
                    <a:pt x="164" y="1808"/>
                  </a:lnTo>
                  <a:lnTo>
                    <a:pt x="162" y="1813"/>
                  </a:lnTo>
                  <a:lnTo>
                    <a:pt x="161" y="1818"/>
                  </a:lnTo>
                  <a:lnTo>
                    <a:pt x="158" y="1827"/>
                  </a:lnTo>
                  <a:lnTo>
                    <a:pt x="158" y="1830"/>
                  </a:lnTo>
                  <a:lnTo>
                    <a:pt x="160" y="1833"/>
                  </a:lnTo>
                  <a:lnTo>
                    <a:pt x="160" y="1838"/>
                  </a:lnTo>
                  <a:lnTo>
                    <a:pt x="160" y="1841"/>
                  </a:lnTo>
                  <a:lnTo>
                    <a:pt x="159" y="1842"/>
                  </a:lnTo>
                  <a:lnTo>
                    <a:pt x="159" y="1845"/>
                  </a:lnTo>
                  <a:lnTo>
                    <a:pt x="157" y="1846"/>
                  </a:lnTo>
                  <a:lnTo>
                    <a:pt x="155" y="1848"/>
                  </a:lnTo>
                  <a:lnTo>
                    <a:pt x="155" y="1852"/>
                  </a:lnTo>
                  <a:lnTo>
                    <a:pt x="157" y="1867"/>
                  </a:lnTo>
                  <a:lnTo>
                    <a:pt x="157" y="1869"/>
                  </a:lnTo>
                  <a:lnTo>
                    <a:pt x="157" y="1875"/>
                  </a:lnTo>
                  <a:lnTo>
                    <a:pt x="159" y="1878"/>
                  </a:lnTo>
                  <a:lnTo>
                    <a:pt x="157" y="1884"/>
                  </a:lnTo>
                  <a:lnTo>
                    <a:pt x="157" y="1886"/>
                  </a:lnTo>
                  <a:lnTo>
                    <a:pt x="155" y="1888"/>
                  </a:lnTo>
                  <a:lnTo>
                    <a:pt x="155" y="1894"/>
                  </a:lnTo>
                  <a:lnTo>
                    <a:pt x="156" y="1897"/>
                  </a:lnTo>
                  <a:lnTo>
                    <a:pt x="153" y="1899"/>
                  </a:lnTo>
                  <a:lnTo>
                    <a:pt x="151" y="1904"/>
                  </a:lnTo>
                  <a:lnTo>
                    <a:pt x="151" y="1907"/>
                  </a:lnTo>
                  <a:lnTo>
                    <a:pt x="150" y="1908"/>
                  </a:lnTo>
                  <a:lnTo>
                    <a:pt x="150" y="1914"/>
                  </a:lnTo>
                  <a:lnTo>
                    <a:pt x="148" y="1918"/>
                  </a:lnTo>
                  <a:lnTo>
                    <a:pt x="148" y="1919"/>
                  </a:lnTo>
                  <a:lnTo>
                    <a:pt x="144" y="1923"/>
                  </a:lnTo>
                  <a:lnTo>
                    <a:pt x="143" y="1927"/>
                  </a:lnTo>
                  <a:lnTo>
                    <a:pt x="142" y="1931"/>
                  </a:lnTo>
                  <a:lnTo>
                    <a:pt x="140" y="1935"/>
                  </a:lnTo>
                  <a:lnTo>
                    <a:pt x="140" y="1937"/>
                  </a:lnTo>
                  <a:lnTo>
                    <a:pt x="139" y="1940"/>
                  </a:lnTo>
                  <a:lnTo>
                    <a:pt x="138" y="1942"/>
                  </a:lnTo>
                  <a:lnTo>
                    <a:pt x="138" y="1945"/>
                  </a:lnTo>
                  <a:lnTo>
                    <a:pt x="134" y="1946"/>
                  </a:lnTo>
                  <a:lnTo>
                    <a:pt x="134" y="1952"/>
                  </a:lnTo>
                  <a:lnTo>
                    <a:pt x="132" y="1953"/>
                  </a:lnTo>
                  <a:lnTo>
                    <a:pt x="130" y="1952"/>
                  </a:lnTo>
                  <a:lnTo>
                    <a:pt x="127" y="1955"/>
                  </a:lnTo>
                  <a:lnTo>
                    <a:pt x="128" y="1957"/>
                  </a:lnTo>
                  <a:lnTo>
                    <a:pt x="127" y="1958"/>
                  </a:lnTo>
                  <a:lnTo>
                    <a:pt x="128" y="1962"/>
                  </a:lnTo>
                  <a:lnTo>
                    <a:pt x="130" y="1964"/>
                  </a:lnTo>
                  <a:lnTo>
                    <a:pt x="131" y="1966"/>
                  </a:lnTo>
                  <a:lnTo>
                    <a:pt x="130" y="1972"/>
                  </a:lnTo>
                  <a:lnTo>
                    <a:pt x="131" y="1975"/>
                  </a:lnTo>
                  <a:lnTo>
                    <a:pt x="134" y="1984"/>
                  </a:lnTo>
                  <a:lnTo>
                    <a:pt x="134" y="1987"/>
                  </a:lnTo>
                  <a:lnTo>
                    <a:pt x="133" y="1990"/>
                  </a:lnTo>
                  <a:lnTo>
                    <a:pt x="132" y="1992"/>
                  </a:lnTo>
                  <a:lnTo>
                    <a:pt x="132" y="1995"/>
                  </a:lnTo>
                  <a:lnTo>
                    <a:pt x="130" y="1996"/>
                  </a:lnTo>
                  <a:lnTo>
                    <a:pt x="127" y="1997"/>
                  </a:lnTo>
                  <a:lnTo>
                    <a:pt x="127" y="2000"/>
                  </a:lnTo>
                  <a:lnTo>
                    <a:pt x="126" y="2004"/>
                  </a:lnTo>
                  <a:lnTo>
                    <a:pt x="126" y="2006"/>
                  </a:lnTo>
                  <a:lnTo>
                    <a:pt x="123" y="2013"/>
                  </a:lnTo>
                  <a:lnTo>
                    <a:pt x="124" y="2016"/>
                  </a:lnTo>
                  <a:lnTo>
                    <a:pt x="125" y="2018"/>
                  </a:lnTo>
                  <a:lnTo>
                    <a:pt x="125" y="2022"/>
                  </a:lnTo>
                  <a:lnTo>
                    <a:pt x="127" y="2023"/>
                  </a:lnTo>
                  <a:lnTo>
                    <a:pt x="130" y="2023"/>
                  </a:lnTo>
                  <a:lnTo>
                    <a:pt x="128" y="2026"/>
                  </a:lnTo>
                  <a:lnTo>
                    <a:pt x="130" y="2026"/>
                  </a:lnTo>
                  <a:lnTo>
                    <a:pt x="135" y="2026"/>
                  </a:lnTo>
                  <a:lnTo>
                    <a:pt x="135" y="2023"/>
                  </a:lnTo>
                  <a:lnTo>
                    <a:pt x="139" y="2022"/>
                  </a:lnTo>
                  <a:lnTo>
                    <a:pt x="143" y="2025"/>
                  </a:lnTo>
                  <a:lnTo>
                    <a:pt x="145" y="2022"/>
                  </a:lnTo>
                  <a:lnTo>
                    <a:pt x="145" y="2025"/>
                  </a:lnTo>
                  <a:lnTo>
                    <a:pt x="142" y="2025"/>
                  </a:lnTo>
                  <a:lnTo>
                    <a:pt x="140" y="2027"/>
                  </a:lnTo>
                  <a:lnTo>
                    <a:pt x="140" y="2030"/>
                  </a:lnTo>
                  <a:lnTo>
                    <a:pt x="143" y="2031"/>
                  </a:lnTo>
                  <a:lnTo>
                    <a:pt x="144" y="2032"/>
                  </a:lnTo>
                  <a:lnTo>
                    <a:pt x="144" y="2038"/>
                  </a:lnTo>
                  <a:lnTo>
                    <a:pt x="143" y="2035"/>
                  </a:lnTo>
                  <a:lnTo>
                    <a:pt x="141" y="2033"/>
                  </a:lnTo>
                  <a:lnTo>
                    <a:pt x="140" y="2036"/>
                  </a:lnTo>
                  <a:lnTo>
                    <a:pt x="143" y="2039"/>
                  </a:lnTo>
                  <a:lnTo>
                    <a:pt x="142" y="2039"/>
                  </a:lnTo>
                  <a:lnTo>
                    <a:pt x="140" y="2038"/>
                  </a:lnTo>
                  <a:lnTo>
                    <a:pt x="140" y="2043"/>
                  </a:lnTo>
                  <a:lnTo>
                    <a:pt x="141" y="2046"/>
                  </a:lnTo>
                  <a:lnTo>
                    <a:pt x="138" y="2048"/>
                  </a:lnTo>
                  <a:lnTo>
                    <a:pt x="138" y="2050"/>
                  </a:lnTo>
                  <a:lnTo>
                    <a:pt x="135" y="2053"/>
                  </a:lnTo>
                  <a:lnTo>
                    <a:pt x="136" y="2056"/>
                  </a:lnTo>
                  <a:lnTo>
                    <a:pt x="138" y="2056"/>
                  </a:lnTo>
                  <a:lnTo>
                    <a:pt x="136" y="2058"/>
                  </a:lnTo>
                  <a:lnTo>
                    <a:pt x="139" y="2058"/>
                  </a:lnTo>
                  <a:lnTo>
                    <a:pt x="133" y="2066"/>
                  </a:lnTo>
                  <a:lnTo>
                    <a:pt x="134" y="2067"/>
                  </a:lnTo>
                  <a:lnTo>
                    <a:pt x="138" y="2068"/>
                  </a:lnTo>
                  <a:lnTo>
                    <a:pt x="140" y="2070"/>
                  </a:lnTo>
                  <a:lnTo>
                    <a:pt x="142" y="2069"/>
                  </a:lnTo>
                  <a:lnTo>
                    <a:pt x="142" y="2072"/>
                  </a:lnTo>
                  <a:lnTo>
                    <a:pt x="141" y="2075"/>
                  </a:lnTo>
                  <a:lnTo>
                    <a:pt x="139" y="2077"/>
                  </a:lnTo>
                  <a:lnTo>
                    <a:pt x="135" y="2079"/>
                  </a:lnTo>
                  <a:lnTo>
                    <a:pt x="133" y="2079"/>
                  </a:lnTo>
                  <a:lnTo>
                    <a:pt x="132" y="2079"/>
                  </a:lnTo>
                  <a:lnTo>
                    <a:pt x="133" y="2083"/>
                  </a:lnTo>
                  <a:lnTo>
                    <a:pt x="135" y="2085"/>
                  </a:lnTo>
                  <a:lnTo>
                    <a:pt x="138" y="2087"/>
                  </a:lnTo>
                  <a:lnTo>
                    <a:pt x="140" y="2087"/>
                  </a:lnTo>
                  <a:lnTo>
                    <a:pt x="139" y="2087"/>
                  </a:lnTo>
                  <a:lnTo>
                    <a:pt x="136" y="2087"/>
                  </a:lnTo>
                  <a:lnTo>
                    <a:pt x="134" y="2085"/>
                  </a:lnTo>
                  <a:lnTo>
                    <a:pt x="131" y="2087"/>
                  </a:lnTo>
                  <a:lnTo>
                    <a:pt x="130" y="2090"/>
                  </a:lnTo>
                  <a:lnTo>
                    <a:pt x="130" y="2092"/>
                  </a:lnTo>
                  <a:lnTo>
                    <a:pt x="132" y="2091"/>
                  </a:lnTo>
                  <a:lnTo>
                    <a:pt x="130" y="2093"/>
                  </a:lnTo>
                  <a:lnTo>
                    <a:pt x="128" y="2096"/>
                  </a:lnTo>
                  <a:lnTo>
                    <a:pt x="128" y="2099"/>
                  </a:lnTo>
                  <a:lnTo>
                    <a:pt x="127" y="2101"/>
                  </a:lnTo>
                  <a:lnTo>
                    <a:pt x="131" y="2099"/>
                  </a:lnTo>
                  <a:lnTo>
                    <a:pt x="130" y="2101"/>
                  </a:lnTo>
                  <a:lnTo>
                    <a:pt x="126" y="2104"/>
                  </a:lnTo>
                  <a:lnTo>
                    <a:pt x="125" y="2107"/>
                  </a:lnTo>
                  <a:lnTo>
                    <a:pt x="125" y="2104"/>
                  </a:lnTo>
                  <a:lnTo>
                    <a:pt x="126" y="2102"/>
                  </a:lnTo>
                  <a:lnTo>
                    <a:pt x="124" y="2100"/>
                  </a:lnTo>
                  <a:lnTo>
                    <a:pt x="125" y="2102"/>
                  </a:lnTo>
                  <a:lnTo>
                    <a:pt x="122" y="2101"/>
                  </a:lnTo>
                  <a:lnTo>
                    <a:pt x="119" y="2101"/>
                  </a:lnTo>
                  <a:lnTo>
                    <a:pt x="117" y="2100"/>
                  </a:lnTo>
                  <a:lnTo>
                    <a:pt x="119" y="2101"/>
                  </a:lnTo>
                  <a:lnTo>
                    <a:pt x="122" y="2100"/>
                  </a:lnTo>
                  <a:lnTo>
                    <a:pt x="124" y="2098"/>
                  </a:lnTo>
                  <a:lnTo>
                    <a:pt x="121" y="2095"/>
                  </a:lnTo>
                  <a:lnTo>
                    <a:pt x="118" y="2093"/>
                  </a:lnTo>
                  <a:lnTo>
                    <a:pt x="117" y="2096"/>
                  </a:lnTo>
                  <a:lnTo>
                    <a:pt x="115" y="2094"/>
                  </a:lnTo>
                  <a:lnTo>
                    <a:pt x="113" y="2094"/>
                  </a:lnTo>
                  <a:lnTo>
                    <a:pt x="109" y="2095"/>
                  </a:lnTo>
                  <a:lnTo>
                    <a:pt x="108" y="2098"/>
                  </a:lnTo>
                  <a:lnTo>
                    <a:pt x="110" y="2099"/>
                  </a:lnTo>
                  <a:lnTo>
                    <a:pt x="113" y="2096"/>
                  </a:lnTo>
                  <a:lnTo>
                    <a:pt x="113" y="2099"/>
                  </a:lnTo>
                  <a:lnTo>
                    <a:pt x="110" y="2101"/>
                  </a:lnTo>
                  <a:lnTo>
                    <a:pt x="108" y="2102"/>
                  </a:lnTo>
                  <a:lnTo>
                    <a:pt x="102" y="2106"/>
                  </a:lnTo>
                  <a:lnTo>
                    <a:pt x="100" y="2109"/>
                  </a:lnTo>
                  <a:lnTo>
                    <a:pt x="100" y="2111"/>
                  </a:lnTo>
                  <a:lnTo>
                    <a:pt x="104" y="2113"/>
                  </a:lnTo>
                  <a:lnTo>
                    <a:pt x="105" y="2110"/>
                  </a:lnTo>
                  <a:lnTo>
                    <a:pt x="101" y="2109"/>
                  </a:lnTo>
                  <a:lnTo>
                    <a:pt x="107" y="2108"/>
                  </a:lnTo>
                  <a:lnTo>
                    <a:pt x="109" y="2106"/>
                  </a:lnTo>
                  <a:lnTo>
                    <a:pt x="109" y="2108"/>
                  </a:lnTo>
                  <a:lnTo>
                    <a:pt x="111" y="2110"/>
                  </a:lnTo>
                  <a:lnTo>
                    <a:pt x="114" y="2112"/>
                  </a:lnTo>
                  <a:lnTo>
                    <a:pt x="117" y="2112"/>
                  </a:lnTo>
                  <a:lnTo>
                    <a:pt x="116" y="2110"/>
                  </a:lnTo>
                  <a:lnTo>
                    <a:pt x="118" y="2110"/>
                  </a:lnTo>
                  <a:lnTo>
                    <a:pt x="122" y="2111"/>
                  </a:lnTo>
                  <a:lnTo>
                    <a:pt x="122" y="2115"/>
                  </a:lnTo>
                  <a:lnTo>
                    <a:pt x="122" y="2115"/>
                  </a:lnTo>
                  <a:lnTo>
                    <a:pt x="124" y="2115"/>
                  </a:lnTo>
                  <a:lnTo>
                    <a:pt x="123" y="2116"/>
                  </a:lnTo>
                  <a:lnTo>
                    <a:pt x="123" y="2117"/>
                  </a:lnTo>
                  <a:lnTo>
                    <a:pt x="122" y="2119"/>
                  </a:lnTo>
                  <a:lnTo>
                    <a:pt x="119" y="2118"/>
                  </a:lnTo>
                  <a:lnTo>
                    <a:pt x="117" y="2120"/>
                  </a:lnTo>
                  <a:lnTo>
                    <a:pt x="118" y="2124"/>
                  </a:lnTo>
                  <a:lnTo>
                    <a:pt x="121" y="2125"/>
                  </a:lnTo>
                  <a:lnTo>
                    <a:pt x="121" y="2127"/>
                  </a:lnTo>
                  <a:lnTo>
                    <a:pt x="115" y="2125"/>
                  </a:lnTo>
                  <a:lnTo>
                    <a:pt x="114" y="2127"/>
                  </a:lnTo>
                  <a:lnTo>
                    <a:pt x="122" y="2127"/>
                  </a:lnTo>
                  <a:lnTo>
                    <a:pt x="125" y="2128"/>
                  </a:lnTo>
                  <a:lnTo>
                    <a:pt x="126" y="2126"/>
                  </a:lnTo>
                  <a:lnTo>
                    <a:pt x="130" y="2128"/>
                  </a:lnTo>
                  <a:lnTo>
                    <a:pt x="131" y="2130"/>
                  </a:lnTo>
                  <a:lnTo>
                    <a:pt x="133" y="2132"/>
                  </a:lnTo>
                  <a:lnTo>
                    <a:pt x="131" y="2132"/>
                  </a:lnTo>
                  <a:lnTo>
                    <a:pt x="131" y="2134"/>
                  </a:lnTo>
                  <a:lnTo>
                    <a:pt x="132" y="2135"/>
                  </a:lnTo>
                  <a:lnTo>
                    <a:pt x="130" y="2136"/>
                  </a:lnTo>
                  <a:lnTo>
                    <a:pt x="126" y="2133"/>
                  </a:lnTo>
                  <a:lnTo>
                    <a:pt x="124" y="2132"/>
                  </a:lnTo>
                  <a:lnTo>
                    <a:pt x="122" y="2132"/>
                  </a:lnTo>
                  <a:lnTo>
                    <a:pt x="121" y="2134"/>
                  </a:lnTo>
                  <a:lnTo>
                    <a:pt x="118" y="2132"/>
                  </a:lnTo>
                  <a:lnTo>
                    <a:pt x="115" y="2132"/>
                  </a:lnTo>
                  <a:lnTo>
                    <a:pt x="117" y="2134"/>
                  </a:lnTo>
                  <a:lnTo>
                    <a:pt x="122" y="2138"/>
                  </a:lnTo>
                  <a:lnTo>
                    <a:pt x="123" y="2141"/>
                  </a:lnTo>
                  <a:lnTo>
                    <a:pt x="121" y="2139"/>
                  </a:lnTo>
                  <a:lnTo>
                    <a:pt x="118" y="2142"/>
                  </a:lnTo>
                  <a:lnTo>
                    <a:pt x="121" y="2144"/>
                  </a:lnTo>
                  <a:lnTo>
                    <a:pt x="123" y="2144"/>
                  </a:lnTo>
                  <a:lnTo>
                    <a:pt x="119" y="2144"/>
                  </a:lnTo>
                  <a:lnTo>
                    <a:pt x="117" y="2147"/>
                  </a:lnTo>
                  <a:lnTo>
                    <a:pt x="117" y="2150"/>
                  </a:lnTo>
                  <a:lnTo>
                    <a:pt x="117" y="2153"/>
                  </a:lnTo>
                  <a:lnTo>
                    <a:pt x="117" y="2155"/>
                  </a:lnTo>
                  <a:lnTo>
                    <a:pt x="119" y="2158"/>
                  </a:lnTo>
                  <a:lnTo>
                    <a:pt x="122" y="2155"/>
                  </a:lnTo>
                  <a:lnTo>
                    <a:pt x="121" y="2153"/>
                  </a:lnTo>
                  <a:lnTo>
                    <a:pt x="123" y="2150"/>
                  </a:lnTo>
                  <a:lnTo>
                    <a:pt x="125" y="2150"/>
                  </a:lnTo>
                  <a:lnTo>
                    <a:pt x="124" y="2152"/>
                  </a:lnTo>
                  <a:lnTo>
                    <a:pt x="125" y="2154"/>
                  </a:lnTo>
                  <a:lnTo>
                    <a:pt x="122" y="2154"/>
                  </a:lnTo>
                  <a:lnTo>
                    <a:pt x="122" y="2156"/>
                  </a:lnTo>
                  <a:lnTo>
                    <a:pt x="125" y="2158"/>
                  </a:lnTo>
                  <a:lnTo>
                    <a:pt x="126" y="2161"/>
                  </a:lnTo>
                  <a:lnTo>
                    <a:pt x="124" y="2159"/>
                  </a:lnTo>
                  <a:lnTo>
                    <a:pt x="122" y="2159"/>
                  </a:lnTo>
                  <a:lnTo>
                    <a:pt x="119" y="2162"/>
                  </a:lnTo>
                  <a:lnTo>
                    <a:pt x="122" y="2162"/>
                  </a:lnTo>
                  <a:lnTo>
                    <a:pt x="119" y="2163"/>
                  </a:lnTo>
                  <a:lnTo>
                    <a:pt x="122" y="2166"/>
                  </a:lnTo>
                  <a:lnTo>
                    <a:pt x="124" y="2164"/>
                  </a:lnTo>
                  <a:lnTo>
                    <a:pt x="123" y="2167"/>
                  </a:lnTo>
                  <a:lnTo>
                    <a:pt x="122" y="2167"/>
                  </a:lnTo>
                  <a:lnTo>
                    <a:pt x="118" y="2166"/>
                  </a:lnTo>
                  <a:lnTo>
                    <a:pt x="118" y="2167"/>
                  </a:lnTo>
                  <a:lnTo>
                    <a:pt x="121" y="2170"/>
                  </a:lnTo>
                  <a:lnTo>
                    <a:pt x="123" y="2170"/>
                  </a:lnTo>
                  <a:lnTo>
                    <a:pt x="121" y="2170"/>
                  </a:lnTo>
                  <a:lnTo>
                    <a:pt x="117" y="2169"/>
                  </a:lnTo>
                  <a:lnTo>
                    <a:pt x="115" y="2169"/>
                  </a:lnTo>
                  <a:lnTo>
                    <a:pt x="117" y="2171"/>
                  </a:lnTo>
                  <a:lnTo>
                    <a:pt x="119" y="2171"/>
                  </a:lnTo>
                  <a:lnTo>
                    <a:pt x="119" y="2175"/>
                  </a:lnTo>
                  <a:lnTo>
                    <a:pt x="122" y="2173"/>
                  </a:lnTo>
                  <a:lnTo>
                    <a:pt x="124" y="2176"/>
                  </a:lnTo>
                  <a:lnTo>
                    <a:pt x="122" y="2176"/>
                  </a:lnTo>
                  <a:lnTo>
                    <a:pt x="121" y="2178"/>
                  </a:lnTo>
                  <a:lnTo>
                    <a:pt x="122" y="2181"/>
                  </a:lnTo>
                  <a:lnTo>
                    <a:pt x="125" y="2181"/>
                  </a:lnTo>
                  <a:lnTo>
                    <a:pt x="127" y="2176"/>
                  </a:lnTo>
                  <a:lnTo>
                    <a:pt x="128" y="2175"/>
                  </a:lnTo>
                  <a:lnTo>
                    <a:pt x="127" y="2177"/>
                  </a:lnTo>
                  <a:lnTo>
                    <a:pt x="131" y="2179"/>
                  </a:lnTo>
                  <a:lnTo>
                    <a:pt x="127" y="2178"/>
                  </a:lnTo>
                  <a:lnTo>
                    <a:pt x="126" y="2181"/>
                  </a:lnTo>
                  <a:lnTo>
                    <a:pt x="126" y="2184"/>
                  </a:lnTo>
                  <a:lnTo>
                    <a:pt x="123" y="2183"/>
                  </a:lnTo>
                  <a:lnTo>
                    <a:pt x="121" y="2183"/>
                  </a:lnTo>
                  <a:lnTo>
                    <a:pt x="121" y="2186"/>
                  </a:lnTo>
                  <a:lnTo>
                    <a:pt x="122" y="2188"/>
                  </a:lnTo>
                  <a:lnTo>
                    <a:pt x="124" y="2188"/>
                  </a:lnTo>
                  <a:lnTo>
                    <a:pt x="127" y="2187"/>
                  </a:lnTo>
                  <a:lnTo>
                    <a:pt x="127" y="2190"/>
                  </a:lnTo>
                  <a:lnTo>
                    <a:pt x="128" y="2196"/>
                  </a:lnTo>
                  <a:lnTo>
                    <a:pt x="126" y="2193"/>
                  </a:lnTo>
                  <a:lnTo>
                    <a:pt x="125" y="2195"/>
                  </a:lnTo>
                  <a:lnTo>
                    <a:pt x="126" y="2198"/>
                  </a:lnTo>
                  <a:lnTo>
                    <a:pt x="130" y="2197"/>
                  </a:lnTo>
                  <a:lnTo>
                    <a:pt x="130" y="2200"/>
                  </a:lnTo>
                  <a:lnTo>
                    <a:pt x="131" y="2203"/>
                  </a:lnTo>
                  <a:lnTo>
                    <a:pt x="128" y="2200"/>
                  </a:lnTo>
                  <a:lnTo>
                    <a:pt x="130" y="2203"/>
                  </a:lnTo>
                  <a:lnTo>
                    <a:pt x="132" y="2205"/>
                  </a:lnTo>
                  <a:lnTo>
                    <a:pt x="133" y="2203"/>
                  </a:lnTo>
                  <a:lnTo>
                    <a:pt x="132" y="2197"/>
                  </a:lnTo>
                  <a:lnTo>
                    <a:pt x="133" y="2203"/>
                  </a:lnTo>
                  <a:lnTo>
                    <a:pt x="136" y="2202"/>
                  </a:lnTo>
                  <a:lnTo>
                    <a:pt x="136" y="2198"/>
                  </a:lnTo>
                  <a:lnTo>
                    <a:pt x="133" y="2196"/>
                  </a:lnTo>
                  <a:lnTo>
                    <a:pt x="142" y="2200"/>
                  </a:lnTo>
                  <a:lnTo>
                    <a:pt x="141" y="2197"/>
                  </a:lnTo>
                  <a:lnTo>
                    <a:pt x="139" y="2195"/>
                  </a:lnTo>
                  <a:lnTo>
                    <a:pt x="135" y="2196"/>
                  </a:lnTo>
                  <a:lnTo>
                    <a:pt x="135" y="2193"/>
                  </a:lnTo>
                  <a:lnTo>
                    <a:pt x="135" y="2193"/>
                  </a:lnTo>
                  <a:lnTo>
                    <a:pt x="139" y="2195"/>
                  </a:lnTo>
                  <a:lnTo>
                    <a:pt x="141" y="2196"/>
                  </a:lnTo>
                  <a:lnTo>
                    <a:pt x="144" y="2198"/>
                  </a:lnTo>
                  <a:lnTo>
                    <a:pt x="144" y="2201"/>
                  </a:lnTo>
                  <a:lnTo>
                    <a:pt x="142" y="2202"/>
                  </a:lnTo>
                  <a:lnTo>
                    <a:pt x="143" y="2205"/>
                  </a:lnTo>
                  <a:lnTo>
                    <a:pt x="144" y="2206"/>
                  </a:lnTo>
                  <a:lnTo>
                    <a:pt x="143" y="2209"/>
                  </a:lnTo>
                  <a:lnTo>
                    <a:pt x="141" y="2210"/>
                  </a:lnTo>
                  <a:lnTo>
                    <a:pt x="139" y="2211"/>
                  </a:lnTo>
                  <a:lnTo>
                    <a:pt x="141" y="2210"/>
                  </a:lnTo>
                  <a:lnTo>
                    <a:pt x="143" y="2206"/>
                  </a:lnTo>
                  <a:lnTo>
                    <a:pt x="141" y="2204"/>
                  </a:lnTo>
                  <a:lnTo>
                    <a:pt x="140" y="2204"/>
                  </a:lnTo>
                  <a:lnTo>
                    <a:pt x="140" y="2206"/>
                  </a:lnTo>
                  <a:lnTo>
                    <a:pt x="128" y="2205"/>
                  </a:lnTo>
                  <a:lnTo>
                    <a:pt x="128" y="2211"/>
                  </a:lnTo>
                  <a:lnTo>
                    <a:pt x="128" y="2214"/>
                  </a:lnTo>
                  <a:lnTo>
                    <a:pt x="128" y="2216"/>
                  </a:lnTo>
                  <a:lnTo>
                    <a:pt x="131" y="2214"/>
                  </a:lnTo>
                  <a:lnTo>
                    <a:pt x="134" y="2214"/>
                  </a:lnTo>
                  <a:lnTo>
                    <a:pt x="134" y="2212"/>
                  </a:lnTo>
                  <a:lnTo>
                    <a:pt x="138" y="2212"/>
                  </a:lnTo>
                  <a:lnTo>
                    <a:pt x="135" y="2214"/>
                  </a:lnTo>
                  <a:lnTo>
                    <a:pt x="134" y="2218"/>
                  </a:lnTo>
                  <a:lnTo>
                    <a:pt x="131" y="2218"/>
                  </a:lnTo>
                  <a:lnTo>
                    <a:pt x="134" y="2219"/>
                  </a:lnTo>
                  <a:lnTo>
                    <a:pt x="131" y="2221"/>
                  </a:lnTo>
                  <a:lnTo>
                    <a:pt x="134" y="2223"/>
                  </a:lnTo>
                  <a:lnTo>
                    <a:pt x="136" y="2222"/>
                  </a:lnTo>
                  <a:lnTo>
                    <a:pt x="138" y="2220"/>
                  </a:lnTo>
                  <a:lnTo>
                    <a:pt x="141" y="2214"/>
                  </a:lnTo>
                  <a:lnTo>
                    <a:pt x="139" y="2215"/>
                  </a:lnTo>
                  <a:lnTo>
                    <a:pt x="139" y="2212"/>
                  </a:lnTo>
                  <a:lnTo>
                    <a:pt x="142" y="2213"/>
                  </a:lnTo>
                  <a:lnTo>
                    <a:pt x="152" y="2213"/>
                  </a:lnTo>
                  <a:lnTo>
                    <a:pt x="156" y="2213"/>
                  </a:lnTo>
                  <a:lnTo>
                    <a:pt x="158" y="2214"/>
                  </a:lnTo>
                  <a:lnTo>
                    <a:pt x="156" y="2215"/>
                  </a:lnTo>
                  <a:lnTo>
                    <a:pt x="152" y="2215"/>
                  </a:lnTo>
                  <a:lnTo>
                    <a:pt x="150" y="2214"/>
                  </a:lnTo>
                  <a:lnTo>
                    <a:pt x="148" y="2215"/>
                  </a:lnTo>
                  <a:lnTo>
                    <a:pt x="144" y="2219"/>
                  </a:lnTo>
                  <a:lnTo>
                    <a:pt x="140" y="2218"/>
                  </a:lnTo>
                  <a:lnTo>
                    <a:pt x="138" y="2220"/>
                  </a:lnTo>
                  <a:lnTo>
                    <a:pt x="139" y="2222"/>
                  </a:lnTo>
                  <a:lnTo>
                    <a:pt x="141" y="2223"/>
                  </a:lnTo>
                  <a:lnTo>
                    <a:pt x="141" y="2227"/>
                  </a:lnTo>
                  <a:lnTo>
                    <a:pt x="139" y="2224"/>
                  </a:lnTo>
                  <a:lnTo>
                    <a:pt x="135" y="2224"/>
                  </a:lnTo>
                  <a:lnTo>
                    <a:pt x="138" y="2227"/>
                  </a:lnTo>
                  <a:lnTo>
                    <a:pt x="140" y="2229"/>
                  </a:lnTo>
                  <a:lnTo>
                    <a:pt x="142" y="2231"/>
                  </a:lnTo>
                  <a:lnTo>
                    <a:pt x="145" y="2231"/>
                  </a:lnTo>
                  <a:lnTo>
                    <a:pt x="143" y="2229"/>
                  </a:lnTo>
                  <a:lnTo>
                    <a:pt x="145" y="2226"/>
                  </a:lnTo>
                  <a:lnTo>
                    <a:pt x="148" y="2226"/>
                  </a:lnTo>
                  <a:lnTo>
                    <a:pt x="145" y="2223"/>
                  </a:lnTo>
                  <a:lnTo>
                    <a:pt x="148" y="2222"/>
                  </a:lnTo>
                  <a:lnTo>
                    <a:pt x="150" y="2223"/>
                  </a:lnTo>
                  <a:lnTo>
                    <a:pt x="152" y="2221"/>
                  </a:lnTo>
                  <a:lnTo>
                    <a:pt x="158" y="2218"/>
                  </a:lnTo>
                  <a:lnTo>
                    <a:pt x="159" y="2216"/>
                  </a:lnTo>
                  <a:lnTo>
                    <a:pt x="161" y="2218"/>
                  </a:lnTo>
                  <a:lnTo>
                    <a:pt x="161" y="2220"/>
                  </a:lnTo>
                  <a:lnTo>
                    <a:pt x="160" y="2223"/>
                  </a:lnTo>
                  <a:lnTo>
                    <a:pt x="155" y="2226"/>
                  </a:lnTo>
                  <a:lnTo>
                    <a:pt x="153" y="2231"/>
                  </a:lnTo>
                  <a:lnTo>
                    <a:pt x="151" y="2232"/>
                  </a:lnTo>
                  <a:lnTo>
                    <a:pt x="153" y="2230"/>
                  </a:lnTo>
                  <a:lnTo>
                    <a:pt x="153" y="2227"/>
                  </a:lnTo>
                  <a:lnTo>
                    <a:pt x="150" y="2226"/>
                  </a:lnTo>
                  <a:lnTo>
                    <a:pt x="150" y="2229"/>
                  </a:lnTo>
                  <a:lnTo>
                    <a:pt x="149" y="2226"/>
                  </a:lnTo>
                  <a:lnTo>
                    <a:pt x="147" y="2227"/>
                  </a:lnTo>
                  <a:lnTo>
                    <a:pt x="144" y="2229"/>
                  </a:lnTo>
                  <a:lnTo>
                    <a:pt x="149" y="2235"/>
                  </a:lnTo>
                  <a:lnTo>
                    <a:pt x="152" y="2235"/>
                  </a:lnTo>
                  <a:lnTo>
                    <a:pt x="155" y="2236"/>
                  </a:lnTo>
                  <a:lnTo>
                    <a:pt x="160" y="2238"/>
                  </a:lnTo>
                  <a:lnTo>
                    <a:pt x="164" y="2237"/>
                  </a:lnTo>
                  <a:lnTo>
                    <a:pt x="165" y="2235"/>
                  </a:lnTo>
                  <a:lnTo>
                    <a:pt x="165" y="2231"/>
                  </a:lnTo>
                  <a:lnTo>
                    <a:pt x="165" y="2229"/>
                  </a:lnTo>
                  <a:lnTo>
                    <a:pt x="165" y="2226"/>
                  </a:lnTo>
                  <a:lnTo>
                    <a:pt x="167" y="2218"/>
                  </a:lnTo>
                  <a:lnTo>
                    <a:pt x="170" y="2215"/>
                  </a:lnTo>
                  <a:lnTo>
                    <a:pt x="173" y="2215"/>
                  </a:lnTo>
                  <a:lnTo>
                    <a:pt x="175" y="2214"/>
                  </a:lnTo>
                  <a:lnTo>
                    <a:pt x="181" y="2212"/>
                  </a:lnTo>
                  <a:lnTo>
                    <a:pt x="183" y="2212"/>
                  </a:lnTo>
                  <a:lnTo>
                    <a:pt x="184" y="2211"/>
                  </a:lnTo>
                  <a:lnTo>
                    <a:pt x="185" y="2209"/>
                  </a:lnTo>
                  <a:lnTo>
                    <a:pt x="187" y="2206"/>
                  </a:lnTo>
                  <a:lnTo>
                    <a:pt x="191" y="2206"/>
                  </a:lnTo>
                  <a:lnTo>
                    <a:pt x="193" y="2209"/>
                  </a:lnTo>
                  <a:lnTo>
                    <a:pt x="198" y="2209"/>
                  </a:lnTo>
                  <a:lnTo>
                    <a:pt x="199" y="2209"/>
                  </a:lnTo>
                  <a:lnTo>
                    <a:pt x="200" y="2210"/>
                  </a:lnTo>
                  <a:lnTo>
                    <a:pt x="200" y="2210"/>
                  </a:lnTo>
                  <a:lnTo>
                    <a:pt x="199" y="2207"/>
                  </a:lnTo>
                  <a:lnTo>
                    <a:pt x="195" y="2202"/>
                  </a:lnTo>
                  <a:lnTo>
                    <a:pt x="192" y="2196"/>
                  </a:lnTo>
                  <a:lnTo>
                    <a:pt x="190" y="2197"/>
                  </a:lnTo>
                  <a:lnTo>
                    <a:pt x="186" y="2195"/>
                  </a:lnTo>
                  <a:lnTo>
                    <a:pt x="183" y="2196"/>
                  </a:lnTo>
                  <a:lnTo>
                    <a:pt x="186" y="2195"/>
                  </a:lnTo>
                  <a:lnTo>
                    <a:pt x="188" y="2195"/>
                  </a:lnTo>
                  <a:lnTo>
                    <a:pt x="192" y="2195"/>
                  </a:lnTo>
                  <a:lnTo>
                    <a:pt x="192" y="2193"/>
                  </a:lnTo>
                  <a:lnTo>
                    <a:pt x="190" y="2184"/>
                  </a:lnTo>
                  <a:lnTo>
                    <a:pt x="187" y="2185"/>
                  </a:lnTo>
                  <a:lnTo>
                    <a:pt x="186" y="2186"/>
                  </a:lnTo>
                  <a:lnTo>
                    <a:pt x="186" y="2186"/>
                  </a:lnTo>
                  <a:lnTo>
                    <a:pt x="187" y="2185"/>
                  </a:lnTo>
                  <a:lnTo>
                    <a:pt x="188" y="2184"/>
                  </a:lnTo>
                  <a:lnTo>
                    <a:pt x="191" y="2178"/>
                  </a:lnTo>
                  <a:lnTo>
                    <a:pt x="192" y="2176"/>
                  </a:lnTo>
                  <a:lnTo>
                    <a:pt x="193" y="2172"/>
                  </a:lnTo>
                  <a:lnTo>
                    <a:pt x="199" y="2170"/>
                  </a:lnTo>
                  <a:lnTo>
                    <a:pt x="198" y="2167"/>
                  </a:lnTo>
                  <a:lnTo>
                    <a:pt x="193" y="2167"/>
                  </a:lnTo>
                  <a:lnTo>
                    <a:pt x="193" y="2167"/>
                  </a:lnTo>
                  <a:lnTo>
                    <a:pt x="192" y="2167"/>
                  </a:lnTo>
                  <a:lnTo>
                    <a:pt x="193" y="2167"/>
                  </a:lnTo>
                  <a:lnTo>
                    <a:pt x="196" y="2166"/>
                  </a:lnTo>
                  <a:lnTo>
                    <a:pt x="196" y="2164"/>
                  </a:lnTo>
                  <a:lnTo>
                    <a:pt x="196" y="2162"/>
                  </a:lnTo>
                  <a:lnTo>
                    <a:pt x="195" y="2162"/>
                  </a:lnTo>
                  <a:lnTo>
                    <a:pt x="196" y="2162"/>
                  </a:lnTo>
                  <a:lnTo>
                    <a:pt x="199" y="2167"/>
                  </a:lnTo>
                  <a:lnTo>
                    <a:pt x="201" y="2169"/>
                  </a:lnTo>
                  <a:lnTo>
                    <a:pt x="204" y="2168"/>
                  </a:lnTo>
                  <a:lnTo>
                    <a:pt x="207" y="2167"/>
                  </a:lnTo>
                  <a:lnTo>
                    <a:pt x="209" y="2164"/>
                  </a:lnTo>
                  <a:lnTo>
                    <a:pt x="210" y="2156"/>
                  </a:lnTo>
                  <a:lnTo>
                    <a:pt x="210" y="2153"/>
                  </a:lnTo>
                  <a:lnTo>
                    <a:pt x="211" y="2151"/>
                  </a:lnTo>
                  <a:lnTo>
                    <a:pt x="212" y="2149"/>
                  </a:lnTo>
                  <a:lnTo>
                    <a:pt x="213" y="2147"/>
                  </a:lnTo>
                  <a:lnTo>
                    <a:pt x="216" y="2146"/>
                  </a:lnTo>
                  <a:lnTo>
                    <a:pt x="218" y="2143"/>
                  </a:lnTo>
                  <a:lnTo>
                    <a:pt x="226" y="2138"/>
                  </a:lnTo>
                  <a:lnTo>
                    <a:pt x="228" y="2137"/>
                  </a:lnTo>
                  <a:lnTo>
                    <a:pt x="230" y="2135"/>
                  </a:lnTo>
                  <a:lnTo>
                    <a:pt x="234" y="2133"/>
                  </a:lnTo>
                  <a:lnTo>
                    <a:pt x="236" y="2130"/>
                  </a:lnTo>
                  <a:lnTo>
                    <a:pt x="234" y="2127"/>
                  </a:lnTo>
                  <a:lnTo>
                    <a:pt x="228" y="2129"/>
                  </a:lnTo>
                  <a:lnTo>
                    <a:pt x="227" y="2129"/>
                  </a:lnTo>
                  <a:lnTo>
                    <a:pt x="230" y="2128"/>
                  </a:lnTo>
                  <a:lnTo>
                    <a:pt x="233" y="2127"/>
                  </a:lnTo>
                  <a:lnTo>
                    <a:pt x="235" y="2125"/>
                  </a:lnTo>
                  <a:lnTo>
                    <a:pt x="236" y="2119"/>
                  </a:lnTo>
                  <a:lnTo>
                    <a:pt x="235" y="2117"/>
                  </a:lnTo>
                  <a:lnTo>
                    <a:pt x="233" y="2115"/>
                  </a:lnTo>
                  <a:lnTo>
                    <a:pt x="230" y="2116"/>
                  </a:lnTo>
                  <a:lnTo>
                    <a:pt x="222" y="2115"/>
                  </a:lnTo>
                  <a:lnTo>
                    <a:pt x="219" y="2111"/>
                  </a:lnTo>
                  <a:lnTo>
                    <a:pt x="213" y="2107"/>
                  </a:lnTo>
                  <a:lnTo>
                    <a:pt x="212" y="2104"/>
                  </a:lnTo>
                  <a:lnTo>
                    <a:pt x="211" y="2101"/>
                  </a:lnTo>
                  <a:lnTo>
                    <a:pt x="211" y="2099"/>
                  </a:lnTo>
                  <a:lnTo>
                    <a:pt x="211" y="2096"/>
                  </a:lnTo>
                  <a:lnTo>
                    <a:pt x="215" y="2092"/>
                  </a:lnTo>
                  <a:lnTo>
                    <a:pt x="218" y="2086"/>
                  </a:lnTo>
                  <a:lnTo>
                    <a:pt x="221" y="2083"/>
                  </a:lnTo>
                  <a:lnTo>
                    <a:pt x="224" y="2083"/>
                  </a:lnTo>
                  <a:lnTo>
                    <a:pt x="226" y="2082"/>
                  </a:lnTo>
                  <a:lnTo>
                    <a:pt x="229" y="2079"/>
                  </a:lnTo>
                  <a:lnTo>
                    <a:pt x="233" y="2079"/>
                  </a:lnTo>
                  <a:lnTo>
                    <a:pt x="238" y="2081"/>
                  </a:lnTo>
                  <a:lnTo>
                    <a:pt x="238" y="2079"/>
                  </a:lnTo>
                  <a:lnTo>
                    <a:pt x="237" y="2077"/>
                  </a:lnTo>
                  <a:lnTo>
                    <a:pt x="237" y="2075"/>
                  </a:lnTo>
                  <a:lnTo>
                    <a:pt x="241" y="2073"/>
                  </a:lnTo>
                  <a:lnTo>
                    <a:pt x="242" y="2070"/>
                  </a:lnTo>
                  <a:lnTo>
                    <a:pt x="243" y="2067"/>
                  </a:lnTo>
                  <a:lnTo>
                    <a:pt x="244" y="2065"/>
                  </a:lnTo>
                  <a:lnTo>
                    <a:pt x="242" y="2059"/>
                  </a:lnTo>
                  <a:lnTo>
                    <a:pt x="243" y="2057"/>
                  </a:lnTo>
                  <a:lnTo>
                    <a:pt x="245" y="2053"/>
                  </a:lnTo>
                  <a:lnTo>
                    <a:pt x="246" y="2051"/>
                  </a:lnTo>
                  <a:lnTo>
                    <a:pt x="249" y="2049"/>
                  </a:lnTo>
                  <a:lnTo>
                    <a:pt x="254" y="2048"/>
                  </a:lnTo>
                  <a:lnTo>
                    <a:pt x="249" y="2043"/>
                  </a:lnTo>
                  <a:lnTo>
                    <a:pt x="247" y="2041"/>
                  </a:lnTo>
                  <a:lnTo>
                    <a:pt x="252" y="2039"/>
                  </a:lnTo>
                  <a:lnTo>
                    <a:pt x="255" y="2039"/>
                  </a:lnTo>
                  <a:lnTo>
                    <a:pt x="258" y="2041"/>
                  </a:lnTo>
                  <a:lnTo>
                    <a:pt x="258" y="2044"/>
                  </a:lnTo>
                  <a:lnTo>
                    <a:pt x="261" y="2044"/>
                  </a:lnTo>
                  <a:lnTo>
                    <a:pt x="263" y="2043"/>
                  </a:lnTo>
                  <a:lnTo>
                    <a:pt x="266" y="2041"/>
                  </a:lnTo>
                  <a:lnTo>
                    <a:pt x="266" y="2038"/>
                  </a:lnTo>
                  <a:lnTo>
                    <a:pt x="266" y="2035"/>
                  </a:lnTo>
                  <a:lnTo>
                    <a:pt x="264" y="2033"/>
                  </a:lnTo>
                  <a:lnTo>
                    <a:pt x="262" y="2032"/>
                  </a:lnTo>
                  <a:lnTo>
                    <a:pt x="259" y="2033"/>
                  </a:lnTo>
                  <a:lnTo>
                    <a:pt x="256" y="2033"/>
                  </a:lnTo>
                  <a:lnTo>
                    <a:pt x="259" y="2034"/>
                  </a:lnTo>
                  <a:lnTo>
                    <a:pt x="259" y="2036"/>
                  </a:lnTo>
                  <a:lnTo>
                    <a:pt x="253" y="2036"/>
                  </a:lnTo>
                  <a:lnTo>
                    <a:pt x="254" y="2034"/>
                  </a:lnTo>
                  <a:lnTo>
                    <a:pt x="249" y="2033"/>
                  </a:lnTo>
                  <a:lnTo>
                    <a:pt x="245" y="2030"/>
                  </a:lnTo>
                  <a:lnTo>
                    <a:pt x="246" y="2022"/>
                  </a:lnTo>
                  <a:lnTo>
                    <a:pt x="244" y="2016"/>
                  </a:lnTo>
                  <a:lnTo>
                    <a:pt x="244" y="2014"/>
                  </a:lnTo>
                  <a:lnTo>
                    <a:pt x="245" y="2012"/>
                  </a:lnTo>
                  <a:lnTo>
                    <a:pt x="247" y="2009"/>
                  </a:lnTo>
                  <a:lnTo>
                    <a:pt x="250" y="2009"/>
                  </a:lnTo>
                  <a:lnTo>
                    <a:pt x="253" y="2012"/>
                  </a:lnTo>
                  <a:lnTo>
                    <a:pt x="261" y="2014"/>
                  </a:lnTo>
                  <a:lnTo>
                    <a:pt x="263" y="2016"/>
                  </a:lnTo>
                  <a:lnTo>
                    <a:pt x="269" y="2016"/>
                  </a:lnTo>
                  <a:lnTo>
                    <a:pt x="275" y="2015"/>
                  </a:lnTo>
                  <a:lnTo>
                    <a:pt x="283" y="2012"/>
                  </a:lnTo>
                  <a:lnTo>
                    <a:pt x="284" y="2009"/>
                  </a:lnTo>
                  <a:lnTo>
                    <a:pt x="284" y="2006"/>
                  </a:lnTo>
                  <a:lnTo>
                    <a:pt x="281" y="2004"/>
                  </a:lnTo>
                  <a:lnTo>
                    <a:pt x="281" y="2001"/>
                  </a:lnTo>
                  <a:lnTo>
                    <a:pt x="284" y="1995"/>
                  </a:lnTo>
                  <a:lnTo>
                    <a:pt x="286" y="1995"/>
                  </a:lnTo>
                  <a:lnTo>
                    <a:pt x="287" y="1989"/>
                  </a:lnTo>
                  <a:lnTo>
                    <a:pt x="284" y="1987"/>
                  </a:lnTo>
                  <a:lnTo>
                    <a:pt x="287" y="1988"/>
                  </a:lnTo>
                  <a:lnTo>
                    <a:pt x="284" y="1985"/>
                  </a:lnTo>
                  <a:lnTo>
                    <a:pt x="283" y="1983"/>
                  </a:lnTo>
                  <a:lnTo>
                    <a:pt x="283" y="1980"/>
                  </a:lnTo>
                  <a:lnTo>
                    <a:pt x="286" y="1979"/>
                  </a:lnTo>
                  <a:lnTo>
                    <a:pt x="288" y="1981"/>
                  </a:lnTo>
                  <a:lnTo>
                    <a:pt x="292" y="1981"/>
                  </a:lnTo>
                  <a:lnTo>
                    <a:pt x="294" y="1981"/>
                  </a:lnTo>
                  <a:lnTo>
                    <a:pt x="296" y="1981"/>
                  </a:lnTo>
                  <a:lnTo>
                    <a:pt x="299" y="1981"/>
                  </a:lnTo>
                  <a:lnTo>
                    <a:pt x="304" y="1981"/>
                  </a:lnTo>
                  <a:lnTo>
                    <a:pt x="315" y="1979"/>
                  </a:lnTo>
                  <a:lnTo>
                    <a:pt x="329" y="1976"/>
                  </a:lnTo>
                  <a:lnTo>
                    <a:pt x="339" y="1972"/>
                  </a:lnTo>
                  <a:lnTo>
                    <a:pt x="346" y="1970"/>
                  </a:lnTo>
                  <a:lnTo>
                    <a:pt x="348" y="1967"/>
                  </a:lnTo>
                  <a:lnTo>
                    <a:pt x="348" y="1964"/>
                  </a:lnTo>
                  <a:lnTo>
                    <a:pt x="350" y="1962"/>
                  </a:lnTo>
                  <a:lnTo>
                    <a:pt x="355" y="1956"/>
                  </a:lnTo>
                  <a:lnTo>
                    <a:pt x="358" y="1950"/>
                  </a:lnTo>
                  <a:lnTo>
                    <a:pt x="361" y="1948"/>
                  </a:lnTo>
                  <a:lnTo>
                    <a:pt x="361" y="1942"/>
                  </a:lnTo>
                  <a:lnTo>
                    <a:pt x="360" y="1939"/>
                  </a:lnTo>
                  <a:lnTo>
                    <a:pt x="360" y="1939"/>
                  </a:lnTo>
                  <a:lnTo>
                    <a:pt x="356" y="1939"/>
                  </a:lnTo>
                  <a:lnTo>
                    <a:pt x="354" y="1938"/>
                  </a:lnTo>
                  <a:lnTo>
                    <a:pt x="352" y="1935"/>
                  </a:lnTo>
                  <a:lnTo>
                    <a:pt x="350" y="1932"/>
                  </a:lnTo>
                  <a:lnTo>
                    <a:pt x="352" y="1930"/>
                  </a:lnTo>
                  <a:lnTo>
                    <a:pt x="354" y="1924"/>
                  </a:lnTo>
                  <a:lnTo>
                    <a:pt x="353" y="1922"/>
                  </a:lnTo>
                  <a:lnTo>
                    <a:pt x="349" y="1919"/>
                  </a:lnTo>
                  <a:lnTo>
                    <a:pt x="345" y="1916"/>
                  </a:lnTo>
                  <a:lnTo>
                    <a:pt x="340" y="1914"/>
                  </a:lnTo>
                  <a:lnTo>
                    <a:pt x="337" y="1912"/>
                  </a:lnTo>
                  <a:lnTo>
                    <a:pt x="335" y="1907"/>
                  </a:lnTo>
                  <a:lnTo>
                    <a:pt x="337" y="1906"/>
                  </a:lnTo>
                  <a:lnTo>
                    <a:pt x="337" y="1906"/>
                  </a:lnTo>
                  <a:lnTo>
                    <a:pt x="336" y="1903"/>
                  </a:lnTo>
                  <a:lnTo>
                    <a:pt x="336" y="1901"/>
                  </a:lnTo>
                  <a:lnTo>
                    <a:pt x="335" y="1897"/>
                  </a:lnTo>
                  <a:lnTo>
                    <a:pt x="335" y="1895"/>
                  </a:lnTo>
                  <a:lnTo>
                    <a:pt x="337" y="1891"/>
                  </a:lnTo>
                  <a:lnTo>
                    <a:pt x="337" y="1889"/>
                  </a:lnTo>
                  <a:lnTo>
                    <a:pt x="339" y="1889"/>
                  </a:lnTo>
                  <a:lnTo>
                    <a:pt x="339" y="1888"/>
                  </a:lnTo>
                  <a:lnTo>
                    <a:pt x="340" y="1886"/>
                  </a:lnTo>
                  <a:lnTo>
                    <a:pt x="339" y="1880"/>
                  </a:lnTo>
                  <a:lnTo>
                    <a:pt x="339" y="1879"/>
                  </a:lnTo>
                  <a:lnTo>
                    <a:pt x="341" y="1887"/>
                  </a:lnTo>
                  <a:lnTo>
                    <a:pt x="339" y="1888"/>
                  </a:lnTo>
                  <a:lnTo>
                    <a:pt x="339" y="1889"/>
                  </a:lnTo>
                  <a:lnTo>
                    <a:pt x="339" y="1889"/>
                  </a:lnTo>
                  <a:lnTo>
                    <a:pt x="337" y="1894"/>
                  </a:lnTo>
                  <a:lnTo>
                    <a:pt x="337" y="1899"/>
                  </a:lnTo>
                  <a:lnTo>
                    <a:pt x="337" y="1901"/>
                  </a:lnTo>
                  <a:lnTo>
                    <a:pt x="339" y="1904"/>
                  </a:lnTo>
                  <a:lnTo>
                    <a:pt x="344" y="1908"/>
                  </a:lnTo>
                  <a:lnTo>
                    <a:pt x="345" y="1911"/>
                  </a:lnTo>
                  <a:lnTo>
                    <a:pt x="347" y="1910"/>
                  </a:lnTo>
                  <a:lnTo>
                    <a:pt x="354" y="1910"/>
                  </a:lnTo>
                  <a:lnTo>
                    <a:pt x="360" y="1914"/>
                  </a:lnTo>
                  <a:lnTo>
                    <a:pt x="365" y="1915"/>
                  </a:lnTo>
                  <a:lnTo>
                    <a:pt x="367" y="1918"/>
                  </a:lnTo>
                  <a:lnTo>
                    <a:pt x="372" y="1915"/>
                  </a:lnTo>
                  <a:lnTo>
                    <a:pt x="374" y="1914"/>
                  </a:lnTo>
                  <a:lnTo>
                    <a:pt x="379" y="1915"/>
                  </a:lnTo>
                  <a:lnTo>
                    <a:pt x="381" y="1916"/>
                  </a:lnTo>
                  <a:lnTo>
                    <a:pt x="383" y="1918"/>
                  </a:lnTo>
                  <a:lnTo>
                    <a:pt x="387" y="1916"/>
                  </a:lnTo>
                  <a:lnTo>
                    <a:pt x="396" y="1913"/>
                  </a:lnTo>
                  <a:lnTo>
                    <a:pt x="398" y="1910"/>
                  </a:lnTo>
                  <a:lnTo>
                    <a:pt x="400" y="1908"/>
                  </a:lnTo>
                  <a:lnTo>
                    <a:pt x="401" y="1906"/>
                  </a:lnTo>
                  <a:lnTo>
                    <a:pt x="404" y="1903"/>
                  </a:lnTo>
                  <a:lnTo>
                    <a:pt x="405" y="1901"/>
                  </a:lnTo>
                  <a:lnTo>
                    <a:pt x="406" y="1898"/>
                  </a:lnTo>
                  <a:lnTo>
                    <a:pt x="414" y="1891"/>
                  </a:lnTo>
                  <a:lnTo>
                    <a:pt x="416" y="1889"/>
                  </a:lnTo>
                  <a:lnTo>
                    <a:pt x="417" y="1886"/>
                  </a:lnTo>
                  <a:lnTo>
                    <a:pt x="418" y="1884"/>
                  </a:lnTo>
                  <a:lnTo>
                    <a:pt x="418" y="1881"/>
                  </a:lnTo>
                  <a:lnTo>
                    <a:pt x="423" y="1873"/>
                  </a:lnTo>
                  <a:lnTo>
                    <a:pt x="422" y="1870"/>
                  </a:lnTo>
                  <a:lnTo>
                    <a:pt x="422" y="1869"/>
                  </a:lnTo>
                  <a:lnTo>
                    <a:pt x="424" y="1863"/>
                  </a:lnTo>
                  <a:lnTo>
                    <a:pt x="427" y="1861"/>
                  </a:lnTo>
                  <a:lnTo>
                    <a:pt x="429" y="1861"/>
                  </a:lnTo>
                  <a:lnTo>
                    <a:pt x="431" y="1859"/>
                  </a:lnTo>
                  <a:lnTo>
                    <a:pt x="432" y="1856"/>
                  </a:lnTo>
                  <a:lnTo>
                    <a:pt x="434" y="1851"/>
                  </a:lnTo>
                  <a:lnTo>
                    <a:pt x="437" y="1847"/>
                  </a:lnTo>
                  <a:lnTo>
                    <a:pt x="434" y="1845"/>
                  </a:lnTo>
                  <a:lnTo>
                    <a:pt x="434" y="1843"/>
                  </a:lnTo>
                  <a:lnTo>
                    <a:pt x="435" y="1843"/>
                  </a:lnTo>
                  <a:lnTo>
                    <a:pt x="435" y="1845"/>
                  </a:lnTo>
                  <a:lnTo>
                    <a:pt x="439" y="1848"/>
                  </a:lnTo>
                  <a:lnTo>
                    <a:pt x="441" y="1846"/>
                  </a:lnTo>
                  <a:lnTo>
                    <a:pt x="444" y="1845"/>
                  </a:lnTo>
                  <a:lnTo>
                    <a:pt x="444" y="1848"/>
                  </a:lnTo>
                  <a:lnTo>
                    <a:pt x="442" y="1852"/>
                  </a:lnTo>
                  <a:lnTo>
                    <a:pt x="442" y="1854"/>
                  </a:lnTo>
                  <a:lnTo>
                    <a:pt x="439" y="1855"/>
                  </a:lnTo>
                  <a:lnTo>
                    <a:pt x="439" y="1858"/>
                  </a:lnTo>
                  <a:lnTo>
                    <a:pt x="435" y="1858"/>
                  </a:lnTo>
                  <a:lnTo>
                    <a:pt x="437" y="1861"/>
                  </a:lnTo>
                  <a:lnTo>
                    <a:pt x="435" y="1863"/>
                  </a:lnTo>
                  <a:lnTo>
                    <a:pt x="432" y="1864"/>
                  </a:lnTo>
                  <a:lnTo>
                    <a:pt x="431" y="1868"/>
                  </a:lnTo>
                  <a:lnTo>
                    <a:pt x="425" y="1870"/>
                  </a:lnTo>
                  <a:lnTo>
                    <a:pt x="424" y="1872"/>
                  </a:lnTo>
                  <a:lnTo>
                    <a:pt x="432" y="1868"/>
                  </a:lnTo>
                  <a:lnTo>
                    <a:pt x="438" y="1863"/>
                  </a:lnTo>
                  <a:lnTo>
                    <a:pt x="442" y="1858"/>
                  </a:lnTo>
                  <a:lnTo>
                    <a:pt x="447" y="1851"/>
                  </a:lnTo>
                  <a:lnTo>
                    <a:pt x="448" y="1847"/>
                  </a:lnTo>
                  <a:lnTo>
                    <a:pt x="451" y="1839"/>
                  </a:lnTo>
                  <a:lnTo>
                    <a:pt x="455" y="1834"/>
                  </a:lnTo>
                  <a:lnTo>
                    <a:pt x="460" y="1826"/>
                  </a:lnTo>
                  <a:lnTo>
                    <a:pt x="468" y="1820"/>
                  </a:lnTo>
                  <a:lnTo>
                    <a:pt x="468" y="1819"/>
                  </a:lnTo>
                  <a:lnTo>
                    <a:pt x="468" y="1818"/>
                  </a:lnTo>
                  <a:lnTo>
                    <a:pt x="469" y="1819"/>
                  </a:lnTo>
                  <a:lnTo>
                    <a:pt x="471" y="1817"/>
                  </a:lnTo>
                  <a:lnTo>
                    <a:pt x="471" y="1813"/>
                  </a:lnTo>
                  <a:lnTo>
                    <a:pt x="471" y="1811"/>
                  </a:lnTo>
                  <a:lnTo>
                    <a:pt x="472" y="1798"/>
                  </a:lnTo>
                  <a:lnTo>
                    <a:pt x="471" y="1792"/>
                  </a:lnTo>
                  <a:lnTo>
                    <a:pt x="471" y="1788"/>
                  </a:lnTo>
                  <a:lnTo>
                    <a:pt x="469" y="1785"/>
                  </a:lnTo>
                  <a:lnTo>
                    <a:pt x="472" y="1783"/>
                  </a:lnTo>
                  <a:lnTo>
                    <a:pt x="472" y="1779"/>
                  </a:lnTo>
                  <a:lnTo>
                    <a:pt x="474" y="1777"/>
                  </a:lnTo>
                  <a:lnTo>
                    <a:pt x="473" y="1777"/>
                  </a:lnTo>
                  <a:lnTo>
                    <a:pt x="472" y="1776"/>
                  </a:lnTo>
                  <a:lnTo>
                    <a:pt x="469" y="1775"/>
                  </a:lnTo>
                  <a:lnTo>
                    <a:pt x="472" y="1775"/>
                  </a:lnTo>
                  <a:lnTo>
                    <a:pt x="473" y="1773"/>
                  </a:lnTo>
                  <a:lnTo>
                    <a:pt x="478" y="1773"/>
                  </a:lnTo>
                  <a:lnTo>
                    <a:pt x="480" y="1771"/>
                  </a:lnTo>
                  <a:lnTo>
                    <a:pt x="478" y="1768"/>
                  </a:lnTo>
                  <a:lnTo>
                    <a:pt x="480" y="1769"/>
                  </a:lnTo>
                  <a:lnTo>
                    <a:pt x="482" y="1766"/>
                  </a:lnTo>
                  <a:lnTo>
                    <a:pt x="485" y="1765"/>
                  </a:lnTo>
                  <a:lnTo>
                    <a:pt x="491" y="1761"/>
                  </a:lnTo>
                  <a:lnTo>
                    <a:pt x="495" y="1757"/>
                  </a:lnTo>
                  <a:lnTo>
                    <a:pt x="499" y="1754"/>
                  </a:lnTo>
                  <a:lnTo>
                    <a:pt x="501" y="1753"/>
                  </a:lnTo>
                  <a:lnTo>
                    <a:pt x="501" y="1752"/>
                  </a:lnTo>
                  <a:lnTo>
                    <a:pt x="502" y="1752"/>
                  </a:lnTo>
                  <a:lnTo>
                    <a:pt x="503" y="1753"/>
                  </a:lnTo>
                  <a:lnTo>
                    <a:pt x="506" y="1751"/>
                  </a:lnTo>
                  <a:lnTo>
                    <a:pt x="508" y="1750"/>
                  </a:lnTo>
                  <a:lnTo>
                    <a:pt x="511" y="1750"/>
                  </a:lnTo>
                  <a:lnTo>
                    <a:pt x="514" y="1751"/>
                  </a:lnTo>
                  <a:lnTo>
                    <a:pt x="515" y="1749"/>
                  </a:lnTo>
                  <a:lnTo>
                    <a:pt x="517" y="1748"/>
                  </a:lnTo>
                  <a:lnTo>
                    <a:pt x="520" y="1745"/>
                  </a:lnTo>
                  <a:lnTo>
                    <a:pt x="520" y="1745"/>
                  </a:lnTo>
                  <a:lnTo>
                    <a:pt x="527" y="1743"/>
                  </a:lnTo>
                  <a:lnTo>
                    <a:pt x="525" y="1741"/>
                  </a:lnTo>
                  <a:lnTo>
                    <a:pt x="529" y="1739"/>
                  </a:lnTo>
                  <a:lnTo>
                    <a:pt x="533" y="1740"/>
                  </a:lnTo>
                  <a:lnTo>
                    <a:pt x="535" y="1737"/>
                  </a:lnTo>
                  <a:lnTo>
                    <a:pt x="538" y="1739"/>
                  </a:lnTo>
                  <a:lnTo>
                    <a:pt x="540" y="1740"/>
                  </a:lnTo>
                  <a:lnTo>
                    <a:pt x="534" y="1741"/>
                  </a:lnTo>
                  <a:lnTo>
                    <a:pt x="545" y="1739"/>
                  </a:lnTo>
                  <a:lnTo>
                    <a:pt x="545" y="1737"/>
                  </a:lnTo>
                  <a:lnTo>
                    <a:pt x="544" y="1737"/>
                  </a:lnTo>
                  <a:lnTo>
                    <a:pt x="546" y="1734"/>
                  </a:lnTo>
                  <a:lnTo>
                    <a:pt x="546" y="1737"/>
                  </a:lnTo>
                  <a:lnTo>
                    <a:pt x="549" y="1739"/>
                  </a:lnTo>
                  <a:lnTo>
                    <a:pt x="555" y="1739"/>
                  </a:lnTo>
                  <a:lnTo>
                    <a:pt x="561" y="1739"/>
                  </a:lnTo>
                  <a:lnTo>
                    <a:pt x="561" y="1739"/>
                  </a:lnTo>
                  <a:lnTo>
                    <a:pt x="562" y="1736"/>
                  </a:lnTo>
                  <a:lnTo>
                    <a:pt x="561" y="1734"/>
                  </a:lnTo>
                  <a:lnTo>
                    <a:pt x="563" y="1731"/>
                  </a:lnTo>
                  <a:lnTo>
                    <a:pt x="567" y="1728"/>
                  </a:lnTo>
                  <a:lnTo>
                    <a:pt x="575" y="1725"/>
                  </a:lnTo>
                  <a:lnTo>
                    <a:pt x="575" y="1723"/>
                  </a:lnTo>
                  <a:lnTo>
                    <a:pt x="575" y="1716"/>
                  </a:lnTo>
                  <a:lnTo>
                    <a:pt x="577" y="1711"/>
                  </a:lnTo>
                  <a:lnTo>
                    <a:pt x="578" y="1709"/>
                  </a:lnTo>
                  <a:lnTo>
                    <a:pt x="580" y="1708"/>
                  </a:lnTo>
                  <a:lnTo>
                    <a:pt x="583" y="1705"/>
                  </a:lnTo>
                  <a:lnTo>
                    <a:pt x="585" y="1702"/>
                  </a:lnTo>
                  <a:lnTo>
                    <a:pt x="584" y="1700"/>
                  </a:lnTo>
                  <a:lnTo>
                    <a:pt x="586" y="1700"/>
                  </a:lnTo>
                  <a:lnTo>
                    <a:pt x="587" y="1696"/>
                  </a:lnTo>
                  <a:lnTo>
                    <a:pt x="588" y="1692"/>
                  </a:lnTo>
                  <a:lnTo>
                    <a:pt x="592" y="1691"/>
                  </a:lnTo>
                  <a:lnTo>
                    <a:pt x="593" y="1689"/>
                  </a:lnTo>
                  <a:lnTo>
                    <a:pt x="593" y="1685"/>
                  </a:lnTo>
                  <a:lnTo>
                    <a:pt x="592" y="1677"/>
                  </a:lnTo>
                  <a:lnTo>
                    <a:pt x="593" y="1672"/>
                  </a:lnTo>
                  <a:lnTo>
                    <a:pt x="595" y="1670"/>
                  </a:lnTo>
                  <a:lnTo>
                    <a:pt x="601" y="1664"/>
                  </a:lnTo>
                  <a:lnTo>
                    <a:pt x="600" y="1656"/>
                  </a:lnTo>
                  <a:lnTo>
                    <a:pt x="602" y="1645"/>
                  </a:lnTo>
                  <a:lnTo>
                    <a:pt x="604" y="1638"/>
                  </a:lnTo>
                  <a:lnTo>
                    <a:pt x="603" y="1634"/>
                  </a:lnTo>
                  <a:lnTo>
                    <a:pt x="602" y="1622"/>
                  </a:lnTo>
                  <a:lnTo>
                    <a:pt x="603" y="1615"/>
                  </a:lnTo>
                  <a:lnTo>
                    <a:pt x="603" y="1613"/>
                  </a:lnTo>
                  <a:lnTo>
                    <a:pt x="602" y="1610"/>
                  </a:lnTo>
                  <a:lnTo>
                    <a:pt x="603" y="1607"/>
                  </a:lnTo>
                  <a:lnTo>
                    <a:pt x="602" y="1604"/>
                  </a:lnTo>
                  <a:lnTo>
                    <a:pt x="601" y="1606"/>
                  </a:lnTo>
                  <a:lnTo>
                    <a:pt x="602" y="1603"/>
                  </a:lnTo>
                  <a:lnTo>
                    <a:pt x="605" y="1598"/>
                  </a:lnTo>
                  <a:lnTo>
                    <a:pt x="604" y="1594"/>
                  </a:lnTo>
                  <a:lnTo>
                    <a:pt x="606" y="1594"/>
                  </a:lnTo>
                  <a:lnTo>
                    <a:pt x="609" y="1594"/>
                  </a:lnTo>
                  <a:lnTo>
                    <a:pt x="610" y="1597"/>
                  </a:lnTo>
                  <a:lnTo>
                    <a:pt x="612" y="1596"/>
                  </a:lnTo>
                  <a:lnTo>
                    <a:pt x="614" y="1594"/>
                  </a:lnTo>
                  <a:lnTo>
                    <a:pt x="620" y="1586"/>
                  </a:lnTo>
                  <a:lnTo>
                    <a:pt x="623" y="1579"/>
                  </a:lnTo>
                  <a:lnTo>
                    <a:pt x="625" y="1578"/>
                  </a:lnTo>
                  <a:lnTo>
                    <a:pt x="623" y="1577"/>
                  </a:lnTo>
                  <a:lnTo>
                    <a:pt x="625" y="1574"/>
                  </a:lnTo>
                  <a:lnTo>
                    <a:pt x="627" y="1573"/>
                  </a:lnTo>
                  <a:lnTo>
                    <a:pt x="626" y="1570"/>
                  </a:lnTo>
                  <a:lnTo>
                    <a:pt x="629" y="1570"/>
                  </a:lnTo>
                  <a:lnTo>
                    <a:pt x="628" y="1566"/>
                  </a:lnTo>
                  <a:lnTo>
                    <a:pt x="631" y="1568"/>
                  </a:lnTo>
                  <a:lnTo>
                    <a:pt x="636" y="1563"/>
                  </a:lnTo>
                  <a:lnTo>
                    <a:pt x="638" y="1563"/>
                  </a:lnTo>
                  <a:lnTo>
                    <a:pt x="639" y="1561"/>
                  </a:lnTo>
                  <a:lnTo>
                    <a:pt x="646" y="1553"/>
                  </a:lnTo>
                  <a:lnTo>
                    <a:pt x="646" y="1552"/>
                  </a:lnTo>
                  <a:lnTo>
                    <a:pt x="647" y="1552"/>
                  </a:lnTo>
                  <a:lnTo>
                    <a:pt x="647" y="1552"/>
                  </a:lnTo>
                  <a:lnTo>
                    <a:pt x="653" y="1546"/>
                  </a:lnTo>
                  <a:lnTo>
                    <a:pt x="655" y="1540"/>
                  </a:lnTo>
                  <a:lnTo>
                    <a:pt x="657" y="1536"/>
                  </a:lnTo>
                  <a:lnTo>
                    <a:pt x="657" y="1534"/>
                  </a:lnTo>
                  <a:lnTo>
                    <a:pt x="659" y="1529"/>
                  </a:lnTo>
                  <a:lnTo>
                    <a:pt x="660" y="1527"/>
                  </a:lnTo>
                  <a:lnTo>
                    <a:pt x="659" y="1526"/>
                  </a:lnTo>
                  <a:lnTo>
                    <a:pt x="660" y="1522"/>
                  </a:lnTo>
                  <a:lnTo>
                    <a:pt x="659" y="1522"/>
                  </a:lnTo>
                  <a:lnTo>
                    <a:pt x="660" y="1521"/>
                  </a:lnTo>
                  <a:lnTo>
                    <a:pt x="660" y="1518"/>
                  </a:lnTo>
                  <a:lnTo>
                    <a:pt x="660" y="1516"/>
                  </a:lnTo>
                  <a:lnTo>
                    <a:pt x="659" y="1517"/>
                  </a:lnTo>
                  <a:close/>
                  <a:moveTo>
                    <a:pt x="195" y="1646"/>
                  </a:moveTo>
                  <a:lnTo>
                    <a:pt x="193" y="1646"/>
                  </a:lnTo>
                  <a:lnTo>
                    <a:pt x="193" y="1646"/>
                  </a:lnTo>
                  <a:lnTo>
                    <a:pt x="194" y="1648"/>
                  </a:lnTo>
                  <a:lnTo>
                    <a:pt x="192" y="1648"/>
                  </a:lnTo>
                  <a:lnTo>
                    <a:pt x="192" y="1645"/>
                  </a:lnTo>
                  <a:lnTo>
                    <a:pt x="192" y="1642"/>
                  </a:lnTo>
                  <a:lnTo>
                    <a:pt x="191" y="1642"/>
                  </a:lnTo>
                  <a:lnTo>
                    <a:pt x="191" y="1642"/>
                  </a:lnTo>
                  <a:lnTo>
                    <a:pt x="187" y="1643"/>
                  </a:lnTo>
                  <a:lnTo>
                    <a:pt x="185" y="1642"/>
                  </a:lnTo>
                  <a:lnTo>
                    <a:pt x="186" y="1640"/>
                  </a:lnTo>
                  <a:lnTo>
                    <a:pt x="183" y="1639"/>
                  </a:lnTo>
                  <a:lnTo>
                    <a:pt x="181" y="1637"/>
                  </a:lnTo>
                  <a:lnTo>
                    <a:pt x="178" y="1638"/>
                  </a:lnTo>
                  <a:lnTo>
                    <a:pt x="178" y="1636"/>
                  </a:lnTo>
                  <a:lnTo>
                    <a:pt x="181" y="1636"/>
                  </a:lnTo>
                  <a:lnTo>
                    <a:pt x="179" y="1633"/>
                  </a:lnTo>
                  <a:lnTo>
                    <a:pt x="181" y="1630"/>
                  </a:lnTo>
                  <a:lnTo>
                    <a:pt x="184" y="1631"/>
                  </a:lnTo>
                  <a:lnTo>
                    <a:pt x="186" y="1632"/>
                  </a:lnTo>
                  <a:lnTo>
                    <a:pt x="187" y="1633"/>
                  </a:lnTo>
                  <a:lnTo>
                    <a:pt x="190" y="1634"/>
                  </a:lnTo>
                  <a:lnTo>
                    <a:pt x="192" y="1638"/>
                  </a:lnTo>
                  <a:lnTo>
                    <a:pt x="194" y="1639"/>
                  </a:lnTo>
                  <a:lnTo>
                    <a:pt x="193" y="1641"/>
                  </a:lnTo>
                  <a:lnTo>
                    <a:pt x="194" y="1642"/>
                  </a:lnTo>
                  <a:lnTo>
                    <a:pt x="196" y="1642"/>
                  </a:lnTo>
                  <a:lnTo>
                    <a:pt x="195" y="1646"/>
                  </a:lnTo>
                  <a:close/>
                  <a:moveTo>
                    <a:pt x="344" y="2192"/>
                  </a:moveTo>
                  <a:lnTo>
                    <a:pt x="340" y="2192"/>
                  </a:lnTo>
                  <a:lnTo>
                    <a:pt x="338" y="2193"/>
                  </a:lnTo>
                  <a:lnTo>
                    <a:pt x="339" y="2196"/>
                  </a:lnTo>
                  <a:lnTo>
                    <a:pt x="337" y="2193"/>
                  </a:lnTo>
                  <a:lnTo>
                    <a:pt x="336" y="2190"/>
                  </a:lnTo>
                  <a:lnTo>
                    <a:pt x="333" y="2190"/>
                  </a:lnTo>
                  <a:lnTo>
                    <a:pt x="331" y="2192"/>
                  </a:lnTo>
                  <a:lnTo>
                    <a:pt x="329" y="2194"/>
                  </a:lnTo>
                  <a:lnTo>
                    <a:pt x="327" y="2194"/>
                  </a:lnTo>
                  <a:lnTo>
                    <a:pt x="329" y="2196"/>
                  </a:lnTo>
                  <a:lnTo>
                    <a:pt x="329" y="2200"/>
                  </a:lnTo>
                  <a:lnTo>
                    <a:pt x="326" y="2197"/>
                  </a:lnTo>
                  <a:lnTo>
                    <a:pt x="323" y="2200"/>
                  </a:lnTo>
                  <a:lnTo>
                    <a:pt x="322" y="2202"/>
                  </a:lnTo>
                  <a:lnTo>
                    <a:pt x="319" y="2205"/>
                  </a:lnTo>
                  <a:lnTo>
                    <a:pt x="321" y="2207"/>
                  </a:lnTo>
                  <a:lnTo>
                    <a:pt x="323" y="2209"/>
                  </a:lnTo>
                  <a:lnTo>
                    <a:pt x="324" y="2205"/>
                  </a:lnTo>
                  <a:lnTo>
                    <a:pt x="327" y="2205"/>
                  </a:lnTo>
                  <a:lnTo>
                    <a:pt x="326" y="2203"/>
                  </a:lnTo>
                  <a:lnTo>
                    <a:pt x="328" y="2203"/>
                  </a:lnTo>
                  <a:lnTo>
                    <a:pt x="331" y="2204"/>
                  </a:lnTo>
                  <a:lnTo>
                    <a:pt x="333" y="2205"/>
                  </a:lnTo>
                  <a:lnTo>
                    <a:pt x="331" y="2202"/>
                  </a:lnTo>
                  <a:lnTo>
                    <a:pt x="329" y="2200"/>
                  </a:lnTo>
                  <a:lnTo>
                    <a:pt x="332" y="2201"/>
                  </a:lnTo>
                  <a:lnTo>
                    <a:pt x="335" y="2201"/>
                  </a:lnTo>
                  <a:lnTo>
                    <a:pt x="337" y="2201"/>
                  </a:lnTo>
                  <a:lnTo>
                    <a:pt x="339" y="2198"/>
                  </a:lnTo>
                  <a:lnTo>
                    <a:pt x="339" y="2198"/>
                  </a:lnTo>
                  <a:lnTo>
                    <a:pt x="343" y="2198"/>
                  </a:lnTo>
                  <a:lnTo>
                    <a:pt x="345" y="2196"/>
                  </a:lnTo>
                  <a:lnTo>
                    <a:pt x="343" y="2194"/>
                  </a:lnTo>
                  <a:lnTo>
                    <a:pt x="345" y="2194"/>
                  </a:lnTo>
                  <a:lnTo>
                    <a:pt x="344" y="2192"/>
                  </a:lnTo>
                  <a:close/>
                  <a:moveTo>
                    <a:pt x="444" y="1443"/>
                  </a:moveTo>
                  <a:lnTo>
                    <a:pt x="447" y="1444"/>
                  </a:lnTo>
                  <a:lnTo>
                    <a:pt x="448" y="1443"/>
                  </a:lnTo>
                  <a:lnTo>
                    <a:pt x="447" y="1443"/>
                  </a:lnTo>
                  <a:lnTo>
                    <a:pt x="449" y="1443"/>
                  </a:lnTo>
                  <a:lnTo>
                    <a:pt x="452" y="1443"/>
                  </a:lnTo>
                  <a:lnTo>
                    <a:pt x="455" y="1443"/>
                  </a:lnTo>
                  <a:lnTo>
                    <a:pt x="457" y="1443"/>
                  </a:lnTo>
                  <a:lnTo>
                    <a:pt x="460" y="1441"/>
                  </a:lnTo>
                  <a:lnTo>
                    <a:pt x="463" y="1441"/>
                  </a:lnTo>
                  <a:lnTo>
                    <a:pt x="465" y="1440"/>
                  </a:lnTo>
                  <a:lnTo>
                    <a:pt x="468" y="1437"/>
                  </a:lnTo>
                  <a:lnTo>
                    <a:pt x="468" y="1435"/>
                  </a:lnTo>
                  <a:lnTo>
                    <a:pt x="471" y="1433"/>
                  </a:lnTo>
                  <a:lnTo>
                    <a:pt x="472" y="1431"/>
                  </a:lnTo>
                  <a:lnTo>
                    <a:pt x="474" y="1425"/>
                  </a:lnTo>
                  <a:lnTo>
                    <a:pt x="472" y="1422"/>
                  </a:lnTo>
                  <a:lnTo>
                    <a:pt x="463" y="1420"/>
                  </a:lnTo>
                  <a:lnTo>
                    <a:pt x="460" y="1422"/>
                  </a:lnTo>
                  <a:lnTo>
                    <a:pt x="448" y="1420"/>
                  </a:lnTo>
                  <a:lnTo>
                    <a:pt x="444" y="1420"/>
                  </a:lnTo>
                  <a:lnTo>
                    <a:pt x="442" y="1424"/>
                  </a:lnTo>
                  <a:lnTo>
                    <a:pt x="442" y="1426"/>
                  </a:lnTo>
                  <a:lnTo>
                    <a:pt x="444" y="1428"/>
                  </a:lnTo>
                  <a:lnTo>
                    <a:pt x="442" y="1427"/>
                  </a:lnTo>
                  <a:lnTo>
                    <a:pt x="441" y="1428"/>
                  </a:lnTo>
                  <a:lnTo>
                    <a:pt x="442" y="1429"/>
                  </a:lnTo>
                  <a:lnTo>
                    <a:pt x="441" y="1431"/>
                  </a:lnTo>
                  <a:lnTo>
                    <a:pt x="442" y="1434"/>
                  </a:lnTo>
                  <a:lnTo>
                    <a:pt x="444" y="1433"/>
                  </a:lnTo>
                  <a:lnTo>
                    <a:pt x="446" y="1433"/>
                  </a:lnTo>
                  <a:lnTo>
                    <a:pt x="444" y="1435"/>
                  </a:lnTo>
                  <a:lnTo>
                    <a:pt x="441" y="1435"/>
                  </a:lnTo>
                  <a:lnTo>
                    <a:pt x="441" y="1439"/>
                  </a:lnTo>
                  <a:lnTo>
                    <a:pt x="442" y="1440"/>
                  </a:lnTo>
                  <a:lnTo>
                    <a:pt x="444" y="14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6" name="Freeform 226">
              <a:extLst>
                <a:ext uri="{FF2B5EF4-FFF2-40B4-BE49-F238E27FC236}">
                  <a16:creationId xmlns:a16="http://schemas.microsoft.com/office/drawing/2014/main" id="{8EC33DB8-5E0D-45EA-9C8D-8B5AD18EBD8B}"/>
                </a:ext>
              </a:extLst>
            </p:cNvPr>
            <p:cNvSpPr>
              <a:spLocks noEditPoints="1"/>
            </p:cNvSpPr>
            <p:nvPr/>
          </p:nvSpPr>
          <p:spPr bwMode="auto">
            <a:xfrm>
              <a:off x="4057650" y="4014788"/>
              <a:ext cx="704850" cy="419100"/>
            </a:xfrm>
            <a:custGeom>
              <a:avLst/>
              <a:gdLst>
                <a:gd name="T0" fmla="*/ 79 w 444"/>
                <a:gd name="T1" fmla="*/ 28 h 264"/>
                <a:gd name="T2" fmla="*/ 80 w 444"/>
                <a:gd name="T3" fmla="*/ 28 h 264"/>
                <a:gd name="T4" fmla="*/ 83 w 444"/>
                <a:gd name="T5" fmla="*/ 26 h 264"/>
                <a:gd name="T6" fmla="*/ 76 w 444"/>
                <a:gd name="T7" fmla="*/ 22 h 264"/>
                <a:gd name="T8" fmla="*/ 68 w 444"/>
                <a:gd name="T9" fmla="*/ 21 h 264"/>
                <a:gd name="T10" fmla="*/ 63 w 444"/>
                <a:gd name="T11" fmla="*/ 20 h 264"/>
                <a:gd name="T12" fmla="*/ 56 w 444"/>
                <a:gd name="T13" fmla="*/ 24 h 264"/>
                <a:gd name="T14" fmla="*/ 58 w 444"/>
                <a:gd name="T15" fmla="*/ 25 h 264"/>
                <a:gd name="T16" fmla="*/ 64 w 444"/>
                <a:gd name="T17" fmla="*/ 29 h 264"/>
                <a:gd name="T18" fmla="*/ 69 w 444"/>
                <a:gd name="T19" fmla="*/ 30 h 264"/>
                <a:gd name="T20" fmla="*/ 76 w 444"/>
                <a:gd name="T21" fmla="*/ 28 h 264"/>
                <a:gd name="T22" fmla="*/ 170 w 444"/>
                <a:gd name="T23" fmla="*/ 21 h 264"/>
                <a:gd name="T24" fmla="*/ 177 w 444"/>
                <a:gd name="T25" fmla="*/ 22 h 264"/>
                <a:gd name="T26" fmla="*/ 184 w 444"/>
                <a:gd name="T27" fmla="*/ 22 h 264"/>
                <a:gd name="T28" fmla="*/ 190 w 444"/>
                <a:gd name="T29" fmla="*/ 22 h 264"/>
                <a:gd name="T30" fmla="*/ 188 w 444"/>
                <a:gd name="T31" fmla="*/ 16 h 264"/>
                <a:gd name="T32" fmla="*/ 180 w 444"/>
                <a:gd name="T33" fmla="*/ 13 h 264"/>
                <a:gd name="T34" fmla="*/ 176 w 444"/>
                <a:gd name="T35" fmla="*/ 10 h 264"/>
                <a:gd name="T36" fmla="*/ 179 w 444"/>
                <a:gd name="T37" fmla="*/ 9 h 264"/>
                <a:gd name="T38" fmla="*/ 171 w 444"/>
                <a:gd name="T39" fmla="*/ 7 h 264"/>
                <a:gd name="T40" fmla="*/ 166 w 444"/>
                <a:gd name="T41" fmla="*/ 4 h 264"/>
                <a:gd name="T42" fmla="*/ 158 w 444"/>
                <a:gd name="T43" fmla="*/ 1 h 264"/>
                <a:gd name="T44" fmla="*/ 150 w 444"/>
                <a:gd name="T45" fmla="*/ 1 h 264"/>
                <a:gd name="T46" fmla="*/ 145 w 444"/>
                <a:gd name="T47" fmla="*/ 3 h 264"/>
                <a:gd name="T48" fmla="*/ 140 w 444"/>
                <a:gd name="T49" fmla="*/ 2 h 264"/>
                <a:gd name="T50" fmla="*/ 132 w 444"/>
                <a:gd name="T51" fmla="*/ 0 h 264"/>
                <a:gd name="T52" fmla="*/ 124 w 444"/>
                <a:gd name="T53" fmla="*/ 2 h 264"/>
                <a:gd name="T54" fmla="*/ 131 w 444"/>
                <a:gd name="T55" fmla="*/ 5 h 264"/>
                <a:gd name="T56" fmla="*/ 132 w 444"/>
                <a:gd name="T57" fmla="*/ 11 h 264"/>
                <a:gd name="T58" fmla="*/ 136 w 444"/>
                <a:gd name="T59" fmla="*/ 17 h 264"/>
                <a:gd name="T60" fmla="*/ 133 w 444"/>
                <a:gd name="T61" fmla="*/ 21 h 264"/>
                <a:gd name="T62" fmla="*/ 125 w 444"/>
                <a:gd name="T63" fmla="*/ 20 h 264"/>
                <a:gd name="T64" fmla="*/ 117 w 444"/>
                <a:gd name="T65" fmla="*/ 19 h 264"/>
                <a:gd name="T66" fmla="*/ 109 w 444"/>
                <a:gd name="T67" fmla="*/ 20 h 264"/>
                <a:gd name="T68" fmla="*/ 115 w 444"/>
                <a:gd name="T69" fmla="*/ 25 h 264"/>
                <a:gd name="T70" fmla="*/ 120 w 444"/>
                <a:gd name="T71" fmla="*/ 25 h 264"/>
                <a:gd name="T72" fmla="*/ 127 w 444"/>
                <a:gd name="T73" fmla="*/ 25 h 264"/>
                <a:gd name="T74" fmla="*/ 135 w 444"/>
                <a:gd name="T75" fmla="*/ 25 h 264"/>
                <a:gd name="T76" fmla="*/ 143 w 444"/>
                <a:gd name="T77" fmla="*/ 25 h 264"/>
                <a:gd name="T78" fmla="*/ 149 w 444"/>
                <a:gd name="T79" fmla="*/ 32 h 264"/>
                <a:gd name="T80" fmla="*/ 153 w 444"/>
                <a:gd name="T81" fmla="*/ 29 h 264"/>
                <a:gd name="T82" fmla="*/ 157 w 444"/>
                <a:gd name="T83" fmla="*/ 24 h 264"/>
                <a:gd name="T84" fmla="*/ 162 w 444"/>
                <a:gd name="T85" fmla="*/ 24 h 264"/>
                <a:gd name="T86" fmla="*/ 170 w 444"/>
                <a:gd name="T87" fmla="*/ 21 h 264"/>
                <a:gd name="T88" fmla="*/ 0 w 444"/>
                <a:gd name="T89" fmla="*/ 164 h 264"/>
                <a:gd name="T90" fmla="*/ 0 w 444"/>
                <a:gd name="T91" fmla="*/ 163 h 264"/>
                <a:gd name="T92" fmla="*/ 444 w 444"/>
                <a:gd name="T93" fmla="*/ 263 h 264"/>
                <a:gd name="T94" fmla="*/ 444 w 444"/>
                <a:gd name="T95" fmla="*/ 26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4" h="264">
                  <a:moveTo>
                    <a:pt x="76" y="28"/>
                  </a:moveTo>
                  <a:lnTo>
                    <a:pt x="77" y="28"/>
                  </a:lnTo>
                  <a:lnTo>
                    <a:pt x="79" y="28"/>
                  </a:lnTo>
                  <a:lnTo>
                    <a:pt x="77" y="28"/>
                  </a:lnTo>
                  <a:lnTo>
                    <a:pt x="79" y="28"/>
                  </a:lnTo>
                  <a:lnTo>
                    <a:pt x="80" y="28"/>
                  </a:lnTo>
                  <a:lnTo>
                    <a:pt x="82" y="29"/>
                  </a:lnTo>
                  <a:lnTo>
                    <a:pt x="84" y="27"/>
                  </a:lnTo>
                  <a:lnTo>
                    <a:pt x="83" y="26"/>
                  </a:lnTo>
                  <a:lnTo>
                    <a:pt x="81" y="25"/>
                  </a:lnTo>
                  <a:lnTo>
                    <a:pt x="79" y="24"/>
                  </a:lnTo>
                  <a:lnTo>
                    <a:pt x="76" y="22"/>
                  </a:lnTo>
                  <a:lnTo>
                    <a:pt x="73" y="21"/>
                  </a:lnTo>
                  <a:lnTo>
                    <a:pt x="71" y="21"/>
                  </a:lnTo>
                  <a:lnTo>
                    <a:pt x="68" y="21"/>
                  </a:lnTo>
                  <a:lnTo>
                    <a:pt x="67" y="20"/>
                  </a:lnTo>
                  <a:lnTo>
                    <a:pt x="64" y="20"/>
                  </a:lnTo>
                  <a:lnTo>
                    <a:pt x="63" y="20"/>
                  </a:lnTo>
                  <a:lnTo>
                    <a:pt x="60" y="21"/>
                  </a:lnTo>
                  <a:lnTo>
                    <a:pt x="58" y="21"/>
                  </a:lnTo>
                  <a:lnTo>
                    <a:pt x="56" y="24"/>
                  </a:lnTo>
                  <a:lnTo>
                    <a:pt x="56" y="24"/>
                  </a:lnTo>
                  <a:lnTo>
                    <a:pt x="56" y="25"/>
                  </a:lnTo>
                  <a:lnTo>
                    <a:pt x="58" y="25"/>
                  </a:lnTo>
                  <a:lnTo>
                    <a:pt x="62" y="27"/>
                  </a:lnTo>
                  <a:lnTo>
                    <a:pt x="62" y="27"/>
                  </a:lnTo>
                  <a:lnTo>
                    <a:pt x="64" y="29"/>
                  </a:lnTo>
                  <a:lnTo>
                    <a:pt x="66" y="29"/>
                  </a:lnTo>
                  <a:lnTo>
                    <a:pt x="68" y="29"/>
                  </a:lnTo>
                  <a:lnTo>
                    <a:pt x="69" y="30"/>
                  </a:lnTo>
                  <a:lnTo>
                    <a:pt x="73" y="29"/>
                  </a:lnTo>
                  <a:lnTo>
                    <a:pt x="74" y="29"/>
                  </a:lnTo>
                  <a:lnTo>
                    <a:pt x="76" y="28"/>
                  </a:lnTo>
                  <a:lnTo>
                    <a:pt x="76" y="28"/>
                  </a:lnTo>
                  <a:lnTo>
                    <a:pt x="76" y="28"/>
                  </a:lnTo>
                  <a:close/>
                  <a:moveTo>
                    <a:pt x="170" y="21"/>
                  </a:moveTo>
                  <a:lnTo>
                    <a:pt x="171" y="21"/>
                  </a:lnTo>
                  <a:lnTo>
                    <a:pt x="174" y="21"/>
                  </a:lnTo>
                  <a:lnTo>
                    <a:pt x="177" y="22"/>
                  </a:lnTo>
                  <a:lnTo>
                    <a:pt x="179" y="21"/>
                  </a:lnTo>
                  <a:lnTo>
                    <a:pt x="182" y="21"/>
                  </a:lnTo>
                  <a:lnTo>
                    <a:pt x="184" y="22"/>
                  </a:lnTo>
                  <a:lnTo>
                    <a:pt x="186" y="24"/>
                  </a:lnTo>
                  <a:lnTo>
                    <a:pt x="190" y="22"/>
                  </a:lnTo>
                  <a:lnTo>
                    <a:pt x="190" y="22"/>
                  </a:lnTo>
                  <a:lnTo>
                    <a:pt x="192" y="20"/>
                  </a:lnTo>
                  <a:lnTo>
                    <a:pt x="192" y="18"/>
                  </a:lnTo>
                  <a:lnTo>
                    <a:pt x="188" y="16"/>
                  </a:lnTo>
                  <a:lnTo>
                    <a:pt x="186" y="13"/>
                  </a:lnTo>
                  <a:lnTo>
                    <a:pt x="184" y="13"/>
                  </a:lnTo>
                  <a:lnTo>
                    <a:pt x="180" y="13"/>
                  </a:lnTo>
                  <a:lnTo>
                    <a:pt x="178" y="12"/>
                  </a:lnTo>
                  <a:lnTo>
                    <a:pt x="175" y="10"/>
                  </a:lnTo>
                  <a:lnTo>
                    <a:pt x="176" y="10"/>
                  </a:lnTo>
                  <a:lnTo>
                    <a:pt x="179" y="10"/>
                  </a:lnTo>
                  <a:lnTo>
                    <a:pt x="182" y="9"/>
                  </a:lnTo>
                  <a:lnTo>
                    <a:pt x="179" y="9"/>
                  </a:lnTo>
                  <a:lnTo>
                    <a:pt x="176" y="9"/>
                  </a:lnTo>
                  <a:lnTo>
                    <a:pt x="174" y="9"/>
                  </a:lnTo>
                  <a:lnTo>
                    <a:pt x="171" y="7"/>
                  </a:lnTo>
                  <a:lnTo>
                    <a:pt x="170" y="4"/>
                  </a:lnTo>
                  <a:lnTo>
                    <a:pt x="169" y="4"/>
                  </a:lnTo>
                  <a:lnTo>
                    <a:pt x="166" y="4"/>
                  </a:lnTo>
                  <a:lnTo>
                    <a:pt x="163" y="2"/>
                  </a:lnTo>
                  <a:lnTo>
                    <a:pt x="160" y="2"/>
                  </a:lnTo>
                  <a:lnTo>
                    <a:pt x="158" y="1"/>
                  </a:lnTo>
                  <a:lnTo>
                    <a:pt x="156" y="1"/>
                  </a:lnTo>
                  <a:lnTo>
                    <a:pt x="152" y="1"/>
                  </a:lnTo>
                  <a:lnTo>
                    <a:pt x="150" y="1"/>
                  </a:lnTo>
                  <a:lnTo>
                    <a:pt x="148" y="1"/>
                  </a:lnTo>
                  <a:lnTo>
                    <a:pt x="147" y="3"/>
                  </a:lnTo>
                  <a:lnTo>
                    <a:pt x="145" y="3"/>
                  </a:lnTo>
                  <a:lnTo>
                    <a:pt x="143" y="3"/>
                  </a:lnTo>
                  <a:lnTo>
                    <a:pt x="142" y="3"/>
                  </a:lnTo>
                  <a:lnTo>
                    <a:pt x="140" y="2"/>
                  </a:lnTo>
                  <a:lnTo>
                    <a:pt x="136" y="2"/>
                  </a:lnTo>
                  <a:lnTo>
                    <a:pt x="134" y="1"/>
                  </a:lnTo>
                  <a:lnTo>
                    <a:pt x="132" y="0"/>
                  </a:lnTo>
                  <a:lnTo>
                    <a:pt x="130" y="1"/>
                  </a:lnTo>
                  <a:lnTo>
                    <a:pt x="127" y="0"/>
                  </a:lnTo>
                  <a:lnTo>
                    <a:pt x="124" y="2"/>
                  </a:lnTo>
                  <a:lnTo>
                    <a:pt x="125" y="4"/>
                  </a:lnTo>
                  <a:lnTo>
                    <a:pt x="127" y="4"/>
                  </a:lnTo>
                  <a:lnTo>
                    <a:pt x="131" y="5"/>
                  </a:lnTo>
                  <a:lnTo>
                    <a:pt x="133" y="7"/>
                  </a:lnTo>
                  <a:lnTo>
                    <a:pt x="132" y="10"/>
                  </a:lnTo>
                  <a:lnTo>
                    <a:pt x="132" y="11"/>
                  </a:lnTo>
                  <a:lnTo>
                    <a:pt x="133" y="12"/>
                  </a:lnTo>
                  <a:lnTo>
                    <a:pt x="134" y="15"/>
                  </a:lnTo>
                  <a:lnTo>
                    <a:pt x="136" y="17"/>
                  </a:lnTo>
                  <a:lnTo>
                    <a:pt x="137" y="20"/>
                  </a:lnTo>
                  <a:lnTo>
                    <a:pt x="135" y="20"/>
                  </a:lnTo>
                  <a:lnTo>
                    <a:pt x="133" y="21"/>
                  </a:lnTo>
                  <a:lnTo>
                    <a:pt x="131" y="21"/>
                  </a:lnTo>
                  <a:lnTo>
                    <a:pt x="127" y="21"/>
                  </a:lnTo>
                  <a:lnTo>
                    <a:pt x="125" y="20"/>
                  </a:lnTo>
                  <a:lnTo>
                    <a:pt x="123" y="20"/>
                  </a:lnTo>
                  <a:lnTo>
                    <a:pt x="119" y="19"/>
                  </a:lnTo>
                  <a:lnTo>
                    <a:pt x="117" y="19"/>
                  </a:lnTo>
                  <a:lnTo>
                    <a:pt x="114" y="18"/>
                  </a:lnTo>
                  <a:lnTo>
                    <a:pt x="113" y="18"/>
                  </a:lnTo>
                  <a:lnTo>
                    <a:pt x="109" y="20"/>
                  </a:lnTo>
                  <a:lnTo>
                    <a:pt x="109" y="22"/>
                  </a:lnTo>
                  <a:lnTo>
                    <a:pt x="111" y="24"/>
                  </a:lnTo>
                  <a:lnTo>
                    <a:pt x="115" y="25"/>
                  </a:lnTo>
                  <a:lnTo>
                    <a:pt x="117" y="27"/>
                  </a:lnTo>
                  <a:lnTo>
                    <a:pt x="118" y="26"/>
                  </a:lnTo>
                  <a:lnTo>
                    <a:pt x="120" y="25"/>
                  </a:lnTo>
                  <a:lnTo>
                    <a:pt x="123" y="24"/>
                  </a:lnTo>
                  <a:lnTo>
                    <a:pt x="124" y="25"/>
                  </a:lnTo>
                  <a:lnTo>
                    <a:pt x="127" y="25"/>
                  </a:lnTo>
                  <a:lnTo>
                    <a:pt x="130" y="25"/>
                  </a:lnTo>
                  <a:lnTo>
                    <a:pt x="132" y="25"/>
                  </a:lnTo>
                  <a:lnTo>
                    <a:pt x="135" y="25"/>
                  </a:lnTo>
                  <a:lnTo>
                    <a:pt x="137" y="25"/>
                  </a:lnTo>
                  <a:lnTo>
                    <a:pt x="141" y="25"/>
                  </a:lnTo>
                  <a:lnTo>
                    <a:pt x="143" y="25"/>
                  </a:lnTo>
                  <a:lnTo>
                    <a:pt x="145" y="27"/>
                  </a:lnTo>
                  <a:lnTo>
                    <a:pt x="148" y="28"/>
                  </a:lnTo>
                  <a:lnTo>
                    <a:pt x="149" y="32"/>
                  </a:lnTo>
                  <a:lnTo>
                    <a:pt x="151" y="32"/>
                  </a:lnTo>
                  <a:lnTo>
                    <a:pt x="152" y="32"/>
                  </a:lnTo>
                  <a:lnTo>
                    <a:pt x="153" y="29"/>
                  </a:lnTo>
                  <a:lnTo>
                    <a:pt x="156" y="26"/>
                  </a:lnTo>
                  <a:lnTo>
                    <a:pt x="156" y="24"/>
                  </a:lnTo>
                  <a:lnTo>
                    <a:pt x="157" y="24"/>
                  </a:lnTo>
                  <a:lnTo>
                    <a:pt x="159" y="22"/>
                  </a:lnTo>
                  <a:lnTo>
                    <a:pt x="162" y="24"/>
                  </a:lnTo>
                  <a:lnTo>
                    <a:pt x="162" y="24"/>
                  </a:lnTo>
                  <a:lnTo>
                    <a:pt x="165" y="25"/>
                  </a:lnTo>
                  <a:lnTo>
                    <a:pt x="168" y="25"/>
                  </a:lnTo>
                  <a:lnTo>
                    <a:pt x="170" y="21"/>
                  </a:lnTo>
                  <a:lnTo>
                    <a:pt x="170" y="21"/>
                  </a:lnTo>
                  <a:close/>
                  <a:moveTo>
                    <a:pt x="0" y="164"/>
                  </a:moveTo>
                  <a:lnTo>
                    <a:pt x="0" y="164"/>
                  </a:lnTo>
                  <a:lnTo>
                    <a:pt x="2" y="163"/>
                  </a:lnTo>
                  <a:lnTo>
                    <a:pt x="0" y="163"/>
                  </a:lnTo>
                  <a:lnTo>
                    <a:pt x="0" y="163"/>
                  </a:lnTo>
                  <a:lnTo>
                    <a:pt x="0" y="164"/>
                  </a:lnTo>
                  <a:lnTo>
                    <a:pt x="0" y="164"/>
                  </a:lnTo>
                  <a:close/>
                  <a:moveTo>
                    <a:pt x="444" y="263"/>
                  </a:moveTo>
                  <a:lnTo>
                    <a:pt x="444" y="264"/>
                  </a:lnTo>
                  <a:lnTo>
                    <a:pt x="444" y="263"/>
                  </a:lnTo>
                  <a:lnTo>
                    <a:pt x="44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7" name="Freeform 227">
              <a:extLst>
                <a:ext uri="{FF2B5EF4-FFF2-40B4-BE49-F238E27FC236}">
                  <a16:creationId xmlns:a16="http://schemas.microsoft.com/office/drawing/2014/main" id="{CB1B5C73-EE79-4E45-9E32-A4234A6CC03E}"/>
                </a:ext>
              </a:extLst>
            </p:cNvPr>
            <p:cNvSpPr>
              <a:spLocks/>
            </p:cNvSpPr>
            <p:nvPr/>
          </p:nvSpPr>
          <p:spPr bwMode="auto">
            <a:xfrm>
              <a:off x="4003675" y="3940175"/>
              <a:ext cx="234950" cy="76200"/>
            </a:xfrm>
            <a:custGeom>
              <a:avLst/>
              <a:gdLst>
                <a:gd name="T0" fmla="*/ 102 w 148"/>
                <a:gd name="T1" fmla="*/ 48 h 48"/>
                <a:gd name="T2" fmla="*/ 108 w 148"/>
                <a:gd name="T3" fmla="*/ 48 h 48"/>
                <a:gd name="T4" fmla="*/ 117 w 148"/>
                <a:gd name="T5" fmla="*/ 47 h 48"/>
                <a:gd name="T6" fmla="*/ 125 w 148"/>
                <a:gd name="T7" fmla="*/ 47 h 48"/>
                <a:gd name="T8" fmla="*/ 133 w 148"/>
                <a:gd name="T9" fmla="*/ 48 h 48"/>
                <a:gd name="T10" fmla="*/ 134 w 148"/>
                <a:gd name="T11" fmla="*/ 46 h 48"/>
                <a:gd name="T12" fmla="*/ 135 w 148"/>
                <a:gd name="T13" fmla="*/ 48 h 48"/>
                <a:gd name="T14" fmla="*/ 140 w 148"/>
                <a:gd name="T15" fmla="*/ 46 h 48"/>
                <a:gd name="T16" fmla="*/ 148 w 148"/>
                <a:gd name="T17" fmla="*/ 42 h 48"/>
                <a:gd name="T18" fmla="*/ 140 w 148"/>
                <a:gd name="T19" fmla="*/ 39 h 48"/>
                <a:gd name="T20" fmla="*/ 134 w 148"/>
                <a:gd name="T21" fmla="*/ 37 h 48"/>
                <a:gd name="T22" fmla="*/ 127 w 148"/>
                <a:gd name="T23" fmla="*/ 37 h 48"/>
                <a:gd name="T24" fmla="*/ 127 w 148"/>
                <a:gd name="T25" fmla="*/ 33 h 48"/>
                <a:gd name="T26" fmla="*/ 123 w 148"/>
                <a:gd name="T27" fmla="*/ 30 h 48"/>
                <a:gd name="T28" fmla="*/ 117 w 148"/>
                <a:gd name="T29" fmla="*/ 28 h 48"/>
                <a:gd name="T30" fmla="*/ 109 w 148"/>
                <a:gd name="T31" fmla="*/ 25 h 48"/>
                <a:gd name="T32" fmla="*/ 105 w 148"/>
                <a:gd name="T33" fmla="*/ 24 h 48"/>
                <a:gd name="T34" fmla="*/ 103 w 148"/>
                <a:gd name="T35" fmla="*/ 21 h 48"/>
                <a:gd name="T36" fmla="*/ 96 w 148"/>
                <a:gd name="T37" fmla="*/ 19 h 48"/>
                <a:gd name="T38" fmla="*/ 90 w 148"/>
                <a:gd name="T39" fmla="*/ 15 h 48"/>
                <a:gd name="T40" fmla="*/ 82 w 148"/>
                <a:gd name="T41" fmla="*/ 12 h 48"/>
                <a:gd name="T42" fmla="*/ 75 w 148"/>
                <a:gd name="T43" fmla="*/ 11 h 48"/>
                <a:gd name="T44" fmla="*/ 69 w 148"/>
                <a:gd name="T45" fmla="*/ 5 h 48"/>
                <a:gd name="T46" fmla="*/ 64 w 148"/>
                <a:gd name="T47" fmla="*/ 4 h 48"/>
                <a:gd name="T48" fmla="*/ 57 w 148"/>
                <a:gd name="T49" fmla="*/ 2 h 48"/>
                <a:gd name="T50" fmla="*/ 48 w 148"/>
                <a:gd name="T51" fmla="*/ 2 h 48"/>
                <a:gd name="T52" fmla="*/ 41 w 148"/>
                <a:gd name="T53" fmla="*/ 0 h 48"/>
                <a:gd name="T54" fmla="*/ 36 w 148"/>
                <a:gd name="T55" fmla="*/ 0 h 48"/>
                <a:gd name="T56" fmla="*/ 26 w 148"/>
                <a:gd name="T57" fmla="*/ 4 h 48"/>
                <a:gd name="T58" fmla="*/ 21 w 148"/>
                <a:gd name="T59" fmla="*/ 5 h 48"/>
                <a:gd name="T60" fmla="*/ 13 w 148"/>
                <a:gd name="T61" fmla="*/ 8 h 48"/>
                <a:gd name="T62" fmla="*/ 6 w 148"/>
                <a:gd name="T63" fmla="*/ 14 h 48"/>
                <a:gd name="T64" fmla="*/ 3 w 148"/>
                <a:gd name="T65" fmla="*/ 19 h 48"/>
                <a:gd name="T66" fmla="*/ 5 w 148"/>
                <a:gd name="T67" fmla="*/ 19 h 48"/>
                <a:gd name="T68" fmla="*/ 13 w 148"/>
                <a:gd name="T69" fmla="*/ 16 h 48"/>
                <a:gd name="T70" fmla="*/ 19 w 148"/>
                <a:gd name="T71" fmla="*/ 15 h 48"/>
                <a:gd name="T72" fmla="*/ 26 w 148"/>
                <a:gd name="T73" fmla="*/ 9 h 48"/>
                <a:gd name="T74" fmla="*/ 33 w 148"/>
                <a:gd name="T75" fmla="*/ 8 h 48"/>
                <a:gd name="T76" fmla="*/ 39 w 148"/>
                <a:gd name="T77" fmla="*/ 8 h 48"/>
                <a:gd name="T78" fmla="*/ 45 w 148"/>
                <a:gd name="T79" fmla="*/ 9 h 48"/>
                <a:gd name="T80" fmla="*/ 40 w 148"/>
                <a:gd name="T81" fmla="*/ 13 h 48"/>
                <a:gd name="T82" fmla="*/ 48 w 148"/>
                <a:gd name="T83" fmla="*/ 15 h 48"/>
                <a:gd name="T84" fmla="*/ 54 w 148"/>
                <a:gd name="T85" fmla="*/ 17 h 48"/>
                <a:gd name="T86" fmla="*/ 60 w 148"/>
                <a:gd name="T87" fmla="*/ 16 h 48"/>
                <a:gd name="T88" fmla="*/ 63 w 148"/>
                <a:gd name="T89" fmla="*/ 19 h 48"/>
                <a:gd name="T90" fmla="*/ 67 w 148"/>
                <a:gd name="T91" fmla="*/ 22 h 48"/>
                <a:gd name="T92" fmla="*/ 71 w 148"/>
                <a:gd name="T93" fmla="*/ 22 h 48"/>
                <a:gd name="T94" fmla="*/ 76 w 148"/>
                <a:gd name="T95" fmla="*/ 23 h 48"/>
                <a:gd name="T96" fmla="*/ 83 w 148"/>
                <a:gd name="T97" fmla="*/ 23 h 48"/>
                <a:gd name="T98" fmla="*/ 86 w 148"/>
                <a:gd name="T99" fmla="*/ 26 h 48"/>
                <a:gd name="T100" fmla="*/ 91 w 148"/>
                <a:gd name="T101" fmla="*/ 34 h 48"/>
                <a:gd name="T102" fmla="*/ 98 w 148"/>
                <a:gd name="T103" fmla="*/ 37 h 48"/>
                <a:gd name="T104" fmla="*/ 105 w 148"/>
                <a:gd name="T105" fmla="*/ 39 h 48"/>
                <a:gd name="T106" fmla="*/ 106 w 148"/>
                <a:gd name="T107" fmla="*/ 42 h 48"/>
                <a:gd name="T108" fmla="*/ 100 w 148"/>
                <a:gd name="T109"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48">
                  <a:moveTo>
                    <a:pt x="100" y="46"/>
                  </a:moveTo>
                  <a:lnTo>
                    <a:pt x="100" y="48"/>
                  </a:lnTo>
                  <a:lnTo>
                    <a:pt x="102" y="48"/>
                  </a:lnTo>
                  <a:lnTo>
                    <a:pt x="105" y="48"/>
                  </a:lnTo>
                  <a:lnTo>
                    <a:pt x="108" y="48"/>
                  </a:lnTo>
                  <a:lnTo>
                    <a:pt x="108" y="48"/>
                  </a:lnTo>
                  <a:lnTo>
                    <a:pt x="111" y="47"/>
                  </a:lnTo>
                  <a:lnTo>
                    <a:pt x="114" y="47"/>
                  </a:lnTo>
                  <a:lnTo>
                    <a:pt x="117" y="47"/>
                  </a:lnTo>
                  <a:lnTo>
                    <a:pt x="119" y="47"/>
                  </a:lnTo>
                  <a:lnTo>
                    <a:pt x="123" y="47"/>
                  </a:lnTo>
                  <a:lnTo>
                    <a:pt x="125" y="47"/>
                  </a:lnTo>
                  <a:lnTo>
                    <a:pt x="127" y="48"/>
                  </a:lnTo>
                  <a:lnTo>
                    <a:pt x="131" y="48"/>
                  </a:lnTo>
                  <a:lnTo>
                    <a:pt x="133" y="48"/>
                  </a:lnTo>
                  <a:lnTo>
                    <a:pt x="133" y="47"/>
                  </a:lnTo>
                  <a:lnTo>
                    <a:pt x="133" y="46"/>
                  </a:lnTo>
                  <a:lnTo>
                    <a:pt x="134" y="46"/>
                  </a:lnTo>
                  <a:lnTo>
                    <a:pt x="134" y="47"/>
                  </a:lnTo>
                  <a:lnTo>
                    <a:pt x="134" y="48"/>
                  </a:lnTo>
                  <a:lnTo>
                    <a:pt x="135" y="48"/>
                  </a:lnTo>
                  <a:lnTo>
                    <a:pt x="137" y="46"/>
                  </a:lnTo>
                  <a:lnTo>
                    <a:pt x="137" y="46"/>
                  </a:lnTo>
                  <a:lnTo>
                    <a:pt x="140" y="46"/>
                  </a:lnTo>
                  <a:lnTo>
                    <a:pt x="143" y="46"/>
                  </a:lnTo>
                  <a:lnTo>
                    <a:pt x="145" y="46"/>
                  </a:lnTo>
                  <a:lnTo>
                    <a:pt x="148" y="42"/>
                  </a:lnTo>
                  <a:lnTo>
                    <a:pt x="144" y="42"/>
                  </a:lnTo>
                  <a:lnTo>
                    <a:pt x="142" y="41"/>
                  </a:lnTo>
                  <a:lnTo>
                    <a:pt x="140" y="39"/>
                  </a:lnTo>
                  <a:lnTo>
                    <a:pt x="140" y="38"/>
                  </a:lnTo>
                  <a:lnTo>
                    <a:pt x="136" y="37"/>
                  </a:lnTo>
                  <a:lnTo>
                    <a:pt x="134" y="37"/>
                  </a:lnTo>
                  <a:lnTo>
                    <a:pt x="133" y="36"/>
                  </a:lnTo>
                  <a:lnTo>
                    <a:pt x="131" y="36"/>
                  </a:lnTo>
                  <a:lnTo>
                    <a:pt x="127" y="37"/>
                  </a:lnTo>
                  <a:lnTo>
                    <a:pt x="125" y="36"/>
                  </a:lnTo>
                  <a:lnTo>
                    <a:pt x="126" y="33"/>
                  </a:lnTo>
                  <a:lnTo>
                    <a:pt x="127" y="33"/>
                  </a:lnTo>
                  <a:lnTo>
                    <a:pt x="126" y="30"/>
                  </a:lnTo>
                  <a:lnTo>
                    <a:pt x="123" y="30"/>
                  </a:lnTo>
                  <a:lnTo>
                    <a:pt x="123" y="30"/>
                  </a:lnTo>
                  <a:lnTo>
                    <a:pt x="120" y="31"/>
                  </a:lnTo>
                  <a:lnTo>
                    <a:pt x="117" y="29"/>
                  </a:lnTo>
                  <a:lnTo>
                    <a:pt x="117" y="28"/>
                  </a:lnTo>
                  <a:lnTo>
                    <a:pt x="115" y="28"/>
                  </a:lnTo>
                  <a:lnTo>
                    <a:pt x="111" y="26"/>
                  </a:lnTo>
                  <a:lnTo>
                    <a:pt x="109" y="25"/>
                  </a:lnTo>
                  <a:lnTo>
                    <a:pt x="108" y="24"/>
                  </a:lnTo>
                  <a:lnTo>
                    <a:pt x="106" y="25"/>
                  </a:lnTo>
                  <a:lnTo>
                    <a:pt x="105" y="24"/>
                  </a:lnTo>
                  <a:lnTo>
                    <a:pt x="103" y="23"/>
                  </a:lnTo>
                  <a:lnTo>
                    <a:pt x="106" y="24"/>
                  </a:lnTo>
                  <a:lnTo>
                    <a:pt x="103" y="21"/>
                  </a:lnTo>
                  <a:lnTo>
                    <a:pt x="101" y="21"/>
                  </a:lnTo>
                  <a:lnTo>
                    <a:pt x="99" y="21"/>
                  </a:lnTo>
                  <a:lnTo>
                    <a:pt x="96" y="19"/>
                  </a:lnTo>
                  <a:lnTo>
                    <a:pt x="93" y="16"/>
                  </a:lnTo>
                  <a:lnTo>
                    <a:pt x="92" y="16"/>
                  </a:lnTo>
                  <a:lnTo>
                    <a:pt x="90" y="15"/>
                  </a:lnTo>
                  <a:lnTo>
                    <a:pt x="86" y="13"/>
                  </a:lnTo>
                  <a:lnTo>
                    <a:pt x="84" y="13"/>
                  </a:lnTo>
                  <a:lnTo>
                    <a:pt x="82" y="12"/>
                  </a:lnTo>
                  <a:lnTo>
                    <a:pt x="81" y="12"/>
                  </a:lnTo>
                  <a:lnTo>
                    <a:pt x="79" y="12"/>
                  </a:lnTo>
                  <a:lnTo>
                    <a:pt x="75" y="11"/>
                  </a:lnTo>
                  <a:lnTo>
                    <a:pt x="74" y="11"/>
                  </a:lnTo>
                  <a:lnTo>
                    <a:pt x="72" y="7"/>
                  </a:lnTo>
                  <a:lnTo>
                    <a:pt x="69" y="5"/>
                  </a:lnTo>
                  <a:lnTo>
                    <a:pt x="67" y="4"/>
                  </a:lnTo>
                  <a:lnTo>
                    <a:pt x="67" y="4"/>
                  </a:lnTo>
                  <a:lnTo>
                    <a:pt x="64" y="4"/>
                  </a:lnTo>
                  <a:lnTo>
                    <a:pt x="62" y="4"/>
                  </a:lnTo>
                  <a:lnTo>
                    <a:pt x="59" y="3"/>
                  </a:lnTo>
                  <a:lnTo>
                    <a:pt x="57" y="2"/>
                  </a:lnTo>
                  <a:lnTo>
                    <a:pt x="54" y="3"/>
                  </a:lnTo>
                  <a:lnTo>
                    <a:pt x="51" y="0"/>
                  </a:lnTo>
                  <a:lnTo>
                    <a:pt x="48" y="2"/>
                  </a:lnTo>
                  <a:lnTo>
                    <a:pt x="47" y="2"/>
                  </a:lnTo>
                  <a:lnTo>
                    <a:pt x="45" y="0"/>
                  </a:lnTo>
                  <a:lnTo>
                    <a:pt x="41" y="0"/>
                  </a:lnTo>
                  <a:lnTo>
                    <a:pt x="39" y="0"/>
                  </a:lnTo>
                  <a:lnTo>
                    <a:pt x="38" y="0"/>
                  </a:lnTo>
                  <a:lnTo>
                    <a:pt x="36" y="0"/>
                  </a:lnTo>
                  <a:lnTo>
                    <a:pt x="32" y="3"/>
                  </a:lnTo>
                  <a:lnTo>
                    <a:pt x="30" y="3"/>
                  </a:lnTo>
                  <a:lnTo>
                    <a:pt x="26" y="4"/>
                  </a:lnTo>
                  <a:lnTo>
                    <a:pt x="25" y="3"/>
                  </a:lnTo>
                  <a:lnTo>
                    <a:pt x="23" y="4"/>
                  </a:lnTo>
                  <a:lnTo>
                    <a:pt x="21" y="5"/>
                  </a:lnTo>
                  <a:lnTo>
                    <a:pt x="17" y="6"/>
                  </a:lnTo>
                  <a:lnTo>
                    <a:pt x="15" y="6"/>
                  </a:lnTo>
                  <a:lnTo>
                    <a:pt x="13" y="8"/>
                  </a:lnTo>
                  <a:lnTo>
                    <a:pt x="9" y="9"/>
                  </a:lnTo>
                  <a:lnTo>
                    <a:pt x="7" y="12"/>
                  </a:lnTo>
                  <a:lnTo>
                    <a:pt x="6" y="14"/>
                  </a:lnTo>
                  <a:lnTo>
                    <a:pt x="8" y="17"/>
                  </a:lnTo>
                  <a:lnTo>
                    <a:pt x="5" y="17"/>
                  </a:lnTo>
                  <a:lnTo>
                    <a:pt x="3" y="19"/>
                  </a:lnTo>
                  <a:lnTo>
                    <a:pt x="0" y="20"/>
                  </a:lnTo>
                  <a:lnTo>
                    <a:pt x="2" y="20"/>
                  </a:lnTo>
                  <a:lnTo>
                    <a:pt x="5" y="19"/>
                  </a:lnTo>
                  <a:lnTo>
                    <a:pt x="7" y="20"/>
                  </a:lnTo>
                  <a:lnTo>
                    <a:pt x="9" y="19"/>
                  </a:lnTo>
                  <a:lnTo>
                    <a:pt x="13" y="16"/>
                  </a:lnTo>
                  <a:lnTo>
                    <a:pt x="15" y="15"/>
                  </a:lnTo>
                  <a:lnTo>
                    <a:pt x="16" y="15"/>
                  </a:lnTo>
                  <a:lnTo>
                    <a:pt x="19" y="15"/>
                  </a:lnTo>
                  <a:lnTo>
                    <a:pt x="22" y="14"/>
                  </a:lnTo>
                  <a:lnTo>
                    <a:pt x="24" y="13"/>
                  </a:lnTo>
                  <a:lnTo>
                    <a:pt x="26" y="9"/>
                  </a:lnTo>
                  <a:lnTo>
                    <a:pt x="29" y="8"/>
                  </a:lnTo>
                  <a:lnTo>
                    <a:pt x="30" y="7"/>
                  </a:lnTo>
                  <a:lnTo>
                    <a:pt x="33" y="8"/>
                  </a:lnTo>
                  <a:lnTo>
                    <a:pt x="36" y="8"/>
                  </a:lnTo>
                  <a:lnTo>
                    <a:pt x="39" y="8"/>
                  </a:lnTo>
                  <a:lnTo>
                    <a:pt x="39" y="8"/>
                  </a:lnTo>
                  <a:lnTo>
                    <a:pt x="42" y="8"/>
                  </a:lnTo>
                  <a:lnTo>
                    <a:pt x="45" y="9"/>
                  </a:lnTo>
                  <a:lnTo>
                    <a:pt x="45" y="9"/>
                  </a:lnTo>
                  <a:lnTo>
                    <a:pt x="43" y="11"/>
                  </a:lnTo>
                  <a:lnTo>
                    <a:pt x="42" y="12"/>
                  </a:lnTo>
                  <a:lnTo>
                    <a:pt x="40" y="13"/>
                  </a:lnTo>
                  <a:lnTo>
                    <a:pt x="42" y="15"/>
                  </a:lnTo>
                  <a:lnTo>
                    <a:pt x="46" y="15"/>
                  </a:lnTo>
                  <a:lnTo>
                    <a:pt x="48" y="15"/>
                  </a:lnTo>
                  <a:lnTo>
                    <a:pt x="50" y="17"/>
                  </a:lnTo>
                  <a:lnTo>
                    <a:pt x="51" y="14"/>
                  </a:lnTo>
                  <a:lnTo>
                    <a:pt x="54" y="17"/>
                  </a:lnTo>
                  <a:lnTo>
                    <a:pt x="59" y="17"/>
                  </a:lnTo>
                  <a:lnTo>
                    <a:pt x="59" y="16"/>
                  </a:lnTo>
                  <a:lnTo>
                    <a:pt x="60" y="16"/>
                  </a:lnTo>
                  <a:lnTo>
                    <a:pt x="60" y="15"/>
                  </a:lnTo>
                  <a:lnTo>
                    <a:pt x="62" y="17"/>
                  </a:lnTo>
                  <a:lnTo>
                    <a:pt x="63" y="19"/>
                  </a:lnTo>
                  <a:lnTo>
                    <a:pt x="66" y="20"/>
                  </a:lnTo>
                  <a:lnTo>
                    <a:pt x="66" y="21"/>
                  </a:lnTo>
                  <a:lnTo>
                    <a:pt x="67" y="22"/>
                  </a:lnTo>
                  <a:lnTo>
                    <a:pt x="67" y="21"/>
                  </a:lnTo>
                  <a:lnTo>
                    <a:pt x="67" y="22"/>
                  </a:lnTo>
                  <a:lnTo>
                    <a:pt x="71" y="22"/>
                  </a:lnTo>
                  <a:lnTo>
                    <a:pt x="73" y="23"/>
                  </a:lnTo>
                  <a:lnTo>
                    <a:pt x="74" y="23"/>
                  </a:lnTo>
                  <a:lnTo>
                    <a:pt x="76" y="23"/>
                  </a:lnTo>
                  <a:lnTo>
                    <a:pt x="79" y="24"/>
                  </a:lnTo>
                  <a:lnTo>
                    <a:pt x="81" y="23"/>
                  </a:lnTo>
                  <a:lnTo>
                    <a:pt x="83" y="23"/>
                  </a:lnTo>
                  <a:lnTo>
                    <a:pt x="85" y="23"/>
                  </a:lnTo>
                  <a:lnTo>
                    <a:pt x="85" y="24"/>
                  </a:lnTo>
                  <a:lnTo>
                    <a:pt x="86" y="26"/>
                  </a:lnTo>
                  <a:lnTo>
                    <a:pt x="88" y="30"/>
                  </a:lnTo>
                  <a:lnTo>
                    <a:pt x="89" y="32"/>
                  </a:lnTo>
                  <a:lnTo>
                    <a:pt x="91" y="34"/>
                  </a:lnTo>
                  <a:lnTo>
                    <a:pt x="94" y="37"/>
                  </a:lnTo>
                  <a:lnTo>
                    <a:pt x="97" y="36"/>
                  </a:lnTo>
                  <a:lnTo>
                    <a:pt x="98" y="37"/>
                  </a:lnTo>
                  <a:lnTo>
                    <a:pt x="101" y="37"/>
                  </a:lnTo>
                  <a:lnTo>
                    <a:pt x="103" y="36"/>
                  </a:lnTo>
                  <a:lnTo>
                    <a:pt x="105" y="39"/>
                  </a:lnTo>
                  <a:lnTo>
                    <a:pt x="107" y="39"/>
                  </a:lnTo>
                  <a:lnTo>
                    <a:pt x="107" y="41"/>
                  </a:lnTo>
                  <a:lnTo>
                    <a:pt x="106" y="42"/>
                  </a:lnTo>
                  <a:lnTo>
                    <a:pt x="103" y="43"/>
                  </a:lnTo>
                  <a:lnTo>
                    <a:pt x="102" y="43"/>
                  </a:lnTo>
                  <a:lnTo>
                    <a:pt x="100" y="46"/>
                  </a:lnTo>
                  <a:lnTo>
                    <a:pt x="10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8" name="Freeform 228">
              <a:extLst>
                <a:ext uri="{FF2B5EF4-FFF2-40B4-BE49-F238E27FC236}">
                  <a16:creationId xmlns:a16="http://schemas.microsoft.com/office/drawing/2014/main" id="{AB921212-7CDB-49F9-9442-71A485A5F60E}"/>
                </a:ext>
              </a:extLst>
            </p:cNvPr>
            <p:cNvSpPr>
              <a:spLocks noEditPoints="1"/>
            </p:cNvSpPr>
            <p:nvPr/>
          </p:nvSpPr>
          <p:spPr bwMode="auto">
            <a:xfrm>
              <a:off x="3236913" y="3219450"/>
              <a:ext cx="1468437" cy="684213"/>
            </a:xfrm>
            <a:custGeom>
              <a:avLst/>
              <a:gdLst>
                <a:gd name="T0" fmla="*/ 913 w 925"/>
                <a:gd name="T1" fmla="*/ 80 h 431"/>
                <a:gd name="T2" fmla="*/ 918 w 925"/>
                <a:gd name="T3" fmla="*/ 87 h 431"/>
                <a:gd name="T4" fmla="*/ 923 w 925"/>
                <a:gd name="T5" fmla="*/ 77 h 431"/>
                <a:gd name="T6" fmla="*/ 918 w 925"/>
                <a:gd name="T7" fmla="*/ 74 h 431"/>
                <a:gd name="T8" fmla="*/ 921 w 925"/>
                <a:gd name="T9" fmla="*/ 63 h 431"/>
                <a:gd name="T10" fmla="*/ 910 w 925"/>
                <a:gd name="T11" fmla="*/ 73 h 431"/>
                <a:gd name="T12" fmla="*/ 910 w 925"/>
                <a:gd name="T13" fmla="*/ 65 h 431"/>
                <a:gd name="T14" fmla="*/ 915 w 925"/>
                <a:gd name="T15" fmla="*/ 59 h 431"/>
                <a:gd name="T16" fmla="*/ 914 w 925"/>
                <a:gd name="T17" fmla="*/ 55 h 431"/>
                <a:gd name="T18" fmla="*/ 905 w 925"/>
                <a:gd name="T19" fmla="*/ 58 h 431"/>
                <a:gd name="T20" fmla="*/ 907 w 925"/>
                <a:gd name="T21" fmla="*/ 54 h 431"/>
                <a:gd name="T22" fmla="*/ 909 w 925"/>
                <a:gd name="T23" fmla="*/ 47 h 431"/>
                <a:gd name="T24" fmla="*/ 906 w 925"/>
                <a:gd name="T25" fmla="*/ 40 h 431"/>
                <a:gd name="T26" fmla="*/ 900 w 925"/>
                <a:gd name="T27" fmla="*/ 38 h 431"/>
                <a:gd name="T28" fmla="*/ 890 w 925"/>
                <a:gd name="T29" fmla="*/ 46 h 431"/>
                <a:gd name="T30" fmla="*/ 888 w 925"/>
                <a:gd name="T31" fmla="*/ 41 h 431"/>
                <a:gd name="T32" fmla="*/ 880 w 925"/>
                <a:gd name="T33" fmla="*/ 39 h 431"/>
                <a:gd name="T34" fmla="*/ 881 w 925"/>
                <a:gd name="T35" fmla="*/ 33 h 431"/>
                <a:gd name="T36" fmla="*/ 881 w 925"/>
                <a:gd name="T37" fmla="*/ 30 h 431"/>
                <a:gd name="T38" fmla="*/ 871 w 925"/>
                <a:gd name="T39" fmla="*/ 32 h 431"/>
                <a:gd name="T40" fmla="*/ 869 w 925"/>
                <a:gd name="T41" fmla="*/ 30 h 431"/>
                <a:gd name="T42" fmla="*/ 876 w 925"/>
                <a:gd name="T43" fmla="*/ 18 h 431"/>
                <a:gd name="T44" fmla="*/ 879 w 925"/>
                <a:gd name="T45" fmla="*/ 7 h 431"/>
                <a:gd name="T46" fmla="*/ 887 w 925"/>
                <a:gd name="T47" fmla="*/ 1 h 431"/>
                <a:gd name="T48" fmla="*/ 873 w 925"/>
                <a:gd name="T49" fmla="*/ 4 h 431"/>
                <a:gd name="T50" fmla="*/ 863 w 925"/>
                <a:gd name="T51" fmla="*/ 16 h 431"/>
                <a:gd name="T52" fmla="*/ 855 w 925"/>
                <a:gd name="T53" fmla="*/ 30 h 431"/>
                <a:gd name="T54" fmla="*/ 852 w 925"/>
                <a:gd name="T55" fmla="*/ 38 h 431"/>
                <a:gd name="T56" fmla="*/ 850 w 925"/>
                <a:gd name="T57" fmla="*/ 47 h 431"/>
                <a:gd name="T58" fmla="*/ 844 w 925"/>
                <a:gd name="T59" fmla="*/ 49 h 431"/>
                <a:gd name="T60" fmla="*/ 837 w 925"/>
                <a:gd name="T61" fmla="*/ 54 h 431"/>
                <a:gd name="T62" fmla="*/ 842 w 925"/>
                <a:gd name="T63" fmla="*/ 56 h 431"/>
                <a:gd name="T64" fmla="*/ 838 w 925"/>
                <a:gd name="T65" fmla="*/ 63 h 431"/>
                <a:gd name="T66" fmla="*/ 837 w 925"/>
                <a:gd name="T67" fmla="*/ 73 h 431"/>
                <a:gd name="T68" fmla="*/ 849 w 925"/>
                <a:gd name="T69" fmla="*/ 71 h 431"/>
                <a:gd name="T70" fmla="*/ 862 w 925"/>
                <a:gd name="T71" fmla="*/ 72 h 431"/>
                <a:gd name="T72" fmla="*/ 873 w 925"/>
                <a:gd name="T73" fmla="*/ 72 h 431"/>
                <a:gd name="T74" fmla="*/ 881 w 925"/>
                <a:gd name="T75" fmla="*/ 69 h 431"/>
                <a:gd name="T76" fmla="*/ 887 w 925"/>
                <a:gd name="T77" fmla="*/ 74 h 431"/>
                <a:gd name="T78" fmla="*/ 896 w 925"/>
                <a:gd name="T79" fmla="*/ 72 h 431"/>
                <a:gd name="T80" fmla="*/ 883 w 925"/>
                <a:gd name="T81" fmla="*/ 81 h 431"/>
                <a:gd name="T82" fmla="*/ 888 w 925"/>
                <a:gd name="T83" fmla="*/ 84 h 431"/>
                <a:gd name="T84" fmla="*/ 898 w 925"/>
                <a:gd name="T85" fmla="*/ 75 h 431"/>
                <a:gd name="T86" fmla="*/ 904 w 925"/>
                <a:gd name="T87" fmla="*/ 67 h 431"/>
                <a:gd name="T88" fmla="*/ 905 w 925"/>
                <a:gd name="T89" fmla="*/ 80 h 431"/>
                <a:gd name="T90" fmla="*/ 827 w 925"/>
                <a:gd name="T91" fmla="*/ 98 h 431"/>
                <a:gd name="T92" fmla="*/ 813 w 925"/>
                <a:gd name="T93" fmla="*/ 107 h 431"/>
                <a:gd name="T94" fmla="*/ 804 w 925"/>
                <a:gd name="T95" fmla="*/ 102 h 431"/>
                <a:gd name="T96" fmla="*/ 810 w 925"/>
                <a:gd name="T97" fmla="*/ 89 h 431"/>
                <a:gd name="T98" fmla="*/ 819 w 925"/>
                <a:gd name="T99" fmla="*/ 87 h 431"/>
                <a:gd name="T100" fmla="*/ 815 w 925"/>
                <a:gd name="T101" fmla="*/ 98 h 431"/>
                <a:gd name="T102" fmla="*/ 808 w 925"/>
                <a:gd name="T103" fmla="*/ 104 h 431"/>
                <a:gd name="T104" fmla="*/ 816 w 925"/>
                <a:gd name="T105" fmla="*/ 101 h 431"/>
                <a:gd name="T106" fmla="*/ 816 w 925"/>
                <a:gd name="T107" fmla="*/ 97 h 431"/>
                <a:gd name="T108" fmla="*/ 2 w 925"/>
                <a:gd name="T109" fmla="*/ 295 h 431"/>
                <a:gd name="T110" fmla="*/ 164 w 925"/>
                <a:gd name="T111" fmla="*/ 42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5" h="431">
                  <a:moveTo>
                    <a:pt x="904" y="85"/>
                  </a:moveTo>
                  <a:lnTo>
                    <a:pt x="905" y="85"/>
                  </a:lnTo>
                  <a:lnTo>
                    <a:pt x="907" y="84"/>
                  </a:lnTo>
                  <a:lnTo>
                    <a:pt x="910" y="82"/>
                  </a:lnTo>
                  <a:lnTo>
                    <a:pt x="913" y="80"/>
                  </a:lnTo>
                  <a:lnTo>
                    <a:pt x="913" y="83"/>
                  </a:lnTo>
                  <a:lnTo>
                    <a:pt x="912" y="85"/>
                  </a:lnTo>
                  <a:lnTo>
                    <a:pt x="914" y="89"/>
                  </a:lnTo>
                  <a:lnTo>
                    <a:pt x="916" y="87"/>
                  </a:lnTo>
                  <a:lnTo>
                    <a:pt x="918" y="87"/>
                  </a:lnTo>
                  <a:lnTo>
                    <a:pt x="921" y="85"/>
                  </a:lnTo>
                  <a:lnTo>
                    <a:pt x="922" y="83"/>
                  </a:lnTo>
                  <a:lnTo>
                    <a:pt x="922" y="80"/>
                  </a:lnTo>
                  <a:lnTo>
                    <a:pt x="923" y="77"/>
                  </a:lnTo>
                  <a:lnTo>
                    <a:pt x="923" y="77"/>
                  </a:lnTo>
                  <a:lnTo>
                    <a:pt x="924" y="75"/>
                  </a:lnTo>
                  <a:lnTo>
                    <a:pt x="925" y="72"/>
                  </a:lnTo>
                  <a:lnTo>
                    <a:pt x="923" y="69"/>
                  </a:lnTo>
                  <a:lnTo>
                    <a:pt x="922" y="72"/>
                  </a:lnTo>
                  <a:lnTo>
                    <a:pt x="918" y="74"/>
                  </a:lnTo>
                  <a:lnTo>
                    <a:pt x="916" y="73"/>
                  </a:lnTo>
                  <a:lnTo>
                    <a:pt x="917" y="71"/>
                  </a:lnTo>
                  <a:lnTo>
                    <a:pt x="918" y="67"/>
                  </a:lnTo>
                  <a:lnTo>
                    <a:pt x="921" y="65"/>
                  </a:lnTo>
                  <a:lnTo>
                    <a:pt x="921" y="63"/>
                  </a:lnTo>
                  <a:lnTo>
                    <a:pt x="918" y="64"/>
                  </a:lnTo>
                  <a:lnTo>
                    <a:pt x="916" y="65"/>
                  </a:lnTo>
                  <a:lnTo>
                    <a:pt x="914" y="68"/>
                  </a:lnTo>
                  <a:lnTo>
                    <a:pt x="914" y="71"/>
                  </a:lnTo>
                  <a:lnTo>
                    <a:pt x="910" y="73"/>
                  </a:lnTo>
                  <a:lnTo>
                    <a:pt x="910" y="73"/>
                  </a:lnTo>
                  <a:lnTo>
                    <a:pt x="908" y="71"/>
                  </a:lnTo>
                  <a:lnTo>
                    <a:pt x="907" y="67"/>
                  </a:lnTo>
                  <a:lnTo>
                    <a:pt x="909" y="67"/>
                  </a:lnTo>
                  <a:lnTo>
                    <a:pt x="910" y="65"/>
                  </a:lnTo>
                  <a:lnTo>
                    <a:pt x="908" y="65"/>
                  </a:lnTo>
                  <a:lnTo>
                    <a:pt x="910" y="64"/>
                  </a:lnTo>
                  <a:lnTo>
                    <a:pt x="909" y="61"/>
                  </a:lnTo>
                  <a:lnTo>
                    <a:pt x="912" y="61"/>
                  </a:lnTo>
                  <a:lnTo>
                    <a:pt x="915" y="59"/>
                  </a:lnTo>
                  <a:lnTo>
                    <a:pt x="917" y="58"/>
                  </a:lnTo>
                  <a:lnTo>
                    <a:pt x="920" y="56"/>
                  </a:lnTo>
                  <a:lnTo>
                    <a:pt x="918" y="54"/>
                  </a:lnTo>
                  <a:lnTo>
                    <a:pt x="916" y="56"/>
                  </a:lnTo>
                  <a:lnTo>
                    <a:pt x="914" y="55"/>
                  </a:lnTo>
                  <a:lnTo>
                    <a:pt x="913" y="57"/>
                  </a:lnTo>
                  <a:lnTo>
                    <a:pt x="909" y="56"/>
                  </a:lnTo>
                  <a:lnTo>
                    <a:pt x="907" y="57"/>
                  </a:lnTo>
                  <a:lnTo>
                    <a:pt x="905" y="59"/>
                  </a:lnTo>
                  <a:lnTo>
                    <a:pt x="905" y="58"/>
                  </a:lnTo>
                  <a:lnTo>
                    <a:pt x="907" y="57"/>
                  </a:lnTo>
                  <a:lnTo>
                    <a:pt x="909" y="55"/>
                  </a:lnTo>
                  <a:lnTo>
                    <a:pt x="907" y="55"/>
                  </a:lnTo>
                  <a:lnTo>
                    <a:pt x="909" y="52"/>
                  </a:lnTo>
                  <a:lnTo>
                    <a:pt x="907" y="54"/>
                  </a:lnTo>
                  <a:lnTo>
                    <a:pt x="907" y="54"/>
                  </a:lnTo>
                  <a:lnTo>
                    <a:pt x="907" y="50"/>
                  </a:lnTo>
                  <a:lnTo>
                    <a:pt x="905" y="50"/>
                  </a:lnTo>
                  <a:lnTo>
                    <a:pt x="907" y="50"/>
                  </a:lnTo>
                  <a:lnTo>
                    <a:pt x="909" y="47"/>
                  </a:lnTo>
                  <a:lnTo>
                    <a:pt x="912" y="46"/>
                  </a:lnTo>
                  <a:lnTo>
                    <a:pt x="914" y="43"/>
                  </a:lnTo>
                  <a:lnTo>
                    <a:pt x="912" y="41"/>
                  </a:lnTo>
                  <a:lnTo>
                    <a:pt x="909" y="40"/>
                  </a:lnTo>
                  <a:lnTo>
                    <a:pt x="906" y="40"/>
                  </a:lnTo>
                  <a:lnTo>
                    <a:pt x="904" y="41"/>
                  </a:lnTo>
                  <a:lnTo>
                    <a:pt x="901" y="40"/>
                  </a:lnTo>
                  <a:lnTo>
                    <a:pt x="899" y="42"/>
                  </a:lnTo>
                  <a:lnTo>
                    <a:pt x="899" y="40"/>
                  </a:lnTo>
                  <a:lnTo>
                    <a:pt x="900" y="38"/>
                  </a:lnTo>
                  <a:lnTo>
                    <a:pt x="897" y="40"/>
                  </a:lnTo>
                  <a:lnTo>
                    <a:pt x="895" y="40"/>
                  </a:lnTo>
                  <a:lnTo>
                    <a:pt x="892" y="43"/>
                  </a:lnTo>
                  <a:lnTo>
                    <a:pt x="891" y="42"/>
                  </a:lnTo>
                  <a:lnTo>
                    <a:pt x="890" y="46"/>
                  </a:lnTo>
                  <a:lnTo>
                    <a:pt x="888" y="47"/>
                  </a:lnTo>
                  <a:lnTo>
                    <a:pt x="888" y="44"/>
                  </a:lnTo>
                  <a:lnTo>
                    <a:pt x="889" y="41"/>
                  </a:lnTo>
                  <a:lnTo>
                    <a:pt x="889" y="39"/>
                  </a:lnTo>
                  <a:lnTo>
                    <a:pt x="888" y="41"/>
                  </a:lnTo>
                  <a:lnTo>
                    <a:pt x="888" y="39"/>
                  </a:lnTo>
                  <a:lnTo>
                    <a:pt x="884" y="41"/>
                  </a:lnTo>
                  <a:lnTo>
                    <a:pt x="886" y="39"/>
                  </a:lnTo>
                  <a:lnTo>
                    <a:pt x="882" y="39"/>
                  </a:lnTo>
                  <a:lnTo>
                    <a:pt x="880" y="39"/>
                  </a:lnTo>
                  <a:lnTo>
                    <a:pt x="878" y="40"/>
                  </a:lnTo>
                  <a:lnTo>
                    <a:pt x="880" y="38"/>
                  </a:lnTo>
                  <a:lnTo>
                    <a:pt x="881" y="35"/>
                  </a:lnTo>
                  <a:lnTo>
                    <a:pt x="879" y="35"/>
                  </a:lnTo>
                  <a:lnTo>
                    <a:pt x="881" y="33"/>
                  </a:lnTo>
                  <a:lnTo>
                    <a:pt x="883" y="32"/>
                  </a:lnTo>
                  <a:lnTo>
                    <a:pt x="886" y="30"/>
                  </a:lnTo>
                  <a:lnTo>
                    <a:pt x="886" y="30"/>
                  </a:lnTo>
                  <a:lnTo>
                    <a:pt x="883" y="30"/>
                  </a:lnTo>
                  <a:lnTo>
                    <a:pt x="881" y="30"/>
                  </a:lnTo>
                  <a:lnTo>
                    <a:pt x="878" y="30"/>
                  </a:lnTo>
                  <a:lnTo>
                    <a:pt x="876" y="27"/>
                  </a:lnTo>
                  <a:lnTo>
                    <a:pt x="874" y="30"/>
                  </a:lnTo>
                  <a:lnTo>
                    <a:pt x="874" y="30"/>
                  </a:lnTo>
                  <a:lnTo>
                    <a:pt x="871" y="32"/>
                  </a:lnTo>
                  <a:lnTo>
                    <a:pt x="869" y="35"/>
                  </a:lnTo>
                  <a:lnTo>
                    <a:pt x="867" y="38"/>
                  </a:lnTo>
                  <a:lnTo>
                    <a:pt x="869" y="35"/>
                  </a:lnTo>
                  <a:lnTo>
                    <a:pt x="869" y="32"/>
                  </a:lnTo>
                  <a:lnTo>
                    <a:pt x="869" y="30"/>
                  </a:lnTo>
                  <a:lnTo>
                    <a:pt x="870" y="27"/>
                  </a:lnTo>
                  <a:lnTo>
                    <a:pt x="872" y="25"/>
                  </a:lnTo>
                  <a:lnTo>
                    <a:pt x="872" y="23"/>
                  </a:lnTo>
                  <a:lnTo>
                    <a:pt x="875" y="21"/>
                  </a:lnTo>
                  <a:lnTo>
                    <a:pt x="876" y="18"/>
                  </a:lnTo>
                  <a:lnTo>
                    <a:pt x="879" y="15"/>
                  </a:lnTo>
                  <a:lnTo>
                    <a:pt x="881" y="13"/>
                  </a:lnTo>
                  <a:lnTo>
                    <a:pt x="882" y="10"/>
                  </a:lnTo>
                  <a:lnTo>
                    <a:pt x="881" y="7"/>
                  </a:lnTo>
                  <a:lnTo>
                    <a:pt x="879" y="7"/>
                  </a:lnTo>
                  <a:lnTo>
                    <a:pt x="878" y="5"/>
                  </a:lnTo>
                  <a:lnTo>
                    <a:pt x="881" y="6"/>
                  </a:lnTo>
                  <a:lnTo>
                    <a:pt x="883" y="6"/>
                  </a:lnTo>
                  <a:lnTo>
                    <a:pt x="887" y="4"/>
                  </a:lnTo>
                  <a:lnTo>
                    <a:pt x="887" y="1"/>
                  </a:lnTo>
                  <a:lnTo>
                    <a:pt x="883" y="3"/>
                  </a:lnTo>
                  <a:lnTo>
                    <a:pt x="881" y="0"/>
                  </a:lnTo>
                  <a:lnTo>
                    <a:pt x="878" y="1"/>
                  </a:lnTo>
                  <a:lnTo>
                    <a:pt x="875" y="3"/>
                  </a:lnTo>
                  <a:lnTo>
                    <a:pt x="873" y="4"/>
                  </a:lnTo>
                  <a:lnTo>
                    <a:pt x="870" y="5"/>
                  </a:lnTo>
                  <a:lnTo>
                    <a:pt x="869" y="8"/>
                  </a:lnTo>
                  <a:lnTo>
                    <a:pt x="866" y="10"/>
                  </a:lnTo>
                  <a:lnTo>
                    <a:pt x="865" y="14"/>
                  </a:lnTo>
                  <a:lnTo>
                    <a:pt x="863" y="16"/>
                  </a:lnTo>
                  <a:lnTo>
                    <a:pt x="861" y="18"/>
                  </a:lnTo>
                  <a:lnTo>
                    <a:pt x="858" y="22"/>
                  </a:lnTo>
                  <a:lnTo>
                    <a:pt x="857" y="24"/>
                  </a:lnTo>
                  <a:lnTo>
                    <a:pt x="856" y="27"/>
                  </a:lnTo>
                  <a:lnTo>
                    <a:pt x="855" y="30"/>
                  </a:lnTo>
                  <a:lnTo>
                    <a:pt x="855" y="31"/>
                  </a:lnTo>
                  <a:lnTo>
                    <a:pt x="853" y="33"/>
                  </a:lnTo>
                  <a:lnTo>
                    <a:pt x="853" y="37"/>
                  </a:lnTo>
                  <a:lnTo>
                    <a:pt x="855" y="39"/>
                  </a:lnTo>
                  <a:lnTo>
                    <a:pt x="852" y="38"/>
                  </a:lnTo>
                  <a:lnTo>
                    <a:pt x="849" y="40"/>
                  </a:lnTo>
                  <a:lnTo>
                    <a:pt x="848" y="42"/>
                  </a:lnTo>
                  <a:lnTo>
                    <a:pt x="850" y="44"/>
                  </a:lnTo>
                  <a:lnTo>
                    <a:pt x="853" y="44"/>
                  </a:lnTo>
                  <a:lnTo>
                    <a:pt x="850" y="47"/>
                  </a:lnTo>
                  <a:lnTo>
                    <a:pt x="853" y="48"/>
                  </a:lnTo>
                  <a:lnTo>
                    <a:pt x="850" y="48"/>
                  </a:lnTo>
                  <a:lnTo>
                    <a:pt x="848" y="46"/>
                  </a:lnTo>
                  <a:lnTo>
                    <a:pt x="845" y="47"/>
                  </a:lnTo>
                  <a:lnTo>
                    <a:pt x="844" y="49"/>
                  </a:lnTo>
                  <a:lnTo>
                    <a:pt x="842" y="52"/>
                  </a:lnTo>
                  <a:lnTo>
                    <a:pt x="841" y="55"/>
                  </a:lnTo>
                  <a:lnTo>
                    <a:pt x="839" y="55"/>
                  </a:lnTo>
                  <a:lnTo>
                    <a:pt x="839" y="52"/>
                  </a:lnTo>
                  <a:lnTo>
                    <a:pt x="837" y="54"/>
                  </a:lnTo>
                  <a:lnTo>
                    <a:pt x="835" y="57"/>
                  </a:lnTo>
                  <a:lnTo>
                    <a:pt x="837" y="56"/>
                  </a:lnTo>
                  <a:lnTo>
                    <a:pt x="840" y="56"/>
                  </a:lnTo>
                  <a:lnTo>
                    <a:pt x="842" y="56"/>
                  </a:lnTo>
                  <a:lnTo>
                    <a:pt x="842" y="56"/>
                  </a:lnTo>
                  <a:lnTo>
                    <a:pt x="846" y="56"/>
                  </a:lnTo>
                  <a:lnTo>
                    <a:pt x="846" y="57"/>
                  </a:lnTo>
                  <a:lnTo>
                    <a:pt x="844" y="58"/>
                  </a:lnTo>
                  <a:lnTo>
                    <a:pt x="840" y="60"/>
                  </a:lnTo>
                  <a:lnTo>
                    <a:pt x="838" y="63"/>
                  </a:lnTo>
                  <a:lnTo>
                    <a:pt x="835" y="65"/>
                  </a:lnTo>
                  <a:lnTo>
                    <a:pt x="832" y="67"/>
                  </a:lnTo>
                  <a:lnTo>
                    <a:pt x="833" y="69"/>
                  </a:lnTo>
                  <a:lnTo>
                    <a:pt x="835" y="73"/>
                  </a:lnTo>
                  <a:lnTo>
                    <a:pt x="837" y="73"/>
                  </a:lnTo>
                  <a:lnTo>
                    <a:pt x="840" y="72"/>
                  </a:lnTo>
                  <a:lnTo>
                    <a:pt x="842" y="72"/>
                  </a:lnTo>
                  <a:lnTo>
                    <a:pt x="846" y="72"/>
                  </a:lnTo>
                  <a:lnTo>
                    <a:pt x="847" y="71"/>
                  </a:lnTo>
                  <a:lnTo>
                    <a:pt x="849" y="71"/>
                  </a:lnTo>
                  <a:lnTo>
                    <a:pt x="853" y="71"/>
                  </a:lnTo>
                  <a:lnTo>
                    <a:pt x="855" y="71"/>
                  </a:lnTo>
                  <a:lnTo>
                    <a:pt x="858" y="72"/>
                  </a:lnTo>
                  <a:lnTo>
                    <a:pt x="861" y="72"/>
                  </a:lnTo>
                  <a:lnTo>
                    <a:pt x="862" y="72"/>
                  </a:lnTo>
                  <a:lnTo>
                    <a:pt x="864" y="73"/>
                  </a:lnTo>
                  <a:lnTo>
                    <a:pt x="867" y="73"/>
                  </a:lnTo>
                  <a:lnTo>
                    <a:pt x="870" y="73"/>
                  </a:lnTo>
                  <a:lnTo>
                    <a:pt x="870" y="72"/>
                  </a:lnTo>
                  <a:lnTo>
                    <a:pt x="873" y="72"/>
                  </a:lnTo>
                  <a:lnTo>
                    <a:pt x="875" y="72"/>
                  </a:lnTo>
                  <a:lnTo>
                    <a:pt x="878" y="68"/>
                  </a:lnTo>
                  <a:lnTo>
                    <a:pt x="880" y="69"/>
                  </a:lnTo>
                  <a:lnTo>
                    <a:pt x="882" y="66"/>
                  </a:lnTo>
                  <a:lnTo>
                    <a:pt x="881" y="69"/>
                  </a:lnTo>
                  <a:lnTo>
                    <a:pt x="881" y="72"/>
                  </a:lnTo>
                  <a:lnTo>
                    <a:pt x="879" y="74"/>
                  </a:lnTo>
                  <a:lnTo>
                    <a:pt x="882" y="74"/>
                  </a:lnTo>
                  <a:lnTo>
                    <a:pt x="884" y="75"/>
                  </a:lnTo>
                  <a:lnTo>
                    <a:pt x="887" y="74"/>
                  </a:lnTo>
                  <a:lnTo>
                    <a:pt x="888" y="71"/>
                  </a:lnTo>
                  <a:lnTo>
                    <a:pt x="891" y="72"/>
                  </a:lnTo>
                  <a:lnTo>
                    <a:pt x="893" y="69"/>
                  </a:lnTo>
                  <a:lnTo>
                    <a:pt x="892" y="72"/>
                  </a:lnTo>
                  <a:lnTo>
                    <a:pt x="896" y="72"/>
                  </a:lnTo>
                  <a:lnTo>
                    <a:pt x="892" y="74"/>
                  </a:lnTo>
                  <a:lnTo>
                    <a:pt x="890" y="75"/>
                  </a:lnTo>
                  <a:lnTo>
                    <a:pt x="889" y="77"/>
                  </a:lnTo>
                  <a:lnTo>
                    <a:pt x="886" y="80"/>
                  </a:lnTo>
                  <a:lnTo>
                    <a:pt x="883" y="81"/>
                  </a:lnTo>
                  <a:lnTo>
                    <a:pt x="881" y="81"/>
                  </a:lnTo>
                  <a:lnTo>
                    <a:pt x="879" y="84"/>
                  </a:lnTo>
                  <a:lnTo>
                    <a:pt x="882" y="84"/>
                  </a:lnTo>
                  <a:lnTo>
                    <a:pt x="884" y="84"/>
                  </a:lnTo>
                  <a:lnTo>
                    <a:pt x="888" y="84"/>
                  </a:lnTo>
                  <a:lnTo>
                    <a:pt x="889" y="84"/>
                  </a:lnTo>
                  <a:lnTo>
                    <a:pt x="891" y="81"/>
                  </a:lnTo>
                  <a:lnTo>
                    <a:pt x="892" y="78"/>
                  </a:lnTo>
                  <a:lnTo>
                    <a:pt x="895" y="76"/>
                  </a:lnTo>
                  <a:lnTo>
                    <a:pt x="898" y="75"/>
                  </a:lnTo>
                  <a:lnTo>
                    <a:pt x="900" y="73"/>
                  </a:lnTo>
                  <a:lnTo>
                    <a:pt x="899" y="75"/>
                  </a:lnTo>
                  <a:lnTo>
                    <a:pt x="900" y="73"/>
                  </a:lnTo>
                  <a:lnTo>
                    <a:pt x="903" y="71"/>
                  </a:lnTo>
                  <a:lnTo>
                    <a:pt x="904" y="67"/>
                  </a:lnTo>
                  <a:lnTo>
                    <a:pt x="907" y="69"/>
                  </a:lnTo>
                  <a:lnTo>
                    <a:pt x="908" y="72"/>
                  </a:lnTo>
                  <a:lnTo>
                    <a:pt x="907" y="75"/>
                  </a:lnTo>
                  <a:lnTo>
                    <a:pt x="906" y="77"/>
                  </a:lnTo>
                  <a:lnTo>
                    <a:pt x="905" y="80"/>
                  </a:lnTo>
                  <a:lnTo>
                    <a:pt x="904" y="83"/>
                  </a:lnTo>
                  <a:lnTo>
                    <a:pt x="904" y="85"/>
                  </a:lnTo>
                  <a:lnTo>
                    <a:pt x="904" y="85"/>
                  </a:lnTo>
                  <a:close/>
                  <a:moveTo>
                    <a:pt x="824" y="97"/>
                  </a:moveTo>
                  <a:lnTo>
                    <a:pt x="827" y="98"/>
                  </a:lnTo>
                  <a:lnTo>
                    <a:pt x="827" y="101"/>
                  </a:lnTo>
                  <a:lnTo>
                    <a:pt x="824" y="101"/>
                  </a:lnTo>
                  <a:lnTo>
                    <a:pt x="822" y="103"/>
                  </a:lnTo>
                  <a:lnTo>
                    <a:pt x="819" y="106"/>
                  </a:lnTo>
                  <a:lnTo>
                    <a:pt x="813" y="107"/>
                  </a:lnTo>
                  <a:lnTo>
                    <a:pt x="811" y="106"/>
                  </a:lnTo>
                  <a:lnTo>
                    <a:pt x="808" y="107"/>
                  </a:lnTo>
                  <a:lnTo>
                    <a:pt x="805" y="107"/>
                  </a:lnTo>
                  <a:lnTo>
                    <a:pt x="804" y="104"/>
                  </a:lnTo>
                  <a:lnTo>
                    <a:pt x="804" y="102"/>
                  </a:lnTo>
                  <a:lnTo>
                    <a:pt x="803" y="99"/>
                  </a:lnTo>
                  <a:lnTo>
                    <a:pt x="805" y="97"/>
                  </a:lnTo>
                  <a:lnTo>
                    <a:pt x="807" y="94"/>
                  </a:lnTo>
                  <a:lnTo>
                    <a:pt x="810" y="92"/>
                  </a:lnTo>
                  <a:lnTo>
                    <a:pt x="810" y="89"/>
                  </a:lnTo>
                  <a:lnTo>
                    <a:pt x="812" y="86"/>
                  </a:lnTo>
                  <a:lnTo>
                    <a:pt x="814" y="84"/>
                  </a:lnTo>
                  <a:lnTo>
                    <a:pt x="818" y="84"/>
                  </a:lnTo>
                  <a:lnTo>
                    <a:pt x="820" y="85"/>
                  </a:lnTo>
                  <a:lnTo>
                    <a:pt x="819" y="87"/>
                  </a:lnTo>
                  <a:lnTo>
                    <a:pt x="819" y="91"/>
                  </a:lnTo>
                  <a:lnTo>
                    <a:pt x="818" y="93"/>
                  </a:lnTo>
                  <a:lnTo>
                    <a:pt x="815" y="97"/>
                  </a:lnTo>
                  <a:lnTo>
                    <a:pt x="819" y="94"/>
                  </a:lnTo>
                  <a:lnTo>
                    <a:pt x="815" y="98"/>
                  </a:lnTo>
                  <a:lnTo>
                    <a:pt x="813" y="99"/>
                  </a:lnTo>
                  <a:lnTo>
                    <a:pt x="811" y="101"/>
                  </a:lnTo>
                  <a:lnTo>
                    <a:pt x="813" y="101"/>
                  </a:lnTo>
                  <a:lnTo>
                    <a:pt x="811" y="102"/>
                  </a:lnTo>
                  <a:lnTo>
                    <a:pt x="808" y="104"/>
                  </a:lnTo>
                  <a:lnTo>
                    <a:pt x="811" y="103"/>
                  </a:lnTo>
                  <a:lnTo>
                    <a:pt x="814" y="104"/>
                  </a:lnTo>
                  <a:lnTo>
                    <a:pt x="816" y="101"/>
                  </a:lnTo>
                  <a:lnTo>
                    <a:pt x="819" y="100"/>
                  </a:lnTo>
                  <a:lnTo>
                    <a:pt x="816" y="101"/>
                  </a:lnTo>
                  <a:lnTo>
                    <a:pt x="813" y="101"/>
                  </a:lnTo>
                  <a:lnTo>
                    <a:pt x="813" y="100"/>
                  </a:lnTo>
                  <a:lnTo>
                    <a:pt x="816" y="99"/>
                  </a:lnTo>
                  <a:lnTo>
                    <a:pt x="819" y="95"/>
                  </a:lnTo>
                  <a:lnTo>
                    <a:pt x="816" y="97"/>
                  </a:lnTo>
                  <a:lnTo>
                    <a:pt x="819" y="94"/>
                  </a:lnTo>
                  <a:lnTo>
                    <a:pt x="821" y="97"/>
                  </a:lnTo>
                  <a:lnTo>
                    <a:pt x="824" y="97"/>
                  </a:lnTo>
                  <a:lnTo>
                    <a:pt x="824" y="97"/>
                  </a:lnTo>
                  <a:close/>
                  <a:moveTo>
                    <a:pt x="2" y="295"/>
                  </a:moveTo>
                  <a:lnTo>
                    <a:pt x="2" y="294"/>
                  </a:lnTo>
                  <a:lnTo>
                    <a:pt x="0" y="294"/>
                  </a:lnTo>
                  <a:lnTo>
                    <a:pt x="2" y="295"/>
                  </a:lnTo>
                  <a:lnTo>
                    <a:pt x="2" y="295"/>
                  </a:lnTo>
                  <a:close/>
                  <a:moveTo>
                    <a:pt x="164" y="428"/>
                  </a:moveTo>
                  <a:lnTo>
                    <a:pt x="165" y="431"/>
                  </a:lnTo>
                  <a:lnTo>
                    <a:pt x="164" y="428"/>
                  </a:lnTo>
                  <a:lnTo>
                    <a:pt x="164" y="428"/>
                  </a:lnTo>
                  <a:lnTo>
                    <a:pt x="164"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29" name="Freeform 229">
              <a:extLst>
                <a:ext uri="{FF2B5EF4-FFF2-40B4-BE49-F238E27FC236}">
                  <a16:creationId xmlns:a16="http://schemas.microsoft.com/office/drawing/2014/main" id="{E17E108B-D652-4A2B-B9F3-6B07301B0D88}"/>
                </a:ext>
              </a:extLst>
            </p:cNvPr>
            <p:cNvSpPr>
              <a:spLocks noEditPoints="1"/>
            </p:cNvSpPr>
            <p:nvPr/>
          </p:nvSpPr>
          <p:spPr bwMode="auto">
            <a:xfrm>
              <a:off x="3059113" y="3241675"/>
              <a:ext cx="898525" cy="166688"/>
            </a:xfrm>
            <a:custGeom>
              <a:avLst/>
              <a:gdLst>
                <a:gd name="T0" fmla="*/ 44 w 566"/>
                <a:gd name="T1" fmla="*/ 17 h 105"/>
                <a:gd name="T2" fmla="*/ 47 w 566"/>
                <a:gd name="T3" fmla="*/ 23 h 105"/>
                <a:gd name="T4" fmla="*/ 53 w 566"/>
                <a:gd name="T5" fmla="*/ 27 h 105"/>
                <a:gd name="T6" fmla="*/ 57 w 566"/>
                <a:gd name="T7" fmla="*/ 29 h 105"/>
                <a:gd name="T8" fmla="*/ 62 w 566"/>
                <a:gd name="T9" fmla="*/ 34 h 105"/>
                <a:gd name="T10" fmla="*/ 65 w 566"/>
                <a:gd name="T11" fmla="*/ 38 h 105"/>
                <a:gd name="T12" fmla="*/ 68 w 566"/>
                <a:gd name="T13" fmla="*/ 44 h 105"/>
                <a:gd name="T14" fmla="*/ 63 w 566"/>
                <a:gd name="T15" fmla="*/ 44 h 105"/>
                <a:gd name="T16" fmla="*/ 57 w 566"/>
                <a:gd name="T17" fmla="*/ 43 h 105"/>
                <a:gd name="T18" fmla="*/ 52 w 566"/>
                <a:gd name="T19" fmla="*/ 41 h 105"/>
                <a:gd name="T20" fmla="*/ 46 w 566"/>
                <a:gd name="T21" fmla="*/ 38 h 105"/>
                <a:gd name="T22" fmla="*/ 46 w 566"/>
                <a:gd name="T23" fmla="*/ 34 h 105"/>
                <a:gd name="T24" fmla="*/ 46 w 566"/>
                <a:gd name="T25" fmla="*/ 34 h 105"/>
                <a:gd name="T26" fmla="*/ 40 w 566"/>
                <a:gd name="T27" fmla="*/ 35 h 105"/>
                <a:gd name="T28" fmla="*/ 35 w 566"/>
                <a:gd name="T29" fmla="*/ 33 h 105"/>
                <a:gd name="T30" fmla="*/ 35 w 566"/>
                <a:gd name="T31" fmla="*/ 27 h 105"/>
                <a:gd name="T32" fmla="*/ 30 w 566"/>
                <a:gd name="T33" fmla="*/ 26 h 105"/>
                <a:gd name="T34" fmla="*/ 25 w 566"/>
                <a:gd name="T35" fmla="*/ 25 h 105"/>
                <a:gd name="T36" fmla="*/ 28 w 566"/>
                <a:gd name="T37" fmla="*/ 21 h 105"/>
                <a:gd name="T38" fmla="*/ 29 w 566"/>
                <a:gd name="T39" fmla="*/ 21 h 105"/>
                <a:gd name="T40" fmla="*/ 23 w 566"/>
                <a:gd name="T41" fmla="*/ 20 h 105"/>
                <a:gd name="T42" fmla="*/ 19 w 566"/>
                <a:gd name="T43" fmla="*/ 18 h 105"/>
                <a:gd name="T44" fmla="*/ 13 w 566"/>
                <a:gd name="T45" fmla="*/ 15 h 105"/>
                <a:gd name="T46" fmla="*/ 10 w 566"/>
                <a:gd name="T47" fmla="*/ 13 h 105"/>
                <a:gd name="T48" fmla="*/ 9 w 566"/>
                <a:gd name="T49" fmla="*/ 11 h 105"/>
                <a:gd name="T50" fmla="*/ 6 w 566"/>
                <a:gd name="T51" fmla="*/ 7 h 105"/>
                <a:gd name="T52" fmla="*/ 12 w 566"/>
                <a:gd name="T53" fmla="*/ 9 h 105"/>
                <a:gd name="T54" fmla="*/ 8 w 566"/>
                <a:gd name="T55" fmla="*/ 4 h 105"/>
                <a:gd name="T56" fmla="*/ 3 w 566"/>
                <a:gd name="T57" fmla="*/ 7 h 105"/>
                <a:gd name="T58" fmla="*/ 0 w 566"/>
                <a:gd name="T59" fmla="*/ 1 h 105"/>
                <a:gd name="T60" fmla="*/ 5 w 566"/>
                <a:gd name="T61" fmla="*/ 0 h 105"/>
                <a:gd name="T62" fmla="*/ 11 w 566"/>
                <a:gd name="T63" fmla="*/ 1 h 105"/>
                <a:gd name="T64" fmla="*/ 15 w 566"/>
                <a:gd name="T65" fmla="*/ 4 h 105"/>
                <a:gd name="T66" fmla="*/ 21 w 566"/>
                <a:gd name="T67" fmla="*/ 6 h 105"/>
                <a:gd name="T68" fmla="*/ 27 w 566"/>
                <a:gd name="T69" fmla="*/ 7 h 105"/>
                <a:gd name="T70" fmla="*/ 32 w 566"/>
                <a:gd name="T71" fmla="*/ 9 h 105"/>
                <a:gd name="T72" fmla="*/ 36 w 566"/>
                <a:gd name="T73" fmla="*/ 9 h 105"/>
                <a:gd name="T74" fmla="*/ 40 w 566"/>
                <a:gd name="T75" fmla="*/ 12 h 105"/>
                <a:gd name="T76" fmla="*/ 43 w 566"/>
                <a:gd name="T77" fmla="*/ 16 h 105"/>
                <a:gd name="T78" fmla="*/ 561 w 566"/>
                <a:gd name="T79" fmla="*/ 103 h 105"/>
                <a:gd name="T80" fmla="*/ 564 w 566"/>
                <a:gd name="T81" fmla="*/ 103 h 105"/>
                <a:gd name="T82" fmla="*/ 566 w 566"/>
                <a:gd name="T83" fmla="*/ 97 h 105"/>
                <a:gd name="T84" fmla="*/ 561 w 566"/>
                <a:gd name="T8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6" h="105">
                  <a:moveTo>
                    <a:pt x="43" y="16"/>
                  </a:moveTo>
                  <a:lnTo>
                    <a:pt x="44" y="17"/>
                  </a:lnTo>
                  <a:lnTo>
                    <a:pt x="46" y="19"/>
                  </a:lnTo>
                  <a:lnTo>
                    <a:pt x="47" y="23"/>
                  </a:lnTo>
                  <a:lnTo>
                    <a:pt x="49" y="25"/>
                  </a:lnTo>
                  <a:lnTo>
                    <a:pt x="53" y="27"/>
                  </a:lnTo>
                  <a:lnTo>
                    <a:pt x="55" y="27"/>
                  </a:lnTo>
                  <a:lnTo>
                    <a:pt x="57" y="29"/>
                  </a:lnTo>
                  <a:lnTo>
                    <a:pt x="61" y="30"/>
                  </a:lnTo>
                  <a:lnTo>
                    <a:pt x="62" y="34"/>
                  </a:lnTo>
                  <a:lnTo>
                    <a:pt x="64" y="36"/>
                  </a:lnTo>
                  <a:lnTo>
                    <a:pt x="65" y="38"/>
                  </a:lnTo>
                  <a:lnTo>
                    <a:pt x="69" y="41"/>
                  </a:lnTo>
                  <a:lnTo>
                    <a:pt x="68" y="44"/>
                  </a:lnTo>
                  <a:lnTo>
                    <a:pt x="65" y="45"/>
                  </a:lnTo>
                  <a:lnTo>
                    <a:pt x="63" y="44"/>
                  </a:lnTo>
                  <a:lnTo>
                    <a:pt x="60" y="44"/>
                  </a:lnTo>
                  <a:lnTo>
                    <a:pt x="57" y="43"/>
                  </a:lnTo>
                  <a:lnTo>
                    <a:pt x="54" y="42"/>
                  </a:lnTo>
                  <a:lnTo>
                    <a:pt x="52" y="41"/>
                  </a:lnTo>
                  <a:lnTo>
                    <a:pt x="49" y="41"/>
                  </a:lnTo>
                  <a:lnTo>
                    <a:pt x="46" y="38"/>
                  </a:lnTo>
                  <a:lnTo>
                    <a:pt x="44" y="36"/>
                  </a:lnTo>
                  <a:lnTo>
                    <a:pt x="46" y="34"/>
                  </a:lnTo>
                  <a:lnTo>
                    <a:pt x="48" y="32"/>
                  </a:lnTo>
                  <a:lnTo>
                    <a:pt x="46" y="34"/>
                  </a:lnTo>
                  <a:lnTo>
                    <a:pt x="43" y="34"/>
                  </a:lnTo>
                  <a:lnTo>
                    <a:pt x="40" y="35"/>
                  </a:lnTo>
                  <a:lnTo>
                    <a:pt x="37" y="34"/>
                  </a:lnTo>
                  <a:lnTo>
                    <a:pt x="35" y="33"/>
                  </a:lnTo>
                  <a:lnTo>
                    <a:pt x="36" y="29"/>
                  </a:lnTo>
                  <a:lnTo>
                    <a:pt x="35" y="27"/>
                  </a:lnTo>
                  <a:lnTo>
                    <a:pt x="32" y="27"/>
                  </a:lnTo>
                  <a:lnTo>
                    <a:pt x="30" y="26"/>
                  </a:lnTo>
                  <a:lnTo>
                    <a:pt x="27" y="26"/>
                  </a:lnTo>
                  <a:lnTo>
                    <a:pt x="25" y="25"/>
                  </a:lnTo>
                  <a:lnTo>
                    <a:pt x="26" y="23"/>
                  </a:lnTo>
                  <a:lnTo>
                    <a:pt x="28" y="21"/>
                  </a:lnTo>
                  <a:lnTo>
                    <a:pt x="30" y="21"/>
                  </a:lnTo>
                  <a:lnTo>
                    <a:pt x="29" y="21"/>
                  </a:lnTo>
                  <a:lnTo>
                    <a:pt x="27" y="19"/>
                  </a:lnTo>
                  <a:lnTo>
                    <a:pt x="23" y="20"/>
                  </a:lnTo>
                  <a:lnTo>
                    <a:pt x="21" y="17"/>
                  </a:lnTo>
                  <a:lnTo>
                    <a:pt x="19" y="18"/>
                  </a:lnTo>
                  <a:lnTo>
                    <a:pt x="15" y="16"/>
                  </a:lnTo>
                  <a:lnTo>
                    <a:pt x="13" y="15"/>
                  </a:lnTo>
                  <a:lnTo>
                    <a:pt x="12" y="12"/>
                  </a:lnTo>
                  <a:lnTo>
                    <a:pt x="10" y="13"/>
                  </a:lnTo>
                  <a:lnTo>
                    <a:pt x="8" y="13"/>
                  </a:lnTo>
                  <a:lnTo>
                    <a:pt x="9" y="11"/>
                  </a:lnTo>
                  <a:lnTo>
                    <a:pt x="5" y="10"/>
                  </a:lnTo>
                  <a:lnTo>
                    <a:pt x="6" y="7"/>
                  </a:lnTo>
                  <a:lnTo>
                    <a:pt x="10" y="7"/>
                  </a:lnTo>
                  <a:lnTo>
                    <a:pt x="12" y="9"/>
                  </a:lnTo>
                  <a:lnTo>
                    <a:pt x="11" y="7"/>
                  </a:lnTo>
                  <a:lnTo>
                    <a:pt x="8" y="4"/>
                  </a:lnTo>
                  <a:lnTo>
                    <a:pt x="5" y="7"/>
                  </a:lnTo>
                  <a:lnTo>
                    <a:pt x="3" y="7"/>
                  </a:lnTo>
                  <a:lnTo>
                    <a:pt x="1" y="4"/>
                  </a:lnTo>
                  <a:lnTo>
                    <a:pt x="0" y="1"/>
                  </a:lnTo>
                  <a:lnTo>
                    <a:pt x="3" y="0"/>
                  </a:lnTo>
                  <a:lnTo>
                    <a:pt x="5" y="0"/>
                  </a:lnTo>
                  <a:lnTo>
                    <a:pt x="8" y="0"/>
                  </a:lnTo>
                  <a:lnTo>
                    <a:pt x="11" y="1"/>
                  </a:lnTo>
                  <a:lnTo>
                    <a:pt x="13" y="3"/>
                  </a:lnTo>
                  <a:lnTo>
                    <a:pt x="15" y="4"/>
                  </a:lnTo>
                  <a:lnTo>
                    <a:pt x="19" y="6"/>
                  </a:lnTo>
                  <a:lnTo>
                    <a:pt x="21" y="6"/>
                  </a:lnTo>
                  <a:lnTo>
                    <a:pt x="25" y="7"/>
                  </a:lnTo>
                  <a:lnTo>
                    <a:pt x="27" y="7"/>
                  </a:lnTo>
                  <a:lnTo>
                    <a:pt x="29" y="8"/>
                  </a:lnTo>
                  <a:lnTo>
                    <a:pt x="32" y="9"/>
                  </a:lnTo>
                  <a:lnTo>
                    <a:pt x="34" y="9"/>
                  </a:lnTo>
                  <a:lnTo>
                    <a:pt x="36" y="9"/>
                  </a:lnTo>
                  <a:lnTo>
                    <a:pt x="38" y="9"/>
                  </a:lnTo>
                  <a:lnTo>
                    <a:pt x="40" y="12"/>
                  </a:lnTo>
                  <a:lnTo>
                    <a:pt x="43" y="15"/>
                  </a:lnTo>
                  <a:lnTo>
                    <a:pt x="43" y="16"/>
                  </a:lnTo>
                  <a:lnTo>
                    <a:pt x="43" y="16"/>
                  </a:lnTo>
                  <a:close/>
                  <a:moveTo>
                    <a:pt x="561" y="103"/>
                  </a:moveTo>
                  <a:lnTo>
                    <a:pt x="563" y="105"/>
                  </a:lnTo>
                  <a:lnTo>
                    <a:pt x="564" y="103"/>
                  </a:lnTo>
                  <a:lnTo>
                    <a:pt x="565" y="101"/>
                  </a:lnTo>
                  <a:lnTo>
                    <a:pt x="566" y="97"/>
                  </a:lnTo>
                  <a:lnTo>
                    <a:pt x="563" y="100"/>
                  </a:lnTo>
                  <a:lnTo>
                    <a:pt x="561" y="103"/>
                  </a:lnTo>
                  <a:lnTo>
                    <a:pt x="56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0" name="Freeform 230">
              <a:extLst>
                <a:ext uri="{FF2B5EF4-FFF2-40B4-BE49-F238E27FC236}">
                  <a16:creationId xmlns:a16="http://schemas.microsoft.com/office/drawing/2014/main" id="{A89A2919-E1E5-4704-AE2C-123DDD17D60A}"/>
                </a:ext>
              </a:extLst>
            </p:cNvPr>
            <p:cNvSpPr>
              <a:spLocks/>
            </p:cNvSpPr>
            <p:nvPr/>
          </p:nvSpPr>
          <p:spPr bwMode="auto">
            <a:xfrm>
              <a:off x="5316538" y="2740025"/>
              <a:ext cx="239712" cy="109538"/>
            </a:xfrm>
            <a:custGeom>
              <a:avLst/>
              <a:gdLst>
                <a:gd name="T0" fmla="*/ 142 w 151"/>
                <a:gd name="T1" fmla="*/ 41 h 69"/>
                <a:gd name="T2" fmla="*/ 144 w 151"/>
                <a:gd name="T3" fmla="*/ 34 h 69"/>
                <a:gd name="T4" fmla="*/ 151 w 151"/>
                <a:gd name="T5" fmla="*/ 31 h 69"/>
                <a:gd name="T6" fmla="*/ 148 w 151"/>
                <a:gd name="T7" fmla="*/ 29 h 69"/>
                <a:gd name="T8" fmla="*/ 149 w 151"/>
                <a:gd name="T9" fmla="*/ 23 h 69"/>
                <a:gd name="T10" fmla="*/ 136 w 151"/>
                <a:gd name="T11" fmla="*/ 24 h 69"/>
                <a:gd name="T12" fmla="*/ 133 w 151"/>
                <a:gd name="T13" fmla="*/ 16 h 69"/>
                <a:gd name="T14" fmla="*/ 131 w 151"/>
                <a:gd name="T15" fmla="*/ 8 h 69"/>
                <a:gd name="T16" fmla="*/ 126 w 151"/>
                <a:gd name="T17" fmla="*/ 6 h 69"/>
                <a:gd name="T18" fmla="*/ 117 w 151"/>
                <a:gd name="T19" fmla="*/ 0 h 69"/>
                <a:gd name="T20" fmla="*/ 110 w 151"/>
                <a:gd name="T21" fmla="*/ 6 h 69"/>
                <a:gd name="T22" fmla="*/ 102 w 151"/>
                <a:gd name="T23" fmla="*/ 7 h 69"/>
                <a:gd name="T24" fmla="*/ 91 w 151"/>
                <a:gd name="T25" fmla="*/ 9 h 69"/>
                <a:gd name="T26" fmla="*/ 88 w 151"/>
                <a:gd name="T27" fmla="*/ 14 h 69"/>
                <a:gd name="T28" fmla="*/ 84 w 151"/>
                <a:gd name="T29" fmla="*/ 14 h 69"/>
                <a:gd name="T30" fmla="*/ 74 w 151"/>
                <a:gd name="T31" fmla="*/ 10 h 69"/>
                <a:gd name="T32" fmla="*/ 69 w 151"/>
                <a:gd name="T33" fmla="*/ 18 h 69"/>
                <a:gd name="T34" fmla="*/ 60 w 151"/>
                <a:gd name="T35" fmla="*/ 9 h 69"/>
                <a:gd name="T36" fmla="*/ 58 w 151"/>
                <a:gd name="T37" fmla="*/ 19 h 69"/>
                <a:gd name="T38" fmla="*/ 54 w 151"/>
                <a:gd name="T39" fmla="*/ 21 h 69"/>
                <a:gd name="T40" fmla="*/ 47 w 151"/>
                <a:gd name="T41" fmla="*/ 31 h 69"/>
                <a:gd name="T42" fmla="*/ 39 w 151"/>
                <a:gd name="T43" fmla="*/ 20 h 69"/>
                <a:gd name="T44" fmla="*/ 43 w 151"/>
                <a:gd name="T45" fmla="*/ 12 h 69"/>
                <a:gd name="T46" fmla="*/ 38 w 151"/>
                <a:gd name="T47" fmla="*/ 8 h 69"/>
                <a:gd name="T48" fmla="*/ 27 w 151"/>
                <a:gd name="T49" fmla="*/ 1 h 69"/>
                <a:gd name="T50" fmla="*/ 23 w 151"/>
                <a:gd name="T51" fmla="*/ 3 h 69"/>
                <a:gd name="T52" fmla="*/ 25 w 151"/>
                <a:gd name="T53" fmla="*/ 9 h 69"/>
                <a:gd name="T54" fmla="*/ 26 w 151"/>
                <a:gd name="T55" fmla="*/ 12 h 69"/>
                <a:gd name="T56" fmla="*/ 13 w 151"/>
                <a:gd name="T57" fmla="*/ 8 h 69"/>
                <a:gd name="T58" fmla="*/ 13 w 151"/>
                <a:gd name="T59" fmla="*/ 11 h 69"/>
                <a:gd name="T60" fmla="*/ 14 w 151"/>
                <a:gd name="T61" fmla="*/ 15 h 69"/>
                <a:gd name="T62" fmla="*/ 16 w 151"/>
                <a:gd name="T63" fmla="*/ 18 h 69"/>
                <a:gd name="T64" fmla="*/ 10 w 151"/>
                <a:gd name="T65" fmla="*/ 18 h 69"/>
                <a:gd name="T66" fmla="*/ 5 w 151"/>
                <a:gd name="T67" fmla="*/ 20 h 69"/>
                <a:gd name="T68" fmla="*/ 8 w 151"/>
                <a:gd name="T69" fmla="*/ 25 h 69"/>
                <a:gd name="T70" fmla="*/ 22 w 151"/>
                <a:gd name="T71" fmla="*/ 21 h 69"/>
                <a:gd name="T72" fmla="*/ 30 w 151"/>
                <a:gd name="T73" fmla="*/ 23 h 69"/>
                <a:gd name="T74" fmla="*/ 39 w 151"/>
                <a:gd name="T75" fmla="*/ 25 h 69"/>
                <a:gd name="T76" fmla="*/ 30 w 151"/>
                <a:gd name="T77" fmla="*/ 31 h 69"/>
                <a:gd name="T78" fmla="*/ 34 w 151"/>
                <a:gd name="T79" fmla="*/ 33 h 69"/>
                <a:gd name="T80" fmla="*/ 21 w 151"/>
                <a:gd name="T81" fmla="*/ 34 h 69"/>
                <a:gd name="T82" fmla="*/ 7 w 151"/>
                <a:gd name="T83" fmla="*/ 38 h 69"/>
                <a:gd name="T84" fmla="*/ 21 w 151"/>
                <a:gd name="T85" fmla="*/ 38 h 69"/>
                <a:gd name="T86" fmla="*/ 32 w 151"/>
                <a:gd name="T87" fmla="*/ 41 h 69"/>
                <a:gd name="T88" fmla="*/ 35 w 151"/>
                <a:gd name="T89" fmla="*/ 44 h 69"/>
                <a:gd name="T90" fmla="*/ 40 w 151"/>
                <a:gd name="T91" fmla="*/ 43 h 69"/>
                <a:gd name="T92" fmla="*/ 35 w 151"/>
                <a:gd name="T93" fmla="*/ 50 h 69"/>
                <a:gd name="T94" fmla="*/ 40 w 151"/>
                <a:gd name="T95" fmla="*/ 48 h 69"/>
                <a:gd name="T96" fmla="*/ 35 w 151"/>
                <a:gd name="T97" fmla="*/ 54 h 69"/>
                <a:gd name="T98" fmla="*/ 24 w 151"/>
                <a:gd name="T99" fmla="*/ 59 h 69"/>
                <a:gd name="T100" fmla="*/ 38 w 151"/>
                <a:gd name="T101" fmla="*/ 59 h 69"/>
                <a:gd name="T102" fmla="*/ 47 w 151"/>
                <a:gd name="T103" fmla="*/ 59 h 69"/>
                <a:gd name="T104" fmla="*/ 56 w 151"/>
                <a:gd name="T105" fmla="*/ 60 h 69"/>
                <a:gd name="T106" fmla="*/ 61 w 151"/>
                <a:gd name="T107" fmla="*/ 66 h 69"/>
                <a:gd name="T108" fmla="*/ 72 w 151"/>
                <a:gd name="T109" fmla="*/ 68 h 69"/>
                <a:gd name="T110" fmla="*/ 85 w 151"/>
                <a:gd name="T111" fmla="*/ 67 h 69"/>
                <a:gd name="T112" fmla="*/ 91 w 151"/>
                <a:gd name="T113" fmla="*/ 62 h 69"/>
                <a:gd name="T114" fmla="*/ 103 w 151"/>
                <a:gd name="T115" fmla="*/ 61 h 69"/>
                <a:gd name="T116" fmla="*/ 112 w 151"/>
                <a:gd name="T117" fmla="*/ 57 h 69"/>
                <a:gd name="T118" fmla="*/ 123 w 151"/>
                <a:gd name="T119" fmla="*/ 51 h 69"/>
                <a:gd name="T120" fmla="*/ 132 w 151"/>
                <a:gd name="T121"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 h="69">
                  <a:moveTo>
                    <a:pt x="137" y="46"/>
                  </a:moveTo>
                  <a:lnTo>
                    <a:pt x="137" y="46"/>
                  </a:lnTo>
                  <a:lnTo>
                    <a:pt x="136" y="43"/>
                  </a:lnTo>
                  <a:lnTo>
                    <a:pt x="140" y="41"/>
                  </a:lnTo>
                  <a:lnTo>
                    <a:pt x="142" y="41"/>
                  </a:lnTo>
                  <a:lnTo>
                    <a:pt x="145" y="38"/>
                  </a:lnTo>
                  <a:lnTo>
                    <a:pt x="146" y="38"/>
                  </a:lnTo>
                  <a:lnTo>
                    <a:pt x="144" y="36"/>
                  </a:lnTo>
                  <a:lnTo>
                    <a:pt x="148" y="35"/>
                  </a:lnTo>
                  <a:lnTo>
                    <a:pt x="144" y="34"/>
                  </a:lnTo>
                  <a:lnTo>
                    <a:pt x="142" y="34"/>
                  </a:lnTo>
                  <a:lnTo>
                    <a:pt x="145" y="33"/>
                  </a:lnTo>
                  <a:lnTo>
                    <a:pt x="148" y="34"/>
                  </a:lnTo>
                  <a:lnTo>
                    <a:pt x="150" y="33"/>
                  </a:lnTo>
                  <a:lnTo>
                    <a:pt x="151" y="31"/>
                  </a:lnTo>
                  <a:lnTo>
                    <a:pt x="148" y="29"/>
                  </a:lnTo>
                  <a:lnTo>
                    <a:pt x="145" y="29"/>
                  </a:lnTo>
                  <a:lnTo>
                    <a:pt x="144" y="31"/>
                  </a:lnTo>
                  <a:lnTo>
                    <a:pt x="144" y="29"/>
                  </a:lnTo>
                  <a:lnTo>
                    <a:pt x="148" y="29"/>
                  </a:lnTo>
                  <a:lnTo>
                    <a:pt x="150" y="28"/>
                  </a:lnTo>
                  <a:lnTo>
                    <a:pt x="149" y="27"/>
                  </a:lnTo>
                  <a:lnTo>
                    <a:pt x="145" y="27"/>
                  </a:lnTo>
                  <a:lnTo>
                    <a:pt x="149" y="26"/>
                  </a:lnTo>
                  <a:lnTo>
                    <a:pt x="149" y="23"/>
                  </a:lnTo>
                  <a:lnTo>
                    <a:pt x="146" y="23"/>
                  </a:lnTo>
                  <a:lnTo>
                    <a:pt x="144" y="20"/>
                  </a:lnTo>
                  <a:lnTo>
                    <a:pt x="141" y="20"/>
                  </a:lnTo>
                  <a:lnTo>
                    <a:pt x="138" y="20"/>
                  </a:lnTo>
                  <a:lnTo>
                    <a:pt x="136" y="24"/>
                  </a:lnTo>
                  <a:lnTo>
                    <a:pt x="138" y="20"/>
                  </a:lnTo>
                  <a:lnTo>
                    <a:pt x="140" y="19"/>
                  </a:lnTo>
                  <a:lnTo>
                    <a:pt x="137" y="17"/>
                  </a:lnTo>
                  <a:lnTo>
                    <a:pt x="133" y="18"/>
                  </a:lnTo>
                  <a:lnTo>
                    <a:pt x="133" y="16"/>
                  </a:lnTo>
                  <a:lnTo>
                    <a:pt x="135" y="14"/>
                  </a:lnTo>
                  <a:lnTo>
                    <a:pt x="133" y="10"/>
                  </a:lnTo>
                  <a:lnTo>
                    <a:pt x="131" y="11"/>
                  </a:lnTo>
                  <a:lnTo>
                    <a:pt x="131" y="8"/>
                  </a:lnTo>
                  <a:lnTo>
                    <a:pt x="131" y="8"/>
                  </a:lnTo>
                  <a:lnTo>
                    <a:pt x="131" y="6"/>
                  </a:lnTo>
                  <a:lnTo>
                    <a:pt x="134" y="3"/>
                  </a:lnTo>
                  <a:lnTo>
                    <a:pt x="131" y="3"/>
                  </a:lnTo>
                  <a:lnTo>
                    <a:pt x="128" y="6"/>
                  </a:lnTo>
                  <a:lnTo>
                    <a:pt x="126" y="6"/>
                  </a:lnTo>
                  <a:lnTo>
                    <a:pt x="125" y="9"/>
                  </a:lnTo>
                  <a:lnTo>
                    <a:pt x="123" y="7"/>
                  </a:lnTo>
                  <a:lnTo>
                    <a:pt x="119" y="6"/>
                  </a:lnTo>
                  <a:lnTo>
                    <a:pt x="119" y="2"/>
                  </a:lnTo>
                  <a:lnTo>
                    <a:pt x="117" y="0"/>
                  </a:lnTo>
                  <a:lnTo>
                    <a:pt x="114" y="0"/>
                  </a:lnTo>
                  <a:lnTo>
                    <a:pt x="111" y="0"/>
                  </a:lnTo>
                  <a:lnTo>
                    <a:pt x="109" y="1"/>
                  </a:lnTo>
                  <a:lnTo>
                    <a:pt x="109" y="3"/>
                  </a:lnTo>
                  <a:lnTo>
                    <a:pt x="110" y="6"/>
                  </a:lnTo>
                  <a:lnTo>
                    <a:pt x="110" y="7"/>
                  </a:lnTo>
                  <a:lnTo>
                    <a:pt x="109" y="10"/>
                  </a:lnTo>
                  <a:lnTo>
                    <a:pt x="106" y="9"/>
                  </a:lnTo>
                  <a:lnTo>
                    <a:pt x="103" y="7"/>
                  </a:lnTo>
                  <a:lnTo>
                    <a:pt x="102" y="7"/>
                  </a:lnTo>
                  <a:lnTo>
                    <a:pt x="100" y="8"/>
                  </a:lnTo>
                  <a:lnTo>
                    <a:pt x="98" y="11"/>
                  </a:lnTo>
                  <a:lnTo>
                    <a:pt x="95" y="14"/>
                  </a:lnTo>
                  <a:lnTo>
                    <a:pt x="93" y="11"/>
                  </a:lnTo>
                  <a:lnTo>
                    <a:pt x="91" y="9"/>
                  </a:lnTo>
                  <a:lnTo>
                    <a:pt x="90" y="8"/>
                  </a:lnTo>
                  <a:lnTo>
                    <a:pt x="88" y="8"/>
                  </a:lnTo>
                  <a:lnTo>
                    <a:pt x="85" y="8"/>
                  </a:lnTo>
                  <a:lnTo>
                    <a:pt x="85" y="11"/>
                  </a:lnTo>
                  <a:lnTo>
                    <a:pt x="88" y="14"/>
                  </a:lnTo>
                  <a:lnTo>
                    <a:pt x="89" y="16"/>
                  </a:lnTo>
                  <a:lnTo>
                    <a:pt x="89" y="20"/>
                  </a:lnTo>
                  <a:lnTo>
                    <a:pt x="88" y="18"/>
                  </a:lnTo>
                  <a:lnTo>
                    <a:pt x="86" y="16"/>
                  </a:lnTo>
                  <a:lnTo>
                    <a:pt x="84" y="14"/>
                  </a:lnTo>
                  <a:lnTo>
                    <a:pt x="82" y="11"/>
                  </a:lnTo>
                  <a:lnTo>
                    <a:pt x="80" y="8"/>
                  </a:lnTo>
                  <a:lnTo>
                    <a:pt x="76" y="8"/>
                  </a:lnTo>
                  <a:lnTo>
                    <a:pt x="74" y="8"/>
                  </a:lnTo>
                  <a:lnTo>
                    <a:pt x="74" y="10"/>
                  </a:lnTo>
                  <a:lnTo>
                    <a:pt x="72" y="10"/>
                  </a:lnTo>
                  <a:lnTo>
                    <a:pt x="68" y="12"/>
                  </a:lnTo>
                  <a:lnTo>
                    <a:pt x="69" y="16"/>
                  </a:lnTo>
                  <a:lnTo>
                    <a:pt x="69" y="18"/>
                  </a:lnTo>
                  <a:lnTo>
                    <a:pt x="69" y="18"/>
                  </a:lnTo>
                  <a:lnTo>
                    <a:pt x="68" y="18"/>
                  </a:lnTo>
                  <a:lnTo>
                    <a:pt x="66" y="16"/>
                  </a:lnTo>
                  <a:lnTo>
                    <a:pt x="64" y="14"/>
                  </a:lnTo>
                  <a:lnTo>
                    <a:pt x="61" y="11"/>
                  </a:lnTo>
                  <a:lnTo>
                    <a:pt x="60" y="9"/>
                  </a:lnTo>
                  <a:lnTo>
                    <a:pt x="59" y="9"/>
                  </a:lnTo>
                  <a:lnTo>
                    <a:pt x="56" y="11"/>
                  </a:lnTo>
                  <a:lnTo>
                    <a:pt x="57" y="15"/>
                  </a:lnTo>
                  <a:lnTo>
                    <a:pt x="58" y="17"/>
                  </a:lnTo>
                  <a:lnTo>
                    <a:pt x="58" y="19"/>
                  </a:lnTo>
                  <a:lnTo>
                    <a:pt x="57" y="20"/>
                  </a:lnTo>
                  <a:lnTo>
                    <a:pt x="56" y="23"/>
                  </a:lnTo>
                  <a:lnTo>
                    <a:pt x="56" y="24"/>
                  </a:lnTo>
                  <a:lnTo>
                    <a:pt x="55" y="23"/>
                  </a:lnTo>
                  <a:lnTo>
                    <a:pt x="54" y="21"/>
                  </a:lnTo>
                  <a:lnTo>
                    <a:pt x="51" y="20"/>
                  </a:lnTo>
                  <a:lnTo>
                    <a:pt x="48" y="23"/>
                  </a:lnTo>
                  <a:lnTo>
                    <a:pt x="47" y="25"/>
                  </a:lnTo>
                  <a:lnTo>
                    <a:pt x="47" y="28"/>
                  </a:lnTo>
                  <a:lnTo>
                    <a:pt x="47" y="31"/>
                  </a:lnTo>
                  <a:lnTo>
                    <a:pt x="46" y="28"/>
                  </a:lnTo>
                  <a:lnTo>
                    <a:pt x="46" y="25"/>
                  </a:lnTo>
                  <a:lnTo>
                    <a:pt x="43" y="23"/>
                  </a:lnTo>
                  <a:lnTo>
                    <a:pt x="42" y="20"/>
                  </a:lnTo>
                  <a:lnTo>
                    <a:pt x="39" y="20"/>
                  </a:lnTo>
                  <a:lnTo>
                    <a:pt x="38" y="17"/>
                  </a:lnTo>
                  <a:lnTo>
                    <a:pt x="40" y="19"/>
                  </a:lnTo>
                  <a:lnTo>
                    <a:pt x="43" y="18"/>
                  </a:lnTo>
                  <a:lnTo>
                    <a:pt x="44" y="16"/>
                  </a:lnTo>
                  <a:lnTo>
                    <a:pt x="43" y="12"/>
                  </a:lnTo>
                  <a:lnTo>
                    <a:pt x="41" y="12"/>
                  </a:lnTo>
                  <a:lnTo>
                    <a:pt x="43" y="11"/>
                  </a:lnTo>
                  <a:lnTo>
                    <a:pt x="41" y="10"/>
                  </a:lnTo>
                  <a:lnTo>
                    <a:pt x="39" y="10"/>
                  </a:lnTo>
                  <a:lnTo>
                    <a:pt x="38" y="8"/>
                  </a:lnTo>
                  <a:lnTo>
                    <a:pt x="34" y="6"/>
                  </a:lnTo>
                  <a:lnTo>
                    <a:pt x="34" y="6"/>
                  </a:lnTo>
                  <a:lnTo>
                    <a:pt x="31" y="6"/>
                  </a:lnTo>
                  <a:lnTo>
                    <a:pt x="30" y="3"/>
                  </a:lnTo>
                  <a:lnTo>
                    <a:pt x="27" y="1"/>
                  </a:lnTo>
                  <a:lnTo>
                    <a:pt x="24" y="2"/>
                  </a:lnTo>
                  <a:lnTo>
                    <a:pt x="22" y="2"/>
                  </a:lnTo>
                  <a:lnTo>
                    <a:pt x="18" y="2"/>
                  </a:lnTo>
                  <a:lnTo>
                    <a:pt x="20" y="4"/>
                  </a:lnTo>
                  <a:lnTo>
                    <a:pt x="23" y="3"/>
                  </a:lnTo>
                  <a:lnTo>
                    <a:pt x="25" y="6"/>
                  </a:lnTo>
                  <a:lnTo>
                    <a:pt x="29" y="6"/>
                  </a:lnTo>
                  <a:lnTo>
                    <a:pt x="25" y="7"/>
                  </a:lnTo>
                  <a:lnTo>
                    <a:pt x="23" y="8"/>
                  </a:lnTo>
                  <a:lnTo>
                    <a:pt x="25" y="9"/>
                  </a:lnTo>
                  <a:lnTo>
                    <a:pt x="27" y="10"/>
                  </a:lnTo>
                  <a:lnTo>
                    <a:pt x="26" y="14"/>
                  </a:lnTo>
                  <a:lnTo>
                    <a:pt x="25" y="16"/>
                  </a:lnTo>
                  <a:lnTo>
                    <a:pt x="26" y="15"/>
                  </a:lnTo>
                  <a:lnTo>
                    <a:pt x="26" y="12"/>
                  </a:lnTo>
                  <a:lnTo>
                    <a:pt x="24" y="12"/>
                  </a:lnTo>
                  <a:lnTo>
                    <a:pt x="21" y="11"/>
                  </a:lnTo>
                  <a:lnTo>
                    <a:pt x="18" y="9"/>
                  </a:lnTo>
                  <a:lnTo>
                    <a:pt x="16" y="8"/>
                  </a:lnTo>
                  <a:lnTo>
                    <a:pt x="13" y="8"/>
                  </a:lnTo>
                  <a:lnTo>
                    <a:pt x="13" y="9"/>
                  </a:lnTo>
                  <a:lnTo>
                    <a:pt x="15" y="10"/>
                  </a:lnTo>
                  <a:lnTo>
                    <a:pt x="13" y="10"/>
                  </a:lnTo>
                  <a:lnTo>
                    <a:pt x="15" y="12"/>
                  </a:lnTo>
                  <a:lnTo>
                    <a:pt x="13" y="11"/>
                  </a:lnTo>
                  <a:lnTo>
                    <a:pt x="9" y="10"/>
                  </a:lnTo>
                  <a:lnTo>
                    <a:pt x="12" y="14"/>
                  </a:lnTo>
                  <a:lnTo>
                    <a:pt x="14" y="15"/>
                  </a:lnTo>
                  <a:lnTo>
                    <a:pt x="17" y="16"/>
                  </a:lnTo>
                  <a:lnTo>
                    <a:pt x="14" y="15"/>
                  </a:lnTo>
                  <a:lnTo>
                    <a:pt x="12" y="14"/>
                  </a:lnTo>
                  <a:lnTo>
                    <a:pt x="8" y="15"/>
                  </a:lnTo>
                  <a:lnTo>
                    <a:pt x="10" y="17"/>
                  </a:lnTo>
                  <a:lnTo>
                    <a:pt x="13" y="17"/>
                  </a:lnTo>
                  <a:lnTo>
                    <a:pt x="16" y="18"/>
                  </a:lnTo>
                  <a:lnTo>
                    <a:pt x="13" y="18"/>
                  </a:lnTo>
                  <a:lnTo>
                    <a:pt x="14" y="18"/>
                  </a:lnTo>
                  <a:lnTo>
                    <a:pt x="16" y="19"/>
                  </a:lnTo>
                  <a:lnTo>
                    <a:pt x="13" y="20"/>
                  </a:lnTo>
                  <a:lnTo>
                    <a:pt x="10" y="18"/>
                  </a:lnTo>
                  <a:lnTo>
                    <a:pt x="8" y="17"/>
                  </a:lnTo>
                  <a:lnTo>
                    <a:pt x="5" y="17"/>
                  </a:lnTo>
                  <a:lnTo>
                    <a:pt x="7" y="19"/>
                  </a:lnTo>
                  <a:lnTo>
                    <a:pt x="7" y="21"/>
                  </a:lnTo>
                  <a:lnTo>
                    <a:pt x="5" y="20"/>
                  </a:lnTo>
                  <a:lnTo>
                    <a:pt x="1" y="20"/>
                  </a:lnTo>
                  <a:lnTo>
                    <a:pt x="0" y="24"/>
                  </a:lnTo>
                  <a:lnTo>
                    <a:pt x="4" y="24"/>
                  </a:lnTo>
                  <a:lnTo>
                    <a:pt x="6" y="24"/>
                  </a:lnTo>
                  <a:lnTo>
                    <a:pt x="8" y="25"/>
                  </a:lnTo>
                  <a:lnTo>
                    <a:pt x="10" y="25"/>
                  </a:lnTo>
                  <a:lnTo>
                    <a:pt x="13" y="24"/>
                  </a:lnTo>
                  <a:lnTo>
                    <a:pt x="16" y="24"/>
                  </a:lnTo>
                  <a:lnTo>
                    <a:pt x="18" y="21"/>
                  </a:lnTo>
                  <a:lnTo>
                    <a:pt x="22" y="21"/>
                  </a:lnTo>
                  <a:lnTo>
                    <a:pt x="22" y="21"/>
                  </a:lnTo>
                  <a:lnTo>
                    <a:pt x="24" y="23"/>
                  </a:lnTo>
                  <a:lnTo>
                    <a:pt x="24" y="20"/>
                  </a:lnTo>
                  <a:lnTo>
                    <a:pt x="26" y="20"/>
                  </a:lnTo>
                  <a:lnTo>
                    <a:pt x="30" y="23"/>
                  </a:lnTo>
                  <a:lnTo>
                    <a:pt x="32" y="21"/>
                  </a:lnTo>
                  <a:lnTo>
                    <a:pt x="30" y="25"/>
                  </a:lnTo>
                  <a:lnTo>
                    <a:pt x="33" y="23"/>
                  </a:lnTo>
                  <a:lnTo>
                    <a:pt x="35" y="25"/>
                  </a:lnTo>
                  <a:lnTo>
                    <a:pt x="39" y="25"/>
                  </a:lnTo>
                  <a:lnTo>
                    <a:pt x="38" y="25"/>
                  </a:lnTo>
                  <a:lnTo>
                    <a:pt x="34" y="25"/>
                  </a:lnTo>
                  <a:lnTo>
                    <a:pt x="32" y="27"/>
                  </a:lnTo>
                  <a:lnTo>
                    <a:pt x="30" y="28"/>
                  </a:lnTo>
                  <a:lnTo>
                    <a:pt x="30" y="31"/>
                  </a:lnTo>
                  <a:lnTo>
                    <a:pt x="32" y="32"/>
                  </a:lnTo>
                  <a:lnTo>
                    <a:pt x="34" y="32"/>
                  </a:lnTo>
                  <a:lnTo>
                    <a:pt x="38" y="32"/>
                  </a:lnTo>
                  <a:lnTo>
                    <a:pt x="34" y="34"/>
                  </a:lnTo>
                  <a:lnTo>
                    <a:pt x="34" y="33"/>
                  </a:lnTo>
                  <a:lnTo>
                    <a:pt x="31" y="33"/>
                  </a:lnTo>
                  <a:lnTo>
                    <a:pt x="29" y="33"/>
                  </a:lnTo>
                  <a:lnTo>
                    <a:pt x="26" y="34"/>
                  </a:lnTo>
                  <a:lnTo>
                    <a:pt x="23" y="34"/>
                  </a:lnTo>
                  <a:lnTo>
                    <a:pt x="21" y="34"/>
                  </a:lnTo>
                  <a:lnTo>
                    <a:pt x="17" y="34"/>
                  </a:lnTo>
                  <a:lnTo>
                    <a:pt x="15" y="35"/>
                  </a:lnTo>
                  <a:lnTo>
                    <a:pt x="13" y="36"/>
                  </a:lnTo>
                  <a:lnTo>
                    <a:pt x="9" y="36"/>
                  </a:lnTo>
                  <a:lnTo>
                    <a:pt x="7" y="38"/>
                  </a:lnTo>
                  <a:lnTo>
                    <a:pt x="9" y="41"/>
                  </a:lnTo>
                  <a:lnTo>
                    <a:pt x="13" y="38"/>
                  </a:lnTo>
                  <a:lnTo>
                    <a:pt x="15" y="38"/>
                  </a:lnTo>
                  <a:lnTo>
                    <a:pt x="17" y="38"/>
                  </a:lnTo>
                  <a:lnTo>
                    <a:pt x="21" y="38"/>
                  </a:lnTo>
                  <a:lnTo>
                    <a:pt x="23" y="38"/>
                  </a:lnTo>
                  <a:lnTo>
                    <a:pt x="26" y="40"/>
                  </a:lnTo>
                  <a:lnTo>
                    <a:pt x="29" y="38"/>
                  </a:lnTo>
                  <a:lnTo>
                    <a:pt x="30" y="42"/>
                  </a:lnTo>
                  <a:lnTo>
                    <a:pt x="32" y="41"/>
                  </a:lnTo>
                  <a:lnTo>
                    <a:pt x="30" y="41"/>
                  </a:lnTo>
                  <a:lnTo>
                    <a:pt x="30" y="44"/>
                  </a:lnTo>
                  <a:lnTo>
                    <a:pt x="32" y="46"/>
                  </a:lnTo>
                  <a:lnTo>
                    <a:pt x="33" y="46"/>
                  </a:lnTo>
                  <a:lnTo>
                    <a:pt x="35" y="44"/>
                  </a:lnTo>
                  <a:lnTo>
                    <a:pt x="38" y="43"/>
                  </a:lnTo>
                  <a:lnTo>
                    <a:pt x="40" y="42"/>
                  </a:lnTo>
                  <a:lnTo>
                    <a:pt x="41" y="42"/>
                  </a:lnTo>
                  <a:lnTo>
                    <a:pt x="40" y="43"/>
                  </a:lnTo>
                  <a:lnTo>
                    <a:pt x="40" y="43"/>
                  </a:lnTo>
                  <a:lnTo>
                    <a:pt x="39" y="43"/>
                  </a:lnTo>
                  <a:lnTo>
                    <a:pt x="38" y="44"/>
                  </a:lnTo>
                  <a:lnTo>
                    <a:pt x="35" y="45"/>
                  </a:lnTo>
                  <a:lnTo>
                    <a:pt x="34" y="46"/>
                  </a:lnTo>
                  <a:lnTo>
                    <a:pt x="35" y="50"/>
                  </a:lnTo>
                  <a:lnTo>
                    <a:pt x="38" y="48"/>
                  </a:lnTo>
                  <a:lnTo>
                    <a:pt x="40" y="48"/>
                  </a:lnTo>
                  <a:lnTo>
                    <a:pt x="43" y="48"/>
                  </a:lnTo>
                  <a:lnTo>
                    <a:pt x="42" y="49"/>
                  </a:lnTo>
                  <a:lnTo>
                    <a:pt x="40" y="48"/>
                  </a:lnTo>
                  <a:lnTo>
                    <a:pt x="37" y="50"/>
                  </a:lnTo>
                  <a:lnTo>
                    <a:pt x="38" y="52"/>
                  </a:lnTo>
                  <a:lnTo>
                    <a:pt x="37" y="53"/>
                  </a:lnTo>
                  <a:lnTo>
                    <a:pt x="34" y="53"/>
                  </a:lnTo>
                  <a:lnTo>
                    <a:pt x="35" y="54"/>
                  </a:lnTo>
                  <a:lnTo>
                    <a:pt x="33" y="55"/>
                  </a:lnTo>
                  <a:lnTo>
                    <a:pt x="30" y="55"/>
                  </a:lnTo>
                  <a:lnTo>
                    <a:pt x="27" y="57"/>
                  </a:lnTo>
                  <a:lnTo>
                    <a:pt x="25" y="55"/>
                  </a:lnTo>
                  <a:lnTo>
                    <a:pt x="24" y="59"/>
                  </a:lnTo>
                  <a:lnTo>
                    <a:pt x="27" y="60"/>
                  </a:lnTo>
                  <a:lnTo>
                    <a:pt x="30" y="59"/>
                  </a:lnTo>
                  <a:lnTo>
                    <a:pt x="32" y="60"/>
                  </a:lnTo>
                  <a:lnTo>
                    <a:pt x="35" y="60"/>
                  </a:lnTo>
                  <a:lnTo>
                    <a:pt x="38" y="59"/>
                  </a:lnTo>
                  <a:lnTo>
                    <a:pt x="40" y="60"/>
                  </a:lnTo>
                  <a:lnTo>
                    <a:pt x="43" y="60"/>
                  </a:lnTo>
                  <a:lnTo>
                    <a:pt x="44" y="58"/>
                  </a:lnTo>
                  <a:lnTo>
                    <a:pt x="48" y="58"/>
                  </a:lnTo>
                  <a:lnTo>
                    <a:pt x="47" y="59"/>
                  </a:lnTo>
                  <a:lnTo>
                    <a:pt x="49" y="60"/>
                  </a:lnTo>
                  <a:lnTo>
                    <a:pt x="52" y="59"/>
                  </a:lnTo>
                  <a:lnTo>
                    <a:pt x="51" y="61"/>
                  </a:lnTo>
                  <a:lnTo>
                    <a:pt x="54" y="62"/>
                  </a:lnTo>
                  <a:lnTo>
                    <a:pt x="56" y="60"/>
                  </a:lnTo>
                  <a:lnTo>
                    <a:pt x="57" y="62"/>
                  </a:lnTo>
                  <a:lnTo>
                    <a:pt x="56" y="63"/>
                  </a:lnTo>
                  <a:lnTo>
                    <a:pt x="58" y="66"/>
                  </a:lnTo>
                  <a:lnTo>
                    <a:pt x="60" y="66"/>
                  </a:lnTo>
                  <a:lnTo>
                    <a:pt x="61" y="66"/>
                  </a:lnTo>
                  <a:lnTo>
                    <a:pt x="61" y="67"/>
                  </a:lnTo>
                  <a:lnTo>
                    <a:pt x="65" y="67"/>
                  </a:lnTo>
                  <a:lnTo>
                    <a:pt x="67" y="67"/>
                  </a:lnTo>
                  <a:lnTo>
                    <a:pt x="69" y="68"/>
                  </a:lnTo>
                  <a:lnTo>
                    <a:pt x="72" y="68"/>
                  </a:lnTo>
                  <a:lnTo>
                    <a:pt x="74" y="69"/>
                  </a:lnTo>
                  <a:lnTo>
                    <a:pt x="77" y="69"/>
                  </a:lnTo>
                  <a:lnTo>
                    <a:pt x="80" y="69"/>
                  </a:lnTo>
                  <a:lnTo>
                    <a:pt x="82" y="69"/>
                  </a:lnTo>
                  <a:lnTo>
                    <a:pt x="85" y="67"/>
                  </a:lnTo>
                  <a:lnTo>
                    <a:pt x="85" y="67"/>
                  </a:lnTo>
                  <a:lnTo>
                    <a:pt x="89" y="67"/>
                  </a:lnTo>
                  <a:lnTo>
                    <a:pt x="91" y="64"/>
                  </a:lnTo>
                  <a:lnTo>
                    <a:pt x="90" y="64"/>
                  </a:lnTo>
                  <a:lnTo>
                    <a:pt x="91" y="62"/>
                  </a:lnTo>
                  <a:lnTo>
                    <a:pt x="93" y="62"/>
                  </a:lnTo>
                  <a:lnTo>
                    <a:pt x="97" y="61"/>
                  </a:lnTo>
                  <a:lnTo>
                    <a:pt x="99" y="61"/>
                  </a:lnTo>
                  <a:lnTo>
                    <a:pt x="100" y="61"/>
                  </a:lnTo>
                  <a:lnTo>
                    <a:pt x="103" y="61"/>
                  </a:lnTo>
                  <a:lnTo>
                    <a:pt x="103" y="58"/>
                  </a:lnTo>
                  <a:lnTo>
                    <a:pt x="105" y="61"/>
                  </a:lnTo>
                  <a:lnTo>
                    <a:pt x="107" y="59"/>
                  </a:lnTo>
                  <a:lnTo>
                    <a:pt x="109" y="59"/>
                  </a:lnTo>
                  <a:lnTo>
                    <a:pt x="112" y="57"/>
                  </a:lnTo>
                  <a:lnTo>
                    <a:pt x="112" y="57"/>
                  </a:lnTo>
                  <a:lnTo>
                    <a:pt x="115" y="55"/>
                  </a:lnTo>
                  <a:lnTo>
                    <a:pt x="117" y="53"/>
                  </a:lnTo>
                  <a:lnTo>
                    <a:pt x="120" y="52"/>
                  </a:lnTo>
                  <a:lnTo>
                    <a:pt x="123" y="51"/>
                  </a:lnTo>
                  <a:lnTo>
                    <a:pt x="125" y="49"/>
                  </a:lnTo>
                  <a:lnTo>
                    <a:pt x="125" y="49"/>
                  </a:lnTo>
                  <a:lnTo>
                    <a:pt x="126" y="50"/>
                  </a:lnTo>
                  <a:lnTo>
                    <a:pt x="129" y="50"/>
                  </a:lnTo>
                  <a:lnTo>
                    <a:pt x="132" y="49"/>
                  </a:lnTo>
                  <a:lnTo>
                    <a:pt x="134" y="48"/>
                  </a:lnTo>
                  <a:lnTo>
                    <a:pt x="134" y="48"/>
                  </a:lnTo>
                  <a:lnTo>
                    <a:pt x="137" y="46"/>
                  </a:lnTo>
                  <a:lnTo>
                    <a:pt x="13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1" name="Freeform 231">
              <a:extLst>
                <a:ext uri="{FF2B5EF4-FFF2-40B4-BE49-F238E27FC236}">
                  <a16:creationId xmlns:a16="http://schemas.microsoft.com/office/drawing/2014/main" id="{E48F5449-4FEB-4FC2-9677-95DFBC1BA700}"/>
                </a:ext>
              </a:extLst>
            </p:cNvPr>
            <p:cNvSpPr>
              <a:spLocks/>
            </p:cNvSpPr>
            <p:nvPr/>
          </p:nvSpPr>
          <p:spPr bwMode="auto">
            <a:xfrm>
              <a:off x="3259138" y="2473325"/>
              <a:ext cx="398462" cy="195263"/>
            </a:xfrm>
            <a:custGeom>
              <a:avLst/>
              <a:gdLst>
                <a:gd name="T0" fmla="*/ 238 w 251"/>
                <a:gd name="T1" fmla="*/ 93 h 123"/>
                <a:gd name="T2" fmla="*/ 226 w 251"/>
                <a:gd name="T3" fmla="*/ 97 h 123"/>
                <a:gd name="T4" fmla="*/ 220 w 251"/>
                <a:gd name="T5" fmla="*/ 103 h 123"/>
                <a:gd name="T6" fmla="*/ 235 w 251"/>
                <a:gd name="T7" fmla="*/ 99 h 123"/>
                <a:gd name="T8" fmla="*/ 233 w 251"/>
                <a:gd name="T9" fmla="*/ 111 h 123"/>
                <a:gd name="T10" fmla="*/ 211 w 251"/>
                <a:gd name="T11" fmla="*/ 114 h 123"/>
                <a:gd name="T12" fmla="*/ 191 w 251"/>
                <a:gd name="T13" fmla="*/ 110 h 123"/>
                <a:gd name="T14" fmla="*/ 177 w 251"/>
                <a:gd name="T15" fmla="*/ 107 h 123"/>
                <a:gd name="T16" fmla="*/ 167 w 251"/>
                <a:gd name="T17" fmla="*/ 106 h 123"/>
                <a:gd name="T18" fmla="*/ 148 w 251"/>
                <a:gd name="T19" fmla="*/ 111 h 123"/>
                <a:gd name="T20" fmla="*/ 128 w 251"/>
                <a:gd name="T21" fmla="*/ 118 h 123"/>
                <a:gd name="T22" fmla="*/ 109 w 251"/>
                <a:gd name="T23" fmla="*/ 120 h 123"/>
                <a:gd name="T24" fmla="*/ 90 w 251"/>
                <a:gd name="T25" fmla="*/ 122 h 123"/>
                <a:gd name="T26" fmla="*/ 76 w 251"/>
                <a:gd name="T27" fmla="*/ 110 h 123"/>
                <a:gd name="T28" fmla="*/ 63 w 251"/>
                <a:gd name="T29" fmla="*/ 103 h 123"/>
                <a:gd name="T30" fmla="*/ 43 w 251"/>
                <a:gd name="T31" fmla="*/ 102 h 123"/>
                <a:gd name="T32" fmla="*/ 25 w 251"/>
                <a:gd name="T33" fmla="*/ 91 h 123"/>
                <a:gd name="T34" fmla="*/ 38 w 251"/>
                <a:gd name="T35" fmla="*/ 81 h 123"/>
                <a:gd name="T36" fmla="*/ 58 w 251"/>
                <a:gd name="T37" fmla="*/ 78 h 123"/>
                <a:gd name="T38" fmla="*/ 77 w 251"/>
                <a:gd name="T39" fmla="*/ 78 h 123"/>
                <a:gd name="T40" fmla="*/ 97 w 251"/>
                <a:gd name="T41" fmla="*/ 78 h 123"/>
                <a:gd name="T42" fmla="*/ 96 w 251"/>
                <a:gd name="T43" fmla="*/ 73 h 123"/>
                <a:gd name="T44" fmla="*/ 76 w 251"/>
                <a:gd name="T45" fmla="*/ 69 h 123"/>
                <a:gd name="T46" fmla="*/ 56 w 251"/>
                <a:gd name="T47" fmla="*/ 71 h 123"/>
                <a:gd name="T48" fmla="*/ 34 w 251"/>
                <a:gd name="T49" fmla="*/ 71 h 123"/>
                <a:gd name="T50" fmla="*/ 16 w 251"/>
                <a:gd name="T51" fmla="*/ 66 h 123"/>
                <a:gd name="T52" fmla="*/ 23 w 251"/>
                <a:gd name="T53" fmla="*/ 56 h 123"/>
                <a:gd name="T54" fmla="*/ 45 w 251"/>
                <a:gd name="T55" fmla="*/ 51 h 123"/>
                <a:gd name="T56" fmla="*/ 53 w 251"/>
                <a:gd name="T57" fmla="*/ 49 h 123"/>
                <a:gd name="T58" fmla="*/ 33 w 251"/>
                <a:gd name="T59" fmla="*/ 49 h 123"/>
                <a:gd name="T60" fmla="*/ 14 w 251"/>
                <a:gd name="T61" fmla="*/ 51 h 123"/>
                <a:gd name="T62" fmla="*/ 12 w 251"/>
                <a:gd name="T63" fmla="*/ 46 h 123"/>
                <a:gd name="T64" fmla="*/ 4 w 251"/>
                <a:gd name="T65" fmla="*/ 35 h 123"/>
                <a:gd name="T66" fmla="*/ 7 w 251"/>
                <a:gd name="T67" fmla="*/ 24 h 123"/>
                <a:gd name="T68" fmla="*/ 26 w 251"/>
                <a:gd name="T69" fmla="*/ 12 h 123"/>
                <a:gd name="T70" fmla="*/ 46 w 251"/>
                <a:gd name="T71" fmla="*/ 5 h 123"/>
                <a:gd name="T72" fmla="*/ 64 w 251"/>
                <a:gd name="T73" fmla="*/ 0 h 123"/>
                <a:gd name="T74" fmla="*/ 68 w 251"/>
                <a:gd name="T75" fmla="*/ 15 h 123"/>
                <a:gd name="T76" fmla="*/ 71 w 251"/>
                <a:gd name="T77" fmla="*/ 18 h 123"/>
                <a:gd name="T78" fmla="*/ 83 w 251"/>
                <a:gd name="T79" fmla="*/ 9 h 123"/>
                <a:gd name="T80" fmla="*/ 104 w 251"/>
                <a:gd name="T81" fmla="*/ 15 h 123"/>
                <a:gd name="T82" fmla="*/ 100 w 251"/>
                <a:gd name="T83" fmla="*/ 28 h 123"/>
                <a:gd name="T84" fmla="*/ 111 w 251"/>
                <a:gd name="T85" fmla="*/ 23 h 123"/>
                <a:gd name="T86" fmla="*/ 125 w 251"/>
                <a:gd name="T87" fmla="*/ 23 h 123"/>
                <a:gd name="T88" fmla="*/ 125 w 251"/>
                <a:gd name="T89" fmla="*/ 17 h 123"/>
                <a:gd name="T90" fmla="*/ 116 w 251"/>
                <a:gd name="T91" fmla="*/ 12 h 123"/>
                <a:gd name="T92" fmla="*/ 131 w 251"/>
                <a:gd name="T93" fmla="*/ 14 h 123"/>
                <a:gd name="T94" fmla="*/ 144 w 251"/>
                <a:gd name="T95" fmla="*/ 22 h 123"/>
                <a:gd name="T96" fmla="*/ 149 w 251"/>
                <a:gd name="T97" fmla="*/ 40 h 123"/>
                <a:gd name="T98" fmla="*/ 162 w 251"/>
                <a:gd name="T99" fmla="*/ 40 h 123"/>
                <a:gd name="T100" fmla="*/ 154 w 251"/>
                <a:gd name="T101" fmla="*/ 23 h 123"/>
                <a:gd name="T102" fmla="*/ 149 w 251"/>
                <a:gd name="T103" fmla="*/ 6 h 123"/>
                <a:gd name="T104" fmla="*/ 160 w 251"/>
                <a:gd name="T105" fmla="*/ 3 h 123"/>
                <a:gd name="T106" fmla="*/ 177 w 251"/>
                <a:gd name="T107" fmla="*/ 7 h 123"/>
                <a:gd name="T108" fmla="*/ 191 w 251"/>
                <a:gd name="T109" fmla="*/ 23 h 123"/>
                <a:gd name="T110" fmla="*/ 199 w 251"/>
                <a:gd name="T111" fmla="*/ 41 h 123"/>
                <a:gd name="T112" fmla="*/ 199 w 251"/>
                <a:gd name="T113" fmla="*/ 58 h 123"/>
                <a:gd name="T114" fmla="*/ 217 w 251"/>
                <a:gd name="T115" fmla="*/ 71 h 123"/>
                <a:gd name="T116" fmla="*/ 227 w 251"/>
                <a:gd name="T117" fmla="*/ 74 h 123"/>
                <a:gd name="T118" fmla="*/ 243 w 251"/>
                <a:gd name="T119" fmla="*/ 8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123">
                  <a:moveTo>
                    <a:pt x="250" y="85"/>
                  </a:moveTo>
                  <a:lnTo>
                    <a:pt x="250" y="89"/>
                  </a:lnTo>
                  <a:lnTo>
                    <a:pt x="251" y="91"/>
                  </a:lnTo>
                  <a:lnTo>
                    <a:pt x="250" y="93"/>
                  </a:lnTo>
                  <a:lnTo>
                    <a:pt x="244" y="93"/>
                  </a:lnTo>
                  <a:lnTo>
                    <a:pt x="242" y="91"/>
                  </a:lnTo>
                  <a:lnTo>
                    <a:pt x="238" y="93"/>
                  </a:lnTo>
                  <a:lnTo>
                    <a:pt x="236" y="92"/>
                  </a:lnTo>
                  <a:lnTo>
                    <a:pt x="234" y="90"/>
                  </a:lnTo>
                  <a:lnTo>
                    <a:pt x="232" y="90"/>
                  </a:lnTo>
                  <a:lnTo>
                    <a:pt x="228" y="91"/>
                  </a:lnTo>
                  <a:lnTo>
                    <a:pt x="226" y="91"/>
                  </a:lnTo>
                  <a:lnTo>
                    <a:pt x="228" y="94"/>
                  </a:lnTo>
                  <a:lnTo>
                    <a:pt x="226" y="97"/>
                  </a:lnTo>
                  <a:lnTo>
                    <a:pt x="224" y="97"/>
                  </a:lnTo>
                  <a:lnTo>
                    <a:pt x="220" y="95"/>
                  </a:lnTo>
                  <a:lnTo>
                    <a:pt x="218" y="94"/>
                  </a:lnTo>
                  <a:lnTo>
                    <a:pt x="216" y="95"/>
                  </a:lnTo>
                  <a:lnTo>
                    <a:pt x="220" y="98"/>
                  </a:lnTo>
                  <a:lnTo>
                    <a:pt x="221" y="100"/>
                  </a:lnTo>
                  <a:lnTo>
                    <a:pt x="220" y="103"/>
                  </a:lnTo>
                  <a:lnTo>
                    <a:pt x="220" y="106"/>
                  </a:lnTo>
                  <a:lnTo>
                    <a:pt x="221" y="103"/>
                  </a:lnTo>
                  <a:lnTo>
                    <a:pt x="225" y="101"/>
                  </a:lnTo>
                  <a:lnTo>
                    <a:pt x="227" y="100"/>
                  </a:lnTo>
                  <a:lnTo>
                    <a:pt x="229" y="99"/>
                  </a:lnTo>
                  <a:lnTo>
                    <a:pt x="233" y="98"/>
                  </a:lnTo>
                  <a:lnTo>
                    <a:pt x="235" y="99"/>
                  </a:lnTo>
                  <a:lnTo>
                    <a:pt x="234" y="102"/>
                  </a:lnTo>
                  <a:lnTo>
                    <a:pt x="233" y="105"/>
                  </a:lnTo>
                  <a:lnTo>
                    <a:pt x="235" y="103"/>
                  </a:lnTo>
                  <a:lnTo>
                    <a:pt x="238" y="106"/>
                  </a:lnTo>
                  <a:lnTo>
                    <a:pt x="237" y="108"/>
                  </a:lnTo>
                  <a:lnTo>
                    <a:pt x="235" y="110"/>
                  </a:lnTo>
                  <a:lnTo>
                    <a:pt x="233" y="111"/>
                  </a:lnTo>
                  <a:lnTo>
                    <a:pt x="229" y="111"/>
                  </a:lnTo>
                  <a:lnTo>
                    <a:pt x="227" y="114"/>
                  </a:lnTo>
                  <a:lnTo>
                    <a:pt x="221" y="115"/>
                  </a:lnTo>
                  <a:lnTo>
                    <a:pt x="219" y="114"/>
                  </a:lnTo>
                  <a:lnTo>
                    <a:pt x="216" y="115"/>
                  </a:lnTo>
                  <a:lnTo>
                    <a:pt x="213" y="114"/>
                  </a:lnTo>
                  <a:lnTo>
                    <a:pt x="211" y="114"/>
                  </a:lnTo>
                  <a:lnTo>
                    <a:pt x="208" y="114"/>
                  </a:lnTo>
                  <a:lnTo>
                    <a:pt x="205" y="112"/>
                  </a:lnTo>
                  <a:lnTo>
                    <a:pt x="202" y="111"/>
                  </a:lnTo>
                  <a:lnTo>
                    <a:pt x="200" y="114"/>
                  </a:lnTo>
                  <a:lnTo>
                    <a:pt x="196" y="114"/>
                  </a:lnTo>
                  <a:lnTo>
                    <a:pt x="194" y="112"/>
                  </a:lnTo>
                  <a:lnTo>
                    <a:pt x="191" y="110"/>
                  </a:lnTo>
                  <a:lnTo>
                    <a:pt x="194" y="108"/>
                  </a:lnTo>
                  <a:lnTo>
                    <a:pt x="191" y="108"/>
                  </a:lnTo>
                  <a:lnTo>
                    <a:pt x="188" y="108"/>
                  </a:lnTo>
                  <a:lnTo>
                    <a:pt x="186" y="106"/>
                  </a:lnTo>
                  <a:lnTo>
                    <a:pt x="183" y="106"/>
                  </a:lnTo>
                  <a:lnTo>
                    <a:pt x="181" y="106"/>
                  </a:lnTo>
                  <a:lnTo>
                    <a:pt x="177" y="107"/>
                  </a:lnTo>
                  <a:lnTo>
                    <a:pt x="175" y="105"/>
                  </a:lnTo>
                  <a:lnTo>
                    <a:pt x="176" y="102"/>
                  </a:lnTo>
                  <a:lnTo>
                    <a:pt x="174" y="99"/>
                  </a:lnTo>
                  <a:lnTo>
                    <a:pt x="171" y="98"/>
                  </a:lnTo>
                  <a:lnTo>
                    <a:pt x="169" y="101"/>
                  </a:lnTo>
                  <a:lnTo>
                    <a:pt x="167" y="102"/>
                  </a:lnTo>
                  <a:lnTo>
                    <a:pt x="167" y="106"/>
                  </a:lnTo>
                  <a:lnTo>
                    <a:pt x="164" y="107"/>
                  </a:lnTo>
                  <a:lnTo>
                    <a:pt x="161" y="109"/>
                  </a:lnTo>
                  <a:lnTo>
                    <a:pt x="159" y="110"/>
                  </a:lnTo>
                  <a:lnTo>
                    <a:pt x="156" y="110"/>
                  </a:lnTo>
                  <a:lnTo>
                    <a:pt x="153" y="111"/>
                  </a:lnTo>
                  <a:lnTo>
                    <a:pt x="150" y="111"/>
                  </a:lnTo>
                  <a:lnTo>
                    <a:pt x="148" y="111"/>
                  </a:lnTo>
                  <a:lnTo>
                    <a:pt x="144" y="114"/>
                  </a:lnTo>
                  <a:lnTo>
                    <a:pt x="142" y="115"/>
                  </a:lnTo>
                  <a:lnTo>
                    <a:pt x="139" y="116"/>
                  </a:lnTo>
                  <a:lnTo>
                    <a:pt x="136" y="117"/>
                  </a:lnTo>
                  <a:lnTo>
                    <a:pt x="134" y="117"/>
                  </a:lnTo>
                  <a:lnTo>
                    <a:pt x="131" y="118"/>
                  </a:lnTo>
                  <a:lnTo>
                    <a:pt x="128" y="118"/>
                  </a:lnTo>
                  <a:lnTo>
                    <a:pt x="125" y="119"/>
                  </a:lnTo>
                  <a:lnTo>
                    <a:pt x="123" y="118"/>
                  </a:lnTo>
                  <a:lnTo>
                    <a:pt x="119" y="119"/>
                  </a:lnTo>
                  <a:lnTo>
                    <a:pt x="117" y="119"/>
                  </a:lnTo>
                  <a:lnTo>
                    <a:pt x="115" y="120"/>
                  </a:lnTo>
                  <a:lnTo>
                    <a:pt x="111" y="119"/>
                  </a:lnTo>
                  <a:lnTo>
                    <a:pt x="109" y="120"/>
                  </a:lnTo>
                  <a:lnTo>
                    <a:pt x="106" y="120"/>
                  </a:lnTo>
                  <a:lnTo>
                    <a:pt x="109" y="122"/>
                  </a:lnTo>
                  <a:lnTo>
                    <a:pt x="106" y="122"/>
                  </a:lnTo>
                  <a:lnTo>
                    <a:pt x="104" y="120"/>
                  </a:lnTo>
                  <a:lnTo>
                    <a:pt x="94" y="122"/>
                  </a:lnTo>
                  <a:lnTo>
                    <a:pt x="92" y="122"/>
                  </a:lnTo>
                  <a:lnTo>
                    <a:pt x="90" y="122"/>
                  </a:lnTo>
                  <a:lnTo>
                    <a:pt x="87" y="123"/>
                  </a:lnTo>
                  <a:lnTo>
                    <a:pt x="84" y="123"/>
                  </a:lnTo>
                  <a:lnTo>
                    <a:pt x="81" y="120"/>
                  </a:lnTo>
                  <a:lnTo>
                    <a:pt x="79" y="119"/>
                  </a:lnTo>
                  <a:lnTo>
                    <a:pt x="76" y="116"/>
                  </a:lnTo>
                  <a:lnTo>
                    <a:pt x="76" y="114"/>
                  </a:lnTo>
                  <a:lnTo>
                    <a:pt x="76" y="110"/>
                  </a:lnTo>
                  <a:lnTo>
                    <a:pt x="75" y="108"/>
                  </a:lnTo>
                  <a:lnTo>
                    <a:pt x="76" y="106"/>
                  </a:lnTo>
                  <a:lnTo>
                    <a:pt x="74" y="105"/>
                  </a:lnTo>
                  <a:lnTo>
                    <a:pt x="71" y="103"/>
                  </a:lnTo>
                  <a:lnTo>
                    <a:pt x="68" y="103"/>
                  </a:lnTo>
                  <a:lnTo>
                    <a:pt x="65" y="103"/>
                  </a:lnTo>
                  <a:lnTo>
                    <a:pt x="63" y="103"/>
                  </a:lnTo>
                  <a:lnTo>
                    <a:pt x="59" y="103"/>
                  </a:lnTo>
                  <a:lnTo>
                    <a:pt x="57" y="103"/>
                  </a:lnTo>
                  <a:lnTo>
                    <a:pt x="55" y="105"/>
                  </a:lnTo>
                  <a:lnTo>
                    <a:pt x="51" y="103"/>
                  </a:lnTo>
                  <a:lnTo>
                    <a:pt x="49" y="103"/>
                  </a:lnTo>
                  <a:lnTo>
                    <a:pt x="46" y="103"/>
                  </a:lnTo>
                  <a:lnTo>
                    <a:pt x="43" y="102"/>
                  </a:lnTo>
                  <a:lnTo>
                    <a:pt x="41" y="101"/>
                  </a:lnTo>
                  <a:lnTo>
                    <a:pt x="38" y="100"/>
                  </a:lnTo>
                  <a:lnTo>
                    <a:pt x="36" y="100"/>
                  </a:lnTo>
                  <a:lnTo>
                    <a:pt x="33" y="97"/>
                  </a:lnTo>
                  <a:lnTo>
                    <a:pt x="31" y="94"/>
                  </a:lnTo>
                  <a:lnTo>
                    <a:pt x="29" y="93"/>
                  </a:lnTo>
                  <a:lnTo>
                    <a:pt x="25" y="91"/>
                  </a:lnTo>
                  <a:lnTo>
                    <a:pt x="25" y="89"/>
                  </a:lnTo>
                  <a:lnTo>
                    <a:pt x="23" y="85"/>
                  </a:lnTo>
                  <a:lnTo>
                    <a:pt x="24" y="84"/>
                  </a:lnTo>
                  <a:lnTo>
                    <a:pt x="28" y="83"/>
                  </a:lnTo>
                  <a:lnTo>
                    <a:pt x="30" y="83"/>
                  </a:lnTo>
                  <a:lnTo>
                    <a:pt x="33" y="82"/>
                  </a:lnTo>
                  <a:lnTo>
                    <a:pt x="38" y="81"/>
                  </a:lnTo>
                  <a:lnTo>
                    <a:pt x="41" y="81"/>
                  </a:lnTo>
                  <a:lnTo>
                    <a:pt x="43" y="80"/>
                  </a:lnTo>
                  <a:lnTo>
                    <a:pt x="47" y="80"/>
                  </a:lnTo>
                  <a:lnTo>
                    <a:pt x="49" y="80"/>
                  </a:lnTo>
                  <a:lnTo>
                    <a:pt x="53" y="78"/>
                  </a:lnTo>
                  <a:lnTo>
                    <a:pt x="55" y="78"/>
                  </a:lnTo>
                  <a:lnTo>
                    <a:pt x="58" y="78"/>
                  </a:lnTo>
                  <a:lnTo>
                    <a:pt x="60" y="78"/>
                  </a:lnTo>
                  <a:lnTo>
                    <a:pt x="64" y="78"/>
                  </a:lnTo>
                  <a:lnTo>
                    <a:pt x="66" y="77"/>
                  </a:lnTo>
                  <a:lnTo>
                    <a:pt x="68" y="78"/>
                  </a:lnTo>
                  <a:lnTo>
                    <a:pt x="72" y="78"/>
                  </a:lnTo>
                  <a:lnTo>
                    <a:pt x="74" y="78"/>
                  </a:lnTo>
                  <a:lnTo>
                    <a:pt x="77" y="78"/>
                  </a:lnTo>
                  <a:lnTo>
                    <a:pt x="80" y="78"/>
                  </a:lnTo>
                  <a:lnTo>
                    <a:pt x="83" y="80"/>
                  </a:lnTo>
                  <a:lnTo>
                    <a:pt x="85" y="80"/>
                  </a:lnTo>
                  <a:lnTo>
                    <a:pt x="89" y="81"/>
                  </a:lnTo>
                  <a:lnTo>
                    <a:pt x="91" y="80"/>
                  </a:lnTo>
                  <a:lnTo>
                    <a:pt x="94" y="78"/>
                  </a:lnTo>
                  <a:lnTo>
                    <a:pt x="97" y="78"/>
                  </a:lnTo>
                  <a:lnTo>
                    <a:pt x="99" y="78"/>
                  </a:lnTo>
                  <a:lnTo>
                    <a:pt x="102" y="78"/>
                  </a:lnTo>
                  <a:lnTo>
                    <a:pt x="105" y="77"/>
                  </a:lnTo>
                  <a:lnTo>
                    <a:pt x="102" y="77"/>
                  </a:lnTo>
                  <a:lnTo>
                    <a:pt x="99" y="76"/>
                  </a:lnTo>
                  <a:lnTo>
                    <a:pt x="98" y="76"/>
                  </a:lnTo>
                  <a:lnTo>
                    <a:pt x="96" y="73"/>
                  </a:lnTo>
                  <a:lnTo>
                    <a:pt x="92" y="73"/>
                  </a:lnTo>
                  <a:lnTo>
                    <a:pt x="90" y="73"/>
                  </a:lnTo>
                  <a:lnTo>
                    <a:pt x="87" y="72"/>
                  </a:lnTo>
                  <a:lnTo>
                    <a:pt x="84" y="72"/>
                  </a:lnTo>
                  <a:lnTo>
                    <a:pt x="82" y="71"/>
                  </a:lnTo>
                  <a:lnTo>
                    <a:pt x="79" y="69"/>
                  </a:lnTo>
                  <a:lnTo>
                    <a:pt x="76" y="69"/>
                  </a:lnTo>
                  <a:lnTo>
                    <a:pt x="73" y="68"/>
                  </a:lnTo>
                  <a:lnTo>
                    <a:pt x="71" y="68"/>
                  </a:lnTo>
                  <a:lnTo>
                    <a:pt x="67" y="69"/>
                  </a:lnTo>
                  <a:lnTo>
                    <a:pt x="65" y="69"/>
                  </a:lnTo>
                  <a:lnTo>
                    <a:pt x="62" y="71"/>
                  </a:lnTo>
                  <a:lnTo>
                    <a:pt x="59" y="71"/>
                  </a:lnTo>
                  <a:lnTo>
                    <a:pt x="56" y="71"/>
                  </a:lnTo>
                  <a:lnTo>
                    <a:pt x="51" y="71"/>
                  </a:lnTo>
                  <a:lnTo>
                    <a:pt x="48" y="71"/>
                  </a:lnTo>
                  <a:lnTo>
                    <a:pt x="46" y="71"/>
                  </a:lnTo>
                  <a:lnTo>
                    <a:pt x="42" y="72"/>
                  </a:lnTo>
                  <a:lnTo>
                    <a:pt x="40" y="71"/>
                  </a:lnTo>
                  <a:lnTo>
                    <a:pt x="37" y="71"/>
                  </a:lnTo>
                  <a:lnTo>
                    <a:pt x="34" y="71"/>
                  </a:lnTo>
                  <a:lnTo>
                    <a:pt x="32" y="71"/>
                  </a:lnTo>
                  <a:lnTo>
                    <a:pt x="29" y="71"/>
                  </a:lnTo>
                  <a:lnTo>
                    <a:pt x="26" y="71"/>
                  </a:lnTo>
                  <a:lnTo>
                    <a:pt x="23" y="71"/>
                  </a:lnTo>
                  <a:lnTo>
                    <a:pt x="21" y="71"/>
                  </a:lnTo>
                  <a:lnTo>
                    <a:pt x="19" y="67"/>
                  </a:lnTo>
                  <a:lnTo>
                    <a:pt x="16" y="66"/>
                  </a:lnTo>
                  <a:lnTo>
                    <a:pt x="13" y="65"/>
                  </a:lnTo>
                  <a:lnTo>
                    <a:pt x="11" y="61"/>
                  </a:lnTo>
                  <a:lnTo>
                    <a:pt x="13" y="59"/>
                  </a:lnTo>
                  <a:lnTo>
                    <a:pt x="15" y="58"/>
                  </a:lnTo>
                  <a:lnTo>
                    <a:pt x="17" y="57"/>
                  </a:lnTo>
                  <a:lnTo>
                    <a:pt x="21" y="57"/>
                  </a:lnTo>
                  <a:lnTo>
                    <a:pt x="23" y="56"/>
                  </a:lnTo>
                  <a:lnTo>
                    <a:pt x="26" y="56"/>
                  </a:lnTo>
                  <a:lnTo>
                    <a:pt x="32" y="55"/>
                  </a:lnTo>
                  <a:lnTo>
                    <a:pt x="33" y="54"/>
                  </a:lnTo>
                  <a:lnTo>
                    <a:pt x="36" y="52"/>
                  </a:lnTo>
                  <a:lnTo>
                    <a:pt x="39" y="52"/>
                  </a:lnTo>
                  <a:lnTo>
                    <a:pt x="41" y="52"/>
                  </a:lnTo>
                  <a:lnTo>
                    <a:pt x="45" y="51"/>
                  </a:lnTo>
                  <a:lnTo>
                    <a:pt x="41" y="50"/>
                  </a:lnTo>
                  <a:lnTo>
                    <a:pt x="45" y="49"/>
                  </a:lnTo>
                  <a:lnTo>
                    <a:pt x="47" y="49"/>
                  </a:lnTo>
                  <a:lnTo>
                    <a:pt x="50" y="49"/>
                  </a:lnTo>
                  <a:lnTo>
                    <a:pt x="53" y="49"/>
                  </a:lnTo>
                  <a:lnTo>
                    <a:pt x="56" y="48"/>
                  </a:lnTo>
                  <a:lnTo>
                    <a:pt x="53" y="49"/>
                  </a:lnTo>
                  <a:lnTo>
                    <a:pt x="50" y="48"/>
                  </a:lnTo>
                  <a:lnTo>
                    <a:pt x="47" y="47"/>
                  </a:lnTo>
                  <a:lnTo>
                    <a:pt x="45" y="48"/>
                  </a:lnTo>
                  <a:lnTo>
                    <a:pt x="42" y="48"/>
                  </a:lnTo>
                  <a:lnTo>
                    <a:pt x="39" y="49"/>
                  </a:lnTo>
                  <a:lnTo>
                    <a:pt x="37" y="49"/>
                  </a:lnTo>
                  <a:lnTo>
                    <a:pt x="33" y="49"/>
                  </a:lnTo>
                  <a:lnTo>
                    <a:pt x="31" y="50"/>
                  </a:lnTo>
                  <a:lnTo>
                    <a:pt x="28" y="50"/>
                  </a:lnTo>
                  <a:lnTo>
                    <a:pt x="25" y="51"/>
                  </a:lnTo>
                  <a:lnTo>
                    <a:pt x="23" y="50"/>
                  </a:lnTo>
                  <a:lnTo>
                    <a:pt x="20" y="51"/>
                  </a:lnTo>
                  <a:lnTo>
                    <a:pt x="17" y="51"/>
                  </a:lnTo>
                  <a:lnTo>
                    <a:pt x="14" y="51"/>
                  </a:lnTo>
                  <a:lnTo>
                    <a:pt x="12" y="49"/>
                  </a:lnTo>
                  <a:lnTo>
                    <a:pt x="14" y="48"/>
                  </a:lnTo>
                  <a:lnTo>
                    <a:pt x="17" y="48"/>
                  </a:lnTo>
                  <a:lnTo>
                    <a:pt x="20" y="47"/>
                  </a:lnTo>
                  <a:lnTo>
                    <a:pt x="17" y="45"/>
                  </a:lnTo>
                  <a:lnTo>
                    <a:pt x="14" y="45"/>
                  </a:lnTo>
                  <a:lnTo>
                    <a:pt x="12" y="46"/>
                  </a:lnTo>
                  <a:lnTo>
                    <a:pt x="10" y="45"/>
                  </a:lnTo>
                  <a:lnTo>
                    <a:pt x="6" y="45"/>
                  </a:lnTo>
                  <a:lnTo>
                    <a:pt x="4" y="47"/>
                  </a:lnTo>
                  <a:lnTo>
                    <a:pt x="0" y="43"/>
                  </a:lnTo>
                  <a:lnTo>
                    <a:pt x="0" y="41"/>
                  </a:lnTo>
                  <a:lnTo>
                    <a:pt x="0" y="39"/>
                  </a:lnTo>
                  <a:lnTo>
                    <a:pt x="4" y="35"/>
                  </a:lnTo>
                  <a:lnTo>
                    <a:pt x="6" y="33"/>
                  </a:lnTo>
                  <a:lnTo>
                    <a:pt x="8" y="31"/>
                  </a:lnTo>
                  <a:lnTo>
                    <a:pt x="12" y="31"/>
                  </a:lnTo>
                  <a:lnTo>
                    <a:pt x="14" y="30"/>
                  </a:lnTo>
                  <a:lnTo>
                    <a:pt x="13" y="26"/>
                  </a:lnTo>
                  <a:lnTo>
                    <a:pt x="11" y="26"/>
                  </a:lnTo>
                  <a:lnTo>
                    <a:pt x="7" y="24"/>
                  </a:lnTo>
                  <a:lnTo>
                    <a:pt x="11" y="22"/>
                  </a:lnTo>
                  <a:lnTo>
                    <a:pt x="13" y="20"/>
                  </a:lnTo>
                  <a:lnTo>
                    <a:pt x="16" y="18"/>
                  </a:lnTo>
                  <a:lnTo>
                    <a:pt x="19" y="16"/>
                  </a:lnTo>
                  <a:lnTo>
                    <a:pt x="21" y="15"/>
                  </a:lnTo>
                  <a:lnTo>
                    <a:pt x="24" y="13"/>
                  </a:lnTo>
                  <a:lnTo>
                    <a:pt x="26" y="12"/>
                  </a:lnTo>
                  <a:lnTo>
                    <a:pt x="30" y="11"/>
                  </a:lnTo>
                  <a:lnTo>
                    <a:pt x="32" y="9"/>
                  </a:lnTo>
                  <a:lnTo>
                    <a:pt x="36" y="8"/>
                  </a:lnTo>
                  <a:lnTo>
                    <a:pt x="38" y="8"/>
                  </a:lnTo>
                  <a:lnTo>
                    <a:pt x="40" y="6"/>
                  </a:lnTo>
                  <a:lnTo>
                    <a:pt x="43" y="6"/>
                  </a:lnTo>
                  <a:lnTo>
                    <a:pt x="46" y="5"/>
                  </a:lnTo>
                  <a:lnTo>
                    <a:pt x="49" y="5"/>
                  </a:lnTo>
                  <a:lnTo>
                    <a:pt x="51" y="4"/>
                  </a:lnTo>
                  <a:lnTo>
                    <a:pt x="55" y="3"/>
                  </a:lnTo>
                  <a:lnTo>
                    <a:pt x="57" y="1"/>
                  </a:lnTo>
                  <a:lnTo>
                    <a:pt x="59" y="0"/>
                  </a:lnTo>
                  <a:lnTo>
                    <a:pt x="62" y="0"/>
                  </a:lnTo>
                  <a:lnTo>
                    <a:pt x="64" y="0"/>
                  </a:lnTo>
                  <a:lnTo>
                    <a:pt x="67" y="1"/>
                  </a:lnTo>
                  <a:lnTo>
                    <a:pt x="70" y="4"/>
                  </a:lnTo>
                  <a:lnTo>
                    <a:pt x="71" y="6"/>
                  </a:lnTo>
                  <a:lnTo>
                    <a:pt x="71" y="9"/>
                  </a:lnTo>
                  <a:lnTo>
                    <a:pt x="70" y="12"/>
                  </a:lnTo>
                  <a:lnTo>
                    <a:pt x="71" y="15"/>
                  </a:lnTo>
                  <a:lnTo>
                    <a:pt x="68" y="15"/>
                  </a:lnTo>
                  <a:lnTo>
                    <a:pt x="66" y="16"/>
                  </a:lnTo>
                  <a:lnTo>
                    <a:pt x="65" y="18"/>
                  </a:lnTo>
                  <a:lnTo>
                    <a:pt x="63" y="20"/>
                  </a:lnTo>
                  <a:lnTo>
                    <a:pt x="63" y="21"/>
                  </a:lnTo>
                  <a:lnTo>
                    <a:pt x="65" y="22"/>
                  </a:lnTo>
                  <a:lnTo>
                    <a:pt x="67" y="21"/>
                  </a:lnTo>
                  <a:lnTo>
                    <a:pt x="71" y="18"/>
                  </a:lnTo>
                  <a:lnTo>
                    <a:pt x="73" y="20"/>
                  </a:lnTo>
                  <a:lnTo>
                    <a:pt x="76" y="20"/>
                  </a:lnTo>
                  <a:lnTo>
                    <a:pt x="79" y="17"/>
                  </a:lnTo>
                  <a:lnTo>
                    <a:pt x="76" y="16"/>
                  </a:lnTo>
                  <a:lnTo>
                    <a:pt x="77" y="14"/>
                  </a:lnTo>
                  <a:lnTo>
                    <a:pt x="81" y="11"/>
                  </a:lnTo>
                  <a:lnTo>
                    <a:pt x="83" y="9"/>
                  </a:lnTo>
                  <a:lnTo>
                    <a:pt x="87" y="9"/>
                  </a:lnTo>
                  <a:lnTo>
                    <a:pt x="89" y="11"/>
                  </a:lnTo>
                  <a:lnTo>
                    <a:pt x="91" y="12"/>
                  </a:lnTo>
                  <a:lnTo>
                    <a:pt x="94" y="13"/>
                  </a:lnTo>
                  <a:lnTo>
                    <a:pt x="97" y="13"/>
                  </a:lnTo>
                  <a:lnTo>
                    <a:pt x="100" y="14"/>
                  </a:lnTo>
                  <a:lnTo>
                    <a:pt x="104" y="15"/>
                  </a:lnTo>
                  <a:lnTo>
                    <a:pt x="106" y="16"/>
                  </a:lnTo>
                  <a:lnTo>
                    <a:pt x="108" y="17"/>
                  </a:lnTo>
                  <a:lnTo>
                    <a:pt x="108" y="18"/>
                  </a:lnTo>
                  <a:lnTo>
                    <a:pt x="108" y="21"/>
                  </a:lnTo>
                  <a:lnTo>
                    <a:pt x="106" y="23"/>
                  </a:lnTo>
                  <a:lnTo>
                    <a:pt x="102" y="25"/>
                  </a:lnTo>
                  <a:lnTo>
                    <a:pt x="100" y="28"/>
                  </a:lnTo>
                  <a:lnTo>
                    <a:pt x="102" y="28"/>
                  </a:lnTo>
                  <a:lnTo>
                    <a:pt x="101" y="30"/>
                  </a:lnTo>
                  <a:lnTo>
                    <a:pt x="104" y="28"/>
                  </a:lnTo>
                  <a:lnTo>
                    <a:pt x="105" y="25"/>
                  </a:lnTo>
                  <a:lnTo>
                    <a:pt x="108" y="26"/>
                  </a:lnTo>
                  <a:lnTo>
                    <a:pt x="110" y="26"/>
                  </a:lnTo>
                  <a:lnTo>
                    <a:pt x="111" y="23"/>
                  </a:lnTo>
                  <a:lnTo>
                    <a:pt x="115" y="22"/>
                  </a:lnTo>
                  <a:lnTo>
                    <a:pt x="117" y="23"/>
                  </a:lnTo>
                  <a:lnTo>
                    <a:pt x="121" y="24"/>
                  </a:lnTo>
                  <a:lnTo>
                    <a:pt x="121" y="22"/>
                  </a:lnTo>
                  <a:lnTo>
                    <a:pt x="125" y="24"/>
                  </a:lnTo>
                  <a:lnTo>
                    <a:pt x="128" y="24"/>
                  </a:lnTo>
                  <a:lnTo>
                    <a:pt x="125" y="23"/>
                  </a:lnTo>
                  <a:lnTo>
                    <a:pt x="123" y="21"/>
                  </a:lnTo>
                  <a:lnTo>
                    <a:pt x="125" y="22"/>
                  </a:lnTo>
                  <a:lnTo>
                    <a:pt x="128" y="23"/>
                  </a:lnTo>
                  <a:lnTo>
                    <a:pt x="125" y="20"/>
                  </a:lnTo>
                  <a:lnTo>
                    <a:pt x="125" y="20"/>
                  </a:lnTo>
                  <a:lnTo>
                    <a:pt x="123" y="17"/>
                  </a:lnTo>
                  <a:lnTo>
                    <a:pt x="125" y="17"/>
                  </a:lnTo>
                  <a:lnTo>
                    <a:pt x="125" y="17"/>
                  </a:lnTo>
                  <a:lnTo>
                    <a:pt x="128" y="17"/>
                  </a:lnTo>
                  <a:lnTo>
                    <a:pt x="125" y="16"/>
                  </a:lnTo>
                  <a:lnTo>
                    <a:pt x="124" y="16"/>
                  </a:lnTo>
                  <a:lnTo>
                    <a:pt x="121" y="14"/>
                  </a:lnTo>
                  <a:lnTo>
                    <a:pt x="118" y="14"/>
                  </a:lnTo>
                  <a:lnTo>
                    <a:pt x="116" y="12"/>
                  </a:lnTo>
                  <a:lnTo>
                    <a:pt x="117" y="9"/>
                  </a:lnTo>
                  <a:lnTo>
                    <a:pt x="119" y="9"/>
                  </a:lnTo>
                  <a:lnTo>
                    <a:pt x="123" y="9"/>
                  </a:lnTo>
                  <a:lnTo>
                    <a:pt x="125" y="11"/>
                  </a:lnTo>
                  <a:lnTo>
                    <a:pt x="127" y="11"/>
                  </a:lnTo>
                  <a:lnTo>
                    <a:pt x="130" y="12"/>
                  </a:lnTo>
                  <a:lnTo>
                    <a:pt x="131" y="14"/>
                  </a:lnTo>
                  <a:lnTo>
                    <a:pt x="134" y="16"/>
                  </a:lnTo>
                  <a:lnTo>
                    <a:pt x="136" y="16"/>
                  </a:lnTo>
                  <a:lnTo>
                    <a:pt x="136" y="17"/>
                  </a:lnTo>
                  <a:lnTo>
                    <a:pt x="140" y="18"/>
                  </a:lnTo>
                  <a:lnTo>
                    <a:pt x="139" y="21"/>
                  </a:lnTo>
                  <a:lnTo>
                    <a:pt x="142" y="21"/>
                  </a:lnTo>
                  <a:lnTo>
                    <a:pt x="144" y="22"/>
                  </a:lnTo>
                  <a:lnTo>
                    <a:pt x="144" y="25"/>
                  </a:lnTo>
                  <a:lnTo>
                    <a:pt x="144" y="28"/>
                  </a:lnTo>
                  <a:lnTo>
                    <a:pt x="145" y="31"/>
                  </a:lnTo>
                  <a:lnTo>
                    <a:pt x="147" y="33"/>
                  </a:lnTo>
                  <a:lnTo>
                    <a:pt x="147" y="35"/>
                  </a:lnTo>
                  <a:lnTo>
                    <a:pt x="150" y="38"/>
                  </a:lnTo>
                  <a:lnTo>
                    <a:pt x="149" y="40"/>
                  </a:lnTo>
                  <a:lnTo>
                    <a:pt x="150" y="43"/>
                  </a:lnTo>
                  <a:lnTo>
                    <a:pt x="152" y="43"/>
                  </a:lnTo>
                  <a:lnTo>
                    <a:pt x="156" y="46"/>
                  </a:lnTo>
                  <a:lnTo>
                    <a:pt x="154" y="43"/>
                  </a:lnTo>
                  <a:lnTo>
                    <a:pt x="158" y="42"/>
                  </a:lnTo>
                  <a:lnTo>
                    <a:pt x="160" y="41"/>
                  </a:lnTo>
                  <a:lnTo>
                    <a:pt x="162" y="40"/>
                  </a:lnTo>
                  <a:lnTo>
                    <a:pt x="161" y="38"/>
                  </a:lnTo>
                  <a:lnTo>
                    <a:pt x="159" y="35"/>
                  </a:lnTo>
                  <a:lnTo>
                    <a:pt x="158" y="33"/>
                  </a:lnTo>
                  <a:lnTo>
                    <a:pt x="156" y="31"/>
                  </a:lnTo>
                  <a:lnTo>
                    <a:pt x="157" y="28"/>
                  </a:lnTo>
                  <a:lnTo>
                    <a:pt x="154" y="25"/>
                  </a:lnTo>
                  <a:lnTo>
                    <a:pt x="154" y="23"/>
                  </a:lnTo>
                  <a:lnTo>
                    <a:pt x="152" y="20"/>
                  </a:lnTo>
                  <a:lnTo>
                    <a:pt x="152" y="17"/>
                  </a:lnTo>
                  <a:lnTo>
                    <a:pt x="151" y="16"/>
                  </a:lnTo>
                  <a:lnTo>
                    <a:pt x="151" y="14"/>
                  </a:lnTo>
                  <a:lnTo>
                    <a:pt x="150" y="11"/>
                  </a:lnTo>
                  <a:lnTo>
                    <a:pt x="151" y="8"/>
                  </a:lnTo>
                  <a:lnTo>
                    <a:pt x="149" y="6"/>
                  </a:lnTo>
                  <a:lnTo>
                    <a:pt x="151" y="5"/>
                  </a:lnTo>
                  <a:lnTo>
                    <a:pt x="154" y="5"/>
                  </a:lnTo>
                  <a:lnTo>
                    <a:pt x="151" y="4"/>
                  </a:lnTo>
                  <a:lnTo>
                    <a:pt x="152" y="0"/>
                  </a:lnTo>
                  <a:lnTo>
                    <a:pt x="156" y="1"/>
                  </a:lnTo>
                  <a:lnTo>
                    <a:pt x="158" y="1"/>
                  </a:lnTo>
                  <a:lnTo>
                    <a:pt x="160" y="3"/>
                  </a:lnTo>
                  <a:lnTo>
                    <a:pt x="164" y="5"/>
                  </a:lnTo>
                  <a:lnTo>
                    <a:pt x="166" y="5"/>
                  </a:lnTo>
                  <a:lnTo>
                    <a:pt x="166" y="1"/>
                  </a:lnTo>
                  <a:lnTo>
                    <a:pt x="168" y="1"/>
                  </a:lnTo>
                  <a:lnTo>
                    <a:pt x="171" y="4"/>
                  </a:lnTo>
                  <a:lnTo>
                    <a:pt x="174" y="5"/>
                  </a:lnTo>
                  <a:lnTo>
                    <a:pt x="177" y="7"/>
                  </a:lnTo>
                  <a:lnTo>
                    <a:pt x="179" y="8"/>
                  </a:lnTo>
                  <a:lnTo>
                    <a:pt x="183" y="9"/>
                  </a:lnTo>
                  <a:lnTo>
                    <a:pt x="185" y="12"/>
                  </a:lnTo>
                  <a:lnTo>
                    <a:pt x="187" y="14"/>
                  </a:lnTo>
                  <a:lnTo>
                    <a:pt x="187" y="17"/>
                  </a:lnTo>
                  <a:lnTo>
                    <a:pt x="190" y="20"/>
                  </a:lnTo>
                  <a:lnTo>
                    <a:pt x="191" y="23"/>
                  </a:lnTo>
                  <a:lnTo>
                    <a:pt x="191" y="25"/>
                  </a:lnTo>
                  <a:lnTo>
                    <a:pt x="192" y="28"/>
                  </a:lnTo>
                  <a:lnTo>
                    <a:pt x="194" y="31"/>
                  </a:lnTo>
                  <a:lnTo>
                    <a:pt x="194" y="33"/>
                  </a:lnTo>
                  <a:lnTo>
                    <a:pt x="195" y="37"/>
                  </a:lnTo>
                  <a:lnTo>
                    <a:pt x="196" y="39"/>
                  </a:lnTo>
                  <a:lnTo>
                    <a:pt x="199" y="41"/>
                  </a:lnTo>
                  <a:lnTo>
                    <a:pt x="201" y="45"/>
                  </a:lnTo>
                  <a:lnTo>
                    <a:pt x="202" y="47"/>
                  </a:lnTo>
                  <a:lnTo>
                    <a:pt x="203" y="49"/>
                  </a:lnTo>
                  <a:lnTo>
                    <a:pt x="203" y="52"/>
                  </a:lnTo>
                  <a:lnTo>
                    <a:pt x="201" y="54"/>
                  </a:lnTo>
                  <a:lnTo>
                    <a:pt x="201" y="56"/>
                  </a:lnTo>
                  <a:lnTo>
                    <a:pt x="199" y="58"/>
                  </a:lnTo>
                  <a:lnTo>
                    <a:pt x="202" y="61"/>
                  </a:lnTo>
                  <a:lnTo>
                    <a:pt x="204" y="61"/>
                  </a:lnTo>
                  <a:lnTo>
                    <a:pt x="207" y="65"/>
                  </a:lnTo>
                  <a:lnTo>
                    <a:pt x="209" y="67"/>
                  </a:lnTo>
                  <a:lnTo>
                    <a:pt x="211" y="68"/>
                  </a:lnTo>
                  <a:lnTo>
                    <a:pt x="215" y="71"/>
                  </a:lnTo>
                  <a:lnTo>
                    <a:pt x="217" y="71"/>
                  </a:lnTo>
                  <a:lnTo>
                    <a:pt x="220" y="73"/>
                  </a:lnTo>
                  <a:lnTo>
                    <a:pt x="222" y="73"/>
                  </a:lnTo>
                  <a:lnTo>
                    <a:pt x="220" y="72"/>
                  </a:lnTo>
                  <a:lnTo>
                    <a:pt x="219" y="69"/>
                  </a:lnTo>
                  <a:lnTo>
                    <a:pt x="222" y="71"/>
                  </a:lnTo>
                  <a:lnTo>
                    <a:pt x="224" y="74"/>
                  </a:lnTo>
                  <a:lnTo>
                    <a:pt x="227" y="74"/>
                  </a:lnTo>
                  <a:lnTo>
                    <a:pt x="229" y="75"/>
                  </a:lnTo>
                  <a:lnTo>
                    <a:pt x="233" y="77"/>
                  </a:lnTo>
                  <a:lnTo>
                    <a:pt x="235" y="78"/>
                  </a:lnTo>
                  <a:lnTo>
                    <a:pt x="237" y="78"/>
                  </a:lnTo>
                  <a:lnTo>
                    <a:pt x="241" y="80"/>
                  </a:lnTo>
                  <a:lnTo>
                    <a:pt x="241" y="82"/>
                  </a:lnTo>
                  <a:lnTo>
                    <a:pt x="243" y="82"/>
                  </a:lnTo>
                  <a:lnTo>
                    <a:pt x="246" y="82"/>
                  </a:lnTo>
                  <a:lnTo>
                    <a:pt x="249" y="83"/>
                  </a:lnTo>
                  <a:lnTo>
                    <a:pt x="250" y="85"/>
                  </a:lnTo>
                  <a:lnTo>
                    <a:pt x="25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2" name="Freeform 232">
              <a:extLst>
                <a:ext uri="{FF2B5EF4-FFF2-40B4-BE49-F238E27FC236}">
                  <a16:creationId xmlns:a16="http://schemas.microsoft.com/office/drawing/2014/main" id="{39CDCEFA-A1B8-4F4F-91CF-3ED5622C8A98}"/>
                </a:ext>
              </a:extLst>
            </p:cNvPr>
            <p:cNvSpPr>
              <a:spLocks noEditPoints="1"/>
            </p:cNvSpPr>
            <p:nvPr/>
          </p:nvSpPr>
          <p:spPr bwMode="auto">
            <a:xfrm>
              <a:off x="3743325" y="2311400"/>
              <a:ext cx="450850" cy="188913"/>
            </a:xfrm>
            <a:custGeom>
              <a:avLst/>
              <a:gdLst>
                <a:gd name="T0" fmla="*/ 235 w 284"/>
                <a:gd name="T1" fmla="*/ 46 h 119"/>
                <a:gd name="T2" fmla="*/ 229 w 284"/>
                <a:gd name="T3" fmla="*/ 57 h 119"/>
                <a:gd name="T4" fmla="*/ 238 w 284"/>
                <a:gd name="T5" fmla="*/ 59 h 119"/>
                <a:gd name="T6" fmla="*/ 227 w 284"/>
                <a:gd name="T7" fmla="*/ 62 h 119"/>
                <a:gd name="T8" fmla="*/ 220 w 284"/>
                <a:gd name="T9" fmla="*/ 71 h 119"/>
                <a:gd name="T10" fmla="*/ 203 w 284"/>
                <a:gd name="T11" fmla="*/ 73 h 119"/>
                <a:gd name="T12" fmla="*/ 188 w 284"/>
                <a:gd name="T13" fmla="*/ 66 h 119"/>
                <a:gd name="T14" fmla="*/ 183 w 284"/>
                <a:gd name="T15" fmla="*/ 70 h 119"/>
                <a:gd name="T16" fmla="*/ 166 w 284"/>
                <a:gd name="T17" fmla="*/ 72 h 119"/>
                <a:gd name="T18" fmla="*/ 155 w 284"/>
                <a:gd name="T19" fmla="*/ 68 h 119"/>
                <a:gd name="T20" fmla="*/ 143 w 284"/>
                <a:gd name="T21" fmla="*/ 73 h 119"/>
                <a:gd name="T22" fmla="*/ 130 w 284"/>
                <a:gd name="T23" fmla="*/ 71 h 119"/>
                <a:gd name="T24" fmla="*/ 113 w 284"/>
                <a:gd name="T25" fmla="*/ 70 h 119"/>
                <a:gd name="T26" fmla="*/ 108 w 284"/>
                <a:gd name="T27" fmla="*/ 64 h 119"/>
                <a:gd name="T28" fmla="*/ 94 w 284"/>
                <a:gd name="T29" fmla="*/ 70 h 119"/>
                <a:gd name="T30" fmla="*/ 83 w 284"/>
                <a:gd name="T31" fmla="*/ 64 h 119"/>
                <a:gd name="T32" fmla="*/ 74 w 284"/>
                <a:gd name="T33" fmla="*/ 68 h 119"/>
                <a:gd name="T34" fmla="*/ 66 w 284"/>
                <a:gd name="T35" fmla="*/ 54 h 119"/>
                <a:gd name="T36" fmla="*/ 67 w 284"/>
                <a:gd name="T37" fmla="*/ 42 h 119"/>
                <a:gd name="T38" fmla="*/ 58 w 284"/>
                <a:gd name="T39" fmla="*/ 28 h 119"/>
                <a:gd name="T40" fmla="*/ 42 w 284"/>
                <a:gd name="T41" fmla="*/ 23 h 119"/>
                <a:gd name="T42" fmla="*/ 24 w 284"/>
                <a:gd name="T43" fmla="*/ 24 h 119"/>
                <a:gd name="T44" fmla="*/ 16 w 284"/>
                <a:gd name="T45" fmla="*/ 20 h 119"/>
                <a:gd name="T46" fmla="*/ 11 w 284"/>
                <a:gd name="T47" fmla="*/ 14 h 119"/>
                <a:gd name="T48" fmla="*/ 4 w 284"/>
                <a:gd name="T49" fmla="*/ 9 h 119"/>
                <a:gd name="T50" fmla="*/ 8 w 284"/>
                <a:gd name="T51" fmla="*/ 0 h 119"/>
                <a:gd name="T52" fmla="*/ 25 w 284"/>
                <a:gd name="T53" fmla="*/ 3 h 119"/>
                <a:gd name="T54" fmla="*/ 42 w 284"/>
                <a:gd name="T55" fmla="*/ 5 h 119"/>
                <a:gd name="T56" fmla="*/ 44 w 284"/>
                <a:gd name="T57" fmla="*/ 19 h 119"/>
                <a:gd name="T58" fmla="*/ 61 w 284"/>
                <a:gd name="T59" fmla="*/ 14 h 119"/>
                <a:gd name="T60" fmla="*/ 82 w 284"/>
                <a:gd name="T61" fmla="*/ 13 h 119"/>
                <a:gd name="T62" fmla="*/ 77 w 284"/>
                <a:gd name="T63" fmla="*/ 16 h 119"/>
                <a:gd name="T64" fmla="*/ 89 w 284"/>
                <a:gd name="T65" fmla="*/ 20 h 119"/>
                <a:gd name="T66" fmla="*/ 104 w 284"/>
                <a:gd name="T67" fmla="*/ 23 h 119"/>
                <a:gd name="T68" fmla="*/ 91 w 284"/>
                <a:gd name="T69" fmla="*/ 25 h 119"/>
                <a:gd name="T70" fmla="*/ 77 w 284"/>
                <a:gd name="T71" fmla="*/ 24 h 119"/>
                <a:gd name="T72" fmla="*/ 87 w 284"/>
                <a:gd name="T73" fmla="*/ 28 h 119"/>
                <a:gd name="T74" fmla="*/ 82 w 284"/>
                <a:gd name="T75" fmla="*/ 30 h 119"/>
                <a:gd name="T76" fmla="*/ 94 w 284"/>
                <a:gd name="T77" fmla="*/ 30 h 119"/>
                <a:gd name="T78" fmla="*/ 105 w 284"/>
                <a:gd name="T79" fmla="*/ 38 h 119"/>
                <a:gd name="T80" fmla="*/ 105 w 284"/>
                <a:gd name="T81" fmla="*/ 43 h 119"/>
                <a:gd name="T82" fmla="*/ 116 w 284"/>
                <a:gd name="T83" fmla="*/ 42 h 119"/>
                <a:gd name="T84" fmla="*/ 130 w 284"/>
                <a:gd name="T85" fmla="*/ 41 h 119"/>
                <a:gd name="T86" fmla="*/ 146 w 284"/>
                <a:gd name="T87" fmla="*/ 47 h 119"/>
                <a:gd name="T88" fmla="*/ 152 w 284"/>
                <a:gd name="T89" fmla="*/ 43 h 119"/>
                <a:gd name="T90" fmla="*/ 168 w 284"/>
                <a:gd name="T91" fmla="*/ 39 h 119"/>
                <a:gd name="T92" fmla="*/ 185 w 284"/>
                <a:gd name="T93" fmla="*/ 38 h 119"/>
                <a:gd name="T94" fmla="*/ 204 w 284"/>
                <a:gd name="T95" fmla="*/ 36 h 119"/>
                <a:gd name="T96" fmla="*/ 220 w 284"/>
                <a:gd name="T97" fmla="*/ 41 h 119"/>
                <a:gd name="T98" fmla="*/ 231 w 284"/>
                <a:gd name="T99" fmla="*/ 93 h 119"/>
                <a:gd name="T100" fmla="*/ 248 w 284"/>
                <a:gd name="T101" fmla="*/ 94 h 119"/>
                <a:gd name="T102" fmla="*/ 265 w 284"/>
                <a:gd name="T103" fmla="*/ 97 h 119"/>
                <a:gd name="T104" fmla="*/ 279 w 284"/>
                <a:gd name="T105" fmla="*/ 109 h 119"/>
                <a:gd name="T106" fmla="*/ 275 w 284"/>
                <a:gd name="T107" fmla="*/ 116 h 119"/>
                <a:gd name="T108" fmla="*/ 254 w 284"/>
                <a:gd name="T109" fmla="*/ 115 h 119"/>
                <a:gd name="T110" fmla="*/ 237 w 284"/>
                <a:gd name="T111" fmla="*/ 118 h 119"/>
                <a:gd name="T112" fmla="*/ 228 w 284"/>
                <a:gd name="T113" fmla="*/ 106 h 119"/>
                <a:gd name="T114" fmla="*/ 220 w 284"/>
                <a:gd name="T115" fmla="*/ 94 h 119"/>
                <a:gd name="T116" fmla="*/ 231 w 284"/>
                <a:gd name="T117" fmla="*/ 9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 h="119">
                  <a:moveTo>
                    <a:pt x="231" y="43"/>
                  </a:moveTo>
                  <a:lnTo>
                    <a:pt x="231" y="43"/>
                  </a:lnTo>
                  <a:lnTo>
                    <a:pt x="228" y="46"/>
                  </a:lnTo>
                  <a:lnTo>
                    <a:pt x="231" y="46"/>
                  </a:lnTo>
                  <a:lnTo>
                    <a:pt x="232" y="46"/>
                  </a:lnTo>
                  <a:lnTo>
                    <a:pt x="235" y="46"/>
                  </a:lnTo>
                  <a:lnTo>
                    <a:pt x="238" y="48"/>
                  </a:lnTo>
                  <a:lnTo>
                    <a:pt x="237" y="50"/>
                  </a:lnTo>
                  <a:lnTo>
                    <a:pt x="237" y="53"/>
                  </a:lnTo>
                  <a:lnTo>
                    <a:pt x="233" y="54"/>
                  </a:lnTo>
                  <a:lnTo>
                    <a:pt x="231" y="56"/>
                  </a:lnTo>
                  <a:lnTo>
                    <a:pt x="229" y="57"/>
                  </a:lnTo>
                  <a:lnTo>
                    <a:pt x="226" y="58"/>
                  </a:lnTo>
                  <a:lnTo>
                    <a:pt x="229" y="59"/>
                  </a:lnTo>
                  <a:lnTo>
                    <a:pt x="231" y="58"/>
                  </a:lnTo>
                  <a:lnTo>
                    <a:pt x="232" y="58"/>
                  </a:lnTo>
                  <a:lnTo>
                    <a:pt x="235" y="57"/>
                  </a:lnTo>
                  <a:lnTo>
                    <a:pt x="238" y="59"/>
                  </a:lnTo>
                  <a:lnTo>
                    <a:pt x="239" y="62"/>
                  </a:lnTo>
                  <a:lnTo>
                    <a:pt x="237" y="63"/>
                  </a:lnTo>
                  <a:lnTo>
                    <a:pt x="233" y="63"/>
                  </a:lnTo>
                  <a:lnTo>
                    <a:pt x="231" y="63"/>
                  </a:lnTo>
                  <a:lnTo>
                    <a:pt x="229" y="63"/>
                  </a:lnTo>
                  <a:lnTo>
                    <a:pt x="227" y="62"/>
                  </a:lnTo>
                  <a:lnTo>
                    <a:pt x="229" y="64"/>
                  </a:lnTo>
                  <a:lnTo>
                    <a:pt x="228" y="67"/>
                  </a:lnTo>
                  <a:lnTo>
                    <a:pt x="228" y="70"/>
                  </a:lnTo>
                  <a:lnTo>
                    <a:pt x="226" y="70"/>
                  </a:lnTo>
                  <a:lnTo>
                    <a:pt x="222" y="71"/>
                  </a:lnTo>
                  <a:lnTo>
                    <a:pt x="220" y="71"/>
                  </a:lnTo>
                  <a:lnTo>
                    <a:pt x="217" y="70"/>
                  </a:lnTo>
                  <a:lnTo>
                    <a:pt x="214" y="71"/>
                  </a:lnTo>
                  <a:lnTo>
                    <a:pt x="211" y="72"/>
                  </a:lnTo>
                  <a:lnTo>
                    <a:pt x="209" y="73"/>
                  </a:lnTo>
                  <a:lnTo>
                    <a:pt x="205" y="73"/>
                  </a:lnTo>
                  <a:lnTo>
                    <a:pt x="203" y="73"/>
                  </a:lnTo>
                  <a:lnTo>
                    <a:pt x="200" y="72"/>
                  </a:lnTo>
                  <a:lnTo>
                    <a:pt x="197" y="71"/>
                  </a:lnTo>
                  <a:lnTo>
                    <a:pt x="194" y="72"/>
                  </a:lnTo>
                  <a:lnTo>
                    <a:pt x="192" y="71"/>
                  </a:lnTo>
                  <a:lnTo>
                    <a:pt x="189" y="68"/>
                  </a:lnTo>
                  <a:lnTo>
                    <a:pt x="188" y="66"/>
                  </a:lnTo>
                  <a:lnTo>
                    <a:pt x="188" y="63"/>
                  </a:lnTo>
                  <a:lnTo>
                    <a:pt x="186" y="63"/>
                  </a:lnTo>
                  <a:lnTo>
                    <a:pt x="183" y="63"/>
                  </a:lnTo>
                  <a:lnTo>
                    <a:pt x="186" y="65"/>
                  </a:lnTo>
                  <a:lnTo>
                    <a:pt x="184" y="67"/>
                  </a:lnTo>
                  <a:lnTo>
                    <a:pt x="183" y="70"/>
                  </a:lnTo>
                  <a:lnTo>
                    <a:pt x="180" y="71"/>
                  </a:lnTo>
                  <a:lnTo>
                    <a:pt x="177" y="71"/>
                  </a:lnTo>
                  <a:lnTo>
                    <a:pt x="175" y="72"/>
                  </a:lnTo>
                  <a:lnTo>
                    <a:pt x="171" y="72"/>
                  </a:lnTo>
                  <a:lnTo>
                    <a:pt x="169" y="72"/>
                  </a:lnTo>
                  <a:lnTo>
                    <a:pt x="166" y="72"/>
                  </a:lnTo>
                  <a:lnTo>
                    <a:pt x="163" y="70"/>
                  </a:lnTo>
                  <a:lnTo>
                    <a:pt x="162" y="67"/>
                  </a:lnTo>
                  <a:lnTo>
                    <a:pt x="162" y="70"/>
                  </a:lnTo>
                  <a:lnTo>
                    <a:pt x="160" y="72"/>
                  </a:lnTo>
                  <a:lnTo>
                    <a:pt x="158" y="72"/>
                  </a:lnTo>
                  <a:lnTo>
                    <a:pt x="155" y="68"/>
                  </a:lnTo>
                  <a:lnTo>
                    <a:pt x="155" y="72"/>
                  </a:lnTo>
                  <a:lnTo>
                    <a:pt x="153" y="72"/>
                  </a:lnTo>
                  <a:lnTo>
                    <a:pt x="150" y="73"/>
                  </a:lnTo>
                  <a:lnTo>
                    <a:pt x="147" y="73"/>
                  </a:lnTo>
                  <a:lnTo>
                    <a:pt x="146" y="70"/>
                  </a:lnTo>
                  <a:lnTo>
                    <a:pt x="143" y="73"/>
                  </a:lnTo>
                  <a:lnTo>
                    <a:pt x="141" y="72"/>
                  </a:lnTo>
                  <a:lnTo>
                    <a:pt x="138" y="70"/>
                  </a:lnTo>
                  <a:lnTo>
                    <a:pt x="138" y="73"/>
                  </a:lnTo>
                  <a:lnTo>
                    <a:pt x="136" y="73"/>
                  </a:lnTo>
                  <a:lnTo>
                    <a:pt x="134" y="73"/>
                  </a:lnTo>
                  <a:lnTo>
                    <a:pt x="130" y="71"/>
                  </a:lnTo>
                  <a:lnTo>
                    <a:pt x="128" y="73"/>
                  </a:lnTo>
                  <a:lnTo>
                    <a:pt x="125" y="72"/>
                  </a:lnTo>
                  <a:lnTo>
                    <a:pt x="122" y="73"/>
                  </a:lnTo>
                  <a:lnTo>
                    <a:pt x="119" y="72"/>
                  </a:lnTo>
                  <a:lnTo>
                    <a:pt x="117" y="72"/>
                  </a:lnTo>
                  <a:lnTo>
                    <a:pt x="113" y="70"/>
                  </a:lnTo>
                  <a:lnTo>
                    <a:pt x="116" y="67"/>
                  </a:lnTo>
                  <a:lnTo>
                    <a:pt x="115" y="64"/>
                  </a:lnTo>
                  <a:lnTo>
                    <a:pt x="113" y="62"/>
                  </a:lnTo>
                  <a:lnTo>
                    <a:pt x="111" y="64"/>
                  </a:lnTo>
                  <a:lnTo>
                    <a:pt x="110" y="67"/>
                  </a:lnTo>
                  <a:lnTo>
                    <a:pt x="108" y="64"/>
                  </a:lnTo>
                  <a:lnTo>
                    <a:pt x="107" y="67"/>
                  </a:lnTo>
                  <a:lnTo>
                    <a:pt x="105" y="70"/>
                  </a:lnTo>
                  <a:lnTo>
                    <a:pt x="102" y="70"/>
                  </a:lnTo>
                  <a:lnTo>
                    <a:pt x="100" y="71"/>
                  </a:lnTo>
                  <a:lnTo>
                    <a:pt x="98" y="71"/>
                  </a:lnTo>
                  <a:lnTo>
                    <a:pt x="94" y="70"/>
                  </a:lnTo>
                  <a:lnTo>
                    <a:pt x="93" y="71"/>
                  </a:lnTo>
                  <a:lnTo>
                    <a:pt x="90" y="70"/>
                  </a:lnTo>
                  <a:lnTo>
                    <a:pt x="87" y="70"/>
                  </a:lnTo>
                  <a:lnTo>
                    <a:pt x="85" y="68"/>
                  </a:lnTo>
                  <a:lnTo>
                    <a:pt x="82" y="67"/>
                  </a:lnTo>
                  <a:lnTo>
                    <a:pt x="83" y="64"/>
                  </a:lnTo>
                  <a:lnTo>
                    <a:pt x="83" y="62"/>
                  </a:lnTo>
                  <a:lnTo>
                    <a:pt x="81" y="64"/>
                  </a:lnTo>
                  <a:lnTo>
                    <a:pt x="77" y="66"/>
                  </a:lnTo>
                  <a:lnTo>
                    <a:pt x="79" y="68"/>
                  </a:lnTo>
                  <a:lnTo>
                    <a:pt x="76" y="66"/>
                  </a:lnTo>
                  <a:lnTo>
                    <a:pt x="74" y="68"/>
                  </a:lnTo>
                  <a:lnTo>
                    <a:pt x="70" y="66"/>
                  </a:lnTo>
                  <a:lnTo>
                    <a:pt x="68" y="65"/>
                  </a:lnTo>
                  <a:lnTo>
                    <a:pt x="67" y="63"/>
                  </a:lnTo>
                  <a:lnTo>
                    <a:pt x="66" y="59"/>
                  </a:lnTo>
                  <a:lnTo>
                    <a:pt x="64" y="57"/>
                  </a:lnTo>
                  <a:lnTo>
                    <a:pt x="66" y="54"/>
                  </a:lnTo>
                  <a:lnTo>
                    <a:pt x="62" y="54"/>
                  </a:lnTo>
                  <a:lnTo>
                    <a:pt x="60" y="51"/>
                  </a:lnTo>
                  <a:lnTo>
                    <a:pt x="61" y="48"/>
                  </a:lnTo>
                  <a:lnTo>
                    <a:pt x="61" y="46"/>
                  </a:lnTo>
                  <a:lnTo>
                    <a:pt x="64" y="43"/>
                  </a:lnTo>
                  <a:lnTo>
                    <a:pt x="67" y="42"/>
                  </a:lnTo>
                  <a:lnTo>
                    <a:pt x="66" y="39"/>
                  </a:lnTo>
                  <a:lnTo>
                    <a:pt x="65" y="37"/>
                  </a:lnTo>
                  <a:lnTo>
                    <a:pt x="64" y="33"/>
                  </a:lnTo>
                  <a:lnTo>
                    <a:pt x="60" y="32"/>
                  </a:lnTo>
                  <a:lnTo>
                    <a:pt x="58" y="30"/>
                  </a:lnTo>
                  <a:lnTo>
                    <a:pt x="58" y="28"/>
                  </a:lnTo>
                  <a:lnTo>
                    <a:pt x="56" y="24"/>
                  </a:lnTo>
                  <a:lnTo>
                    <a:pt x="53" y="23"/>
                  </a:lnTo>
                  <a:lnTo>
                    <a:pt x="50" y="20"/>
                  </a:lnTo>
                  <a:lnTo>
                    <a:pt x="47" y="21"/>
                  </a:lnTo>
                  <a:lnTo>
                    <a:pt x="44" y="23"/>
                  </a:lnTo>
                  <a:lnTo>
                    <a:pt x="42" y="23"/>
                  </a:lnTo>
                  <a:lnTo>
                    <a:pt x="39" y="23"/>
                  </a:lnTo>
                  <a:lnTo>
                    <a:pt x="35" y="23"/>
                  </a:lnTo>
                  <a:lnTo>
                    <a:pt x="33" y="23"/>
                  </a:lnTo>
                  <a:lnTo>
                    <a:pt x="30" y="22"/>
                  </a:lnTo>
                  <a:lnTo>
                    <a:pt x="27" y="23"/>
                  </a:lnTo>
                  <a:lnTo>
                    <a:pt x="24" y="24"/>
                  </a:lnTo>
                  <a:lnTo>
                    <a:pt x="22" y="22"/>
                  </a:lnTo>
                  <a:lnTo>
                    <a:pt x="24" y="22"/>
                  </a:lnTo>
                  <a:lnTo>
                    <a:pt x="27" y="21"/>
                  </a:lnTo>
                  <a:lnTo>
                    <a:pt x="21" y="20"/>
                  </a:lnTo>
                  <a:lnTo>
                    <a:pt x="18" y="20"/>
                  </a:lnTo>
                  <a:lnTo>
                    <a:pt x="16" y="20"/>
                  </a:lnTo>
                  <a:lnTo>
                    <a:pt x="13" y="19"/>
                  </a:lnTo>
                  <a:lnTo>
                    <a:pt x="11" y="16"/>
                  </a:lnTo>
                  <a:lnTo>
                    <a:pt x="14" y="16"/>
                  </a:lnTo>
                  <a:lnTo>
                    <a:pt x="16" y="14"/>
                  </a:lnTo>
                  <a:lnTo>
                    <a:pt x="14" y="15"/>
                  </a:lnTo>
                  <a:lnTo>
                    <a:pt x="11" y="14"/>
                  </a:lnTo>
                  <a:lnTo>
                    <a:pt x="8" y="13"/>
                  </a:lnTo>
                  <a:lnTo>
                    <a:pt x="6" y="12"/>
                  </a:lnTo>
                  <a:lnTo>
                    <a:pt x="2" y="11"/>
                  </a:lnTo>
                  <a:lnTo>
                    <a:pt x="0" y="11"/>
                  </a:lnTo>
                  <a:lnTo>
                    <a:pt x="0" y="7"/>
                  </a:lnTo>
                  <a:lnTo>
                    <a:pt x="4" y="9"/>
                  </a:lnTo>
                  <a:lnTo>
                    <a:pt x="6" y="7"/>
                  </a:lnTo>
                  <a:lnTo>
                    <a:pt x="4" y="6"/>
                  </a:lnTo>
                  <a:lnTo>
                    <a:pt x="0" y="4"/>
                  </a:lnTo>
                  <a:lnTo>
                    <a:pt x="4" y="3"/>
                  </a:lnTo>
                  <a:lnTo>
                    <a:pt x="6" y="3"/>
                  </a:lnTo>
                  <a:lnTo>
                    <a:pt x="8" y="0"/>
                  </a:lnTo>
                  <a:lnTo>
                    <a:pt x="11" y="0"/>
                  </a:lnTo>
                  <a:lnTo>
                    <a:pt x="14" y="0"/>
                  </a:lnTo>
                  <a:lnTo>
                    <a:pt x="17" y="0"/>
                  </a:lnTo>
                  <a:lnTo>
                    <a:pt x="21" y="0"/>
                  </a:lnTo>
                  <a:lnTo>
                    <a:pt x="23" y="2"/>
                  </a:lnTo>
                  <a:lnTo>
                    <a:pt x="25" y="3"/>
                  </a:lnTo>
                  <a:lnTo>
                    <a:pt x="28" y="3"/>
                  </a:lnTo>
                  <a:lnTo>
                    <a:pt x="31" y="3"/>
                  </a:lnTo>
                  <a:lnTo>
                    <a:pt x="34" y="5"/>
                  </a:lnTo>
                  <a:lnTo>
                    <a:pt x="36" y="5"/>
                  </a:lnTo>
                  <a:lnTo>
                    <a:pt x="40" y="4"/>
                  </a:lnTo>
                  <a:lnTo>
                    <a:pt x="42" y="5"/>
                  </a:lnTo>
                  <a:lnTo>
                    <a:pt x="45" y="6"/>
                  </a:lnTo>
                  <a:lnTo>
                    <a:pt x="48" y="8"/>
                  </a:lnTo>
                  <a:lnTo>
                    <a:pt x="51" y="11"/>
                  </a:lnTo>
                  <a:lnTo>
                    <a:pt x="50" y="13"/>
                  </a:lnTo>
                  <a:lnTo>
                    <a:pt x="47" y="16"/>
                  </a:lnTo>
                  <a:lnTo>
                    <a:pt x="44" y="19"/>
                  </a:lnTo>
                  <a:lnTo>
                    <a:pt x="48" y="17"/>
                  </a:lnTo>
                  <a:lnTo>
                    <a:pt x="50" y="15"/>
                  </a:lnTo>
                  <a:lnTo>
                    <a:pt x="53" y="13"/>
                  </a:lnTo>
                  <a:lnTo>
                    <a:pt x="56" y="13"/>
                  </a:lnTo>
                  <a:lnTo>
                    <a:pt x="59" y="13"/>
                  </a:lnTo>
                  <a:lnTo>
                    <a:pt x="61" y="14"/>
                  </a:lnTo>
                  <a:lnTo>
                    <a:pt x="65" y="13"/>
                  </a:lnTo>
                  <a:lnTo>
                    <a:pt x="67" y="12"/>
                  </a:lnTo>
                  <a:lnTo>
                    <a:pt x="73" y="12"/>
                  </a:lnTo>
                  <a:lnTo>
                    <a:pt x="76" y="12"/>
                  </a:lnTo>
                  <a:lnTo>
                    <a:pt x="78" y="12"/>
                  </a:lnTo>
                  <a:lnTo>
                    <a:pt x="82" y="13"/>
                  </a:lnTo>
                  <a:lnTo>
                    <a:pt x="84" y="14"/>
                  </a:lnTo>
                  <a:lnTo>
                    <a:pt x="86" y="15"/>
                  </a:lnTo>
                  <a:lnTo>
                    <a:pt x="85" y="17"/>
                  </a:lnTo>
                  <a:lnTo>
                    <a:pt x="83" y="17"/>
                  </a:lnTo>
                  <a:lnTo>
                    <a:pt x="79" y="17"/>
                  </a:lnTo>
                  <a:lnTo>
                    <a:pt x="77" y="16"/>
                  </a:lnTo>
                  <a:lnTo>
                    <a:pt x="74" y="17"/>
                  </a:lnTo>
                  <a:lnTo>
                    <a:pt x="77" y="17"/>
                  </a:lnTo>
                  <a:lnTo>
                    <a:pt x="81" y="17"/>
                  </a:lnTo>
                  <a:lnTo>
                    <a:pt x="83" y="19"/>
                  </a:lnTo>
                  <a:lnTo>
                    <a:pt x="85" y="20"/>
                  </a:lnTo>
                  <a:lnTo>
                    <a:pt x="89" y="20"/>
                  </a:lnTo>
                  <a:lnTo>
                    <a:pt x="92" y="20"/>
                  </a:lnTo>
                  <a:lnTo>
                    <a:pt x="94" y="21"/>
                  </a:lnTo>
                  <a:lnTo>
                    <a:pt x="96" y="21"/>
                  </a:lnTo>
                  <a:lnTo>
                    <a:pt x="99" y="22"/>
                  </a:lnTo>
                  <a:lnTo>
                    <a:pt x="102" y="22"/>
                  </a:lnTo>
                  <a:lnTo>
                    <a:pt x="104" y="23"/>
                  </a:lnTo>
                  <a:lnTo>
                    <a:pt x="103" y="25"/>
                  </a:lnTo>
                  <a:lnTo>
                    <a:pt x="100" y="25"/>
                  </a:lnTo>
                  <a:lnTo>
                    <a:pt x="98" y="26"/>
                  </a:lnTo>
                  <a:lnTo>
                    <a:pt x="94" y="25"/>
                  </a:lnTo>
                  <a:lnTo>
                    <a:pt x="94" y="25"/>
                  </a:lnTo>
                  <a:lnTo>
                    <a:pt x="91" y="25"/>
                  </a:lnTo>
                  <a:lnTo>
                    <a:pt x="89" y="26"/>
                  </a:lnTo>
                  <a:lnTo>
                    <a:pt x="91" y="26"/>
                  </a:lnTo>
                  <a:lnTo>
                    <a:pt x="89" y="26"/>
                  </a:lnTo>
                  <a:lnTo>
                    <a:pt x="85" y="25"/>
                  </a:lnTo>
                  <a:lnTo>
                    <a:pt x="83" y="25"/>
                  </a:lnTo>
                  <a:lnTo>
                    <a:pt x="77" y="24"/>
                  </a:lnTo>
                  <a:lnTo>
                    <a:pt x="74" y="24"/>
                  </a:lnTo>
                  <a:lnTo>
                    <a:pt x="76" y="26"/>
                  </a:lnTo>
                  <a:lnTo>
                    <a:pt x="78" y="26"/>
                  </a:lnTo>
                  <a:lnTo>
                    <a:pt x="82" y="26"/>
                  </a:lnTo>
                  <a:lnTo>
                    <a:pt x="84" y="29"/>
                  </a:lnTo>
                  <a:lnTo>
                    <a:pt x="87" y="28"/>
                  </a:lnTo>
                  <a:lnTo>
                    <a:pt x="90" y="30"/>
                  </a:lnTo>
                  <a:lnTo>
                    <a:pt x="86" y="30"/>
                  </a:lnTo>
                  <a:lnTo>
                    <a:pt x="84" y="30"/>
                  </a:lnTo>
                  <a:lnTo>
                    <a:pt x="82" y="30"/>
                  </a:lnTo>
                  <a:lnTo>
                    <a:pt x="78" y="30"/>
                  </a:lnTo>
                  <a:lnTo>
                    <a:pt x="82" y="30"/>
                  </a:lnTo>
                  <a:lnTo>
                    <a:pt x="81" y="33"/>
                  </a:lnTo>
                  <a:lnTo>
                    <a:pt x="83" y="31"/>
                  </a:lnTo>
                  <a:lnTo>
                    <a:pt x="86" y="31"/>
                  </a:lnTo>
                  <a:lnTo>
                    <a:pt x="89" y="32"/>
                  </a:lnTo>
                  <a:lnTo>
                    <a:pt x="92" y="32"/>
                  </a:lnTo>
                  <a:lnTo>
                    <a:pt x="94" y="30"/>
                  </a:lnTo>
                  <a:lnTo>
                    <a:pt x="94" y="30"/>
                  </a:lnTo>
                  <a:lnTo>
                    <a:pt x="98" y="33"/>
                  </a:lnTo>
                  <a:lnTo>
                    <a:pt x="98" y="36"/>
                  </a:lnTo>
                  <a:lnTo>
                    <a:pt x="100" y="34"/>
                  </a:lnTo>
                  <a:lnTo>
                    <a:pt x="102" y="36"/>
                  </a:lnTo>
                  <a:lnTo>
                    <a:pt x="105" y="38"/>
                  </a:lnTo>
                  <a:lnTo>
                    <a:pt x="103" y="41"/>
                  </a:lnTo>
                  <a:lnTo>
                    <a:pt x="100" y="41"/>
                  </a:lnTo>
                  <a:lnTo>
                    <a:pt x="98" y="42"/>
                  </a:lnTo>
                  <a:lnTo>
                    <a:pt x="100" y="43"/>
                  </a:lnTo>
                  <a:lnTo>
                    <a:pt x="103" y="42"/>
                  </a:lnTo>
                  <a:lnTo>
                    <a:pt x="105" y="43"/>
                  </a:lnTo>
                  <a:lnTo>
                    <a:pt x="108" y="46"/>
                  </a:lnTo>
                  <a:lnTo>
                    <a:pt x="111" y="46"/>
                  </a:lnTo>
                  <a:lnTo>
                    <a:pt x="111" y="43"/>
                  </a:lnTo>
                  <a:lnTo>
                    <a:pt x="111" y="41"/>
                  </a:lnTo>
                  <a:lnTo>
                    <a:pt x="113" y="40"/>
                  </a:lnTo>
                  <a:lnTo>
                    <a:pt x="116" y="42"/>
                  </a:lnTo>
                  <a:lnTo>
                    <a:pt x="118" y="46"/>
                  </a:lnTo>
                  <a:lnTo>
                    <a:pt x="121" y="43"/>
                  </a:lnTo>
                  <a:lnTo>
                    <a:pt x="124" y="42"/>
                  </a:lnTo>
                  <a:lnTo>
                    <a:pt x="126" y="42"/>
                  </a:lnTo>
                  <a:lnTo>
                    <a:pt x="129" y="45"/>
                  </a:lnTo>
                  <a:lnTo>
                    <a:pt x="130" y="41"/>
                  </a:lnTo>
                  <a:lnTo>
                    <a:pt x="133" y="42"/>
                  </a:lnTo>
                  <a:lnTo>
                    <a:pt x="136" y="45"/>
                  </a:lnTo>
                  <a:lnTo>
                    <a:pt x="138" y="46"/>
                  </a:lnTo>
                  <a:lnTo>
                    <a:pt x="142" y="46"/>
                  </a:lnTo>
                  <a:lnTo>
                    <a:pt x="143" y="48"/>
                  </a:lnTo>
                  <a:lnTo>
                    <a:pt x="146" y="47"/>
                  </a:lnTo>
                  <a:lnTo>
                    <a:pt x="149" y="47"/>
                  </a:lnTo>
                  <a:lnTo>
                    <a:pt x="151" y="47"/>
                  </a:lnTo>
                  <a:lnTo>
                    <a:pt x="154" y="47"/>
                  </a:lnTo>
                  <a:lnTo>
                    <a:pt x="151" y="46"/>
                  </a:lnTo>
                  <a:lnTo>
                    <a:pt x="149" y="43"/>
                  </a:lnTo>
                  <a:lnTo>
                    <a:pt x="152" y="43"/>
                  </a:lnTo>
                  <a:lnTo>
                    <a:pt x="154" y="42"/>
                  </a:lnTo>
                  <a:lnTo>
                    <a:pt x="158" y="42"/>
                  </a:lnTo>
                  <a:lnTo>
                    <a:pt x="160" y="41"/>
                  </a:lnTo>
                  <a:lnTo>
                    <a:pt x="163" y="40"/>
                  </a:lnTo>
                  <a:lnTo>
                    <a:pt x="166" y="40"/>
                  </a:lnTo>
                  <a:lnTo>
                    <a:pt x="168" y="39"/>
                  </a:lnTo>
                  <a:lnTo>
                    <a:pt x="171" y="39"/>
                  </a:lnTo>
                  <a:lnTo>
                    <a:pt x="173" y="38"/>
                  </a:lnTo>
                  <a:lnTo>
                    <a:pt x="177" y="36"/>
                  </a:lnTo>
                  <a:lnTo>
                    <a:pt x="179" y="36"/>
                  </a:lnTo>
                  <a:lnTo>
                    <a:pt x="181" y="37"/>
                  </a:lnTo>
                  <a:lnTo>
                    <a:pt x="185" y="38"/>
                  </a:lnTo>
                  <a:lnTo>
                    <a:pt x="190" y="38"/>
                  </a:lnTo>
                  <a:lnTo>
                    <a:pt x="193" y="37"/>
                  </a:lnTo>
                  <a:lnTo>
                    <a:pt x="196" y="36"/>
                  </a:lnTo>
                  <a:lnTo>
                    <a:pt x="198" y="36"/>
                  </a:lnTo>
                  <a:lnTo>
                    <a:pt x="202" y="36"/>
                  </a:lnTo>
                  <a:lnTo>
                    <a:pt x="204" y="36"/>
                  </a:lnTo>
                  <a:lnTo>
                    <a:pt x="211" y="36"/>
                  </a:lnTo>
                  <a:lnTo>
                    <a:pt x="213" y="37"/>
                  </a:lnTo>
                  <a:lnTo>
                    <a:pt x="217" y="38"/>
                  </a:lnTo>
                  <a:lnTo>
                    <a:pt x="214" y="40"/>
                  </a:lnTo>
                  <a:lnTo>
                    <a:pt x="218" y="41"/>
                  </a:lnTo>
                  <a:lnTo>
                    <a:pt x="220" y="41"/>
                  </a:lnTo>
                  <a:lnTo>
                    <a:pt x="223" y="40"/>
                  </a:lnTo>
                  <a:lnTo>
                    <a:pt x="226" y="41"/>
                  </a:lnTo>
                  <a:lnTo>
                    <a:pt x="229" y="41"/>
                  </a:lnTo>
                  <a:lnTo>
                    <a:pt x="231" y="43"/>
                  </a:lnTo>
                  <a:lnTo>
                    <a:pt x="231" y="43"/>
                  </a:lnTo>
                  <a:close/>
                  <a:moveTo>
                    <a:pt x="231" y="93"/>
                  </a:moveTo>
                  <a:lnTo>
                    <a:pt x="231" y="93"/>
                  </a:lnTo>
                  <a:lnTo>
                    <a:pt x="235" y="94"/>
                  </a:lnTo>
                  <a:lnTo>
                    <a:pt x="237" y="94"/>
                  </a:lnTo>
                  <a:lnTo>
                    <a:pt x="240" y="96"/>
                  </a:lnTo>
                  <a:lnTo>
                    <a:pt x="246" y="96"/>
                  </a:lnTo>
                  <a:lnTo>
                    <a:pt x="248" y="94"/>
                  </a:lnTo>
                  <a:lnTo>
                    <a:pt x="252" y="94"/>
                  </a:lnTo>
                  <a:lnTo>
                    <a:pt x="254" y="94"/>
                  </a:lnTo>
                  <a:lnTo>
                    <a:pt x="257" y="94"/>
                  </a:lnTo>
                  <a:lnTo>
                    <a:pt x="260" y="96"/>
                  </a:lnTo>
                  <a:lnTo>
                    <a:pt x="263" y="97"/>
                  </a:lnTo>
                  <a:lnTo>
                    <a:pt x="265" y="97"/>
                  </a:lnTo>
                  <a:lnTo>
                    <a:pt x="269" y="99"/>
                  </a:lnTo>
                  <a:lnTo>
                    <a:pt x="271" y="100"/>
                  </a:lnTo>
                  <a:lnTo>
                    <a:pt x="273" y="103"/>
                  </a:lnTo>
                  <a:lnTo>
                    <a:pt x="275" y="103"/>
                  </a:lnTo>
                  <a:lnTo>
                    <a:pt x="278" y="106"/>
                  </a:lnTo>
                  <a:lnTo>
                    <a:pt x="279" y="109"/>
                  </a:lnTo>
                  <a:lnTo>
                    <a:pt x="281" y="110"/>
                  </a:lnTo>
                  <a:lnTo>
                    <a:pt x="282" y="113"/>
                  </a:lnTo>
                  <a:lnTo>
                    <a:pt x="284" y="116"/>
                  </a:lnTo>
                  <a:lnTo>
                    <a:pt x="281" y="117"/>
                  </a:lnTo>
                  <a:lnTo>
                    <a:pt x="279" y="117"/>
                  </a:lnTo>
                  <a:lnTo>
                    <a:pt x="275" y="116"/>
                  </a:lnTo>
                  <a:lnTo>
                    <a:pt x="273" y="116"/>
                  </a:lnTo>
                  <a:lnTo>
                    <a:pt x="270" y="116"/>
                  </a:lnTo>
                  <a:lnTo>
                    <a:pt x="267" y="116"/>
                  </a:lnTo>
                  <a:lnTo>
                    <a:pt x="265" y="115"/>
                  </a:lnTo>
                  <a:lnTo>
                    <a:pt x="256" y="115"/>
                  </a:lnTo>
                  <a:lnTo>
                    <a:pt x="254" y="115"/>
                  </a:lnTo>
                  <a:lnTo>
                    <a:pt x="250" y="116"/>
                  </a:lnTo>
                  <a:lnTo>
                    <a:pt x="248" y="116"/>
                  </a:lnTo>
                  <a:lnTo>
                    <a:pt x="245" y="117"/>
                  </a:lnTo>
                  <a:lnTo>
                    <a:pt x="243" y="118"/>
                  </a:lnTo>
                  <a:lnTo>
                    <a:pt x="239" y="119"/>
                  </a:lnTo>
                  <a:lnTo>
                    <a:pt x="237" y="118"/>
                  </a:lnTo>
                  <a:lnTo>
                    <a:pt x="233" y="116"/>
                  </a:lnTo>
                  <a:lnTo>
                    <a:pt x="231" y="116"/>
                  </a:lnTo>
                  <a:lnTo>
                    <a:pt x="230" y="114"/>
                  </a:lnTo>
                  <a:lnTo>
                    <a:pt x="229" y="111"/>
                  </a:lnTo>
                  <a:lnTo>
                    <a:pt x="229" y="108"/>
                  </a:lnTo>
                  <a:lnTo>
                    <a:pt x="228" y="106"/>
                  </a:lnTo>
                  <a:lnTo>
                    <a:pt x="224" y="105"/>
                  </a:lnTo>
                  <a:lnTo>
                    <a:pt x="222" y="105"/>
                  </a:lnTo>
                  <a:lnTo>
                    <a:pt x="219" y="103"/>
                  </a:lnTo>
                  <a:lnTo>
                    <a:pt x="219" y="100"/>
                  </a:lnTo>
                  <a:lnTo>
                    <a:pt x="220" y="98"/>
                  </a:lnTo>
                  <a:lnTo>
                    <a:pt x="220" y="94"/>
                  </a:lnTo>
                  <a:lnTo>
                    <a:pt x="220" y="92"/>
                  </a:lnTo>
                  <a:lnTo>
                    <a:pt x="222" y="92"/>
                  </a:lnTo>
                  <a:lnTo>
                    <a:pt x="226" y="92"/>
                  </a:lnTo>
                  <a:lnTo>
                    <a:pt x="228" y="93"/>
                  </a:lnTo>
                  <a:lnTo>
                    <a:pt x="231" y="93"/>
                  </a:lnTo>
                  <a:lnTo>
                    <a:pt x="23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3" name="Freeform 233">
              <a:extLst>
                <a:ext uri="{FF2B5EF4-FFF2-40B4-BE49-F238E27FC236}">
                  <a16:creationId xmlns:a16="http://schemas.microsoft.com/office/drawing/2014/main" id="{94F5788B-70E7-4B4D-9C7D-C6049B7960E8}"/>
                </a:ext>
              </a:extLst>
            </p:cNvPr>
            <p:cNvSpPr>
              <a:spLocks/>
            </p:cNvSpPr>
            <p:nvPr/>
          </p:nvSpPr>
          <p:spPr bwMode="auto">
            <a:xfrm>
              <a:off x="3614738" y="2330450"/>
              <a:ext cx="119062" cy="74613"/>
            </a:xfrm>
            <a:custGeom>
              <a:avLst/>
              <a:gdLst>
                <a:gd name="T0" fmla="*/ 36 w 75"/>
                <a:gd name="T1" fmla="*/ 31 h 47"/>
                <a:gd name="T2" fmla="*/ 39 w 75"/>
                <a:gd name="T3" fmla="*/ 30 h 47"/>
                <a:gd name="T4" fmla="*/ 47 w 75"/>
                <a:gd name="T5" fmla="*/ 28 h 47"/>
                <a:gd name="T6" fmla="*/ 49 w 75"/>
                <a:gd name="T7" fmla="*/ 27 h 47"/>
                <a:gd name="T8" fmla="*/ 38 w 75"/>
                <a:gd name="T9" fmla="*/ 28 h 47"/>
                <a:gd name="T10" fmla="*/ 30 w 75"/>
                <a:gd name="T11" fmla="*/ 29 h 47"/>
                <a:gd name="T12" fmla="*/ 21 w 75"/>
                <a:gd name="T13" fmla="*/ 30 h 47"/>
                <a:gd name="T14" fmla="*/ 10 w 75"/>
                <a:gd name="T15" fmla="*/ 31 h 47"/>
                <a:gd name="T16" fmla="*/ 2 w 75"/>
                <a:gd name="T17" fmla="*/ 31 h 47"/>
                <a:gd name="T18" fmla="*/ 5 w 75"/>
                <a:gd name="T19" fmla="*/ 26 h 47"/>
                <a:gd name="T20" fmla="*/ 9 w 75"/>
                <a:gd name="T21" fmla="*/ 25 h 47"/>
                <a:gd name="T22" fmla="*/ 11 w 75"/>
                <a:gd name="T23" fmla="*/ 21 h 47"/>
                <a:gd name="T24" fmla="*/ 20 w 75"/>
                <a:gd name="T25" fmla="*/ 26 h 47"/>
                <a:gd name="T26" fmla="*/ 23 w 75"/>
                <a:gd name="T27" fmla="*/ 25 h 47"/>
                <a:gd name="T28" fmla="*/ 20 w 75"/>
                <a:gd name="T29" fmla="*/ 18 h 47"/>
                <a:gd name="T30" fmla="*/ 12 w 75"/>
                <a:gd name="T31" fmla="*/ 17 h 47"/>
                <a:gd name="T32" fmla="*/ 14 w 75"/>
                <a:gd name="T33" fmla="*/ 12 h 47"/>
                <a:gd name="T34" fmla="*/ 10 w 75"/>
                <a:gd name="T35" fmla="*/ 9 h 47"/>
                <a:gd name="T36" fmla="*/ 18 w 75"/>
                <a:gd name="T37" fmla="*/ 7 h 47"/>
                <a:gd name="T38" fmla="*/ 22 w 75"/>
                <a:gd name="T39" fmla="*/ 12 h 47"/>
                <a:gd name="T40" fmla="*/ 30 w 75"/>
                <a:gd name="T41" fmla="*/ 17 h 47"/>
                <a:gd name="T42" fmla="*/ 38 w 75"/>
                <a:gd name="T43" fmla="*/ 21 h 47"/>
                <a:gd name="T44" fmla="*/ 44 w 75"/>
                <a:gd name="T45" fmla="*/ 19 h 47"/>
                <a:gd name="T46" fmla="*/ 38 w 75"/>
                <a:gd name="T47" fmla="*/ 18 h 47"/>
                <a:gd name="T48" fmla="*/ 38 w 75"/>
                <a:gd name="T49" fmla="*/ 14 h 47"/>
                <a:gd name="T50" fmla="*/ 40 w 75"/>
                <a:gd name="T51" fmla="*/ 14 h 47"/>
                <a:gd name="T52" fmla="*/ 32 w 75"/>
                <a:gd name="T53" fmla="*/ 11 h 47"/>
                <a:gd name="T54" fmla="*/ 38 w 75"/>
                <a:gd name="T55" fmla="*/ 10 h 47"/>
                <a:gd name="T56" fmla="*/ 28 w 75"/>
                <a:gd name="T57" fmla="*/ 7 h 47"/>
                <a:gd name="T58" fmla="*/ 32 w 75"/>
                <a:gd name="T59" fmla="*/ 1 h 47"/>
                <a:gd name="T60" fmla="*/ 44 w 75"/>
                <a:gd name="T61" fmla="*/ 2 h 47"/>
                <a:gd name="T62" fmla="*/ 51 w 75"/>
                <a:gd name="T63" fmla="*/ 7 h 47"/>
                <a:gd name="T64" fmla="*/ 55 w 75"/>
                <a:gd name="T65" fmla="*/ 2 h 47"/>
                <a:gd name="T66" fmla="*/ 57 w 75"/>
                <a:gd name="T67" fmla="*/ 0 h 47"/>
                <a:gd name="T68" fmla="*/ 61 w 75"/>
                <a:gd name="T69" fmla="*/ 3 h 47"/>
                <a:gd name="T70" fmla="*/ 69 w 75"/>
                <a:gd name="T71" fmla="*/ 4 h 47"/>
                <a:gd name="T72" fmla="*/ 72 w 75"/>
                <a:gd name="T73" fmla="*/ 12 h 47"/>
                <a:gd name="T74" fmla="*/ 71 w 75"/>
                <a:gd name="T75" fmla="*/ 21 h 47"/>
                <a:gd name="T76" fmla="*/ 71 w 75"/>
                <a:gd name="T77" fmla="*/ 27 h 47"/>
                <a:gd name="T78" fmla="*/ 73 w 75"/>
                <a:gd name="T79" fmla="*/ 33 h 47"/>
                <a:gd name="T80" fmla="*/ 71 w 75"/>
                <a:gd name="T81" fmla="*/ 31 h 47"/>
                <a:gd name="T82" fmla="*/ 66 w 75"/>
                <a:gd name="T83" fmla="*/ 36 h 47"/>
                <a:gd name="T84" fmla="*/ 69 w 75"/>
                <a:gd name="T85" fmla="*/ 41 h 47"/>
                <a:gd name="T86" fmla="*/ 64 w 75"/>
                <a:gd name="T87" fmla="*/ 41 h 47"/>
                <a:gd name="T88" fmla="*/ 63 w 75"/>
                <a:gd name="T89" fmla="*/ 46 h 47"/>
                <a:gd name="T90" fmla="*/ 55 w 75"/>
                <a:gd name="T91" fmla="*/ 46 h 47"/>
                <a:gd name="T92" fmla="*/ 46 w 75"/>
                <a:gd name="T93" fmla="*/ 44 h 47"/>
                <a:gd name="T94" fmla="*/ 38 w 75"/>
                <a:gd name="T95" fmla="*/ 47 h 47"/>
                <a:gd name="T96" fmla="*/ 32 w 75"/>
                <a:gd name="T97" fmla="*/ 41 h 47"/>
                <a:gd name="T98" fmla="*/ 38 w 75"/>
                <a:gd name="T99" fmla="*/ 39 h 47"/>
                <a:gd name="T100" fmla="*/ 32 w 75"/>
                <a:gd name="T101" fmla="*/ 38 h 47"/>
                <a:gd name="T102" fmla="*/ 30 w 75"/>
                <a:gd name="T103" fmla="*/ 34 h 47"/>
                <a:gd name="T104" fmla="*/ 38 w 75"/>
                <a:gd name="T105"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 h="47">
                  <a:moveTo>
                    <a:pt x="38" y="33"/>
                  </a:moveTo>
                  <a:lnTo>
                    <a:pt x="38" y="33"/>
                  </a:lnTo>
                  <a:lnTo>
                    <a:pt x="36" y="31"/>
                  </a:lnTo>
                  <a:lnTo>
                    <a:pt x="38" y="31"/>
                  </a:lnTo>
                  <a:lnTo>
                    <a:pt x="38" y="30"/>
                  </a:lnTo>
                  <a:lnTo>
                    <a:pt x="39" y="30"/>
                  </a:lnTo>
                  <a:lnTo>
                    <a:pt x="42" y="28"/>
                  </a:lnTo>
                  <a:lnTo>
                    <a:pt x="45" y="28"/>
                  </a:lnTo>
                  <a:lnTo>
                    <a:pt x="47" y="28"/>
                  </a:lnTo>
                  <a:lnTo>
                    <a:pt x="51" y="28"/>
                  </a:lnTo>
                  <a:lnTo>
                    <a:pt x="53" y="27"/>
                  </a:lnTo>
                  <a:lnTo>
                    <a:pt x="49" y="27"/>
                  </a:lnTo>
                  <a:lnTo>
                    <a:pt x="44" y="27"/>
                  </a:lnTo>
                  <a:lnTo>
                    <a:pt x="42" y="27"/>
                  </a:lnTo>
                  <a:lnTo>
                    <a:pt x="38" y="28"/>
                  </a:lnTo>
                  <a:lnTo>
                    <a:pt x="36" y="28"/>
                  </a:lnTo>
                  <a:lnTo>
                    <a:pt x="32" y="28"/>
                  </a:lnTo>
                  <a:lnTo>
                    <a:pt x="30" y="29"/>
                  </a:lnTo>
                  <a:lnTo>
                    <a:pt x="27" y="29"/>
                  </a:lnTo>
                  <a:lnTo>
                    <a:pt x="25" y="29"/>
                  </a:lnTo>
                  <a:lnTo>
                    <a:pt x="21" y="30"/>
                  </a:lnTo>
                  <a:lnTo>
                    <a:pt x="19" y="30"/>
                  </a:lnTo>
                  <a:lnTo>
                    <a:pt x="13" y="30"/>
                  </a:lnTo>
                  <a:lnTo>
                    <a:pt x="10" y="31"/>
                  </a:lnTo>
                  <a:lnTo>
                    <a:pt x="8" y="31"/>
                  </a:lnTo>
                  <a:lnTo>
                    <a:pt x="4" y="31"/>
                  </a:lnTo>
                  <a:lnTo>
                    <a:pt x="2" y="31"/>
                  </a:lnTo>
                  <a:lnTo>
                    <a:pt x="0" y="29"/>
                  </a:lnTo>
                  <a:lnTo>
                    <a:pt x="2" y="28"/>
                  </a:lnTo>
                  <a:lnTo>
                    <a:pt x="5" y="26"/>
                  </a:lnTo>
                  <a:lnTo>
                    <a:pt x="8" y="26"/>
                  </a:lnTo>
                  <a:lnTo>
                    <a:pt x="10" y="27"/>
                  </a:lnTo>
                  <a:lnTo>
                    <a:pt x="9" y="25"/>
                  </a:lnTo>
                  <a:lnTo>
                    <a:pt x="5" y="24"/>
                  </a:lnTo>
                  <a:lnTo>
                    <a:pt x="9" y="22"/>
                  </a:lnTo>
                  <a:lnTo>
                    <a:pt x="11" y="21"/>
                  </a:lnTo>
                  <a:lnTo>
                    <a:pt x="14" y="22"/>
                  </a:lnTo>
                  <a:lnTo>
                    <a:pt x="17" y="24"/>
                  </a:lnTo>
                  <a:lnTo>
                    <a:pt x="20" y="26"/>
                  </a:lnTo>
                  <a:lnTo>
                    <a:pt x="22" y="25"/>
                  </a:lnTo>
                  <a:lnTo>
                    <a:pt x="26" y="24"/>
                  </a:lnTo>
                  <a:lnTo>
                    <a:pt x="23" y="25"/>
                  </a:lnTo>
                  <a:lnTo>
                    <a:pt x="20" y="24"/>
                  </a:lnTo>
                  <a:lnTo>
                    <a:pt x="17" y="20"/>
                  </a:lnTo>
                  <a:lnTo>
                    <a:pt x="20" y="18"/>
                  </a:lnTo>
                  <a:lnTo>
                    <a:pt x="18" y="19"/>
                  </a:lnTo>
                  <a:lnTo>
                    <a:pt x="14" y="19"/>
                  </a:lnTo>
                  <a:lnTo>
                    <a:pt x="12" y="17"/>
                  </a:lnTo>
                  <a:lnTo>
                    <a:pt x="14" y="13"/>
                  </a:lnTo>
                  <a:lnTo>
                    <a:pt x="18" y="12"/>
                  </a:lnTo>
                  <a:lnTo>
                    <a:pt x="14" y="12"/>
                  </a:lnTo>
                  <a:lnTo>
                    <a:pt x="12" y="12"/>
                  </a:lnTo>
                  <a:lnTo>
                    <a:pt x="9" y="12"/>
                  </a:lnTo>
                  <a:lnTo>
                    <a:pt x="10" y="9"/>
                  </a:lnTo>
                  <a:lnTo>
                    <a:pt x="12" y="7"/>
                  </a:lnTo>
                  <a:lnTo>
                    <a:pt x="15" y="5"/>
                  </a:lnTo>
                  <a:lnTo>
                    <a:pt x="18" y="7"/>
                  </a:lnTo>
                  <a:lnTo>
                    <a:pt x="21" y="8"/>
                  </a:lnTo>
                  <a:lnTo>
                    <a:pt x="23" y="9"/>
                  </a:lnTo>
                  <a:lnTo>
                    <a:pt x="22" y="12"/>
                  </a:lnTo>
                  <a:lnTo>
                    <a:pt x="26" y="12"/>
                  </a:lnTo>
                  <a:lnTo>
                    <a:pt x="28" y="13"/>
                  </a:lnTo>
                  <a:lnTo>
                    <a:pt x="30" y="17"/>
                  </a:lnTo>
                  <a:lnTo>
                    <a:pt x="32" y="17"/>
                  </a:lnTo>
                  <a:lnTo>
                    <a:pt x="36" y="19"/>
                  </a:lnTo>
                  <a:lnTo>
                    <a:pt x="38" y="21"/>
                  </a:lnTo>
                  <a:lnTo>
                    <a:pt x="38" y="22"/>
                  </a:lnTo>
                  <a:lnTo>
                    <a:pt x="42" y="21"/>
                  </a:lnTo>
                  <a:lnTo>
                    <a:pt x="44" y="19"/>
                  </a:lnTo>
                  <a:lnTo>
                    <a:pt x="42" y="20"/>
                  </a:lnTo>
                  <a:lnTo>
                    <a:pt x="38" y="18"/>
                  </a:lnTo>
                  <a:lnTo>
                    <a:pt x="38" y="18"/>
                  </a:lnTo>
                  <a:lnTo>
                    <a:pt x="37" y="18"/>
                  </a:lnTo>
                  <a:lnTo>
                    <a:pt x="36" y="14"/>
                  </a:lnTo>
                  <a:lnTo>
                    <a:pt x="38" y="14"/>
                  </a:lnTo>
                  <a:lnTo>
                    <a:pt x="40" y="14"/>
                  </a:lnTo>
                  <a:lnTo>
                    <a:pt x="44" y="14"/>
                  </a:lnTo>
                  <a:lnTo>
                    <a:pt x="40" y="14"/>
                  </a:lnTo>
                  <a:lnTo>
                    <a:pt x="38" y="13"/>
                  </a:lnTo>
                  <a:lnTo>
                    <a:pt x="36" y="13"/>
                  </a:lnTo>
                  <a:lnTo>
                    <a:pt x="32" y="11"/>
                  </a:lnTo>
                  <a:lnTo>
                    <a:pt x="36" y="10"/>
                  </a:lnTo>
                  <a:lnTo>
                    <a:pt x="38" y="11"/>
                  </a:lnTo>
                  <a:lnTo>
                    <a:pt x="38" y="10"/>
                  </a:lnTo>
                  <a:lnTo>
                    <a:pt x="36" y="8"/>
                  </a:lnTo>
                  <a:lnTo>
                    <a:pt x="30" y="8"/>
                  </a:lnTo>
                  <a:lnTo>
                    <a:pt x="28" y="7"/>
                  </a:lnTo>
                  <a:lnTo>
                    <a:pt x="27" y="4"/>
                  </a:lnTo>
                  <a:lnTo>
                    <a:pt x="30" y="2"/>
                  </a:lnTo>
                  <a:lnTo>
                    <a:pt x="32" y="1"/>
                  </a:lnTo>
                  <a:lnTo>
                    <a:pt x="36" y="0"/>
                  </a:lnTo>
                  <a:lnTo>
                    <a:pt x="38" y="1"/>
                  </a:lnTo>
                  <a:lnTo>
                    <a:pt x="44" y="2"/>
                  </a:lnTo>
                  <a:lnTo>
                    <a:pt x="46" y="3"/>
                  </a:lnTo>
                  <a:lnTo>
                    <a:pt x="49" y="4"/>
                  </a:lnTo>
                  <a:lnTo>
                    <a:pt x="51" y="7"/>
                  </a:lnTo>
                  <a:lnTo>
                    <a:pt x="53" y="4"/>
                  </a:lnTo>
                  <a:lnTo>
                    <a:pt x="52" y="2"/>
                  </a:lnTo>
                  <a:lnTo>
                    <a:pt x="55" y="2"/>
                  </a:lnTo>
                  <a:lnTo>
                    <a:pt x="57" y="0"/>
                  </a:lnTo>
                  <a:lnTo>
                    <a:pt x="55" y="0"/>
                  </a:lnTo>
                  <a:lnTo>
                    <a:pt x="57" y="0"/>
                  </a:lnTo>
                  <a:lnTo>
                    <a:pt x="61" y="1"/>
                  </a:lnTo>
                  <a:lnTo>
                    <a:pt x="63" y="2"/>
                  </a:lnTo>
                  <a:lnTo>
                    <a:pt x="61" y="3"/>
                  </a:lnTo>
                  <a:lnTo>
                    <a:pt x="63" y="3"/>
                  </a:lnTo>
                  <a:lnTo>
                    <a:pt x="66" y="4"/>
                  </a:lnTo>
                  <a:lnTo>
                    <a:pt x="69" y="4"/>
                  </a:lnTo>
                  <a:lnTo>
                    <a:pt x="70" y="8"/>
                  </a:lnTo>
                  <a:lnTo>
                    <a:pt x="69" y="10"/>
                  </a:lnTo>
                  <a:lnTo>
                    <a:pt x="72" y="12"/>
                  </a:lnTo>
                  <a:lnTo>
                    <a:pt x="72" y="16"/>
                  </a:lnTo>
                  <a:lnTo>
                    <a:pt x="71" y="18"/>
                  </a:lnTo>
                  <a:lnTo>
                    <a:pt x="71" y="21"/>
                  </a:lnTo>
                  <a:lnTo>
                    <a:pt x="71" y="24"/>
                  </a:lnTo>
                  <a:lnTo>
                    <a:pt x="69" y="26"/>
                  </a:lnTo>
                  <a:lnTo>
                    <a:pt x="71" y="27"/>
                  </a:lnTo>
                  <a:lnTo>
                    <a:pt x="74" y="27"/>
                  </a:lnTo>
                  <a:lnTo>
                    <a:pt x="74" y="30"/>
                  </a:lnTo>
                  <a:lnTo>
                    <a:pt x="73" y="33"/>
                  </a:lnTo>
                  <a:lnTo>
                    <a:pt x="75" y="35"/>
                  </a:lnTo>
                  <a:lnTo>
                    <a:pt x="72" y="34"/>
                  </a:lnTo>
                  <a:lnTo>
                    <a:pt x="71" y="31"/>
                  </a:lnTo>
                  <a:lnTo>
                    <a:pt x="68" y="33"/>
                  </a:lnTo>
                  <a:lnTo>
                    <a:pt x="65" y="34"/>
                  </a:lnTo>
                  <a:lnTo>
                    <a:pt x="66" y="36"/>
                  </a:lnTo>
                  <a:lnTo>
                    <a:pt x="64" y="37"/>
                  </a:lnTo>
                  <a:lnTo>
                    <a:pt x="66" y="39"/>
                  </a:lnTo>
                  <a:lnTo>
                    <a:pt x="69" y="41"/>
                  </a:lnTo>
                  <a:lnTo>
                    <a:pt x="70" y="43"/>
                  </a:lnTo>
                  <a:lnTo>
                    <a:pt x="68" y="43"/>
                  </a:lnTo>
                  <a:lnTo>
                    <a:pt x="64" y="41"/>
                  </a:lnTo>
                  <a:lnTo>
                    <a:pt x="65" y="43"/>
                  </a:lnTo>
                  <a:lnTo>
                    <a:pt x="66" y="46"/>
                  </a:lnTo>
                  <a:lnTo>
                    <a:pt x="63" y="46"/>
                  </a:lnTo>
                  <a:lnTo>
                    <a:pt x="61" y="46"/>
                  </a:lnTo>
                  <a:lnTo>
                    <a:pt x="57" y="46"/>
                  </a:lnTo>
                  <a:lnTo>
                    <a:pt x="55" y="46"/>
                  </a:lnTo>
                  <a:lnTo>
                    <a:pt x="52" y="46"/>
                  </a:lnTo>
                  <a:lnTo>
                    <a:pt x="49" y="46"/>
                  </a:lnTo>
                  <a:lnTo>
                    <a:pt x="46" y="44"/>
                  </a:lnTo>
                  <a:lnTo>
                    <a:pt x="44" y="47"/>
                  </a:lnTo>
                  <a:lnTo>
                    <a:pt x="42" y="47"/>
                  </a:lnTo>
                  <a:lnTo>
                    <a:pt x="38" y="47"/>
                  </a:lnTo>
                  <a:lnTo>
                    <a:pt x="36" y="46"/>
                  </a:lnTo>
                  <a:lnTo>
                    <a:pt x="32" y="45"/>
                  </a:lnTo>
                  <a:lnTo>
                    <a:pt x="32" y="41"/>
                  </a:lnTo>
                  <a:lnTo>
                    <a:pt x="36" y="41"/>
                  </a:lnTo>
                  <a:lnTo>
                    <a:pt x="38" y="39"/>
                  </a:lnTo>
                  <a:lnTo>
                    <a:pt x="38" y="39"/>
                  </a:lnTo>
                  <a:lnTo>
                    <a:pt x="38" y="39"/>
                  </a:lnTo>
                  <a:lnTo>
                    <a:pt x="35" y="39"/>
                  </a:lnTo>
                  <a:lnTo>
                    <a:pt x="32" y="38"/>
                  </a:lnTo>
                  <a:lnTo>
                    <a:pt x="29" y="37"/>
                  </a:lnTo>
                  <a:lnTo>
                    <a:pt x="32" y="36"/>
                  </a:lnTo>
                  <a:lnTo>
                    <a:pt x="30" y="34"/>
                  </a:lnTo>
                  <a:lnTo>
                    <a:pt x="32" y="34"/>
                  </a:lnTo>
                  <a:lnTo>
                    <a:pt x="36" y="33"/>
                  </a:lnTo>
                  <a:lnTo>
                    <a:pt x="38" y="33"/>
                  </a:lnTo>
                  <a:lnTo>
                    <a:pt x="3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4" name="Freeform 234">
              <a:extLst>
                <a:ext uri="{FF2B5EF4-FFF2-40B4-BE49-F238E27FC236}">
                  <a16:creationId xmlns:a16="http://schemas.microsoft.com/office/drawing/2014/main" id="{42803298-6947-4EA9-9E22-215D2BA9A5ED}"/>
                </a:ext>
              </a:extLst>
            </p:cNvPr>
            <p:cNvSpPr>
              <a:spLocks noEditPoints="1"/>
            </p:cNvSpPr>
            <p:nvPr/>
          </p:nvSpPr>
          <p:spPr bwMode="auto">
            <a:xfrm>
              <a:off x="3552825" y="2165350"/>
              <a:ext cx="150812" cy="163513"/>
            </a:xfrm>
            <a:custGeom>
              <a:avLst/>
              <a:gdLst>
                <a:gd name="T0" fmla="*/ 82 w 95"/>
                <a:gd name="T1" fmla="*/ 7 h 103"/>
                <a:gd name="T2" fmla="*/ 86 w 95"/>
                <a:gd name="T3" fmla="*/ 12 h 103"/>
                <a:gd name="T4" fmla="*/ 95 w 95"/>
                <a:gd name="T5" fmla="*/ 12 h 103"/>
                <a:gd name="T6" fmla="*/ 94 w 95"/>
                <a:gd name="T7" fmla="*/ 4 h 103"/>
                <a:gd name="T8" fmla="*/ 88 w 95"/>
                <a:gd name="T9" fmla="*/ 1 h 103"/>
                <a:gd name="T10" fmla="*/ 81 w 95"/>
                <a:gd name="T11" fmla="*/ 0 h 103"/>
                <a:gd name="T12" fmla="*/ 75 w 95"/>
                <a:gd name="T13" fmla="*/ 4 h 103"/>
                <a:gd name="T14" fmla="*/ 77 w 95"/>
                <a:gd name="T15" fmla="*/ 7 h 103"/>
                <a:gd name="T16" fmla="*/ 81 w 95"/>
                <a:gd name="T17" fmla="*/ 103 h 103"/>
                <a:gd name="T18" fmla="*/ 77 w 95"/>
                <a:gd name="T19" fmla="*/ 101 h 103"/>
                <a:gd name="T20" fmla="*/ 77 w 95"/>
                <a:gd name="T21" fmla="*/ 47 h 103"/>
                <a:gd name="T22" fmla="*/ 84 w 95"/>
                <a:gd name="T23" fmla="*/ 48 h 103"/>
                <a:gd name="T24" fmla="*/ 81 w 95"/>
                <a:gd name="T25" fmla="*/ 56 h 103"/>
                <a:gd name="T26" fmla="*/ 88 w 95"/>
                <a:gd name="T27" fmla="*/ 61 h 103"/>
                <a:gd name="T28" fmla="*/ 88 w 95"/>
                <a:gd name="T29" fmla="*/ 70 h 103"/>
                <a:gd name="T30" fmla="*/ 81 w 95"/>
                <a:gd name="T31" fmla="*/ 71 h 103"/>
                <a:gd name="T32" fmla="*/ 74 w 95"/>
                <a:gd name="T33" fmla="*/ 71 h 103"/>
                <a:gd name="T34" fmla="*/ 66 w 95"/>
                <a:gd name="T35" fmla="*/ 64 h 103"/>
                <a:gd name="T36" fmla="*/ 59 w 95"/>
                <a:gd name="T37" fmla="*/ 60 h 103"/>
                <a:gd name="T38" fmla="*/ 50 w 95"/>
                <a:gd name="T39" fmla="*/ 57 h 103"/>
                <a:gd name="T40" fmla="*/ 42 w 95"/>
                <a:gd name="T41" fmla="*/ 58 h 103"/>
                <a:gd name="T42" fmla="*/ 35 w 95"/>
                <a:gd name="T43" fmla="*/ 54 h 103"/>
                <a:gd name="T44" fmla="*/ 27 w 95"/>
                <a:gd name="T45" fmla="*/ 56 h 103"/>
                <a:gd name="T46" fmla="*/ 19 w 95"/>
                <a:gd name="T47" fmla="*/ 57 h 103"/>
                <a:gd name="T48" fmla="*/ 10 w 95"/>
                <a:gd name="T49" fmla="*/ 53 h 103"/>
                <a:gd name="T50" fmla="*/ 13 w 95"/>
                <a:gd name="T51" fmla="*/ 48 h 103"/>
                <a:gd name="T52" fmla="*/ 22 w 95"/>
                <a:gd name="T53" fmla="*/ 49 h 103"/>
                <a:gd name="T54" fmla="*/ 30 w 95"/>
                <a:gd name="T55" fmla="*/ 49 h 103"/>
                <a:gd name="T56" fmla="*/ 23 w 95"/>
                <a:gd name="T57" fmla="*/ 46 h 103"/>
                <a:gd name="T58" fmla="*/ 30 w 95"/>
                <a:gd name="T59" fmla="*/ 41 h 103"/>
                <a:gd name="T60" fmla="*/ 22 w 95"/>
                <a:gd name="T61" fmla="*/ 43 h 103"/>
                <a:gd name="T62" fmla="*/ 22 w 95"/>
                <a:gd name="T63" fmla="*/ 36 h 103"/>
                <a:gd name="T64" fmla="*/ 15 w 95"/>
                <a:gd name="T65" fmla="*/ 39 h 103"/>
                <a:gd name="T66" fmla="*/ 11 w 95"/>
                <a:gd name="T67" fmla="*/ 37 h 103"/>
                <a:gd name="T68" fmla="*/ 6 w 95"/>
                <a:gd name="T69" fmla="*/ 35 h 103"/>
                <a:gd name="T70" fmla="*/ 0 w 95"/>
                <a:gd name="T71" fmla="*/ 30 h 103"/>
                <a:gd name="T72" fmla="*/ 6 w 95"/>
                <a:gd name="T73" fmla="*/ 26 h 103"/>
                <a:gd name="T74" fmla="*/ 15 w 95"/>
                <a:gd name="T75" fmla="*/ 26 h 103"/>
                <a:gd name="T76" fmla="*/ 23 w 95"/>
                <a:gd name="T77" fmla="*/ 23 h 103"/>
                <a:gd name="T78" fmla="*/ 32 w 95"/>
                <a:gd name="T79" fmla="*/ 26 h 103"/>
                <a:gd name="T80" fmla="*/ 39 w 95"/>
                <a:gd name="T81" fmla="*/ 30 h 103"/>
                <a:gd name="T82" fmla="*/ 42 w 95"/>
                <a:gd name="T83" fmla="*/ 39 h 103"/>
                <a:gd name="T84" fmla="*/ 48 w 95"/>
                <a:gd name="T85" fmla="*/ 34 h 103"/>
                <a:gd name="T86" fmla="*/ 53 w 95"/>
                <a:gd name="T87" fmla="*/ 32 h 103"/>
                <a:gd name="T88" fmla="*/ 64 w 95"/>
                <a:gd name="T89" fmla="*/ 41 h 103"/>
                <a:gd name="T90" fmla="*/ 71 w 95"/>
                <a:gd name="T91" fmla="*/ 40 h 103"/>
                <a:gd name="T92" fmla="*/ 77 w 95"/>
                <a:gd name="T93" fmla="*/ 4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 h="103">
                  <a:moveTo>
                    <a:pt x="77" y="7"/>
                  </a:moveTo>
                  <a:lnTo>
                    <a:pt x="78" y="7"/>
                  </a:lnTo>
                  <a:lnTo>
                    <a:pt x="82" y="7"/>
                  </a:lnTo>
                  <a:lnTo>
                    <a:pt x="84" y="7"/>
                  </a:lnTo>
                  <a:lnTo>
                    <a:pt x="87" y="9"/>
                  </a:lnTo>
                  <a:lnTo>
                    <a:pt x="86" y="12"/>
                  </a:lnTo>
                  <a:lnTo>
                    <a:pt x="90" y="12"/>
                  </a:lnTo>
                  <a:lnTo>
                    <a:pt x="92" y="13"/>
                  </a:lnTo>
                  <a:lnTo>
                    <a:pt x="95" y="12"/>
                  </a:lnTo>
                  <a:lnTo>
                    <a:pt x="95" y="10"/>
                  </a:lnTo>
                  <a:lnTo>
                    <a:pt x="94" y="7"/>
                  </a:lnTo>
                  <a:lnTo>
                    <a:pt x="94" y="4"/>
                  </a:lnTo>
                  <a:lnTo>
                    <a:pt x="94" y="3"/>
                  </a:lnTo>
                  <a:lnTo>
                    <a:pt x="91" y="1"/>
                  </a:lnTo>
                  <a:lnTo>
                    <a:pt x="88" y="1"/>
                  </a:lnTo>
                  <a:lnTo>
                    <a:pt x="85" y="1"/>
                  </a:lnTo>
                  <a:lnTo>
                    <a:pt x="83" y="0"/>
                  </a:lnTo>
                  <a:lnTo>
                    <a:pt x="81" y="0"/>
                  </a:lnTo>
                  <a:lnTo>
                    <a:pt x="79" y="0"/>
                  </a:lnTo>
                  <a:lnTo>
                    <a:pt x="76" y="2"/>
                  </a:lnTo>
                  <a:lnTo>
                    <a:pt x="75" y="4"/>
                  </a:lnTo>
                  <a:lnTo>
                    <a:pt x="75" y="5"/>
                  </a:lnTo>
                  <a:lnTo>
                    <a:pt x="76" y="7"/>
                  </a:lnTo>
                  <a:lnTo>
                    <a:pt x="77" y="7"/>
                  </a:lnTo>
                  <a:lnTo>
                    <a:pt x="77" y="7"/>
                  </a:lnTo>
                  <a:close/>
                  <a:moveTo>
                    <a:pt x="77" y="103"/>
                  </a:moveTo>
                  <a:lnTo>
                    <a:pt x="81" y="103"/>
                  </a:lnTo>
                  <a:lnTo>
                    <a:pt x="83" y="103"/>
                  </a:lnTo>
                  <a:lnTo>
                    <a:pt x="81" y="101"/>
                  </a:lnTo>
                  <a:lnTo>
                    <a:pt x="77" y="101"/>
                  </a:lnTo>
                  <a:lnTo>
                    <a:pt x="77" y="103"/>
                  </a:lnTo>
                  <a:lnTo>
                    <a:pt x="77" y="103"/>
                  </a:lnTo>
                  <a:close/>
                  <a:moveTo>
                    <a:pt x="77" y="47"/>
                  </a:moveTo>
                  <a:lnTo>
                    <a:pt x="78" y="47"/>
                  </a:lnTo>
                  <a:lnTo>
                    <a:pt x="81" y="47"/>
                  </a:lnTo>
                  <a:lnTo>
                    <a:pt x="84" y="48"/>
                  </a:lnTo>
                  <a:lnTo>
                    <a:pt x="82" y="51"/>
                  </a:lnTo>
                  <a:lnTo>
                    <a:pt x="81" y="54"/>
                  </a:lnTo>
                  <a:lnTo>
                    <a:pt x="81" y="56"/>
                  </a:lnTo>
                  <a:lnTo>
                    <a:pt x="84" y="56"/>
                  </a:lnTo>
                  <a:lnTo>
                    <a:pt x="86" y="60"/>
                  </a:lnTo>
                  <a:lnTo>
                    <a:pt x="88" y="61"/>
                  </a:lnTo>
                  <a:lnTo>
                    <a:pt x="92" y="64"/>
                  </a:lnTo>
                  <a:lnTo>
                    <a:pt x="90" y="66"/>
                  </a:lnTo>
                  <a:lnTo>
                    <a:pt x="88" y="70"/>
                  </a:lnTo>
                  <a:lnTo>
                    <a:pt x="86" y="70"/>
                  </a:lnTo>
                  <a:lnTo>
                    <a:pt x="83" y="71"/>
                  </a:lnTo>
                  <a:lnTo>
                    <a:pt x="81" y="71"/>
                  </a:lnTo>
                  <a:lnTo>
                    <a:pt x="77" y="71"/>
                  </a:lnTo>
                  <a:lnTo>
                    <a:pt x="76" y="71"/>
                  </a:lnTo>
                  <a:lnTo>
                    <a:pt x="74" y="71"/>
                  </a:lnTo>
                  <a:lnTo>
                    <a:pt x="70" y="70"/>
                  </a:lnTo>
                  <a:lnTo>
                    <a:pt x="68" y="68"/>
                  </a:lnTo>
                  <a:lnTo>
                    <a:pt x="66" y="64"/>
                  </a:lnTo>
                  <a:lnTo>
                    <a:pt x="65" y="62"/>
                  </a:lnTo>
                  <a:lnTo>
                    <a:pt x="61" y="60"/>
                  </a:lnTo>
                  <a:lnTo>
                    <a:pt x="59" y="60"/>
                  </a:lnTo>
                  <a:lnTo>
                    <a:pt x="56" y="58"/>
                  </a:lnTo>
                  <a:lnTo>
                    <a:pt x="53" y="57"/>
                  </a:lnTo>
                  <a:lnTo>
                    <a:pt x="50" y="57"/>
                  </a:lnTo>
                  <a:lnTo>
                    <a:pt x="48" y="56"/>
                  </a:lnTo>
                  <a:lnTo>
                    <a:pt x="44" y="57"/>
                  </a:lnTo>
                  <a:lnTo>
                    <a:pt x="42" y="58"/>
                  </a:lnTo>
                  <a:lnTo>
                    <a:pt x="39" y="56"/>
                  </a:lnTo>
                  <a:lnTo>
                    <a:pt x="39" y="54"/>
                  </a:lnTo>
                  <a:lnTo>
                    <a:pt x="35" y="54"/>
                  </a:lnTo>
                  <a:lnTo>
                    <a:pt x="33" y="55"/>
                  </a:lnTo>
                  <a:lnTo>
                    <a:pt x="31" y="55"/>
                  </a:lnTo>
                  <a:lnTo>
                    <a:pt x="27" y="56"/>
                  </a:lnTo>
                  <a:lnTo>
                    <a:pt x="25" y="57"/>
                  </a:lnTo>
                  <a:lnTo>
                    <a:pt x="22" y="57"/>
                  </a:lnTo>
                  <a:lnTo>
                    <a:pt x="19" y="57"/>
                  </a:lnTo>
                  <a:lnTo>
                    <a:pt x="16" y="57"/>
                  </a:lnTo>
                  <a:lnTo>
                    <a:pt x="14" y="55"/>
                  </a:lnTo>
                  <a:lnTo>
                    <a:pt x="10" y="53"/>
                  </a:lnTo>
                  <a:lnTo>
                    <a:pt x="8" y="51"/>
                  </a:lnTo>
                  <a:lnTo>
                    <a:pt x="10" y="48"/>
                  </a:lnTo>
                  <a:lnTo>
                    <a:pt x="13" y="48"/>
                  </a:lnTo>
                  <a:lnTo>
                    <a:pt x="16" y="48"/>
                  </a:lnTo>
                  <a:lnTo>
                    <a:pt x="18" y="48"/>
                  </a:lnTo>
                  <a:lnTo>
                    <a:pt x="22" y="49"/>
                  </a:lnTo>
                  <a:lnTo>
                    <a:pt x="24" y="49"/>
                  </a:lnTo>
                  <a:lnTo>
                    <a:pt x="27" y="49"/>
                  </a:lnTo>
                  <a:lnTo>
                    <a:pt x="30" y="49"/>
                  </a:lnTo>
                  <a:lnTo>
                    <a:pt x="28" y="47"/>
                  </a:lnTo>
                  <a:lnTo>
                    <a:pt x="26" y="47"/>
                  </a:lnTo>
                  <a:lnTo>
                    <a:pt x="23" y="46"/>
                  </a:lnTo>
                  <a:lnTo>
                    <a:pt x="26" y="45"/>
                  </a:lnTo>
                  <a:lnTo>
                    <a:pt x="30" y="44"/>
                  </a:lnTo>
                  <a:lnTo>
                    <a:pt x="30" y="41"/>
                  </a:lnTo>
                  <a:lnTo>
                    <a:pt x="27" y="41"/>
                  </a:lnTo>
                  <a:lnTo>
                    <a:pt x="24" y="41"/>
                  </a:lnTo>
                  <a:lnTo>
                    <a:pt x="22" y="43"/>
                  </a:lnTo>
                  <a:lnTo>
                    <a:pt x="22" y="40"/>
                  </a:lnTo>
                  <a:lnTo>
                    <a:pt x="24" y="38"/>
                  </a:lnTo>
                  <a:lnTo>
                    <a:pt x="22" y="36"/>
                  </a:lnTo>
                  <a:lnTo>
                    <a:pt x="18" y="36"/>
                  </a:lnTo>
                  <a:lnTo>
                    <a:pt x="16" y="37"/>
                  </a:lnTo>
                  <a:lnTo>
                    <a:pt x="15" y="39"/>
                  </a:lnTo>
                  <a:lnTo>
                    <a:pt x="11" y="41"/>
                  </a:lnTo>
                  <a:lnTo>
                    <a:pt x="9" y="39"/>
                  </a:lnTo>
                  <a:lnTo>
                    <a:pt x="11" y="37"/>
                  </a:lnTo>
                  <a:lnTo>
                    <a:pt x="11" y="34"/>
                  </a:lnTo>
                  <a:lnTo>
                    <a:pt x="9" y="34"/>
                  </a:lnTo>
                  <a:lnTo>
                    <a:pt x="6" y="35"/>
                  </a:lnTo>
                  <a:lnTo>
                    <a:pt x="3" y="35"/>
                  </a:lnTo>
                  <a:lnTo>
                    <a:pt x="0" y="34"/>
                  </a:lnTo>
                  <a:lnTo>
                    <a:pt x="0" y="30"/>
                  </a:lnTo>
                  <a:lnTo>
                    <a:pt x="1" y="28"/>
                  </a:lnTo>
                  <a:lnTo>
                    <a:pt x="3" y="26"/>
                  </a:lnTo>
                  <a:lnTo>
                    <a:pt x="6" y="26"/>
                  </a:lnTo>
                  <a:lnTo>
                    <a:pt x="9" y="26"/>
                  </a:lnTo>
                  <a:lnTo>
                    <a:pt x="11" y="26"/>
                  </a:lnTo>
                  <a:lnTo>
                    <a:pt x="15" y="26"/>
                  </a:lnTo>
                  <a:lnTo>
                    <a:pt x="17" y="24"/>
                  </a:lnTo>
                  <a:lnTo>
                    <a:pt x="20" y="24"/>
                  </a:lnTo>
                  <a:lnTo>
                    <a:pt x="23" y="23"/>
                  </a:lnTo>
                  <a:lnTo>
                    <a:pt x="26" y="24"/>
                  </a:lnTo>
                  <a:lnTo>
                    <a:pt x="28" y="26"/>
                  </a:lnTo>
                  <a:lnTo>
                    <a:pt x="32" y="26"/>
                  </a:lnTo>
                  <a:lnTo>
                    <a:pt x="34" y="27"/>
                  </a:lnTo>
                  <a:lnTo>
                    <a:pt x="37" y="28"/>
                  </a:lnTo>
                  <a:lnTo>
                    <a:pt x="39" y="30"/>
                  </a:lnTo>
                  <a:lnTo>
                    <a:pt x="41" y="34"/>
                  </a:lnTo>
                  <a:lnTo>
                    <a:pt x="40" y="36"/>
                  </a:lnTo>
                  <a:lnTo>
                    <a:pt x="42" y="39"/>
                  </a:lnTo>
                  <a:lnTo>
                    <a:pt x="44" y="37"/>
                  </a:lnTo>
                  <a:lnTo>
                    <a:pt x="47" y="34"/>
                  </a:lnTo>
                  <a:lnTo>
                    <a:pt x="48" y="34"/>
                  </a:lnTo>
                  <a:lnTo>
                    <a:pt x="50" y="32"/>
                  </a:lnTo>
                  <a:lnTo>
                    <a:pt x="53" y="32"/>
                  </a:lnTo>
                  <a:lnTo>
                    <a:pt x="53" y="32"/>
                  </a:lnTo>
                  <a:lnTo>
                    <a:pt x="60" y="36"/>
                  </a:lnTo>
                  <a:lnTo>
                    <a:pt x="62" y="38"/>
                  </a:lnTo>
                  <a:lnTo>
                    <a:pt x="64" y="41"/>
                  </a:lnTo>
                  <a:lnTo>
                    <a:pt x="66" y="41"/>
                  </a:lnTo>
                  <a:lnTo>
                    <a:pt x="69" y="41"/>
                  </a:lnTo>
                  <a:lnTo>
                    <a:pt x="71" y="40"/>
                  </a:lnTo>
                  <a:lnTo>
                    <a:pt x="75" y="43"/>
                  </a:lnTo>
                  <a:lnTo>
                    <a:pt x="77" y="43"/>
                  </a:lnTo>
                  <a:lnTo>
                    <a:pt x="77" y="47"/>
                  </a:lnTo>
                  <a:lnTo>
                    <a:pt x="7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5" name="Freeform 235">
              <a:extLst>
                <a:ext uri="{FF2B5EF4-FFF2-40B4-BE49-F238E27FC236}">
                  <a16:creationId xmlns:a16="http://schemas.microsoft.com/office/drawing/2014/main" id="{A3408BB4-D859-45FD-AE45-80A6E6113FC3}"/>
                </a:ext>
              </a:extLst>
            </p:cNvPr>
            <p:cNvSpPr>
              <a:spLocks noEditPoints="1"/>
            </p:cNvSpPr>
            <p:nvPr/>
          </p:nvSpPr>
          <p:spPr bwMode="auto">
            <a:xfrm>
              <a:off x="3294063" y="2320925"/>
              <a:ext cx="301625" cy="174625"/>
            </a:xfrm>
            <a:custGeom>
              <a:avLst/>
              <a:gdLst>
                <a:gd name="T0" fmla="*/ 125 w 190"/>
                <a:gd name="T1" fmla="*/ 20 h 110"/>
                <a:gd name="T2" fmla="*/ 131 w 190"/>
                <a:gd name="T3" fmla="*/ 27 h 110"/>
                <a:gd name="T4" fmla="*/ 144 w 190"/>
                <a:gd name="T5" fmla="*/ 31 h 110"/>
                <a:gd name="T6" fmla="*/ 151 w 190"/>
                <a:gd name="T7" fmla="*/ 23 h 110"/>
                <a:gd name="T8" fmla="*/ 165 w 190"/>
                <a:gd name="T9" fmla="*/ 30 h 110"/>
                <a:gd name="T10" fmla="*/ 160 w 190"/>
                <a:gd name="T11" fmla="*/ 45 h 110"/>
                <a:gd name="T12" fmla="*/ 144 w 190"/>
                <a:gd name="T13" fmla="*/ 54 h 110"/>
                <a:gd name="T14" fmla="*/ 129 w 190"/>
                <a:gd name="T15" fmla="*/ 54 h 110"/>
                <a:gd name="T16" fmla="*/ 117 w 190"/>
                <a:gd name="T17" fmla="*/ 52 h 110"/>
                <a:gd name="T18" fmla="*/ 103 w 190"/>
                <a:gd name="T19" fmla="*/ 57 h 110"/>
                <a:gd name="T20" fmla="*/ 85 w 190"/>
                <a:gd name="T21" fmla="*/ 65 h 110"/>
                <a:gd name="T22" fmla="*/ 69 w 190"/>
                <a:gd name="T23" fmla="*/ 68 h 110"/>
                <a:gd name="T24" fmla="*/ 52 w 190"/>
                <a:gd name="T25" fmla="*/ 67 h 110"/>
                <a:gd name="T26" fmla="*/ 50 w 190"/>
                <a:gd name="T27" fmla="*/ 58 h 110"/>
                <a:gd name="T28" fmla="*/ 66 w 190"/>
                <a:gd name="T29" fmla="*/ 53 h 110"/>
                <a:gd name="T30" fmla="*/ 88 w 190"/>
                <a:gd name="T31" fmla="*/ 49 h 110"/>
                <a:gd name="T32" fmla="*/ 77 w 190"/>
                <a:gd name="T33" fmla="*/ 49 h 110"/>
                <a:gd name="T34" fmla="*/ 63 w 190"/>
                <a:gd name="T35" fmla="*/ 50 h 110"/>
                <a:gd name="T36" fmla="*/ 52 w 190"/>
                <a:gd name="T37" fmla="*/ 47 h 110"/>
                <a:gd name="T38" fmla="*/ 51 w 190"/>
                <a:gd name="T39" fmla="*/ 42 h 110"/>
                <a:gd name="T40" fmla="*/ 43 w 190"/>
                <a:gd name="T41" fmla="*/ 50 h 110"/>
                <a:gd name="T42" fmla="*/ 29 w 190"/>
                <a:gd name="T43" fmla="*/ 50 h 110"/>
                <a:gd name="T44" fmla="*/ 17 w 190"/>
                <a:gd name="T45" fmla="*/ 50 h 110"/>
                <a:gd name="T46" fmla="*/ 3 w 190"/>
                <a:gd name="T47" fmla="*/ 48 h 110"/>
                <a:gd name="T48" fmla="*/ 12 w 190"/>
                <a:gd name="T49" fmla="*/ 39 h 110"/>
                <a:gd name="T50" fmla="*/ 29 w 190"/>
                <a:gd name="T51" fmla="*/ 36 h 110"/>
                <a:gd name="T52" fmla="*/ 24 w 190"/>
                <a:gd name="T53" fmla="*/ 35 h 110"/>
                <a:gd name="T54" fmla="*/ 4 w 190"/>
                <a:gd name="T55" fmla="*/ 36 h 110"/>
                <a:gd name="T56" fmla="*/ 20 w 190"/>
                <a:gd name="T57" fmla="*/ 30 h 110"/>
                <a:gd name="T58" fmla="*/ 37 w 190"/>
                <a:gd name="T59" fmla="*/ 27 h 110"/>
                <a:gd name="T60" fmla="*/ 20 w 190"/>
                <a:gd name="T61" fmla="*/ 28 h 110"/>
                <a:gd name="T62" fmla="*/ 14 w 190"/>
                <a:gd name="T63" fmla="*/ 20 h 110"/>
                <a:gd name="T64" fmla="*/ 34 w 190"/>
                <a:gd name="T65" fmla="*/ 20 h 110"/>
                <a:gd name="T66" fmla="*/ 25 w 190"/>
                <a:gd name="T67" fmla="*/ 18 h 110"/>
                <a:gd name="T68" fmla="*/ 36 w 190"/>
                <a:gd name="T69" fmla="*/ 10 h 110"/>
                <a:gd name="T70" fmla="*/ 50 w 190"/>
                <a:gd name="T71" fmla="*/ 19 h 110"/>
                <a:gd name="T72" fmla="*/ 66 w 190"/>
                <a:gd name="T73" fmla="*/ 19 h 110"/>
                <a:gd name="T74" fmla="*/ 76 w 190"/>
                <a:gd name="T75" fmla="*/ 27 h 110"/>
                <a:gd name="T76" fmla="*/ 84 w 190"/>
                <a:gd name="T77" fmla="*/ 35 h 110"/>
                <a:gd name="T78" fmla="*/ 101 w 190"/>
                <a:gd name="T79" fmla="*/ 37 h 110"/>
                <a:gd name="T80" fmla="*/ 117 w 190"/>
                <a:gd name="T81" fmla="*/ 37 h 110"/>
                <a:gd name="T82" fmla="*/ 106 w 190"/>
                <a:gd name="T83" fmla="*/ 28 h 110"/>
                <a:gd name="T84" fmla="*/ 113 w 190"/>
                <a:gd name="T85" fmla="*/ 24 h 110"/>
                <a:gd name="T86" fmla="*/ 99 w 190"/>
                <a:gd name="T87" fmla="*/ 15 h 110"/>
                <a:gd name="T88" fmla="*/ 112 w 190"/>
                <a:gd name="T89" fmla="*/ 3 h 110"/>
                <a:gd name="T90" fmla="*/ 121 w 190"/>
                <a:gd name="T91" fmla="*/ 7 h 110"/>
                <a:gd name="T92" fmla="*/ 188 w 190"/>
                <a:gd name="T93" fmla="*/ 43 h 110"/>
                <a:gd name="T94" fmla="*/ 178 w 190"/>
                <a:gd name="T95" fmla="*/ 51 h 110"/>
                <a:gd name="T96" fmla="*/ 181 w 190"/>
                <a:gd name="T97" fmla="*/ 40 h 110"/>
                <a:gd name="T98" fmla="*/ 160 w 190"/>
                <a:gd name="T99" fmla="*/ 103 h 110"/>
                <a:gd name="T100" fmla="*/ 145 w 190"/>
                <a:gd name="T101" fmla="*/ 93 h 110"/>
                <a:gd name="T102" fmla="*/ 165 w 190"/>
                <a:gd name="T103" fmla="*/ 86 h 110"/>
                <a:gd name="T104" fmla="*/ 178 w 190"/>
                <a:gd name="T105" fmla="*/ 93 h 110"/>
                <a:gd name="T106" fmla="*/ 169 w 190"/>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10">
                  <a:moveTo>
                    <a:pt x="125" y="11"/>
                  </a:moveTo>
                  <a:lnTo>
                    <a:pt x="123" y="13"/>
                  </a:lnTo>
                  <a:lnTo>
                    <a:pt x="126" y="14"/>
                  </a:lnTo>
                  <a:lnTo>
                    <a:pt x="129" y="16"/>
                  </a:lnTo>
                  <a:lnTo>
                    <a:pt x="128" y="18"/>
                  </a:lnTo>
                  <a:lnTo>
                    <a:pt x="125" y="20"/>
                  </a:lnTo>
                  <a:lnTo>
                    <a:pt x="126" y="23"/>
                  </a:lnTo>
                  <a:lnTo>
                    <a:pt x="128" y="23"/>
                  </a:lnTo>
                  <a:lnTo>
                    <a:pt x="131" y="23"/>
                  </a:lnTo>
                  <a:lnTo>
                    <a:pt x="134" y="23"/>
                  </a:lnTo>
                  <a:lnTo>
                    <a:pt x="135" y="26"/>
                  </a:lnTo>
                  <a:lnTo>
                    <a:pt x="131" y="27"/>
                  </a:lnTo>
                  <a:lnTo>
                    <a:pt x="132" y="31"/>
                  </a:lnTo>
                  <a:lnTo>
                    <a:pt x="135" y="27"/>
                  </a:lnTo>
                  <a:lnTo>
                    <a:pt x="138" y="27"/>
                  </a:lnTo>
                  <a:lnTo>
                    <a:pt x="140" y="27"/>
                  </a:lnTo>
                  <a:lnTo>
                    <a:pt x="143" y="28"/>
                  </a:lnTo>
                  <a:lnTo>
                    <a:pt x="144" y="31"/>
                  </a:lnTo>
                  <a:lnTo>
                    <a:pt x="146" y="34"/>
                  </a:lnTo>
                  <a:lnTo>
                    <a:pt x="146" y="31"/>
                  </a:lnTo>
                  <a:lnTo>
                    <a:pt x="149" y="30"/>
                  </a:lnTo>
                  <a:lnTo>
                    <a:pt x="146" y="27"/>
                  </a:lnTo>
                  <a:lnTo>
                    <a:pt x="147" y="25"/>
                  </a:lnTo>
                  <a:lnTo>
                    <a:pt x="151" y="23"/>
                  </a:lnTo>
                  <a:lnTo>
                    <a:pt x="153" y="23"/>
                  </a:lnTo>
                  <a:lnTo>
                    <a:pt x="155" y="24"/>
                  </a:lnTo>
                  <a:lnTo>
                    <a:pt x="159" y="24"/>
                  </a:lnTo>
                  <a:lnTo>
                    <a:pt x="161" y="25"/>
                  </a:lnTo>
                  <a:lnTo>
                    <a:pt x="164" y="27"/>
                  </a:lnTo>
                  <a:lnTo>
                    <a:pt x="165" y="30"/>
                  </a:lnTo>
                  <a:lnTo>
                    <a:pt x="165" y="32"/>
                  </a:lnTo>
                  <a:lnTo>
                    <a:pt x="166" y="35"/>
                  </a:lnTo>
                  <a:lnTo>
                    <a:pt x="163" y="37"/>
                  </a:lnTo>
                  <a:lnTo>
                    <a:pt x="163" y="40"/>
                  </a:lnTo>
                  <a:lnTo>
                    <a:pt x="162" y="43"/>
                  </a:lnTo>
                  <a:lnTo>
                    <a:pt x="160" y="45"/>
                  </a:lnTo>
                  <a:lnTo>
                    <a:pt x="160" y="49"/>
                  </a:lnTo>
                  <a:lnTo>
                    <a:pt x="157" y="51"/>
                  </a:lnTo>
                  <a:lnTo>
                    <a:pt x="154" y="52"/>
                  </a:lnTo>
                  <a:lnTo>
                    <a:pt x="152" y="52"/>
                  </a:lnTo>
                  <a:lnTo>
                    <a:pt x="148" y="52"/>
                  </a:lnTo>
                  <a:lnTo>
                    <a:pt x="144" y="54"/>
                  </a:lnTo>
                  <a:lnTo>
                    <a:pt x="140" y="54"/>
                  </a:lnTo>
                  <a:lnTo>
                    <a:pt x="138" y="54"/>
                  </a:lnTo>
                  <a:lnTo>
                    <a:pt x="135" y="52"/>
                  </a:lnTo>
                  <a:lnTo>
                    <a:pt x="134" y="50"/>
                  </a:lnTo>
                  <a:lnTo>
                    <a:pt x="131" y="52"/>
                  </a:lnTo>
                  <a:lnTo>
                    <a:pt x="129" y="54"/>
                  </a:lnTo>
                  <a:lnTo>
                    <a:pt x="126" y="54"/>
                  </a:lnTo>
                  <a:lnTo>
                    <a:pt x="123" y="53"/>
                  </a:lnTo>
                  <a:lnTo>
                    <a:pt x="120" y="53"/>
                  </a:lnTo>
                  <a:lnTo>
                    <a:pt x="122" y="52"/>
                  </a:lnTo>
                  <a:lnTo>
                    <a:pt x="120" y="51"/>
                  </a:lnTo>
                  <a:lnTo>
                    <a:pt x="117" y="52"/>
                  </a:lnTo>
                  <a:lnTo>
                    <a:pt x="114" y="53"/>
                  </a:lnTo>
                  <a:lnTo>
                    <a:pt x="112" y="56"/>
                  </a:lnTo>
                  <a:lnTo>
                    <a:pt x="109" y="57"/>
                  </a:lnTo>
                  <a:lnTo>
                    <a:pt x="106" y="56"/>
                  </a:lnTo>
                  <a:lnTo>
                    <a:pt x="103" y="57"/>
                  </a:lnTo>
                  <a:lnTo>
                    <a:pt x="103" y="57"/>
                  </a:lnTo>
                  <a:lnTo>
                    <a:pt x="100" y="57"/>
                  </a:lnTo>
                  <a:lnTo>
                    <a:pt x="97" y="58"/>
                  </a:lnTo>
                  <a:lnTo>
                    <a:pt x="94" y="58"/>
                  </a:lnTo>
                  <a:lnTo>
                    <a:pt x="94" y="61"/>
                  </a:lnTo>
                  <a:lnTo>
                    <a:pt x="91" y="62"/>
                  </a:lnTo>
                  <a:lnTo>
                    <a:pt x="85" y="65"/>
                  </a:lnTo>
                  <a:lnTo>
                    <a:pt x="83" y="65"/>
                  </a:lnTo>
                  <a:lnTo>
                    <a:pt x="79" y="66"/>
                  </a:lnTo>
                  <a:lnTo>
                    <a:pt x="77" y="67"/>
                  </a:lnTo>
                  <a:lnTo>
                    <a:pt x="74" y="67"/>
                  </a:lnTo>
                  <a:lnTo>
                    <a:pt x="71" y="68"/>
                  </a:lnTo>
                  <a:lnTo>
                    <a:pt x="69" y="68"/>
                  </a:lnTo>
                  <a:lnTo>
                    <a:pt x="66" y="68"/>
                  </a:lnTo>
                  <a:lnTo>
                    <a:pt x="63" y="69"/>
                  </a:lnTo>
                  <a:lnTo>
                    <a:pt x="60" y="68"/>
                  </a:lnTo>
                  <a:lnTo>
                    <a:pt x="58" y="68"/>
                  </a:lnTo>
                  <a:lnTo>
                    <a:pt x="54" y="68"/>
                  </a:lnTo>
                  <a:lnTo>
                    <a:pt x="52" y="67"/>
                  </a:lnTo>
                  <a:lnTo>
                    <a:pt x="49" y="66"/>
                  </a:lnTo>
                  <a:lnTo>
                    <a:pt x="46" y="65"/>
                  </a:lnTo>
                  <a:lnTo>
                    <a:pt x="43" y="62"/>
                  </a:lnTo>
                  <a:lnTo>
                    <a:pt x="44" y="60"/>
                  </a:lnTo>
                  <a:lnTo>
                    <a:pt x="46" y="59"/>
                  </a:lnTo>
                  <a:lnTo>
                    <a:pt x="50" y="58"/>
                  </a:lnTo>
                  <a:lnTo>
                    <a:pt x="52" y="57"/>
                  </a:lnTo>
                  <a:lnTo>
                    <a:pt x="55" y="57"/>
                  </a:lnTo>
                  <a:lnTo>
                    <a:pt x="58" y="56"/>
                  </a:lnTo>
                  <a:lnTo>
                    <a:pt x="61" y="54"/>
                  </a:lnTo>
                  <a:lnTo>
                    <a:pt x="63" y="53"/>
                  </a:lnTo>
                  <a:lnTo>
                    <a:pt x="66" y="53"/>
                  </a:lnTo>
                  <a:lnTo>
                    <a:pt x="69" y="52"/>
                  </a:lnTo>
                  <a:lnTo>
                    <a:pt x="71" y="52"/>
                  </a:lnTo>
                  <a:lnTo>
                    <a:pt x="75" y="52"/>
                  </a:lnTo>
                  <a:lnTo>
                    <a:pt x="79" y="53"/>
                  </a:lnTo>
                  <a:lnTo>
                    <a:pt x="83" y="50"/>
                  </a:lnTo>
                  <a:lnTo>
                    <a:pt x="88" y="49"/>
                  </a:lnTo>
                  <a:lnTo>
                    <a:pt x="91" y="45"/>
                  </a:lnTo>
                  <a:lnTo>
                    <a:pt x="88" y="45"/>
                  </a:lnTo>
                  <a:lnTo>
                    <a:pt x="85" y="47"/>
                  </a:lnTo>
                  <a:lnTo>
                    <a:pt x="83" y="48"/>
                  </a:lnTo>
                  <a:lnTo>
                    <a:pt x="79" y="48"/>
                  </a:lnTo>
                  <a:lnTo>
                    <a:pt x="77" y="49"/>
                  </a:lnTo>
                  <a:lnTo>
                    <a:pt x="75" y="49"/>
                  </a:lnTo>
                  <a:lnTo>
                    <a:pt x="71" y="47"/>
                  </a:lnTo>
                  <a:lnTo>
                    <a:pt x="69" y="48"/>
                  </a:lnTo>
                  <a:lnTo>
                    <a:pt x="66" y="45"/>
                  </a:lnTo>
                  <a:lnTo>
                    <a:pt x="67" y="49"/>
                  </a:lnTo>
                  <a:lnTo>
                    <a:pt x="63" y="50"/>
                  </a:lnTo>
                  <a:lnTo>
                    <a:pt x="61" y="49"/>
                  </a:lnTo>
                  <a:lnTo>
                    <a:pt x="58" y="50"/>
                  </a:lnTo>
                  <a:lnTo>
                    <a:pt x="55" y="50"/>
                  </a:lnTo>
                  <a:lnTo>
                    <a:pt x="52" y="51"/>
                  </a:lnTo>
                  <a:lnTo>
                    <a:pt x="50" y="49"/>
                  </a:lnTo>
                  <a:lnTo>
                    <a:pt x="52" y="47"/>
                  </a:lnTo>
                  <a:lnTo>
                    <a:pt x="50" y="47"/>
                  </a:lnTo>
                  <a:lnTo>
                    <a:pt x="51" y="44"/>
                  </a:lnTo>
                  <a:lnTo>
                    <a:pt x="53" y="43"/>
                  </a:lnTo>
                  <a:lnTo>
                    <a:pt x="57" y="41"/>
                  </a:lnTo>
                  <a:lnTo>
                    <a:pt x="53" y="41"/>
                  </a:lnTo>
                  <a:lnTo>
                    <a:pt x="51" y="42"/>
                  </a:lnTo>
                  <a:lnTo>
                    <a:pt x="48" y="42"/>
                  </a:lnTo>
                  <a:lnTo>
                    <a:pt x="46" y="44"/>
                  </a:lnTo>
                  <a:lnTo>
                    <a:pt x="44" y="45"/>
                  </a:lnTo>
                  <a:lnTo>
                    <a:pt x="42" y="45"/>
                  </a:lnTo>
                  <a:lnTo>
                    <a:pt x="44" y="48"/>
                  </a:lnTo>
                  <a:lnTo>
                    <a:pt x="43" y="50"/>
                  </a:lnTo>
                  <a:lnTo>
                    <a:pt x="41" y="51"/>
                  </a:lnTo>
                  <a:lnTo>
                    <a:pt x="37" y="52"/>
                  </a:lnTo>
                  <a:lnTo>
                    <a:pt x="34" y="53"/>
                  </a:lnTo>
                  <a:lnTo>
                    <a:pt x="32" y="51"/>
                  </a:lnTo>
                  <a:lnTo>
                    <a:pt x="33" y="49"/>
                  </a:lnTo>
                  <a:lnTo>
                    <a:pt x="29" y="50"/>
                  </a:lnTo>
                  <a:lnTo>
                    <a:pt x="27" y="50"/>
                  </a:lnTo>
                  <a:lnTo>
                    <a:pt x="26" y="53"/>
                  </a:lnTo>
                  <a:lnTo>
                    <a:pt x="24" y="53"/>
                  </a:lnTo>
                  <a:lnTo>
                    <a:pt x="20" y="52"/>
                  </a:lnTo>
                  <a:lnTo>
                    <a:pt x="19" y="49"/>
                  </a:lnTo>
                  <a:lnTo>
                    <a:pt x="17" y="50"/>
                  </a:lnTo>
                  <a:lnTo>
                    <a:pt x="17" y="47"/>
                  </a:lnTo>
                  <a:lnTo>
                    <a:pt x="14" y="48"/>
                  </a:lnTo>
                  <a:lnTo>
                    <a:pt x="11" y="49"/>
                  </a:lnTo>
                  <a:lnTo>
                    <a:pt x="8" y="48"/>
                  </a:lnTo>
                  <a:lnTo>
                    <a:pt x="6" y="48"/>
                  </a:lnTo>
                  <a:lnTo>
                    <a:pt x="3" y="48"/>
                  </a:lnTo>
                  <a:lnTo>
                    <a:pt x="0" y="47"/>
                  </a:lnTo>
                  <a:lnTo>
                    <a:pt x="0" y="44"/>
                  </a:lnTo>
                  <a:lnTo>
                    <a:pt x="1" y="41"/>
                  </a:lnTo>
                  <a:lnTo>
                    <a:pt x="4" y="40"/>
                  </a:lnTo>
                  <a:lnTo>
                    <a:pt x="7" y="39"/>
                  </a:lnTo>
                  <a:lnTo>
                    <a:pt x="12" y="39"/>
                  </a:lnTo>
                  <a:lnTo>
                    <a:pt x="16" y="40"/>
                  </a:lnTo>
                  <a:lnTo>
                    <a:pt x="18" y="40"/>
                  </a:lnTo>
                  <a:lnTo>
                    <a:pt x="20" y="39"/>
                  </a:lnTo>
                  <a:lnTo>
                    <a:pt x="24" y="37"/>
                  </a:lnTo>
                  <a:lnTo>
                    <a:pt x="26" y="36"/>
                  </a:lnTo>
                  <a:lnTo>
                    <a:pt x="29" y="36"/>
                  </a:lnTo>
                  <a:lnTo>
                    <a:pt x="32" y="34"/>
                  </a:lnTo>
                  <a:lnTo>
                    <a:pt x="35" y="33"/>
                  </a:lnTo>
                  <a:lnTo>
                    <a:pt x="32" y="33"/>
                  </a:lnTo>
                  <a:lnTo>
                    <a:pt x="29" y="34"/>
                  </a:lnTo>
                  <a:lnTo>
                    <a:pt x="26" y="34"/>
                  </a:lnTo>
                  <a:lnTo>
                    <a:pt x="24" y="35"/>
                  </a:lnTo>
                  <a:lnTo>
                    <a:pt x="20" y="36"/>
                  </a:lnTo>
                  <a:lnTo>
                    <a:pt x="18" y="36"/>
                  </a:lnTo>
                  <a:lnTo>
                    <a:pt x="15" y="36"/>
                  </a:lnTo>
                  <a:lnTo>
                    <a:pt x="9" y="36"/>
                  </a:lnTo>
                  <a:lnTo>
                    <a:pt x="7" y="36"/>
                  </a:lnTo>
                  <a:lnTo>
                    <a:pt x="4" y="36"/>
                  </a:lnTo>
                  <a:lnTo>
                    <a:pt x="7" y="33"/>
                  </a:lnTo>
                  <a:lnTo>
                    <a:pt x="9" y="31"/>
                  </a:lnTo>
                  <a:lnTo>
                    <a:pt x="11" y="31"/>
                  </a:lnTo>
                  <a:lnTo>
                    <a:pt x="15" y="31"/>
                  </a:lnTo>
                  <a:lnTo>
                    <a:pt x="18" y="30"/>
                  </a:lnTo>
                  <a:lnTo>
                    <a:pt x="20" y="30"/>
                  </a:lnTo>
                  <a:lnTo>
                    <a:pt x="23" y="30"/>
                  </a:lnTo>
                  <a:lnTo>
                    <a:pt x="26" y="30"/>
                  </a:lnTo>
                  <a:lnTo>
                    <a:pt x="28" y="30"/>
                  </a:lnTo>
                  <a:lnTo>
                    <a:pt x="32" y="28"/>
                  </a:lnTo>
                  <a:lnTo>
                    <a:pt x="34" y="28"/>
                  </a:lnTo>
                  <a:lnTo>
                    <a:pt x="37" y="27"/>
                  </a:lnTo>
                  <a:lnTo>
                    <a:pt x="34" y="27"/>
                  </a:lnTo>
                  <a:lnTo>
                    <a:pt x="32" y="28"/>
                  </a:lnTo>
                  <a:lnTo>
                    <a:pt x="28" y="28"/>
                  </a:lnTo>
                  <a:lnTo>
                    <a:pt x="26" y="27"/>
                  </a:lnTo>
                  <a:lnTo>
                    <a:pt x="23" y="27"/>
                  </a:lnTo>
                  <a:lnTo>
                    <a:pt x="20" y="28"/>
                  </a:lnTo>
                  <a:lnTo>
                    <a:pt x="17" y="28"/>
                  </a:lnTo>
                  <a:lnTo>
                    <a:pt x="15" y="28"/>
                  </a:lnTo>
                  <a:lnTo>
                    <a:pt x="11" y="26"/>
                  </a:lnTo>
                  <a:lnTo>
                    <a:pt x="15" y="24"/>
                  </a:lnTo>
                  <a:lnTo>
                    <a:pt x="11" y="23"/>
                  </a:lnTo>
                  <a:lnTo>
                    <a:pt x="14" y="20"/>
                  </a:lnTo>
                  <a:lnTo>
                    <a:pt x="17" y="19"/>
                  </a:lnTo>
                  <a:lnTo>
                    <a:pt x="19" y="19"/>
                  </a:lnTo>
                  <a:lnTo>
                    <a:pt x="23" y="19"/>
                  </a:lnTo>
                  <a:lnTo>
                    <a:pt x="28" y="19"/>
                  </a:lnTo>
                  <a:lnTo>
                    <a:pt x="31" y="19"/>
                  </a:lnTo>
                  <a:lnTo>
                    <a:pt x="34" y="20"/>
                  </a:lnTo>
                  <a:lnTo>
                    <a:pt x="36" y="20"/>
                  </a:lnTo>
                  <a:lnTo>
                    <a:pt x="40" y="19"/>
                  </a:lnTo>
                  <a:lnTo>
                    <a:pt x="36" y="19"/>
                  </a:lnTo>
                  <a:lnTo>
                    <a:pt x="34" y="18"/>
                  </a:lnTo>
                  <a:lnTo>
                    <a:pt x="31" y="18"/>
                  </a:lnTo>
                  <a:lnTo>
                    <a:pt x="25" y="18"/>
                  </a:lnTo>
                  <a:lnTo>
                    <a:pt x="23" y="17"/>
                  </a:lnTo>
                  <a:lnTo>
                    <a:pt x="25" y="14"/>
                  </a:lnTo>
                  <a:lnTo>
                    <a:pt x="27" y="13"/>
                  </a:lnTo>
                  <a:lnTo>
                    <a:pt x="31" y="11"/>
                  </a:lnTo>
                  <a:lnTo>
                    <a:pt x="33" y="11"/>
                  </a:lnTo>
                  <a:lnTo>
                    <a:pt x="36" y="10"/>
                  </a:lnTo>
                  <a:lnTo>
                    <a:pt x="38" y="10"/>
                  </a:lnTo>
                  <a:lnTo>
                    <a:pt x="42" y="10"/>
                  </a:lnTo>
                  <a:lnTo>
                    <a:pt x="44" y="11"/>
                  </a:lnTo>
                  <a:lnTo>
                    <a:pt x="48" y="14"/>
                  </a:lnTo>
                  <a:lnTo>
                    <a:pt x="48" y="16"/>
                  </a:lnTo>
                  <a:lnTo>
                    <a:pt x="50" y="19"/>
                  </a:lnTo>
                  <a:lnTo>
                    <a:pt x="52" y="18"/>
                  </a:lnTo>
                  <a:lnTo>
                    <a:pt x="55" y="18"/>
                  </a:lnTo>
                  <a:lnTo>
                    <a:pt x="58" y="17"/>
                  </a:lnTo>
                  <a:lnTo>
                    <a:pt x="60" y="17"/>
                  </a:lnTo>
                  <a:lnTo>
                    <a:pt x="63" y="17"/>
                  </a:lnTo>
                  <a:lnTo>
                    <a:pt x="66" y="19"/>
                  </a:lnTo>
                  <a:lnTo>
                    <a:pt x="69" y="20"/>
                  </a:lnTo>
                  <a:lnTo>
                    <a:pt x="70" y="24"/>
                  </a:lnTo>
                  <a:lnTo>
                    <a:pt x="74" y="24"/>
                  </a:lnTo>
                  <a:lnTo>
                    <a:pt x="76" y="25"/>
                  </a:lnTo>
                  <a:lnTo>
                    <a:pt x="79" y="27"/>
                  </a:lnTo>
                  <a:lnTo>
                    <a:pt x="76" y="27"/>
                  </a:lnTo>
                  <a:lnTo>
                    <a:pt x="74" y="30"/>
                  </a:lnTo>
                  <a:lnTo>
                    <a:pt x="76" y="30"/>
                  </a:lnTo>
                  <a:lnTo>
                    <a:pt x="79" y="30"/>
                  </a:lnTo>
                  <a:lnTo>
                    <a:pt x="82" y="31"/>
                  </a:lnTo>
                  <a:lnTo>
                    <a:pt x="85" y="33"/>
                  </a:lnTo>
                  <a:lnTo>
                    <a:pt x="84" y="35"/>
                  </a:lnTo>
                  <a:lnTo>
                    <a:pt x="86" y="39"/>
                  </a:lnTo>
                  <a:lnTo>
                    <a:pt x="89" y="37"/>
                  </a:lnTo>
                  <a:lnTo>
                    <a:pt x="92" y="36"/>
                  </a:lnTo>
                  <a:lnTo>
                    <a:pt x="95" y="36"/>
                  </a:lnTo>
                  <a:lnTo>
                    <a:pt x="97" y="37"/>
                  </a:lnTo>
                  <a:lnTo>
                    <a:pt x="101" y="37"/>
                  </a:lnTo>
                  <a:lnTo>
                    <a:pt x="103" y="37"/>
                  </a:lnTo>
                  <a:lnTo>
                    <a:pt x="105" y="37"/>
                  </a:lnTo>
                  <a:lnTo>
                    <a:pt x="108" y="37"/>
                  </a:lnTo>
                  <a:lnTo>
                    <a:pt x="111" y="39"/>
                  </a:lnTo>
                  <a:lnTo>
                    <a:pt x="114" y="39"/>
                  </a:lnTo>
                  <a:lnTo>
                    <a:pt x="117" y="37"/>
                  </a:lnTo>
                  <a:lnTo>
                    <a:pt x="119" y="35"/>
                  </a:lnTo>
                  <a:lnTo>
                    <a:pt x="118" y="33"/>
                  </a:lnTo>
                  <a:lnTo>
                    <a:pt x="114" y="32"/>
                  </a:lnTo>
                  <a:lnTo>
                    <a:pt x="112" y="31"/>
                  </a:lnTo>
                  <a:lnTo>
                    <a:pt x="109" y="31"/>
                  </a:lnTo>
                  <a:lnTo>
                    <a:pt x="106" y="28"/>
                  </a:lnTo>
                  <a:lnTo>
                    <a:pt x="103" y="28"/>
                  </a:lnTo>
                  <a:lnTo>
                    <a:pt x="103" y="27"/>
                  </a:lnTo>
                  <a:lnTo>
                    <a:pt x="104" y="26"/>
                  </a:lnTo>
                  <a:lnTo>
                    <a:pt x="108" y="26"/>
                  </a:lnTo>
                  <a:lnTo>
                    <a:pt x="110" y="25"/>
                  </a:lnTo>
                  <a:lnTo>
                    <a:pt x="113" y="24"/>
                  </a:lnTo>
                  <a:lnTo>
                    <a:pt x="112" y="20"/>
                  </a:lnTo>
                  <a:lnTo>
                    <a:pt x="109" y="19"/>
                  </a:lnTo>
                  <a:lnTo>
                    <a:pt x="106" y="18"/>
                  </a:lnTo>
                  <a:lnTo>
                    <a:pt x="103" y="18"/>
                  </a:lnTo>
                  <a:lnTo>
                    <a:pt x="102" y="17"/>
                  </a:lnTo>
                  <a:lnTo>
                    <a:pt x="99" y="15"/>
                  </a:lnTo>
                  <a:lnTo>
                    <a:pt x="101" y="13"/>
                  </a:lnTo>
                  <a:lnTo>
                    <a:pt x="103" y="11"/>
                  </a:lnTo>
                  <a:lnTo>
                    <a:pt x="106" y="10"/>
                  </a:lnTo>
                  <a:lnTo>
                    <a:pt x="106" y="8"/>
                  </a:lnTo>
                  <a:lnTo>
                    <a:pt x="110" y="6"/>
                  </a:lnTo>
                  <a:lnTo>
                    <a:pt x="112" y="3"/>
                  </a:lnTo>
                  <a:lnTo>
                    <a:pt x="114" y="1"/>
                  </a:lnTo>
                  <a:lnTo>
                    <a:pt x="118" y="1"/>
                  </a:lnTo>
                  <a:lnTo>
                    <a:pt x="120" y="0"/>
                  </a:lnTo>
                  <a:lnTo>
                    <a:pt x="123" y="3"/>
                  </a:lnTo>
                  <a:lnTo>
                    <a:pt x="123" y="6"/>
                  </a:lnTo>
                  <a:lnTo>
                    <a:pt x="121" y="7"/>
                  </a:lnTo>
                  <a:lnTo>
                    <a:pt x="123" y="9"/>
                  </a:lnTo>
                  <a:lnTo>
                    <a:pt x="125" y="11"/>
                  </a:lnTo>
                  <a:lnTo>
                    <a:pt x="125" y="11"/>
                  </a:lnTo>
                  <a:close/>
                  <a:moveTo>
                    <a:pt x="183" y="40"/>
                  </a:moveTo>
                  <a:lnTo>
                    <a:pt x="186" y="41"/>
                  </a:lnTo>
                  <a:lnTo>
                    <a:pt x="188" y="43"/>
                  </a:lnTo>
                  <a:lnTo>
                    <a:pt x="189" y="45"/>
                  </a:lnTo>
                  <a:lnTo>
                    <a:pt x="190" y="49"/>
                  </a:lnTo>
                  <a:lnTo>
                    <a:pt x="188" y="50"/>
                  </a:lnTo>
                  <a:lnTo>
                    <a:pt x="183" y="51"/>
                  </a:lnTo>
                  <a:lnTo>
                    <a:pt x="181" y="51"/>
                  </a:lnTo>
                  <a:lnTo>
                    <a:pt x="178" y="51"/>
                  </a:lnTo>
                  <a:lnTo>
                    <a:pt x="176" y="50"/>
                  </a:lnTo>
                  <a:lnTo>
                    <a:pt x="173" y="49"/>
                  </a:lnTo>
                  <a:lnTo>
                    <a:pt x="176" y="45"/>
                  </a:lnTo>
                  <a:lnTo>
                    <a:pt x="177" y="43"/>
                  </a:lnTo>
                  <a:lnTo>
                    <a:pt x="179" y="41"/>
                  </a:lnTo>
                  <a:lnTo>
                    <a:pt x="181" y="40"/>
                  </a:lnTo>
                  <a:lnTo>
                    <a:pt x="183" y="40"/>
                  </a:lnTo>
                  <a:lnTo>
                    <a:pt x="183" y="40"/>
                  </a:lnTo>
                  <a:close/>
                  <a:moveTo>
                    <a:pt x="166" y="109"/>
                  </a:moveTo>
                  <a:lnTo>
                    <a:pt x="165" y="108"/>
                  </a:lnTo>
                  <a:lnTo>
                    <a:pt x="163" y="105"/>
                  </a:lnTo>
                  <a:lnTo>
                    <a:pt x="160" y="103"/>
                  </a:lnTo>
                  <a:lnTo>
                    <a:pt x="157" y="101"/>
                  </a:lnTo>
                  <a:lnTo>
                    <a:pt x="155" y="97"/>
                  </a:lnTo>
                  <a:lnTo>
                    <a:pt x="153" y="96"/>
                  </a:lnTo>
                  <a:lnTo>
                    <a:pt x="151" y="95"/>
                  </a:lnTo>
                  <a:lnTo>
                    <a:pt x="147" y="94"/>
                  </a:lnTo>
                  <a:lnTo>
                    <a:pt x="145" y="93"/>
                  </a:lnTo>
                  <a:lnTo>
                    <a:pt x="146" y="91"/>
                  </a:lnTo>
                  <a:lnTo>
                    <a:pt x="148" y="88"/>
                  </a:lnTo>
                  <a:lnTo>
                    <a:pt x="151" y="87"/>
                  </a:lnTo>
                  <a:lnTo>
                    <a:pt x="154" y="86"/>
                  </a:lnTo>
                  <a:lnTo>
                    <a:pt x="162" y="86"/>
                  </a:lnTo>
                  <a:lnTo>
                    <a:pt x="165" y="86"/>
                  </a:lnTo>
                  <a:lnTo>
                    <a:pt x="168" y="86"/>
                  </a:lnTo>
                  <a:lnTo>
                    <a:pt x="171" y="86"/>
                  </a:lnTo>
                  <a:lnTo>
                    <a:pt x="173" y="88"/>
                  </a:lnTo>
                  <a:lnTo>
                    <a:pt x="176" y="90"/>
                  </a:lnTo>
                  <a:lnTo>
                    <a:pt x="178" y="91"/>
                  </a:lnTo>
                  <a:lnTo>
                    <a:pt x="178" y="93"/>
                  </a:lnTo>
                  <a:lnTo>
                    <a:pt x="178" y="96"/>
                  </a:lnTo>
                  <a:lnTo>
                    <a:pt x="177" y="99"/>
                  </a:lnTo>
                  <a:lnTo>
                    <a:pt x="174" y="101"/>
                  </a:lnTo>
                  <a:lnTo>
                    <a:pt x="172" y="104"/>
                  </a:lnTo>
                  <a:lnTo>
                    <a:pt x="170" y="107"/>
                  </a:lnTo>
                  <a:lnTo>
                    <a:pt x="169" y="110"/>
                  </a:lnTo>
                  <a:lnTo>
                    <a:pt x="166" y="109"/>
                  </a:lnTo>
                  <a:lnTo>
                    <a:pt x="166"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6" name="Freeform 236">
              <a:extLst>
                <a:ext uri="{FF2B5EF4-FFF2-40B4-BE49-F238E27FC236}">
                  <a16:creationId xmlns:a16="http://schemas.microsoft.com/office/drawing/2014/main" id="{6574C7BC-0A22-4D91-9A3A-62E767CC3548}"/>
                </a:ext>
              </a:extLst>
            </p:cNvPr>
            <p:cNvSpPr>
              <a:spLocks noEditPoints="1"/>
            </p:cNvSpPr>
            <p:nvPr/>
          </p:nvSpPr>
          <p:spPr bwMode="auto">
            <a:xfrm>
              <a:off x="3386138" y="2233613"/>
              <a:ext cx="193675" cy="76200"/>
            </a:xfrm>
            <a:custGeom>
              <a:avLst/>
              <a:gdLst>
                <a:gd name="T0" fmla="*/ 47 w 122"/>
                <a:gd name="T1" fmla="*/ 2 h 48"/>
                <a:gd name="T2" fmla="*/ 52 w 122"/>
                <a:gd name="T3" fmla="*/ 5 h 48"/>
                <a:gd name="T4" fmla="*/ 54 w 122"/>
                <a:gd name="T5" fmla="*/ 10 h 48"/>
                <a:gd name="T6" fmla="*/ 51 w 122"/>
                <a:gd name="T7" fmla="*/ 13 h 48"/>
                <a:gd name="T8" fmla="*/ 45 w 122"/>
                <a:gd name="T9" fmla="*/ 12 h 48"/>
                <a:gd name="T10" fmla="*/ 42 w 122"/>
                <a:gd name="T11" fmla="*/ 13 h 48"/>
                <a:gd name="T12" fmla="*/ 36 w 122"/>
                <a:gd name="T13" fmla="*/ 13 h 48"/>
                <a:gd name="T14" fmla="*/ 30 w 122"/>
                <a:gd name="T15" fmla="*/ 11 h 48"/>
                <a:gd name="T16" fmla="*/ 25 w 122"/>
                <a:gd name="T17" fmla="*/ 14 h 48"/>
                <a:gd name="T18" fmla="*/ 19 w 122"/>
                <a:gd name="T19" fmla="*/ 13 h 48"/>
                <a:gd name="T20" fmla="*/ 13 w 122"/>
                <a:gd name="T21" fmla="*/ 11 h 48"/>
                <a:gd name="T22" fmla="*/ 8 w 122"/>
                <a:gd name="T23" fmla="*/ 12 h 48"/>
                <a:gd name="T24" fmla="*/ 3 w 122"/>
                <a:gd name="T25" fmla="*/ 14 h 48"/>
                <a:gd name="T26" fmla="*/ 3 w 122"/>
                <a:gd name="T27" fmla="*/ 10 h 48"/>
                <a:gd name="T28" fmla="*/ 9 w 122"/>
                <a:gd name="T29" fmla="*/ 8 h 48"/>
                <a:gd name="T30" fmla="*/ 14 w 122"/>
                <a:gd name="T31" fmla="*/ 6 h 48"/>
                <a:gd name="T32" fmla="*/ 20 w 122"/>
                <a:gd name="T33" fmla="*/ 5 h 48"/>
                <a:gd name="T34" fmla="*/ 26 w 122"/>
                <a:gd name="T35" fmla="*/ 3 h 48"/>
                <a:gd name="T36" fmla="*/ 31 w 122"/>
                <a:gd name="T37" fmla="*/ 1 h 48"/>
                <a:gd name="T38" fmla="*/ 37 w 122"/>
                <a:gd name="T39" fmla="*/ 0 h 48"/>
                <a:gd name="T40" fmla="*/ 43 w 122"/>
                <a:gd name="T41" fmla="*/ 1 h 48"/>
                <a:gd name="T42" fmla="*/ 45 w 122"/>
                <a:gd name="T43" fmla="*/ 2 h 48"/>
                <a:gd name="T44" fmla="*/ 48 w 122"/>
                <a:gd name="T45" fmla="*/ 19 h 48"/>
                <a:gd name="T46" fmla="*/ 48 w 122"/>
                <a:gd name="T47" fmla="*/ 23 h 48"/>
                <a:gd name="T48" fmla="*/ 43 w 122"/>
                <a:gd name="T49" fmla="*/ 26 h 48"/>
                <a:gd name="T50" fmla="*/ 36 w 122"/>
                <a:gd name="T51" fmla="*/ 26 h 48"/>
                <a:gd name="T52" fmla="*/ 36 w 122"/>
                <a:gd name="T53" fmla="*/ 29 h 48"/>
                <a:gd name="T54" fmla="*/ 41 w 122"/>
                <a:gd name="T55" fmla="*/ 28 h 48"/>
                <a:gd name="T56" fmla="*/ 44 w 122"/>
                <a:gd name="T57" fmla="*/ 34 h 48"/>
                <a:gd name="T58" fmla="*/ 41 w 122"/>
                <a:gd name="T59" fmla="*/ 37 h 48"/>
                <a:gd name="T60" fmla="*/ 35 w 122"/>
                <a:gd name="T61" fmla="*/ 38 h 48"/>
                <a:gd name="T62" fmla="*/ 29 w 122"/>
                <a:gd name="T63" fmla="*/ 39 h 48"/>
                <a:gd name="T64" fmla="*/ 24 w 122"/>
                <a:gd name="T65" fmla="*/ 40 h 48"/>
                <a:gd name="T66" fmla="*/ 14 w 122"/>
                <a:gd name="T67" fmla="*/ 42 h 48"/>
                <a:gd name="T68" fmla="*/ 10 w 122"/>
                <a:gd name="T69" fmla="*/ 38 h 48"/>
                <a:gd name="T70" fmla="*/ 4 w 122"/>
                <a:gd name="T71" fmla="*/ 36 h 48"/>
                <a:gd name="T72" fmla="*/ 1 w 122"/>
                <a:gd name="T73" fmla="*/ 32 h 48"/>
                <a:gd name="T74" fmla="*/ 0 w 122"/>
                <a:gd name="T75" fmla="*/ 27 h 48"/>
                <a:gd name="T76" fmla="*/ 5 w 122"/>
                <a:gd name="T77" fmla="*/ 25 h 48"/>
                <a:gd name="T78" fmla="*/ 11 w 122"/>
                <a:gd name="T79" fmla="*/ 22 h 48"/>
                <a:gd name="T80" fmla="*/ 17 w 122"/>
                <a:gd name="T81" fmla="*/ 21 h 48"/>
                <a:gd name="T82" fmla="*/ 24 w 122"/>
                <a:gd name="T83" fmla="*/ 21 h 48"/>
                <a:gd name="T84" fmla="*/ 29 w 122"/>
                <a:gd name="T85" fmla="*/ 20 h 48"/>
                <a:gd name="T86" fmla="*/ 34 w 122"/>
                <a:gd name="T87" fmla="*/ 20 h 48"/>
                <a:gd name="T88" fmla="*/ 39 w 122"/>
                <a:gd name="T89" fmla="*/ 19 h 48"/>
                <a:gd name="T90" fmla="*/ 45 w 122"/>
                <a:gd name="T91" fmla="*/ 19 h 48"/>
                <a:gd name="T92" fmla="*/ 105 w 122"/>
                <a:gd name="T93" fmla="*/ 29 h 48"/>
                <a:gd name="T94" fmla="*/ 110 w 122"/>
                <a:gd name="T95" fmla="*/ 32 h 48"/>
                <a:gd name="T96" fmla="*/ 114 w 122"/>
                <a:gd name="T97" fmla="*/ 37 h 48"/>
                <a:gd name="T98" fmla="*/ 119 w 122"/>
                <a:gd name="T99" fmla="*/ 40 h 48"/>
                <a:gd name="T100" fmla="*/ 122 w 122"/>
                <a:gd name="T101" fmla="*/ 46 h 48"/>
                <a:gd name="T102" fmla="*/ 116 w 122"/>
                <a:gd name="T103" fmla="*/ 48 h 48"/>
                <a:gd name="T104" fmla="*/ 113 w 122"/>
                <a:gd name="T105" fmla="*/ 46 h 48"/>
                <a:gd name="T106" fmla="*/ 107 w 122"/>
                <a:gd name="T107" fmla="*/ 43 h 48"/>
                <a:gd name="T108" fmla="*/ 104 w 122"/>
                <a:gd name="T109" fmla="*/ 37 h 48"/>
                <a:gd name="T110" fmla="*/ 101 w 122"/>
                <a:gd name="T111" fmla="*/ 31 h 48"/>
                <a:gd name="T112" fmla="*/ 102 w 122"/>
                <a:gd name="T113" fmla="*/ 29 h 48"/>
                <a:gd name="T114" fmla="*/ 105 w 122"/>
                <a:gd name="T115"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48">
                  <a:moveTo>
                    <a:pt x="45" y="2"/>
                  </a:moveTo>
                  <a:lnTo>
                    <a:pt x="47" y="2"/>
                  </a:lnTo>
                  <a:lnTo>
                    <a:pt x="50" y="4"/>
                  </a:lnTo>
                  <a:lnTo>
                    <a:pt x="52" y="5"/>
                  </a:lnTo>
                  <a:lnTo>
                    <a:pt x="55" y="8"/>
                  </a:lnTo>
                  <a:lnTo>
                    <a:pt x="54" y="10"/>
                  </a:lnTo>
                  <a:lnTo>
                    <a:pt x="54" y="13"/>
                  </a:lnTo>
                  <a:lnTo>
                    <a:pt x="51" y="13"/>
                  </a:lnTo>
                  <a:lnTo>
                    <a:pt x="48" y="13"/>
                  </a:lnTo>
                  <a:lnTo>
                    <a:pt x="45" y="12"/>
                  </a:lnTo>
                  <a:lnTo>
                    <a:pt x="45" y="12"/>
                  </a:lnTo>
                  <a:lnTo>
                    <a:pt x="42" y="13"/>
                  </a:lnTo>
                  <a:lnTo>
                    <a:pt x="39" y="13"/>
                  </a:lnTo>
                  <a:lnTo>
                    <a:pt x="36" y="13"/>
                  </a:lnTo>
                  <a:lnTo>
                    <a:pt x="34" y="12"/>
                  </a:lnTo>
                  <a:lnTo>
                    <a:pt x="30" y="11"/>
                  </a:lnTo>
                  <a:lnTo>
                    <a:pt x="28" y="13"/>
                  </a:lnTo>
                  <a:lnTo>
                    <a:pt x="25" y="14"/>
                  </a:lnTo>
                  <a:lnTo>
                    <a:pt x="22" y="14"/>
                  </a:lnTo>
                  <a:lnTo>
                    <a:pt x="19" y="13"/>
                  </a:lnTo>
                  <a:lnTo>
                    <a:pt x="17" y="11"/>
                  </a:lnTo>
                  <a:lnTo>
                    <a:pt x="13" y="11"/>
                  </a:lnTo>
                  <a:lnTo>
                    <a:pt x="11" y="12"/>
                  </a:lnTo>
                  <a:lnTo>
                    <a:pt x="8" y="12"/>
                  </a:lnTo>
                  <a:lnTo>
                    <a:pt x="5" y="13"/>
                  </a:lnTo>
                  <a:lnTo>
                    <a:pt x="3" y="14"/>
                  </a:lnTo>
                  <a:lnTo>
                    <a:pt x="0" y="12"/>
                  </a:lnTo>
                  <a:lnTo>
                    <a:pt x="3" y="10"/>
                  </a:lnTo>
                  <a:lnTo>
                    <a:pt x="5" y="9"/>
                  </a:lnTo>
                  <a:lnTo>
                    <a:pt x="9" y="8"/>
                  </a:lnTo>
                  <a:lnTo>
                    <a:pt x="11" y="6"/>
                  </a:lnTo>
                  <a:lnTo>
                    <a:pt x="14" y="6"/>
                  </a:lnTo>
                  <a:lnTo>
                    <a:pt x="17" y="5"/>
                  </a:lnTo>
                  <a:lnTo>
                    <a:pt x="20" y="5"/>
                  </a:lnTo>
                  <a:lnTo>
                    <a:pt x="22" y="5"/>
                  </a:lnTo>
                  <a:lnTo>
                    <a:pt x="26" y="3"/>
                  </a:lnTo>
                  <a:lnTo>
                    <a:pt x="28" y="2"/>
                  </a:lnTo>
                  <a:lnTo>
                    <a:pt x="31" y="1"/>
                  </a:lnTo>
                  <a:lnTo>
                    <a:pt x="34" y="0"/>
                  </a:lnTo>
                  <a:lnTo>
                    <a:pt x="37" y="0"/>
                  </a:lnTo>
                  <a:lnTo>
                    <a:pt x="39" y="0"/>
                  </a:lnTo>
                  <a:lnTo>
                    <a:pt x="43" y="1"/>
                  </a:lnTo>
                  <a:lnTo>
                    <a:pt x="45" y="2"/>
                  </a:lnTo>
                  <a:lnTo>
                    <a:pt x="45" y="2"/>
                  </a:lnTo>
                  <a:close/>
                  <a:moveTo>
                    <a:pt x="45" y="19"/>
                  </a:moveTo>
                  <a:lnTo>
                    <a:pt x="48" y="19"/>
                  </a:lnTo>
                  <a:lnTo>
                    <a:pt x="51" y="21"/>
                  </a:lnTo>
                  <a:lnTo>
                    <a:pt x="48" y="23"/>
                  </a:lnTo>
                  <a:lnTo>
                    <a:pt x="45" y="25"/>
                  </a:lnTo>
                  <a:lnTo>
                    <a:pt x="43" y="26"/>
                  </a:lnTo>
                  <a:lnTo>
                    <a:pt x="39" y="26"/>
                  </a:lnTo>
                  <a:lnTo>
                    <a:pt x="36" y="26"/>
                  </a:lnTo>
                  <a:lnTo>
                    <a:pt x="34" y="26"/>
                  </a:lnTo>
                  <a:lnTo>
                    <a:pt x="36" y="29"/>
                  </a:lnTo>
                  <a:lnTo>
                    <a:pt x="38" y="29"/>
                  </a:lnTo>
                  <a:lnTo>
                    <a:pt x="41" y="28"/>
                  </a:lnTo>
                  <a:lnTo>
                    <a:pt x="44" y="30"/>
                  </a:lnTo>
                  <a:lnTo>
                    <a:pt x="44" y="34"/>
                  </a:lnTo>
                  <a:lnTo>
                    <a:pt x="43" y="36"/>
                  </a:lnTo>
                  <a:lnTo>
                    <a:pt x="41" y="37"/>
                  </a:lnTo>
                  <a:lnTo>
                    <a:pt x="37" y="38"/>
                  </a:lnTo>
                  <a:lnTo>
                    <a:pt x="35" y="38"/>
                  </a:lnTo>
                  <a:lnTo>
                    <a:pt x="31" y="39"/>
                  </a:lnTo>
                  <a:lnTo>
                    <a:pt x="29" y="39"/>
                  </a:lnTo>
                  <a:lnTo>
                    <a:pt x="26" y="39"/>
                  </a:lnTo>
                  <a:lnTo>
                    <a:pt x="24" y="40"/>
                  </a:lnTo>
                  <a:lnTo>
                    <a:pt x="18" y="42"/>
                  </a:lnTo>
                  <a:lnTo>
                    <a:pt x="14" y="42"/>
                  </a:lnTo>
                  <a:lnTo>
                    <a:pt x="12" y="40"/>
                  </a:lnTo>
                  <a:lnTo>
                    <a:pt x="10" y="38"/>
                  </a:lnTo>
                  <a:lnTo>
                    <a:pt x="7" y="38"/>
                  </a:lnTo>
                  <a:lnTo>
                    <a:pt x="4" y="36"/>
                  </a:lnTo>
                  <a:lnTo>
                    <a:pt x="2" y="35"/>
                  </a:lnTo>
                  <a:lnTo>
                    <a:pt x="1" y="32"/>
                  </a:lnTo>
                  <a:lnTo>
                    <a:pt x="1" y="29"/>
                  </a:lnTo>
                  <a:lnTo>
                    <a:pt x="0" y="27"/>
                  </a:lnTo>
                  <a:lnTo>
                    <a:pt x="3" y="25"/>
                  </a:lnTo>
                  <a:lnTo>
                    <a:pt x="5" y="25"/>
                  </a:lnTo>
                  <a:lnTo>
                    <a:pt x="9" y="23"/>
                  </a:lnTo>
                  <a:lnTo>
                    <a:pt x="11" y="22"/>
                  </a:lnTo>
                  <a:lnTo>
                    <a:pt x="14" y="21"/>
                  </a:lnTo>
                  <a:lnTo>
                    <a:pt x="17" y="21"/>
                  </a:lnTo>
                  <a:lnTo>
                    <a:pt x="20" y="21"/>
                  </a:lnTo>
                  <a:lnTo>
                    <a:pt x="24" y="21"/>
                  </a:lnTo>
                  <a:lnTo>
                    <a:pt x="26" y="20"/>
                  </a:lnTo>
                  <a:lnTo>
                    <a:pt x="29" y="20"/>
                  </a:lnTo>
                  <a:lnTo>
                    <a:pt x="31" y="20"/>
                  </a:lnTo>
                  <a:lnTo>
                    <a:pt x="34" y="20"/>
                  </a:lnTo>
                  <a:lnTo>
                    <a:pt x="37" y="19"/>
                  </a:lnTo>
                  <a:lnTo>
                    <a:pt x="39" y="19"/>
                  </a:lnTo>
                  <a:lnTo>
                    <a:pt x="43" y="19"/>
                  </a:lnTo>
                  <a:lnTo>
                    <a:pt x="45" y="19"/>
                  </a:lnTo>
                  <a:lnTo>
                    <a:pt x="45" y="19"/>
                  </a:lnTo>
                  <a:close/>
                  <a:moveTo>
                    <a:pt x="105" y="29"/>
                  </a:moveTo>
                  <a:lnTo>
                    <a:pt x="106" y="30"/>
                  </a:lnTo>
                  <a:lnTo>
                    <a:pt x="110" y="32"/>
                  </a:lnTo>
                  <a:lnTo>
                    <a:pt x="112" y="34"/>
                  </a:lnTo>
                  <a:lnTo>
                    <a:pt x="114" y="37"/>
                  </a:lnTo>
                  <a:lnTo>
                    <a:pt x="115" y="39"/>
                  </a:lnTo>
                  <a:lnTo>
                    <a:pt x="119" y="40"/>
                  </a:lnTo>
                  <a:lnTo>
                    <a:pt x="121" y="43"/>
                  </a:lnTo>
                  <a:lnTo>
                    <a:pt x="122" y="46"/>
                  </a:lnTo>
                  <a:lnTo>
                    <a:pt x="120" y="47"/>
                  </a:lnTo>
                  <a:lnTo>
                    <a:pt x="116" y="48"/>
                  </a:lnTo>
                  <a:lnTo>
                    <a:pt x="116" y="48"/>
                  </a:lnTo>
                  <a:lnTo>
                    <a:pt x="113" y="46"/>
                  </a:lnTo>
                  <a:lnTo>
                    <a:pt x="111" y="45"/>
                  </a:lnTo>
                  <a:lnTo>
                    <a:pt x="107" y="43"/>
                  </a:lnTo>
                  <a:lnTo>
                    <a:pt x="105" y="40"/>
                  </a:lnTo>
                  <a:lnTo>
                    <a:pt x="104" y="37"/>
                  </a:lnTo>
                  <a:lnTo>
                    <a:pt x="102" y="35"/>
                  </a:lnTo>
                  <a:lnTo>
                    <a:pt x="101" y="31"/>
                  </a:lnTo>
                  <a:lnTo>
                    <a:pt x="102" y="29"/>
                  </a:lnTo>
                  <a:lnTo>
                    <a:pt x="102" y="29"/>
                  </a:lnTo>
                  <a:lnTo>
                    <a:pt x="105" y="29"/>
                  </a:lnTo>
                  <a:lnTo>
                    <a:pt x="10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7" name="Freeform 237">
              <a:extLst>
                <a:ext uri="{FF2B5EF4-FFF2-40B4-BE49-F238E27FC236}">
                  <a16:creationId xmlns:a16="http://schemas.microsoft.com/office/drawing/2014/main" id="{4DA46E54-99BE-4893-AD96-465D93118CB3}"/>
                </a:ext>
              </a:extLst>
            </p:cNvPr>
            <p:cNvSpPr>
              <a:spLocks/>
            </p:cNvSpPr>
            <p:nvPr/>
          </p:nvSpPr>
          <p:spPr bwMode="auto">
            <a:xfrm>
              <a:off x="3113088" y="2424113"/>
              <a:ext cx="230187" cy="142875"/>
            </a:xfrm>
            <a:custGeom>
              <a:avLst/>
              <a:gdLst>
                <a:gd name="T0" fmla="*/ 86 w 145"/>
                <a:gd name="T1" fmla="*/ 60 h 90"/>
                <a:gd name="T2" fmla="*/ 91 w 145"/>
                <a:gd name="T3" fmla="*/ 53 h 90"/>
                <a:gd name="T4" fmla="*/ 98 w 145"/>
                <a:gd name="T5" fmla="*/ 47 h 90"/>
                <a:gd name="T6" fmla="*/ 106 w 145"/>
                <a:gd name="T7" fmla="*/ 44 h 90"/>
                <a:gd name="T8" fmla="*/ 114 w 145"/>
                <a:gd name="T9" fmla="*/ 40 h 90"/>
                <a:gd name="T10" fmla="*/ 122 w 145"/>
                <a:gd name="T11" fmla="*/ 37 h 90"/>
                <a:gd name="T12" fmla="*/ 131 w 145"/>
                <a:gd name="T13" fmla="*/ 34 h 90"/>
                <a:gd name="T14" fmla="*/ 139 w 145"/>
                <a:gd name="T15" fmla="*/ 31 h 90"/>
                <a:gd name="T16" fmla="*/ 145 w 145"/>
                <a:gd name="T17" fmla="*/ 28 h 90"/>
                <a:gd name="T18" fmla="*/ 138 w 145"/>
                <a:gd name="T19" fmla="*/ 22 h 90"/>
                <a:gd name="T20" fmla="*/ 130 w 145"/>
                <a:gd name="T21" fmla="*/ 17 h 90"/>
                <a:gd name="T22" fmla="*/ 118 w 145"/>
                <a:gd name="T23" fmla="*/ 10 h 90"/>
                <a:gd name="T24" fmla="*/ 112 w 145"/>
                <a:gd name="T25" fmla="*/ 8 h 90"/>
                <a:gd name="T26" fmla="*/ 100 w 145"/>
                <a:gd name="T27" fmla="*/ 8 h 90"/>
                <a:gd name="T28" fmla="*/ 95 w 145"/>
                <a:gd name="T29" fmla="*/ 14 h 90"/>
                <a:gd name="T30" fmla="*/ 91 w 145"/>
                <a:gd name="T31" fmla="*/ 9 h 90"/>
                <a:gd name="T32" fmla="*/ 83 w 145"/>
                <a:gd name="T33" fmla="*/ 13 h 90"/>
                <a:gd name="T34" fmla="*/ 87 w 145"/>
                <a:gd name="T35" fmla="*/ 9 h 90"/>
                <a:gd name="T36" fmla="*/ 80 w 145"/>
                <a:gd name="T37" fmla="*/ 8 h 90"/>
                <a:gd name="T38" fmla="*/ 73 w 145"/>
                <a:gd name="T39" fmla="*/ 5 h 90"/>
                <a:gd name="T40" fmla="*/ 65 w 145"/>
                <a:gd name="T41" fmla="*/ 1 h 90"/>
                <a:gd name="T42" fmla="*/ 57 w 145"/>
                <a:gd name="T43" fmla="*/ 0 h 90"/>
                <a:gd name="T44" fmla="*/ 48 w 145"/>
                <a:gd name="T45" fmla="*/ 2 h 90"/>
                <a:gd name="T46" fmla="*/ 40 w 145"/>
                <a:gd name="T47" fmla="*/ 2 h 90"/>
                <a:gd name="T48" fmla="*/ 31 w 145"/>
                <a:gd name="T49" fmla="*/ 3 h 90"/>
                <a:gd name="T50" fmla="*/ 23 w 145"/>
                <a:gd name="T51" fmla="*/ 4 h 90"/>
                <a:gd name="T52" fmla="*/ 15 w 145"/>
                <a:gd name="T53" fmla="*/ 5 h 90"/>
                <a:gd name="T54" fmla="*/ 19 w 145"/>
                <a:gd name="T55" fmla="*/ 12 h 90"/>
                <a:gd name="T56" fmla="*/ 26 w 145"/>
                <a:gd name="T57" fmla="*/ 19 h 90"/>
                <a:gd name="T58" fmla="*/ 26 w 145"/>
                <a:gd name="T59" fmla="*/ 26 h 90"/>
                <a:gd name="T60" fmla="*/ 19 w 145"/>
                <a:gd name="T61" fmla="*/ 31 h 90"/>
                <a:gd name="T62" fmla="*/ 14 w 145"/>
                <a:gd name="T63" fmla="*/ 40 h 90"/>
                <a:gd name="T64" fmla="*/ 14 w 145"/>
                <a:gd name="T65" fmla="*/ 44 h 90"/>
                <a:gd name="T66" fmla="*/ 11 w 145"/>
                <a:gd name="T67" fmla="*/ 49 h 90"/>
                <a:gd name="T68" fmla="*/ 7 w 145"/>
                <a:gd name="T69" fmla="*/ 54 h 90"/>
                <a:gd name="T70" fmla="*/ 4 w 145"/>
                <a:gd name="T71" fmla="*/ 62 h 90"/>
                <a:gd name="T72" fmla="*/ 2 w 145"/>
                <a:gd name="T73" fmla="*/ 68 h 90"/>
                <a:gd name="T74" fmla="*/ 11 w 145"/>
                <a:gd name="T75" fmla="*/ 69 h 90"/>
                <a:gd name="T76" fmla="*/ 19 w 145"/>
                <a:gd name="T77" fmla="*/ 72 h 90"/>
                <a:gd name="T78" fmla="*/ 27 w 145"/>
                <a:gd name="T79" fmla="*/ 77 h 90"/>
                <a:gd name="T80" fmla="*/ 32 w 145"/>
                <a:gd name="T81" fmla="*/ 85 h 90"/>
                <a:gd name="T82" fmla="*/ 40 w 145"/>
                <a:gd name="T83" fmla="*/ 90 h 90"/>
                <a:gd name="T84" fmla="*/ 48 w 145"/>
                <a:gd name="T85" fmla="*/ 86 h 90"/>
                <a:gd name="T86" fmla="*/ 56 w 145"/>
                <a:gd name="T87" fmla="*/ 80 h 90"/>
                <a:gd name="T88" fmla="*/ 65 w 145"/>
                <a:gd name="T89" fmla="*/ 81 h 90"/>
                <a:gd name="T90" fmla="*/ 73 w 145"/>
                <a:gd name="T91" fmla="*/ 79 h 90"/>
                <a:gd name="T92" fmla="*/ 74 w 145"/>
                <a:gd name="T93" fmla="*/ 71 h 90"/>
                <a:gd name="T94" fmla="*/ 78 w 145"/>
                <a:gd name="T95" fmla="*/ 63 h 90"/>
                <a:gd name="T96" fmla="*/ 80 w 145"/>
                <a:gd name="T97"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90">
                  <a:moveTo>
                    <a:pt x="80" y="61"/>
                  </a:moveTo>
                  <a:lnTo>
                    <a:pt x="82" y="61"/>
                  </a:lnTo>
                  <a:lnTo>
                    <a:pt x="86" y="60"/>
                  </a:lnTo>
                  <a:lnTo>
                    <a:pt x="88" y="59"/>
                  </a:lnTo>
                  <a:lnTo>
                    <a:pt x="90" y="55"/>
                  </a:lnTo>
                  <a:lnTo>
                    <a:pt x="91" y="53"/>
                  </a:lnTo>
                  <a:lnTo>
                    <a:pt x="92" y="51"/>
                  </a:lnTo>
                  <a:lnTo>
                    <a:pt x="95" y="49"/>
                  </a:lnTo>
                  <a:lnTo>
                    <a:pt x="98" y="47"/>
                  </a:lnTo>
                  <a:lnTo>
                    <a:pt x="100" y="47"/>
                  </a:lnTo>
                  <a:lnTo>
                    <a:pt x="103" y="45"/>
                  </a:lnTo>
                  <a:lnTo>
                    <a:pt x="106" y="44"/>
                  </a:lnTo>
                  <a:lnTo>
                    <a:pt x="108" y="44"/>
                  </a:lnTo>
                  <a:lnTo>
                    <a:pt x="112" y="42"/>
                  </a:lnTo>
                  <a:lnTo>
                    <a:pt x="114" y="40"/>
                  </a:lnTo>
                  <a:lnTo>
                    <a:pt x="117" y="39"/>
                  </a:lnTo>
                  <a:lnTo>
                    <a:pt x="120" y="38"/>
                  </a:lnTo>
                  <a:lnTo>
                    <a:pt x="122" y="37"/>
                  </a:lnTo>
                  <a:lnTo>
                    <a:pt x="125" y="36"/>
                  </a:lnTo>
                  <a:lnTo>
                    <a:pt x="128" y="35"/>
                  </a:lnTo>
                  <a:lnTo>
                    <a:pt x="131" y="34"/>
                  </a:lnTo>
                  <a:lnTo>
                    <a:pt x="133" y="32"/>
                  </a:lnTo>
                  <a:lnTo>
                    <a:pt x="135" y="32"/>
                  </a:lnTo>
                  <a:lnTo>
                    <a:pt x="139" y="31"/>
                  </a:lnTo>
                  <a:lnTo>
                    <a:pt x="141" y="30"/>
                  </a:lnTo>
                  <a:lnTo>
                    <a:pt x="145" y="28"/>
                  </a:lnTo>
                  <a:lnTo>
                    <a:pt x="145" y="28"/>
                  </a:lnTo>
                  <a:lnTo>
                    <a:pt x="143" y="26"/>
                  </a:lnTo>
                  <a:lnTo>
                    <a:pt x="140" y="23"/>
                  </a:lnTo>
                  <a:lnTo>
                    <a:pt x="138" y="22"/>
                  </a:lnTo>
                  <a:lnTo>
                    <a:pt x="134" y="20"/>
                  </a:lnTo>
                  <a:lnTo>
                    <a:pt x="132" y="19"/>
                  </a:lnTo>
                  <a:lnTo>
                    <a:pt x="130" y="17"/>
                  </a:lnTo>
                  <a:lnTo>
                    <a:pt x="126" y="14"/>
                  </a:lnTo>
                  <a:lnTo>
                    <a:pt x="124" y="12"/>
                  </a:lnTo>
                  <a:lnTo>
                    <a:pt x="118" y="10"/>
                  </a:lnTo>
                  <a:lnTo>
                    <a:pt x="116" y="9"/>
                  </a:lnTo>
                  <a:lnTo>
                    <a:pt x="113" y="8"/>
                  </a:lnTo>
                  <a:lnTo>
                    <a:pt x="112" y="8"/>
                  </a:lnTo>
                  <a:lnTo>
                    <a:pt x="108" y="8"/>
                  </a:lnTo>
                  <a:lnTo>
                    <a:pt x="106" y="6"/>
                  </a:lnTo>
                  <a:lnTo>
                    <a:pt x="100" y="8"/>
                  </a:lnTo>
                  <a:lnTo>
                    <a:pt x="97" y="9"/>
                  </a:lnTo>
                  <a:lnTo>
                    <a:pt x="97" y="12"/>
                  </a:lnTo>
                  <a:lnTo>
                    <a:pt x="95" y="14"/>
                  </a:lnTo>
                  <a:lnTo>
                    <a:pt x="91" y="14"/>
                  </a:lnTo>
                  <a:lnTo>
                    <a:pt x="94" y="11"/>
                  </a:lnTo>
                  <a:lnTo>
                    <a:pt x="91" y="9"/>
                  </a:lnTo>
                  <a:lnTo>
                    <a:pt x="88" y="9"/>
                  </a:lnTo>
                  <a:lnTo>
                    <a:pt x="86" y="11"/>
                  </a:lnTo>
                  <a:lnTo>
                    <a:pt x="83" y="13"/>
                  </a:lnTo>
                  <a:lnTo>
                    <a:pt x="83" y="13"/>
                  </a:lnTo>
                  <a:lnTo>
                    <a:pt x="85" y="10"/>
                  </a:lnTo>
                  <a:lnTo>
                    <a:pt x="87" y="9"/>
                  </a:lnTo>
                  <a:lnTo>
                    <a:pt x="85" y="8"/>
                  </a:lnTo>
                  <a:lnTo>
                    <a:pt x="81" y="8"/>
                  </a:lnTo>
                  <a:lnTo>
                    <a:pt x="80" y="8"/>
                  </a:lnTo>
                  <a:lnTo>
                    <a:pt x="79" y="8"/>
                  </a:lnTo>
                  <a:lnTo>
                    <a:pt x="77" y="6"/>
                  </a:lnTo>
                  <a:lnTo>
                    <a:pt x="73" y="5"/>
                  </a:lnTo>
                  <a:lnTo>
                    <a:pt x="71" y="4"/>
                  </a:lnTo>
                  <a:lnTo>
                    <a:pt x="69" y="3"/>
                  </a:lnTo>
                  <a:lnTo>
                    <a:pt x="65" y="1"/>
                  </a:lnTo>
                  <a:lnTo>
                    <a:pt x="63" y="0"/>
                  </a:lnTo>
                  <a:lnTo>
                    <a:pt x="60" y="0"/>
                  </a:lnTo>
                  <a:lnTo>
                    <a:pt x="57" y="0"/>
                  </a:lnTo>
                  <a:lnTo>
                    <a:pt x="54" y="1"/>
                  </a:lnTo>
                  <a:lnTo>
                    <a:pt x="52" y="1"/>
                  </a:lnTo>
                  <a:lnTo>
                    <a:pt x="48" y="2"/>
                  </a:lnTo>
                  <a:lnTo>
                    <a:pt x="46" y="2"/>
                  </a:lnTo>
                  <a:lnTo>
                    <a:pt x="43" y="2"/>
                  </a:lnTo>
                  <a:lnTo>
                    <a:pt x="40" y="2"/>
                  </a:lnTo>
                  <a:lnTo>
                    <a:pt x="37" y="3"/>
                  </a:lnTo>
                  <a:lnTo>
                    <a:pt x="35" y="3"/>
                  </a:lnTo>
                  <a:lnTo>
                    <a:pt x="31" y="3"/>
                  </a:lnTo>
                  <a:lnTo>
                    <a:pt x="29" y="3"/>
                  </a:lnTo>
                  <a:lnTo>
                    <a:pt x="27" y="4"/>
                  </a:lnTo>
                  <a:lnTo>
                    <a:pt x="23" y="4"/>
                  </a:lnTo>
                  <a:lnTo>
                    <a:pt x="21" y="4"/>
                  </a:lnTo>
                  <a:lnTo>
                    <a:pt x="18" y="5"/>
                  </a:lnTo>
                  <a:lnTo>
                    <a:pt x="15" y="5"/>
                  </a:lnTo>
                  <a:lnTo>
                    <a:pt x="18" y="8"/>
                  </a:lnTo>
                  <a:lnTo>
                    <a:pt x="19" y="10"/>
                  </a:lnTo>
                  <a:lnTo>
                    <a:pt x="19" y="12"/>
                  </a:lnTo>
                  <a:lnTo>
                    <a:pt x="21" y="15"/>
                  </a:lnTo>
                  <a:lnTo>
                    <a:pt x="23" y="18"/>
                  </a:lnTo>
                  <a:lnTo>
                    <a:pt x="26" y="19"/>
                  </a:lnTo>
                  <a:lnTo>
                    <a:pt x="28" y="20"/>
                  </a:lnTo>
                  <a:lnTo>
                    <a:pt x="27" y="22"/>
                  </a:lnTo>
                  <a:lnTo>
                    <a:pt x="26" y="26"/>
                  </a:lnTo>
                  <a:lnTo>
                    <a:pt x="23" y="28"/>
                  </a:lnTo>
                  <a:lnTo>
                    <a:pt x="20" y="29"/>
                  </a:lnTo>
                  <a:lnTo>
                    <a:pt x="19" y="31"/>
                  </a:lnTo>
                  <a:lnTo>
                    <a:pt x="18" y="35"/>
                  </a:lnTo>
                  <a:lnTo>
                    <a:pt x="14" y="37"/>
                  </a:lnTo>
                  <a:lnTo>
                    <a:pt x="14" y="40"/>
                  </a:lnTo>
                  <a:lnTo>
                    <a:pt x="18" y="40"/>
                  </a:lnTo>
                  <a:lnTo>
                    <a:pt x="17" y="44"/>
                  </a:lnTo>
                  <a:lnTo>
                    <a:pt x="14" y="44"/>
                  </a:lnTo>
                  <a:lnTo>
                    <a:pt x="11" y="44"/>
                  </a:lnTo>
                  <a:lnTo>
                    <a:pt x="12" y="47"/>
                  </a:lnTo>
                  <a:lnTo>
                    <a:pt x="11" y="49"/>
                  </a:lnTo>
                  <a:lnTo>
                    <a:pt x="11" y="52"/>
                  </a:lnTo>
                  <a:lnTo>
                    <a:pt x="9" y="54"/>
                  </a:lnTo>
                  <a:lnTo>
                    <a:pt x="7" y="54"/>
                  </a:lnTo>
                  <a:lnTo>
                    <a:pt x="6" y="57"/>
                  </a:lnTo>
                  <a:lnTo>
                    <a:pt x="5" y="60"/>
                  </a:lnTo>
                  <a:lnTo>
                    <a:pt x="4" y="62"/>
                  </a:lnTo>
                  <a:lnTo>
                    <a:pt x="2" y="65"/>
                  </a:lnTo>
                  <a:lnTo>
                    <a:pt x="0" y="68"/>
                  </a:lnTo>
                  <a:lnTo>
                    <a:pt x="2" y="68"/>
                  </a:lnTo>
                  <a:lnTo>
                    <a:pt x="5" y="68"/>
                  </a:lnTo>
                  <a:lnTo>
                    <a:pt x="7" y="68"/>
                  </a:lnTo>
                  <a:lnTo>
                    <a:pt x="11" y="69"/>
                  </a:lnTo>
                  <a:lnTo>
                    <a:pt x="13" y="70"/>
                  </a:lnTo>
                  <a:lnTo>
                    <a:pt x="17" y="71"/>
                  </a:lnTo>
                  <a:lnTo>
                    <a:pt x="19" y="72"/>
                  </a:lnTo>
                  <a:lnTo>
                    <a:pt x="21" y="73"/>
                  </a:lnTo>
                  <a:lnTo>
                    <a:pt x="24" y="74"/>
                  </a:lnTo>
                  <a:lnTo>
                    <a:pt x="27" y="77"/>
                  </a:lnTo>
                  <a:lnTo>
                    <a:pt x="30" y="79"/>
                  </a:lnTo>
                  <a:lnTo>
                    <a:pt x="31" y="82"/>
                  </a:lnTo>
                  <a:lnTo>
                    <a:pt x="32" y="85"/>
                  </a:lnTo>
                  <a:lnTo>
                    <a:pt x="35" y="88"/>
                  </a:lnTo>
                  <a:lnTo>
                    <a:pt x="37" y="89"/>
                  </a:lnTo>
                  <a:lnTo>
                    <a:pt x="40" y="90"/>
                  </a:lnTo>
                  <a:lnTo>
                    <a:pt x="43" y="89"/>
                  </a:lnTo>
                  <a:lnTo>
                    <a:pt x="46" y="87"/>
                  </a:lnTo>
                  <a:lnTo>
                    <a:pt x="48" y="86"/>
                  </a:lnTo>
                  <a:lnTo>
                    <a:pt x="52" y="86"/>
                  </a:lnTo>
                  <a:lnTo>
                    <a:pt x="54" y="83"/>
                  </a:lnTo>
                  <a:lnTo>
                    <a:pt x="56" y="80"/>
                  </a:lnTo>
                  <a:lnTo>
                    <a:pt x="60" y="82"/>
                  </a:lnTo>
                  <a:lnTo>
                    <a:pt x="62" y="82"/>
                  </a:lnTo>
                  <a:lnTo>
                    <a:pt x="65" y="81"/>
                  </a:lnTo>
                  <a:lnTo>
                    <a:pt x="68" y="81"/>
                  </a:lnTo>
                  <a:lnTo>
                    <a:pt x="70" y="80"/>
                  </a:lnTo>
                  <a:lnTo>
                    <a:pt x="73" y="79"/>
                  </a:lnTo>
                  <a:lnTo>
                    <a:pt x="74" y="77"/>
                  </a:lnTo>
                  <a:lnTo>
                    <a:pt x="74" y="73"/>
                  </a:lnTo>
                  <a:lnTo>
                    <a:pt x="74" y="71"/>
                  </a:lnTo>
                  <a:lnTo>
                    <a:pt x="74" y="68"/>
                  </a:lnTo>
                  <a:lnTo>
                    <a:pt x="77" y="65"/>
                  </a:lnTo>
                  <a:lnTo>
                    <a:pt x="78" y="63"/>
                  </a:lnTo>
                  <a:lnTo>
                    <a:pt x="78" y="60"/>
                  </a:lnTo>
                  <a:lnTo>
                    <a:pt x="80" y="61"/>
                  </a:lnTo>
                  <a:lnTo>
                    <a:pt x="8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8" name="Freeform 238">
              <a:extLst>
                <a:ext uri="{FF2B5EF4-FFF2-40B4-BE49-F238E27FC236}">
                  <a16:creationId xmlns:a16="http://schemas.microsoft.com/office/drawing/2014/main" id="{642C66A1-D290-4923-A155-792EE6DFA254}"/>
                </a:ext>
              </a:extLst>
            </p:cNvPr>
            <p:cNvSpPr>
              <a:spLocks/>
            </p:cNvSpPr>
            <p:nvPr/>
          </p:nvSpPr>
          <p:spPr bwMode="auto">
            <a:xfrm>
              <a:off x="8308975" y="4687888"/>
              <a:ext cx="879475" cy="661988"/>
            </a:xfrm>
            <a:custGeom>
              <a:avLst/>
              <a:gdLst>
                <a:gd name="T0" fmla="*/ 539 w 554"/>
                <a:gd name="T1" fmla="*/ 313 h 417"/>
                <a:gd name="T2" fmla="*/ 517 w 554"/>
                <a:gd name="T3" fmla="*/ 344 h 417"/>
                <a:gd name="T4" fmla="*/ 504 w 554"/>
                <a:gd name="T5" fmla="*/ 378 h 417"/>
                <a:gd name="T6" fmla="*/ 480 w 554"/>
                <a:gd name="T7" fmla="*/ 397 h 417"/>
                <a:gd name="T8" fmla="*/ 456 w 554"/>
                <a:gd name="T9" fmla="*/ 415 h 417"/>
                <a:gd name="T10" fmla="*/ 437 w 554"/>
                <a:gd name="T11" fmla="*/ 402 h 417"/>
                <a:gd name="T12" fmla="*/ 412 w 554"/>
                <a:gd name="T13" fmla="*/ 412 h 417"/>
                <a:gd name="T14" fmla="*/ 375 w 554"/>
                <a:gd name="T15" fmla="*/ 399 h 417"/>
                <a:gd name="T16" fmla="*/ 360 w 554"/>
                <a:gd name="T17" fmla="*/ 366 h 417"/>
                <a:gd name="T18" fmla="*/ 355 w 554"/>
                <a:gd name="T19" fmla="*/ 358 h 417"/>
                <a:gd name="T20" fmla="*/ 341 w 554"/>
                <a:gd name="T21" fmla="*/ 341 h 417"/>
                <a:gd name="T22" fmla="*/ 333 w 554"/>
                <a:gd name="T23" fmla="*/ 347 h 417"/>
                <a:gd name="T24" fmla="*/ 337 w 554"/>
                <a:gd name="T25" fmla="*/ 316 h 417"/>
                <a:gd name="T26" fmla="*/ 312 w 554"/>
                <a:gd name="T27" fmla="*/ 347 h 417"/>
                <a:gd name="T28" fmla="*/ 299 w 554"/>
                <a:gd name="T29" fmla="*/ 333 h 417"/>
                <a:gd name="T30" fmla="*/ 278 w 554"/>
                <a:gd name="T31" fmla="*/ 309 h 417"/>
                <a:gd name="T32" fmla="*/ 239 w 554"/>
                <a:gd name="T33" fmla="*/ 299 h 417"/>
                <a:gd name="T34" fmla="*/ 192 w 554"/>
                <a:gd name="T35" fmla="*/ 311 h 417"/>
                <a:gd name="T36" fmla="*/ 154 w 554"/>
                <a:gd name="T37" fmla="*/ 321 h 417"/>
                <a:gd name="T38" fmla="*/ 124 w 554"/>
                <a:gd name="T39" fmla="*/ 337 h 417"/>
                <a:gd name="T40" fmla="*/ 89 w 554"/>
                <a:gd name="T41" fmla="*/ 339 h 417"/>
                <a:gd name="T42" fmla="*/ 57 w 554"/>
                <a:gd name="T43" fmla="*/ 353 h 417"/>
                <a:gd name="T44" fmla="*/ 25 w 554"/>
                <a:gd name="T45" fmla="*/ 333 h 417"/>
                <a:gd name="T46" fmla="*/ 35 w 554"/>
                <a:gd name="T47" fmla="*/ 310 h 417"/>
                <a:gd name="T48" fmla="*/ 25 w 554"/>
                <a:gd name="T49" fmla="*/ 270 h 417"/>
                <a:gd name="T50" fmla="*/ 10 w 554"/>
                <a:gd name="T51" fmla="*/ 234 h 417"/>
                <a:gd name="T52" fmla="*/ 6 w 554"/>
                <a:gd name="T53" fmla="*/ 217 h 417"/>
                <a:gd name="T54" fmla="*/ 13 w 554"/>
                <a:gd name="T55" fmla="*/ 211 h 417"/>
                <a:gd name="T56" fmla="*/ 8 w 554"/>
                <a:gd name="T57" fmla="*/ 176 h 417"/>
                <a:gd name="T58" fmla="*/ 18 w 554"/>
                <a:gd name="T59" fmla="*/ 160 h 417"/>
                <a:gd name="T60" fmla="*/ 51 w 554"/>
                <a:gd name="T61" fmla="*/ 140 h 417"/>
                <a:gd name="T62" fmla="*/ 89 w 554"/>
                <a:gd name="T63" fmla="*/ 131 h 417"/>
                <a:gd name="T64" fmla="*/ 118 w 554"/>
                <a:gd name="T65" fmla="*/ 111 h 417"/>
                <a:gd name="T66" fmla="*/ 134 w 554"/>
                <a:gd name="T67" fmla="*/ 80 h 417"/>
                <a:gd name="T68" fmla="*/ 147 w 554"/>
                <a:gd name="T69" fmla="*/ 85 h 417"/>
                <a:gd name="T70" fmla="*/ 155 w 554"/>
                <a:gd name="T71" fmla="*/ 79 h 417"/>
                <a:gd name="T72" fmla="*/ 163 w 554"/>
                <a:gd name="T73" fmla="*/ 61 h 417"/>
                <a:gd name="T74" fmla="*/ 177 w 554"/>
                <a:gd name="T75" fmla="*/ 47 h 417"/>
                <a:gd name="T76" fmla="*/ 206 w 554"/>
                <a:gd name="T77" fmla="*/ 56 h 417"/>
                <a:gd name="T78" fmla="*/ 218 w 554"/>
                <a:gd name="T79" fmla="*/ 58 h 417"/>
                <a:gd name="T80" fmla="*/ 227 w 554"/>
                <a:gd name="T81" fmla="*/ 46 h 417"/>
                <a:gd name="T82" fmla="*/ 245 w 554"/>
                <a:gd name="T83" fmla="*/ 21 h 417"/>
                <a:gd name="T84" fmla="*/ 260 w 554"/>
                <a:gd name="T85" fmla="*/ 11 h 417"/>
                <a:gd name="T86" fmla="*/ 280 w 554"/>
                <a:gd name="T87" fmla="*/ 14 h 417"/>
                <a:gd name="T88" fmla="*/ 308 w 554"/>
                <a:gd name="T89" fmla="*/ 21 h 417"/>
                <a:gd name="T90" fmla="*/ 321 w 554"/>
                <a:gd name="T91" fmla="*/ 32 h 417"/>
                <a:gd name="T92" fmla="*/ 305 w 554"/>
                <a:gd name="T93" fmla="*/ 58 h 417"/>
                <a:gd name="T94" fmla="*/ 340 w 554"/>
                <a:gd name="T95" fmla="*/ 81 h 417"/>
                <a:gd name="T96" fmla="*/ 368 w 554"/>
                <a:gd name="T97" fmla="*/ 98 h 417"/>
                <a:gd name="T98" fmla="*/ 386 w 554"/>
                <a:gd name="T99" fmla="*/ 72 h 417"/>
                <a:gd name="T100" fmla="*/ 391 w 554"/>
                <a:gd name="T101" fmla="*/ 37 h 417"/>
                <a:gd name="T102" fmla="*/ 397 w 554"/>
                <a:gd name="T103" fmla="*/ 7 h 417"/>
                <a:gd name="T104" fmla="*/ 411 w 554"/>
                <a:gd name="T105" fmla="*/ 23 h 417"/>
                <a:gd name="T106" fmla="*/ 427 w 554"/>
                <a:gd name="T107" fmla="*/ 50 h 417"/>
                <a:gd name="T108" fmla="*/ 443 w 554"/>
                <a:gd name="T109" fmla="*/ 77 h 417"/>
                <a:gd name="T110" fmla="*/ 454 w 554"/>
                <a:gd name="T111" fmla="*/ 109 h 417"/>
                <a:gd name="T112" fmla="*/ 482 w 554"/>
                <a:gd name="T113" fmla="*/ 130 h 417"/>
                <a:gd name="T114" fmla="*/ 497 w 554"/>
                <a:gd name="T115" fmla="*/ 158 h 417"/>
                <a:gd name="T116" fmla="*/ 516 w 554"/>
                <a:gd name="T117" fmla="*/ 169 h 417"/>
                <a:gd name="T118" fmla="*/ 535 w 554"/>
                <a:gd name="T119" fmla="*/ 198 h 417"/>
                <a:gd name="T120" fmla="*/ 547 w 554"/>
                <a:gd name="T121" fmla="*/ 229 h 417"/>
                <a:gd name="T122" fmla="*/ 551 w 554"/>
                <a:gd name="T123" fmla="*/ 2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4" h="417">
                  <a:moveTo>
                    <a:pt x="548" y="276"/>
                  </a:moveTo>
                  <a:lnTo>
                    <a:pt x="548" y="278"/>
                  </a:lnTo>
                  <a:lnTo>
                    <a:pt x="547" y="280"/>
                  </a:lnTo>
                  <a:lnTo>
                    <a:pt x="546" y="284"/>
                  </a:lnTo>
                  <a:lnTo>
                    <a:pt x="546" y="286"/>
                  </a:lnTo>
                  <a:lnTo>
                    <a:pt x="546" y="288"/>
                  </a:lnTo>
                  <a:lnTo>
                    <a:pt x="546" y="292"/>
                  </a:lnTo>
                  <a:lnTo>
                    <a:pt x="546" y="294"/>
                  </a:lnTo>
                  <a:lnTo>
                    <a:pt x="545" y="296"/>
                  </a:lnTo>
                  <a:lnTo>
                    <a:pt x="544" y="299"/>
                  </a:lnTo>
                  <a:lnTo>
                    <a:pt x="543" y="302"/>
                  </a:lnTo>
                  <a:lnTo>
                    <a:pt x="542" y="305"/>
                  </a:lnTo>
                  <a:lnTo>
                    <a:pt x="539" y="307"/>
                  </a:lnTo>
                  <a:lnTo>
                    <a:pt x="539" y="313"/>
                  </a:lnTo>
                  <a:lnTo>
                    <a:pt x="539" y="313"/>
                  </a:lnTo>
                  <a:lnTo>
                    <a:pt x="537" y="314"/>
                  </a:lnTo>
                  <a:lnTo>
                    <a:pt x="535" y="318"/>
                  </a:lnTo>
                  <a:lnTo>
                    <a:pt x="533" y="319"/>
                  </a:lnTo>
                  <a:lnTo>
                    <a:pt x="529" y="320"/>
                  </a:lnTo>
                  <a:lnTo>
                    <a:pt x="528" y="323"/>
                  </a:lnTo>
                  <a:lnTo>
                    <a:pt x="526" y="325"/>
                  </a:lnTo>
                  <a:lnTo>
                    <a:pt x="525" y="328"/>
                  </a:lnTo>
                  <a:lnTo>
                    <a:pt x="522" y="331"/>
                  </a:lnTo>
                  <a:lnTo>
                    <a:pt x="522" y="333"/>
                  </a:lnTo>
                  <a:lnTo>
                    <a:pt x="521" y="336"/>
                  </a:lnTo>
                  <a:lnTo>
                    <a:pt x="520" y="339"/>
                  </a:lnTo>
                  <a:lnTo>
                    <a:pt x="518" y="341"/>
                  </a:lnTo>
                  <a:lnTo>
                    <a:pt x="517" y="344"/>
                  </a:lnTo>
                  <a:lnTo>
                    <a:pt x="517" y="347"/>
                  </a:lnTo>
                  <a:lnTo>
                    <a:pt x="516" y="349"/>
                  </a:lnTo>
                  <a:lnTo>
                    <a:pt x="516" y="352"/>
                  </a:lnTo>
                  <a:lnTo>
                    <a:pt x="516" y="353"/>
                  </a:lnTo>
                  <a:lnTo>
                    <a:pt x="514" y="355"/>
                  </a:lnTo>
                  <a:lnTo>
                    <a:pt x="511" y="357"/>
                  </a:lnTo>
                  <a:lnTo>
                    <a:pt x="510" y="359"/>
                  </a:lnTo>
                  <a:lnTo>
                    <a:pt x="509" y="362"/>
                  </a:lnTo>
                  <a:lnTo>
                    <a:pt x="508" y="365"/>
                  </a:lnTo>
                  <a:lnTo>
                    <a:pt x="506" y="367"/>
                  </a:lnTo>
                  <a:lnTo>
                    <a:pt x="506" y="370"/>
                  </a:lnTo>
                  <a:lnTo>
                    <a:pt x="506" y="373"/>
                  </a:lnTo>
                  <a:lnTo>
                    <a:pt x="505" y="375"/>
                  </a:lnTo>
                  <a:lnTo>
                    <a:pt x="504" y="378"/>
                  </a:lnTo>
                  <a:lnTo>
                    <a:pt x="504" y="380"/>
                  </a:lnTo>
                  <a:lnTo>
                    <a:pt x="503" y="383"/>
                  </a:lnTo>
                  <a:lnTo>
                    <a:pt x="504" y="386"/>
                  </a:lnTo>
                  <a:lnTo>
                    <a:pt x="504" y="388"/>
                  </a:lnTo>
                  <a:lnTo>
                    <a:pt x="504" y="389"/>
                  </a:lnTo>
                  <a:lnTo>
                    <a:pt x="504" y="391"/>
                  </a:lnTo>
                  <a:lnTo>
                    <a:pt x="503" y="392"/>
                  </a:lnTo>
                  <a:lnTo>
                    <a:pt x="501" y="393"/>
                  </a:lnTo>
                  <a:lnTo>
                    <a:pt x="499" y="396"/>
                  </a:lnTo>
                  <a:lnTo>
                    <a:pt x="495" y="396"/>
                  </a:lnTo>
                  <a:lnTo>
                    <a:pt x="488" y="396"/>
                  </a:lnTo>
                  <a:lnTo>
                    <a:pt x="486" y="396"/>
                  </a:lnTo>
                  <a:lnTo>
                    <a:pt x="483" y="396"/>
                  </a:lnTo>
                  <a:lnTo>
                    <a:pt x="480" y="397"/>
                  </a:lnTo>
                  <a:lnTo>
                    <a:pt x="477" y="398"/>
                  </a:lnTo>
                  <a:lnTo>
                    <a:pt x="475" y="399"/>
                  </a:lnTo>
                  <a:lnTo>
                    <a:pt x="473" y="400"/>
                  </a:lnTo>
                  <a:lnTo>
                    <a:pt x="469" y="402"/>
                  </a:lnTo>
                  <a:lnTo>
                    <a:pt x="467" y="405"/>
                  </a:lnTo>
                  <a:lnTo>
                    <a:pt x="465" y="408"/>
                  </a:lnTo>
                  <a:lnTo>
                    <a:pt x="461" y="410"/>
                  </a:lnTo>
                  <a:lnTo>
                    <a:pt x="461" y="409"/>
                  </a:lnTo>
                  <a:lnTo>
                    <a:pt x="459" y="410"/>
                  </a:lnTo>
                  <a:lnTo>
                    <a:pt x="456" y="410"/>
                  </a:lnTo>
                  <a:lnTo>
                    <a:pt x="453" y="410"/>
                  </a:lnTo>
                  <a:lnTo>
                    <a:pt x="453" y="413"/>
                  </a:lnTo>
                  <a:lnTo>
                    <a:pt x="457" y="412"/>
                  </a:lnTo>
                  <a:lnTo>
                    <a:pt x="456" y="415"/>
                  </a:lnTo>
                  <a:lnTo>
                    <a:pt x="456" y="417"/>
                  </a:lnTo>
                  <a:lnTo>
                    <a:pt x="453" y="415"/>
                  </a:lnTo>
                  <a:lnTo>
                    <a:pt x="451" y="413"/>
                  </a:lnTo>
                  <a:lnTo>
                    <a:pt x="449" y="413"/>
                  </a:lnTo>
                  <a:lnTo>
                    <a:pt x="445" y="409"/>
                  </a:lnTo>
                  <a:lnTo>
                    <a:pt x="443" y="408"/>
                  </a:lnTo>
                  <a:lnTo>
                    <a:pt x="443" y="406"/>
                  </a:lnTo>
                  <a:lnTo>
                    <a:pt x="443" y="402"/>
                  </a:lnTo>
                  <a:lnTo>
                    <a:pt x="440" y="404"/>
                  </a:lnTo>
                  <a:lnTo>
                    <a:pt x="440" y="406"/>
                  </a:lnTo>
                  <a:lnTo>
                    <a:pt x="436" y="407"/>
                  </a:lnTo>
                  <a:lnTo>
                    <a:pt x="434" y="405"/>
                  </a:lnTo>
                  <a:lnTo>
                    <a:pt x="437" y="402"/>
                  </a:lnTo>
                  <a:lnTo>
                    <a:pt x="437" y="402"/>
                  </a:lnTo>
                  <a:lnTo>
                    <a:pt x="437" y="400"/>
                  </a:lnTo>
                  <a:lnTo>
                    <a:pt x="435" y="397"/>
                  </a:lnTo>
                  <a:lnTo>
                    <a:pt x="433" y="399"/>
                  </a:lnTo>
                  <a:lnTo>
                    <a:pt x="431" y="400"/>
                  </a:lnTo>
                  <a:lnTo>
                    <a:pt x="427" y="401"/>
                  </a:lnTo>
                  <a:lnTo>
                    <a:pt x="431" y="404"/>
                  </a:lnTo>
                  <a:lnTo>
                    <a:pt x="427" y="404"/>
                  </a:lnTo>
                  <a:lnTo>
                    <a:pt x="427" y="405"/>
                  </a:lnTo>
                  <a:lnTo>
                    <a:pt x="424" y="407"/>
                  </a:lnTo>
                  <a:lnTo>
                    <a:pt x="422" y="408"/>
                  </a:lnTo>
                  <a:lnTo>
                    <a:pt x="419" y="410"/>
                  </a:lnTo>
                  <a:lnTo>
                    <a:pt x="416" y="413"/>
                  </a:lnTo>
                  <a:lnTo>
                    <a:pt x="416" y="413"/>
                  </a:lnTo>
                  <a:lnTo>
                    <a:pt x="412" y="412"/>
                  </a:lnTo>
                  <a:lnTo>
                    <a:pt x="410" y="409"/>
                  </a:lnTo>
                  <a:lnTo>
                    <a:pt x="408" y="408"/>
                  </a:lnTo>
                  <a:lnTo>
                    <a:pt x="405" y="407"/>
                  </a:lnTo>
                  <a:lnTo>
                    <a:pt x="402" y="405"/>
                  </a:lnTo>
                  <a:lnTo>
                    <a:pt x="400" y="405"/>
                  </a:lnTo>
                  <a:lnTo>
                    <a:pt x="397" y="405"/>
                  </a:lnTo>
                  <a:lnTo>
                    <a:pt x="394" y="404"/>
                  </a:lnTo>
                  <a:lnTo>
                    <a:pt x="391" y="404"/>
                  </a:lnTo>
                  <a:lnTo>
                    <a:pt x="389" y="406"/>
                  </a:lnTo>
                  <a:lnTo>
                    <a:pt x="386" y="404"/>
                  </a:lnTo>
                  <a:lnTo>
                    <a:pt x="383" y="401"/>
                  </a:lnTo>
                  <a:lnTo>
                    <a:pt x="381" y="400"/>
                  </a:lnTo>
                  <a:lnTo>
                    <a:pt x="378" y="400"/>
                  </a:lnTo>
                  <a:lnTo>
                    <a:pt x="375" y="399"/>
                  </a:lnTo>
                  <a:lnTo>
                    <a:pt x="373" y="398"/>
                  </a:lnTo>
                  <a:lnTo>
                    <a:pt x="372" y="395"/>
                  </a:lnTo>
                  <a:lnTo>
                    <a:pt x="369" y="392"/>
                  </a:lnTo>
                  <a:lnTo>
                    <a:pt x="368" y="391"/>
                  </a:lnTo>
                  <a:lnTo>
                    <a:pt x="366" y="389"/>
                  </a:lnTo>
                  <a:lnTo>
                    <a:pt x="365" y="387"/>
                  </a:lnTo>
                  <a:lnTo>
                    <a:pt x="364" y="383"/>
                  </a:lnTo>
                  <a:lnTo>
                    <a:pt x="366" y="381"/>
                  </a:lnTo>
                  <a:lnTo>
                    <a:pt x="366" y="380"/>
                  </a:lnTo>
                  <a:lnTo>
                    <a:pt x="366" y="378"/>
                  </a:lnTo>
                  <a:lnTo>
                    <a:pt x="365" y="374"/>
                  </a:lnTo>
                  <a:lnTo>
                    <a:pt x="364" y="372"/>
                  </a:lnTo>
                  <a:lnTo>
                    <a:pt x="363" y="370"/>
                  </a:lnTo>
                  <a:lnTo>
                    <a:pt x="360" y="366"/>
                  </a:lnTo>
                  <a:lnTo>
                    <a:pt x="357" y="364"/>
                  </a:lnTo>
                  <a:lnTo>
                    <a:pt x="355" y="362"/>
                  </a:lnTo>
                  <a:lnTo>
                    <a:pt x="357" y="364"/>
                  </a:lnTo>
                  <a:lnTo>
                    <a:pt x="360" y="366"/>
                  </a:lnTo>
                  <a:lnTo>
                    <a:pt x="362" y="369"/>
                  </a:lnTo>
                  <a:lnTo>
                    <a:pt x="364" y="371"/>
                  </a:lnTo>
                  <a:lnTo>
                    <a:pt x="362" y="367"/>
                  </a:lnTo>
                  <a:lnTo>
                    <a:pt x="359" y="365"/>
                  </a:lnTo>
                  <a:lnTo>
                    <a:pt x="357" y="363"/>
                  </a:lnTo>
                  <a:lnTo>
                    <a:pt x="356" y="361"/>
                  </a:lnTo>
                  <a:lnTo>
                    <a:pt x="358" y="361"/>
                  </a:lnTo>
                  <a:lnTo>
                    <a:pt x="359" y="358"/>
                  </a:lnTo>
                  <a:lnTo>
                    <a:pt x="357" y="357"/>
                  </a:lnTo>
                  <a:lnTo>
                    <a:pt x="355" y="358"/>
                  </a:lnTo>
                  <a:lnTo>
                    <a:pt x="352" y="361"/>
                  </a:lnTo>
                  <a:lnTo>
                    <a:pt x="350" y="361"/>
                  </a:lnTo>
                  <a:lnTo>
                    <a:pt x="347" y="362"/>
                  </a:lnTo>
                  <a:lnTo>
                    <a:pt x="345" y="362"/>
                  </a:lnTo>
                  <a:lnTo>
                    <a:pt x="342" y="363"/>
                  </a:lnTo>
                  <a:lnTo>
                    <a:pt x="343" y="359"/>
                  </a:lnTo>
                  <a:lnTo>
                    <a:pt x="347" y="357"/>
                  </a:lnTo>
                  <a:lnTo>
                    <a:pt x="347" y="355"/>
                  </a:lnTo>
                  <a:lnTo>
                    <a:pt x="347" y="352"/>
                  </a:lnTo>
                  <a:lnTo>
                    <a:pt x="347" y="349"/>
                  </a:lnTo>
                  <a:lnTo>
                    <a:pt x="347" y="347"/>
                  </a:lnTo>
                  <a:lnTo>
                    <a:pt x="345" y="344"/>
                  </a:lnTo>
                  <a:lnTo>
                    <a:pt x="343" y="341"/>
                  </a:lnTo>
                  <a:lnTo>
                    <a:pt x="341" y="341"/>
                  </a:lnTo>
                  <a:lnTo>
                    <a:pt x="339" y="344"/>
                  </a:lnTo>
                  <a:lnTo>
                    <a:pt x="339" y="346"/>
                  </a:lnTo>
                  <a:lnTo>
                    <a:pt x="339" y="347"/>
                  </a:lnTo>
                  <a:lnTo>
                    <a:pt x="339" y="349"/>
                  </a:lnTo>
                  <a:lnTo>
                    <a:pt x="338" y="352"/>
                  </a:lnTo>
                  <a:lnTo>
                    <a:pt x="335" y="355"/>
                  </a:lnTo>
                  <a:lnTo>
                    <a:pt x="333" y="354"/>
                  </a:lnTo>
                  <a:lnTo>
                    <a:pt x="330" y="355"/>
                  </a:lnTo>
                  <a:lnTo>
                    <a:pt x="325" y="356"/>
                  </a:lnTo>
                  <a:lnTo>
                    <a:pt x="326" y="354"/>
                  </a:lnTo>
                  <a:lnTo>
                    <a:pt x="328" y="350"/>
                  </a:lnTo>
                  <a:lnTo>
                    <a:pt x="330" y="350"/>
                  </a:lnTo>
                  <a:lnTo>
                    <a:pt x="333" y="349"/>
                  </a:lnTo>
                  <a:lnTo>
                    <a:pt x="333" y="347"/>
                  </a:lnTo>
                  <a:lnTo>
                    <a:pt x="333" y="344"/>
                  </a:lnTo>
                  <a:lnTo>
                    <a:pt x="333" y="344"/>
                  </a:lnTo>
                  <a:lnTo>
                    <a:pt x="333" y="340"/>
                  </a:lnTo>
                  <a:lnTo>
                    <a:pt x="334" y="338"/>
                  </a:lnTo>
                  <a:lnTo>
                    <a:pt x="335" y="335"/>
                  </a:lnTo>
                  <a:lnTo>
                    <a:pt x="337" y="332"/>
                  </a:lnTo>
                  <a:lnTo>
                    <a:pt x="340" y="330"/>
                  </a:lnTo>
                  <a:lnTo>
                    <a:pt x="339" y="327"/>
                  </a:lnTo>
                  <a:lnTo>
                    <a:pt x="339" y="324"/>
                  </a:lnTo>
                  <a:lnTo>
                    <a:pt x="341" y="323"/>
                  </a:lnTo>
                  <a:lnTo>
                    <a:pt x="340" y="320"/>
                  </a:lnTo>
                  <a:lnTo>
                    <a:pt x="339" y="318"/>
                  </a:lnTo>
                  <a:lnTo>
                    <a:pt x="338" y="315"/>
                  </a:lnTo>
                  <a:lnTo>
                    <a:pt x="337" y="316"/>
                  </a:lnTo>
                  <a:lnTo>
                    <a:pt x="338" y="319"/>
                  </a:lnTo>
                  <a:lnTo>
                    <a:pt x="337" y="321"/>
                  </a:lnTo>
                  <a:lnTo>
                    <a:pt x="334" y="323"/>
                  </a:lnTo>
                  <a:lnTo>
                    <a:pt x="332" y="325"/>
                  </a:lnTo>
                  <a:lnTo>
                    <a:pt x="332" y="328"/>
                  </a:lnTo>
                  <a:lnTo>
                    <a:pt x="330" y="331"/>
                  </a:lnTo>
                  <a:lnTo>
                    <a:pt x="328" y="332"/>
                  </a:lnTo>
                  <a:lnTo>
                    <a:pt x="325" y="333"/>
                  </a:lnTo>
                  <a:lnTo>
                    <a:pt x="322" y="335"/>
                  </a:lnTo>
                  <a:lnTo>
                    <a:pt x="320" y="337"/>
                  </a:lnTo>
                  <a:lnTo>
                    <a:pt x="317" y="339"/>
                  </a:lnTo>
                  <a:lnTo>
                    <a:pt x="316" y="341"/>
                  </a:lnTo>
                  <a:lnTo>
                    <a:pt x="314" y="344"/>
                  </a:lnTo>
                  <a:lnTo>
                    <a:pt x="312" y="347"/>
                  </a:lnTo>
                  <a:lnTo>
                    <a:pt x="311" y="349"/>
                  </a:lnTo>
                  <a:lnTo>
                    <a:pt x="313" y="349"/>
                  </a:lnTo>
                  <a:lnTo>
                    <a:pt x="313" y="353"/>
                  </a:lnTo>
                  <a:lnTo>
                    <a:pt x="311" y="350"/>
                  </a:lnTo>
                  <a:lnTo>
                    <a:pt x="308" y="352"/>
                  </a:lnTo>
                  <a:lnTo>
                    <a:pt x="306" y="348"/>
                  </a:lnTo>
                  <a:lnTo>
                    <a:pt x="304" y="346"/>
                  </a:lnTo>
                  <a:lnTo>
                    <a:pt x="303" y="344"/>
                  </a:lnTo>
                  <a:lnTo>
                    <a:pt x="305" y="344"/>
                  </a:lnTo>
                  <a:lnTo>
                    <a:pt x="304" y="341"/>
                  </a:lnTo>
                  <a:lnTo>
                    <a:pt x="303" y="339"/>
                  </a:lnTo>
                  <a:lnTo>
                    <a:pt x="303" y="336"/>
                  </a:lnTo>
                  <a:lnTo>
                    <a:pt x="303" y="336"/>
                  </a:lnTo>
                  <a:lnTo>
                    <a:pt x="299" y="333"/>
                  </a:lnTo>
                  <a:lnTo>
                    <a:pt x="297" y="330"/>
                  </a:lnTo>
                  <a:lnTo>
                    <a:pt x="297" y="328"/>
                  </a:lnTo>
                  <a:lnTo>
                    <a:pt x="295" y="325"/>
                  </a:lnTo>
                  <a:lnTo>
                    <a:pt x="291" y="323"/>
                  </a:lnTo>
                  <a:lnTo>
                    <a:pt x="289" y="323"/>
                  </a:lnTo>
                  <a:lnTo>
                    <a:pt x="287" y="320"/>
                  </a:lnTo>
                  <a:lnTo>
                    <a:pt x="289" y="318"/>
                  </a:lnTo>
                  <a:lnTo>
                    <a:pt x="289" y="318"/>
                  </a:lnTo>
                  <a:lnTo>
                    <a:pt x="289" y="314"/>
                  </a:lnTo>
                  <a:lnTo>
                    <a:pt x="287" y="313"/>
                  </a:lnTo>
                  <a:lnTo>
                    <a:pt x="283" y="313"/>
                  </a:lnTo>
                  <a:lnTo>
                    <a:pt x="283" y="311"/>
                  </a:lnTo>
                  <a:lnTo>
                    <a:pt x="281" y="307"/>
                  </a:lnTo>
                  <a:lnTo>
                    <a:pt x="278" y="309"/>
                  </a:lnTo>
                  <a:lnTo>
                    <a:pt x="275" y="310"/>
                  </a:lnTo>
                  <a:lnTo>
                    <a:pt x="270" y="306"/>
                  </a:lnTo>
                  <a:lnTo>
                    <a:pt x="269" y="305"/>
                  </a:lnTo>
                  <a:lnTo>
                    <a:pt x="266" y="305"/>
                  </a:lnTo>
                  <a:lnTo>
                    <a:pt x="263" y="306"/>
                  </a:lnTo>
                  <a:lnTo>
                    <a:pt x="261" y="306"/>
                  </a:lnTo>
                  <a:lnTo>
                    <a:pt x="258" y="304"/>
                  </a:lnTo>
                  <a:lnTo>
                    <a:pt x="255" y="302"/>
                  </a:lnTo>
                  <a:lnTo>
                    <a:pt x="253" y="301"/>
                  </a:lnTo>
                  <a:lnTo>
                    <a:pt x="249" y="299"/>
                  </a:lnTo>
                  <a:lnTo>
                    <a:pt x="247" y="298"/>
                  </a:lnTo>
                  <a:lnTo>
                    <a:pt x="245" y="299"/>
                  </a:lnTo>
                  <a:lnTo>
                    <a:pt x="241" y="301"/>
                  </a:lnTo>
                  <a:lnTo>
                    <a:pt x="239" y="299"/>
                  </a:lnTo>
                  <a:lnTo>
                    <a:pt x="236" y="299"/>
                  </a:lnTo>
                  <a:lnTo>
                    <a:pt x="234" y="299"/>
                  </a:lnTo>
                  <a:lnTo>
                    <a:pt x="228" y="301"/>
                  </a:lnTo>
                  <a:lnTo>
                    <a:pt x="226" y="301"/>
                  </a:lnTo>
                  <a:lnTo>
                    <a:pt x="223" y="301"/>
                  </a:lnTo>
                  <a:lnTo>
                    <a:pt x="220" y="301"/>
                  </a:lnTo>
                  <a:lnTo>
                    <a:pt x="218" y="302"/>
                  </a:lnTo>
                  <a:lnTo>
                    <a:pt x="214" y="303"/>
                  </a:lnTo>
                  <a:lnTo>
                    <a:pt x="209" y="305"/>
                  </a:lnTo>
                  <a:lnTo>
                    <a:pt x="204" y="307"/>
                  </a:lnTo>
                  <a:lnTo>
                    <a:pt x="201" y="309"/>
                  </a:lnTo>
                  <a:lnTo>
                    <a:pt x="198" y="309"/>
                  </a:lnTo>
                  <a:lnTo>
                    <a:pt x="195" y="310"/>
                  </a:lnTo>
                  <a:lnTo>
                    <a:pt x="192" y="311"/>
                  </a:lnTo>
                  <a:lnTo>
                    <a:pt x="189" y="311"/>
                  </a:lnTo>
                  <a:lnTo>
                    <a:pt x="186" y="311"/>
                  </a:lnTo>
                  <a:lnTo>
                    <a:pt x="184" y="311"/>
                  </a:lnTo>
                  <a:lnTo>
                    <a:pt x="180" y="311"/>
                  </a:lnTo>
                  <a:lnTo>
                    <a:pt x="178" y="310"/>
                  </a:lnTo>
                  <a:lnTo>
                    <a:pt x="176" y="311"/>
                  </a:lnTo>
                  <a:lnTo>
                    <a:pt x="173" y="312"/>
                  </a:lnTo>
                  <a:lnTo>
                    <a:pt x="171" y="313"/>
                  </a:lnTo>
                  <a:lnTo>
                    <a:pt x="168" y="315"/>
                  </a:lnTo>
                  <a:lnTo>
                    <a:pt x="166" y="316"/>
                  </a:lnTo>
                  <a:lnTo>
                    <a:pt x="163" y="318"/>
                  </a:lnTo>
                  <a:lnTo>
                    <a:pt x="160" y="319"/>
                  </a:lnTo>
                  <a:lnTo>
                    <a:pt x="158" y="320"/>
                  </a:lnTo>
                  <a:lnTo>
                    <a:pt x="154" y="321"/>
                  </a:lnTo>
                  <a:lnTo>
                    <a:pt x="152" y="322"/>
                  </a:lnTo>
                  <a:lnTo>
                    <a:pt x="150" y="324"/>
                  </a:lnTo>
                  <a:lnTo>
                    <a:pt x="149" y="328"/>
                  </a:lnTo>
                  <a:lnTo>
                    <a:pt x="149" y="330"/>
                  </a:lnTo>
                  <a:lnTo>
                    <a:pt x="145" y="332"/>
                  </a:lnTo>
                  <a:lnTo>
                    <a:pt x="145" y="332"/>
                  </a:lnTo>
                  <a:lnTo>
                    <a:pt x="143" y="335"/>
                  </a:lnTo>
                  <a:lnTo>
                    <a:pt x="139" y="335"/>
                  </a:lnTo>
                  <a:lnTo>
                    <a:pt x="137" y="337"/>
                  </a:lnTo>
                  <a:lnTo>
                    <a:pt x="134" y="335"/>
                  </a:lnTo>
                  <a:lnTo>
                    <a:pt x="132" y="335"/>
                  </a:lnTo>
                  <a:lnTo>
                    <a:pt x="129" y="336"/>
                  </a:lnTo>
                  <a:lnTo>
                    <a:pt x="126" y="336"/>
                  </a:lnTo>
                  <a:lnTo>
                    <a:pt x="124" y="337"/>
                  </a:lnTo>
                  <a:lnTo>
                    <a:pt x="121" y="335"/>
                  </a:lnTo>
                  <a:lnTo>
                    <a:pt x="119" y="335"/>
                  </a:lnTo>
                  <a:lnTo>
                    <a:pt x="117" y="335"/>
                  </a:lnTo>
                  <a:lnTo>
                    <a:pt x="115" y="335"/>
                  </a:lnTo>
                  <a:lnTo>
                    <a:pt x="112" y="335"/>
                  </a:lnTo>
                  <a:lnTo>
                    <a:pt x="109" y="335"/>
                  </a:lnTo>
                  <a:lnTo>
                    <a:pt x="107" y="335"/>
                  </a:lnTo>
                  <a:lnTo>
                    <a:pt x="104" y="335"/>
                  </a:lnTo>
                  <a:lnTo>
                    <a:pt x="101" y="336"/>
                  </a:lnTo>
                  <a:lnTo>
                    <a:pt x="99" y="336"/>
                  </a:lnTo>
                  <a:lnTo>
                    <a:pt x="95" y="336"/>
                  </a:lnTo>
                  <a:lnTo>
                    <a:pt x="94" y="336"/>
                  </a:lnTo>
                  <a:lnTo>
                    <a:pt x="91" y="337"/>
                  </a:lnTo>
                  <a:lnTo>
                    <a:pt x="89" y="339"/>
                  </a:lnTo>
                  <a:lnTo>
                    <a:pt x="86" y="341"/>
                  </a:lnTo>
                  <a:lnTo>
                    <a:pt x="85" y="344"/>
                  </a:lnTo>
                  <a:lnTo>
                    <a:pt x="83" y="345"/>
                  </a:lnTo>
                  <a:lnTo>
                    <a:pt x="79" y="344"/>
                  </a:lnTo>
                  <a:lnTo>
                    <a:pt x="77" y="345"/>
                  </a:lnTo>
                  <a:lnTo>
                    <a:pt x="74" y="347"/>
                  </a:lnTo>
                  <a:lnTo>
                    <a:pt x="72" y="350"/>
                  </a:lnTo>
                  <a:lnTo>
                    <a:pt x="69" y="352"/>
                  </a:lnTo>
                  <a:lnTo>
                    <a:pt x="67" y="353"/>
                  </a:lnTo>
                  <a:lnTo>
                    <a:pt x="65" y="353"/>
                  </a:lnTo>
                  <a:lnTo>
                    <a:pt x="65" y="354"/>
                  </a:lnTo>
                  <a:lnTo>
                    <a:pt x="61" y="353"/>
                  </a:lnTo>
                  <a:lnTo>
                    <a:pt x="59" y="354"/>
                  </a:lnTo>
                  <a:lnTo>
                    <a:pt x="57" y="353"/>
                  </a:lnTo>
                  <a:lnTo>
                    <a:pt x="53" y="353"/>
                  </a:lnTo>
                  <a:lnTo>
                    <a:pt x="51" y="353"/>
                  </a:lnTo>
                  <a:lnTo>
                    <a:pt x="48" y="353"/>
                  </a:lnTo>
                  <a:lnTo>
                    <a:pt x="45" y="352"/>
                  </a:lnTo>
                  <a:lnTo>
                    <a:pt x="43" y="350"/>
                  </a:lnTo>
                  <a:lnTo>
                    <a:pt x="40" y="349"/>
                  </a:lnTo>
                  <a:lnTo>
                    <a:pt x="38" y="347"/>
                  </a:lnTo>
                  <a:lnTo>
                    <a:pt x="35" y="345"/>
                  </a:lnTo>
                  <a:lnTo>
                    <a:pt x="32" y="342"/>
                  </a:lnTo>
                  <a:lnTo>
                    <a:pt x="30" y="341"/>
                  </a:lnTo>
                  <a:lnTo>
                    <a:pt x="26" y="341"/>
                  </a:lnTo>
                  <a:lnTo>
                    <a:pt x="25" y="339"/>
                  </a:lnTo>
                  <a:lnTo>
                    <a:pt x="25" y="337"/>
                  </a:lnTo>
                  <a:lnTo>
                    <a:pt x="25" y="333"/>
                  </a:lnTo>
                  <a:lnTo>
                    <a:pt x="25" y="331"/>
                  </a:lnTo>
                  <a:lnTo>
                    <a:pt x="28" y="331"/>
                  </a:lnTo>
                  <a:lnTo>
                    <a:pt x="28" y="331"/>
                  </a:lnTo>
                  <a:lnTo>
                    <a:pt x="31" y="330"/>
                  </a:lnTo>
                  <a:lnTo>
                    <a:pt x="33" y="328"/>
                  </a:lnTo>
                  <a:lnTo>
                    <a:pt x="35" y="325"/>
                  </a:lnTo>
                  <a:lnTo>
                    <a:pt x="34" y="322"/>
                  </a:lnTo>
                  <a:lnTo>
                    <a:pt x="34" y="320"/>
                  </a:lnTo>
                  <a:lnTo>
                    <a:pt x="34" y="318"/>
                  </a:lnTo>
                  <a:lnTo>
                    <a:pt x="34" y="314"/>
                  </a:lnTo>
                  <a:lnTo>
                    <a:pt x="34" y="318"/>
                  </a:lnTo>
                  <a:lnTo>
                    <a:pt x="35" y="314"/>
                  </a:lnTo>
                  <a:lnTo>
                    <a:pt x="35" y="312"/>
                  </a:lnTo>
                  <a:lnTo>
                    <a:pt x="35" y="310"/>
                  </a:lnTo>
                  <a:lnTo>
                    <a:pt x="35" y="306"/>
                  </a:lnTo>
                  <a:lnTo>
                    <a:pt x="35" y="304"/>
                  </a:lnTo>
                  <a:lnTo>
                    <a:pt x="35" y="301"/>
                  </a:lnTo>
                  <a:lnTo>
                    <a:pt x="33" y="298"/>
                  </a:lnTo>
                  <a:lnTo>
                    <a:pt x="32" y="296"/>
                  </a:lnTo>
                  <a:lnTo>
                    <a:pt x="31" y="293"/>
                  </a:lnTo>
                  <a:lnTo>
                    <a:pt x="30" y="290"/>
                  </a:lnTo>
                  <a:lnTo>
                    <a:pt x="27" y="287"/>
                  </a:lnTo>
                  <a:lnTo>
                    <a:pt x="26" y="285"/>
                  </a:lnTo>
                  <a:lnTo>
                    <a:pt x="26" y="282"/>
                  </a:lnTo>
                  <a:lnTo>
                    <a:pt x="25" y="279"/>
                  </a:lnTo>
                  <a:lnTo>
                    <a:pt x="25" y="277"/>
                  </a:lnTo>
                  <a:lnTo>
                    <a:pt x="25" y="276"/>
                  </a:lnTo>
                  <a:lnTo>
                    <a:pt x="25" y="270"/>
                  </a:lnTo>
                  <a:lnTo>
                    <a:pt x="25" y="268"/>
                  </a:lnTo>
                  <a:lnTo>
                    <a:pt x="24" y="265"/>
                  </a:lnTo>
                  <a:lnTo>
                    <a:pt x="23" y="262"/>
                  </a:lnTo>
                  <a:lnTo>
                    <a:pt x="21" y="260"/>
                  </a:lnTo>
                  <a:lnTo>
                    <a:pt x="19" y="258"/>
                  </a:lnTo>
                  <a:lnTo>
                    <a:pt x="19" y="255"/>
                  </a:lnTo>
                  <a:lnTo>
                    <a:pt x="17" y="252"/>
                  </a:lnTo>
                  <a:lnTo>
                    <a:pt x="16" y="250"/>
                  </a:lnTo>
                  <a:lnTo>
                    <a:pt x="14" y="247"/>
                  </a:lnTo>
                  <a:lnTo>
                    <a:pt x="13" y="244"/>
                  </a:lnTo>
                  <a:lnTo>
                    <a:pt x="14" y="242"/>
                  </a:lnTo>
                  <a:lnTo>
                    <a:pt x="13" y="239"/>
                  </a:lnTo>
                  <a:lnTo>
                    <a:pt x="13" y="236"/>
                  </a:lnTo>
                  <a:lnTo>
                    <a:pt x="10" y="234"/>
                  </a:lnTo>
                  <a:lnTo>
                    <a:pt x="9" y="230"/>
                  </a:lnTo>
                  <a:lnTo>
                    <a:pt x="7" y="228"/>
                  </a:lnTo>
                  <a:lnTo>
                    <a:pt x="5" y="226"/>
                  </a:lnTo>
                  <a:lnTo>
                    <a:pt x="5" y="225"/>
                  </a:lnTo>
                  <a:lnTo>
                    <a:pt x="2" y="222"/>
                  </a:lnTo>
                  <a:lnTo>
                    <a:pt x="0" y="219"/>
                  </a:lnTo>
                  <a:lnTo>
                    <a:pt x="4" y="222"/>
                  </a:lnTo>
                  <a:lnTo>
                    <a:pt x="4" y="219"/>
                  </a:lnTo>
                  <a:lnTo>
                    <a:pt x="5" y="222"/>
                  </a:lnTo>
                  <a:lnTo>
                    <a:pt x="6" y="225"/>
                  </a:lnTo>
                  <a:lnTo>
                    <a:pt x="8" y="226"/>
                  </a:lnTo>
                  <a:lnTo>
                    <a:pt x="10" y="222"/>
                  </a:lnTo>
                  <a:lnTo>
                    <a:pt x="8" y="220"/>
                  </a:lnTo>
                  <a:lnTo>
                    <a:pt x="6" y="217"/>
                  </a:lnTo>
                  <a:lnTo>
                    <a:pt x="5" y="215"/>
                  </a:lnTo>
                  <a:lnTo>
                    <a:pt x="4" y="212"/>
                  </a:lnTo>
                  <a:lnTo>
                    <a:pt x="6" y="212"/>
                  </a:lnTo>
                  <a:lnTo>
                    <a:pt x="8" y="216"/>
                  </a:lnTo>
                  <a:lnTo>
                    <a:pt x="8" y="218"/>
                  </a:lnTo>
                  <a:lnTo>
                    <a:pt x="8" y="219"/>
                  </a:lnTo>
                  <a:lnTo>
                    <a:pt x="10" y="217"/>
                  </a:lnTo>
                  <a:lnTo>
                    <a:pt x="10" y="219"/>
                  </a:lnTo>
                  <a:lnTo>
                    <a:pt x="11" y="221"/>
                  </a:lnTo>
                  <a:lnTo>
                    <a:pt x="15" y="222"/>
                  </a:lnTo>
                  <a:lnTo>
                    <a:pt x="14" y="219"/>
                  </a:lnTo>
                  <a:lnTo>
                    <a:pt x="15" y="217"/>
                  </a:lnTo>
                  <a:lnTo>
                    <a:pt x="15" y="215"/>
                  </a:lnTo>
                  <a:lnTo>
                    <a:pt x="13" y="211"/>
                  </a:lnTo>
                  <a:lnTo>
                    <a:pt x="11" y="209"/>
                  </a:lnTo>
                  <a:lnTo>
                    <a:pt x="9" y="207"/>
                  </a:lnTo>
                  <a:lnTo>
                    <a:pt x="8" y="203"/>
                  </a:lnTo>
                  <a:lnTo>
                    <a:pt x="7" y="201"/>
                  </a:lnTo>
                  <a:lnTo>
                    <a:pt x="7" y="201"/>
                  </a:lnTo>
                  <a:lnTo>
                    <a:pt x="6" y="198"/>
                  </a:lnTo>
                  <a:lnTo>
                    <a:pt x="4" y="195"/>
                  </a:lnTo>
                  <a:lnTo>
                    <a:pt x="4" y="192"/>
                  </a:lnTo>
                  <a:lnTo>
                    <a:pt x="4" y="190"/>
                  </a:lnTo>
                  <a:lnTo>
                    <a:pt x="5" y="187"/>
                  </a:lnTo>
                  <a:lnTo>
                    <a:pt x="5" y="184"/>
                  </a:lnTo>
                  <a:lnTo>
                    <a:pt x="7" y="182"/>
                  </a:lnTo>
                  <a:lnTo>
                    <a:pt x="8" y="179"/>
                  </a:lnTo>
                  <a:lnTo>
                    <a:pt x="8" y="176"/>
                  </a:lnTo>
                  <a:lnTo>
                    <a:pt x="9" y="174"/>
                  </a:lnTo>
                  <a:lnTo>
                    <a:pt x="8" y="170"/>
                  </a:lnTo>
                  <a:lnTo>
                    <a:pt x="7" y="168"/>
                  </a:lnTo>
                  <a:lnTo>
                    <a:pt x="8" y="167"/>
                  </a:lnTo>
                  <a:lnTo>
                    <a:pt x="9" y="164"/>
                  </a:lnTo>
                  <a:lnTo>
                    <a:pt x="10" y="161"/>
                  </a:lnTo>
                  <a:lnTo>
                    <a:pt x="10" y="158"/>
                  </a:lnTo>
                  <a:lnTo>
                    <a:pt x="14" y="156"/>
                  </a:lnTo>
                  <a:lnTo>
                    <a:pt x="14" y="159"/>
                  </a:lnTo>
                  <a:lnTo>
                    <a:pt x="13" y="161"/>
                  </a:lnTo>
                  <a:lnTo>
                    <a:pt x="14" y="165"/>
                  </a:lnTo>
                  <a:lnTo>
                    <a:pt x="16" y="166"/>
                  </a:lnTo>
                  <a:lnTo>
                    <a:pt x="17" y="164"/>
                  </a:lnTo>
                  <a:lnTo>
                    <a:pt x="18" y="160"/>
                  </a:lnTo>
                  <a:lnTo>
                    <a:pt x="19" y="159"/>
                  </a:lnTo>
                  <a:lnTo>
                    <a:pt x="21" y="157"/>
                  </a:lnTo>
                  <a:lnTo>
                    <a:pt x="23" y="156"/>
                  </a:lnTo>
                  <a:lnTo>
                    <a:pt x="24" y="154"/>
                  </a:lnTo>
                  <a:lnTo>
                    <a:pt x="27" y="153"/>
                  </a:lnTo>
                  <a:lnTo>
                    <a:pt x="30" y="152"/>
                  </a:lnTo>
                  <a:lnTo>
                    <a:pt x="33" y="151"/>
                  </a:lnTo>
                  <a:lnTo>
                    <a:pt x="35" y="149"/>
                  </a:lnTo>
                  <a:lnTo>
                    <a:pt x="38" y="145"/>
                  </a:lnTo>
                  <a:lnTo>
                    <a:pt x="40" y="144"/>
                  </a:lnTo>
                  <a:lnTo>
                    <a:pt x="43" y="142"/>
                  </a:lnTo>
                  <a:lnTo>
                    <a:pt x="45" y="142"/>
                  </a:lnTo>
                  <a:lnTo>
                    <a:pt x="49" y="140"/>
                  </a:lnTo>
                  <a:lnTo>
                    <a:pt x="51" y="140"/>
                  </a:lnTo>
                  <a:lnTo>
                    <a:pt x="55" y="139"/>
                  </a:lnTo>
                  <a:lnTo>
                    <a:pt x="57" y="141"/>
                  </a:lnTo>
                  <a:lnTo>
                    <a:pt x="59" y="140"/>
                  </a:lnTo>
                  <a:lnTo>
                    <a:pt x="62" y="140"/>
                  </a:lnTo>
                  <a:lnTo>
                    <a:pt x="65" y="139"/>
                  </a:lnTo>
                  <a:lnTo>
                    <a:pt x="67" y="136"/>
                  </a:lnTo>
                  <a:lnTo>
                    <a:pt x="69" y="135"/>
                  </a:lnTo>
                  <a:lnTo>
                    <a:pt x="73" y="135"/>
                  </a:lnTo>
                  <a:lnTo>
                    <a:pt x="74" y="134"/>
                  </a:lnTo>
                  <a:lnTo>
                    <a:pt x="77" y="134"/>
                  </a:lnTo>
                  <a:lnTo>
                    <a:pt x="79" y="132"/>
                  </a:lnTo>
                  <a:lnTo>
                    <a:pt x="82" y="130"/>
                  </a:lnTo>
                  <a:lnTo>
                    <a:pt x="86" y="130"/>
                  </a:lnTo>
                  <a:lnTo>
                    <a:pt x="89" y="131"/>
                  </a:lnTo>
                  <a:lnTo>
                    <a:pt x="91" y="130"/>
                  </a:lnTo>
                  <a:lnTo>
                    <a:pt x="93" y="130"/>
                  </a:lnTo>
                  <a:lnTo>
                    <a:pt x="94" y="130"/>
                  </a:lnTo>
                  <a:lnTo>
                    <a:pt x="96" y="128"/>
                  </a:lnTo>
                  <a:lnTo>
                    <a:pt x="99" y="128"/>
                  </a:lnTo>
                  <a:lnTo>
                    <a:pt x="102" y="127"/>
                  </a:lnTo>
                  <a:lnTo>
                    <a:pt x="104" y="126"/>
                  </a:lnTo>
                  <a:lnTo>
                    <a:pt x="108" y="125"/>
                  </a:lnTo>
                  <a:lnTo>
                    <a:pt x="110" y="123"/>
                  </a:lnTo>
                  <a:lnTo>
                    <a:pt x="112" y="121"/>
                  </a:lnTo>
                  <a:lnTo>
                    <a:pt x="115" y="117"/>
                  </a:lnTo>
                  <a:lnTo>
                    <a:pt x="116" y="115"/>
                  </a:lnTo>
                  <a:lnTo>
                    <a:pt x="116" y="111"/>
                  </a:lnTo>
                  <a:lnTo>
                    <a:pt x="118" y="111"/>
                  </a:lnTo>
                  <a:lnTo>
                    <a:pt x="119" y="108"/>
                  </a:lnTo>
                  <a:lnTo>
                    <a:pt x="121" y="108"/>
                  </a:lnTo>
                  <a:lnTo>
                    <a:pt x="124" y="105"/>
                  </a:lnTo>
                  <a:lnTo>
                    <a:pt x="126" y="102"/>
                  </a:lnTo>
                  <a:lnTo>
                    <a:pt x="124" y="101"/>
                  </a:lnTo>
                  <a:lnTo>
                    <a:pt x="124" y="99"/>
                  </a:lnTo>
                  <a:lnTo>
                    <a:pt x="124" y="96"/>
                  </a:lnTo>
                  <a:lnTo>
                    <a:pt x="124" y="93"/>
                  </a:lnTo>
                  <a:lnTo>
                    <a:pt x="125" y="90"/>
                  </a:lnTo>
                  <a:lnTo>
                    <a:pt x="126" y="88"/>
                  </a:lnTo>
                  <a:lnTo>
                    <a:pt x="128" y="87"/>
                  </a:lnTo>
                  <a:lnTo>
                    <a:pt x="130" y="84"/>
                  </a:lnTo>
                  <a:lnTo>
                    <a:pt x="132" y="82"/>
                  </a:lnTo>
                  <a:lnTo>
                    <a:pt x="134" y="80"/>
                  </a:lnTo>
                  <a:lnTo>
                    <a:pt x="135" y="82"/>
                  </a:lnTo>
                  <a:lnTo>
                    <a:pt x="136" y="84"/>
                  </a:lnTo>
                  <a:lnTo>
                    <a:pt x="138" y="88"/>
                  </a:lnTo>
                  <a:lnTo>
                    <a:pt x="139" y="90"/>
                  </a:lnTo>
                  <a:lnTo>
                    <a:pt x="141" y="92"/>
                  </a:lnTo>
                  <a:lnTo>
                    <a:pt x="143" y="96"/>
                  </a:lnTo>
                  <a:lnTo>
                    <a:pt x="143" y="96"/>
                  </a:lnTo>
                  <a:lnTo>
                    <a:pt x="143" y="93"/>
                  </a:lnTo>
                  <a:lnTo>
                    <a:pt x="143" y="90"/>
                  </a:lnTo>
                  <a:lnTo>
                    <a:pt x="143" y="88"/>
                  </a:lnTo>
                  <a:lnTo>
                    <a:pt x="146" y="90"/>
                  </a:lnTo>
                  <a:lnTo>
                    <a:pt x="147" y="90"/>
                  </a:lnTo>
                  <a:lnTo>
                    <a:pt x="146" y="88"/>
                  </a:lnTo>
                  <a:lnTo>
                    <a:pt x="147" y="85"/>
                  </a:lnTo>
                  <a:lnTo>
                    <a:pt x="145" y="85"/>
                  </a:lnTo>
                  <a:lnTo>
                    <a:pt x="143" y="83"/>
                  </a:lnTo>
                  <a:lnTo>
                    <a:pt x="142" y="81"/>
                  </a:lnTo>
                  <a:lnTo>
                    <a:pt x="144" y="80"/>
                  </a:lnTo>
                  <a:lnTo>
                    <a:pt x="145" y="79"/>
                  </a:lnTo>
                  <a:lnTo>
                    <a:pt x="143" y="76"/>
                  </a:lnTo>
                  <a:lnTo>
                    <a:pt x="145" y="76"/>
                  </a:lnTo>
                  <a:lnTo>
                    <a:pt x="147" y="79"/>
                  </a:lnTo>
                  <a:lnTo>
                    <a:pt x="150" y="77"/>
                  </a:lnTo>
                  <a:lnTo>
                    <a:pt x="152" y="79"/>
                  </a:lnTo>
                  <a:lnTo>
                    <a:pt x="159" y="79"/>
                  </a:lnTo>
                  <a:lnTo>
                    <a:pt x="161" y="80"/>
                  </a:lnTo>
                  <a:lnTo>
                    <a:pt x="159" y="79"/>
                  </a:lnTo>
                  <a:lnTo>
                    <a:pt x="155" y="79"/>
                  </a:lnTo>
                  <a:lnTo>
                    <a:pt x="154" y="75"/>
                  </a:lnTo>
                  <a:lnTo>
                    <a:pt x="156" y="73"/>
                  </a:lnTo>
                  <a:lnTo>
                    <a:pt x="154" y="72"/>
                  </a:lnTo>
                  <a:lnTo>
                    <a:pt x="154" y="68"/>
                  </a:lnTo>
                  <a:lnTo>
                    <a:pt x="154" y="68"/>
                  </a:lnTo>
                  <a:lnTo>
                    <a:pt x="156" y="66"/>
                  </a:lnTo>
                  <a:lnTo>
                    <a:pt x="159" y="64"/>
                  </a:lnTo>
                  <a:lnTo>
                    <a:pt x="161" y="65"/>
                  </a:lnTo>
                  <a:lnTo>
                    <a:pt x="163" y="66"/>
                  </a:lnTo>
                  <a:lnTo>
                    <a:pt x="164" y="67"/>
                  </a:lnTo>
                  <a:lnTo>
                    <a:pt x="164" y="64"/>
                  </a:lnTo>
                  <a:lnTo>
                    <a:pt x="161" y="64"/>
                  </a:lnTo>
                  <a:lnTo>
                    <a:pt x="160" y="62"/>
                  </a:lnTo>
                  <a:lnTo>
                    <a:pt x="163" y="61"/>
                  </a:lnTo>
                  <a:lnTo>
                    <a:pt x="166" y="61"/>
                  </a:lnTo>
                  <a:lnTo>
                    <a:pt x="167" y="62"/>
                  </a:lnTo>
                  <a:lnTo>
                    <a:pt x="164" y="58"/>
                  </a:lnTo>
                  <a:lnTo>
                    <a:pt x="164" y="56"/>
                  </a:lnTo>
                  <a:lnTo>
                    <a:pt x="167" y="54"/>
                  </a:lnTo>
                  <a:lnTo>
                    <a:pt x="169" y="53"/>
                  </a:lnTo>
                  <a:lnTo>
                    <a:pt x="170" y="53"/>
                  </a:lnTo>
                  <a:lnTo>
                    <a:pt x="170" y="50"/>
                  </a:lnTo>
                  <a:lnTo>
                    <a:pt x="171" y="53"/>
                  </a:lnTo>
                  <a:lnTo>
                    <a:pt x="175" y="54"/>
                  </a:lnTo>
                  <a:lnTo>
                    <a:pt x="177" y="51"/>
                  </a:lnTo>
                  <a:lnTo>
                    <a:pt x="177" y="49"/>
                  </a:lnTo>
                  <a:lnTo>
                    <a:pt x="178" y="47"/>
                  </a:lnTo>
                  <a:lnTo>
                    <a:pt x="177" y="47"/>
                  </a:lnTo>
                  <a:lnTo>
                    <a:pt x="178" y="46"/>
                  </a:lnTo>
                  <a:lnTo>
                    <a:pt x="179" y="48"/>
                  </a:lnTo>
                  <a:lnTo>
                    <a:pt x="181" y="46"/>
                  </a:lnTo>
                  <a:lnTo>
                    <a:pt x="183" y="47"/>
                  </a:lnTo>
                  <a:lnTo>
                    <a:pt x="186" y="47"/>
                  </a:lnTo>
                  <a:lnTo>
                    <a:pt x="188" y="45"/>
                  </a:lnTo>
                  <a:lnTo>
                    <a:pt x="188" y="42"/>
                  </a:lnTo>
                  <a:lnTo>
                    <a:pt x="189" y="41"/>
                  </a:lnTo>
                  <a:lnTo>
                    <a:pt x="190" y="45"/>
                  </a:lnTo>
                  <a:lnTo>
                    <a:pt x="194" y="45"/>
                  </a:lnTo>
                  <a:lnTo>
                    <a:pt x="200" y="48"/>
                  </a:lnTo>
                  <a:lnTo>
                    <a:pt x="201" y="51"/>
                  </a:lnTo>
                  <a:lnTo>
                    <a:pt x="204" y="54"/>
                  </a:lnTo>
                  <a:lnTo>
                    <a:pt x="206" y="56"/>
                  </a:lnTo>
                  <a:lnTo>
                    <a:pt x="206" y="57"/>
                  </a:lnTo>
                  <a:lnTo>
                    <a:pt x="205" y="59"/>
                  </a:lnTo>
                  <a:lnTo>
                    <a:pt x="204" y="62"/>
                  </a:lnTo>
                  <a:lnTo>
                    <a:pt x="204" y="65"/>
                  </a:lnTo>
                  <a:lnTo>
                    <a:pt x="204" y="66"/>
                  </a:lnTo>
                  <a:lnTo>
                    <a:pt x="205" y="64"/>
                  </a:lnTo>
                  <a:lnTo>
                    <a:pt x="207" y="65"/>
                  </a:lnTo>
                  <a:lnTo>
                    <a:pt x="206" y="63"/>
                  </a:lnTo>
                  <a:lnTo>
                    <a:pt x="206" y="61"/>
                  </a:lnTo>
                  <a:lnTo>
                    <a:pt x="209" y="61"/>
                  </a:lnTo>
                  <a:lnTo>
                    <a:pt x="210" y="57"/>
                  </a:lnTo>
                  <a:lnTo>
                    <a:pt x="212" y="56"/>
                  </a:lnTo>
                  <a:lnTo>
                    <a:pt x="215" y="57"/>
                  </a:lnTo>
                  <a:lnTo>
                    <a:pt x="218" y="58"/>
                  </a:lnTo>
                  <a:lnTo>
                    <a:pt x="220" y="61"/>
                  </a:lnTo>
                  <a:lnTo>
                    <a:pt x="220" y="58"/>
                  </a:lnTo>
                  <a:lnTo>
                    <a:pt x="223" y="58"/>
                  </a:lnTo>
                  <a:lnTo>
                    <a:pt x="226" y="61"/>
                  </a:lnTo>
                  <a:lnTo>
                    <a:pt x="227" y="63"/>
                  </a:lnTo>
                  <a:lnTo>
                    <a:pt x="227" y="62"/>
                  </a:lnTo>
                  <a:lnTo>
                    <a:pt x="226" y="58"/>
                  </a:lnTo>
                  <a:lnTo>
                    <a:pt x="229" y="57"/>
                  </a:lnTo>
                  <a:lnTo>
                    <a:pt x="226" y="55"/>
                  </a:lnTo>
                  <a:lnTo>
                    <a:pt x="223" y="53"/>
                  </a:lnTo>
                  <a:lnTo>
                    <a:pt x="222" y="50"/>
                  </a:lnTo>
                  <a:lnTo>
                    <a:pt x="224" y="47"/>
                  </a:lnTo>
                  <a:lnTo>
                    <a:pt x="224" y="47"/>
                  </a:lnTo>
                  <a:lnTo>
                    <a:pt x="227" y="46"/>
                  </a:lnTo>
                  <a:lnTo>
                    <a:pt x="228" y="40"/>
                  </a:lnTo>
                  <a:lnTo>
                    <a:pt x="231" y="39"/>
                  </a:lnTo>
                  <a:lnTo>
                    <a:pt x="234" y="37"/>
                  </a:lnTo>
                  <a:lnTo>
                    <a:pt x="236" y="37"/>
                  </a:lnTo>
                  <a:lnTo>
                    <a:pt x="232" y="34"/>
                  </a:lnTo>
                  <a:lnTo>
                    <a:pt x="232" y="31"/>
                  </a:lnTo>
                  <a:lnTo>
                    <a:pt x="235" y="31"/>
                  </a:lnTo>
                  <a:lnTo>
                    <a:pt x="236" y="29"/>
                  </a:lnTo>
                  <a:lnTo>
                    <a:pt x="238" y="27"/>
                  </a:lnTo>
                  <a:lnTo>
                    <a:pt x="239" y="24"/>
                  </a:lnTo>
                  <a:lnTo>
                    <a:pt x="241" y="25"/>
                  </a:lnTo>
                  <a:lnTo>
                    <a:pt x="243" y="24"/>
                  </a:lnTo>
                  <a:lnTo>
                    <a:pt x="245" y="23"/>
                  </a:lnTo>
                  <a:lnTo>
                    <a:pt x="245" y="21"/>
                  </a:lnTo>
                  <a:lnTo>
                    <a:pt x="247" y="21"/>
                  </a:lnTo>
                  <a:lnTo>
                    <a:pt x="250" y="21"/>
                  </a:lnTo>
                  <a:lnTo>
                    <a:pt x="253" y="22"/>
                  </a:lnTo>
                  <a:lnTo>
                    <a:pt x="255" y="21"/>
                  </a:lnTo>
                  <a:lnTo>
                    <a:pt x="258" y="22"/>
                  </a:lnTo>
                  <a:lnTo>
                    <a:pt x="261" y="21"/>
                  </a:lnTo>
                  <a:lnTo>
                    <a:pt x="263" y="21"/>
                  </a:lnTo>
                  <a:lnTo>
                    <a:pt x="264" y="21"/>
                  </a:lnTo>
                  <a:lnTo>
                    <a:pt x="266" y="19"/>
                  </a:lnTo>
                  <a:lnTo>
                    <a:pt x="267" y="16"/>
                  </a:lnTo>
                  <a:lnTo>
                    <a:pt x="267" y="14"/>
                  </a:lnTo>
                  <a:lnTo>
                    <a:pt x="265" y="11"/>
                  </a:lnTo>
                  <a:lnTo>
                    <a:pt x="263" y="10"/>
                  </a:lnTo>
                  <a:lnTo>
                    <a:pt x="260" y="11"/>
                  </a:lnTo>
                  <a:lnTo>
                    <a:pt x="257" y="8"/>
                  </a:lnTo>
                  <a:lnTo>
                    <a:pt x="256" y="8"/>
                  </a:lnTo>
                  <a:lnTo>
                    <a:pt x="258" y="6"/>
                  </a:lnTo>
                  <a:lnTo>
                    <a:pt x="261" y="8"/>
                  </a:lnTo>
                  <a:lnTo>
                    <a:pt x="261" y="6"/>
                  </a:lnTo>
                  <a:lnTo>
                    <a:pt x="263" y="6"/>
                  </a:lnTo>
                  <a:lnTo>
                    <a:pt x="265" y="8"/>
                  </a:lnTo>
                  <a:lnTo>
                    <a:pt x="266" y="8"/>
                  </a:lnTo>
                  <a:lnTo>
                    <a:pt x="269" y="11"/>
                  </a:lnTo>
                  <a:lnTo>
                    <a:pt x="271" y="8"/>
                  </a:lnTo>
                  <a:lnTo>
                    <a:pt x="273" y="11"/>
                  </a:lnTo>
                  <a:lnTo>
                    <a:pt x="274" y="13"/>
                  </a:lnTo>
                  <a:lnTo>
                    <a:pt x="277" y="13"/>
                  </a:lnTo>
                  <a:lnTo>
                    <a:pt x="280" y="14"/>
                  </a:lnTo>
                  <a:lnTo>
                    <a:pt x="282" y="14"/>
                  </a:lnTo>
                  <a:lnTo>
                    <a:pt x="284" y="14"/>
                  </a:lnTo>
                  <a:lnTo>
                    <a:pt x="288" y="16"/>
                  </a:lnTo>
                  <a:lnTo>
                    <a:pt x="290" y="17"/>
                  </a:lnTo>
                  <a:lnTo>
                    <a:pt x="292" y="19"/>
                  </a:lnTo>
                  <a:lnTo>
                    <a:pt x="295" y="17"/>
                  </a:lnTo>
                  <a:lnTo>
                    <a:pt x="298" y="20"/>
                  </a:lnTo>
                  <a:lnTo>
                    <a:pt x="300" y="21"/>
                  </a:lnTo>
                  <a:lnTo>
                    <a:pt x="303" y="21"/>
                  </a:lnTo>
                  <a:lnTo>
                    <a:pt x="306" y="20"/>
                  </a:lnTo>
                  <a:lnTo>
                    <a:pt x="308" y="19"/>
                  </a:lnTo>
                  <a:lnTo>
                    <a:pt x="311" y="15"/>
                  </a:lnTo>
                  <a:lnTo>
                    <a:pt x="311" y="19"/>
                  </a:lnTo>
                  <a:lnTo>
                    <a:pt x="308" y="21"/>
                  </a:lnTo>
                  <a:lnTo>
                    <a:pt x="312" y="20"/>
                  </a:lnTo>
                  <a:lnTo>
                    <a:pt x="313" y="22"/>
                  </a:lnTo>
                  <a:lnTo>
                    <a:pt x="315" y="24"/>
                  </a:lnTo>
                  <a:lnTo>
                    <a:pt x="317" y="23"/>
                  </a:lnTo>
                  <a:lnTo>
                    <a:pt x="317" y="21"/>
                  </a:lnTo>
                  <a:lnTo>
                    <a:pt x="318" y="17"/>
                  </a:lnTo>
                  <a:lnTo>
                    <a:pt x="321" y="16"/>
                  </a:lnTo>
                  <a:lnTo>
                    <a:pt x="321" y="20"/>
                  </a:lnTo>
                  <a:lnTo>
                    <a:pt x="324" y="20"/>
                  </a:lnTo>
                  <a:lnTo>
                    <a:pt x="326" y="23"/>
                  </a:lnTo>
                  <a:lnTo>
                    <a:pt x="324" y="25"/>
                  </a:lnTo>
                  <a:lnTo>
                    <a:pt x="321" y="28"/>
                  </a:lnTo>
                  <a:lnTo>
                    <a:pt x="320" y="30"/>
                  </a:lnTo>
                  <a:lnTo>
                    <a:pt x="321" y="32"/>
                  </a:lnTo>
                  <a:lnTo>
                    <a:pt x="320" y="34"/>
                  </a:lnTo>
                  <a:lnTo>
                    <a:pt x="317" y="34"/>
                  </a:lnTo>
                  <a:lnTo>
                    <a:pt x="314" y="34"/>
                  </a:lnTo>
                  <a:lnTo>
                    <a:pt x="312" y="37"/>
                  </a:lnTo>
                  <a:lnTo>
                    <a:pt x="312" y="39"/>
                  </a:lnTo>
                  <a:lnTo>
                    <a:pt x="312" y="41"/>
                  </a:lnTo>
                  <a:lnTo>
                    <a:pt x="314" y="41"/>
                  </a:lnTo>
                  <a:lnTo>
                    <a:pt x="313" y="44"/>
                  </a:lnTo>
                  <a:lnTo>
                    <a:pt x="312" y="47"/>
                  </a:lnTo>
                  <a:lnTo>
                    <a:pt x="311" y="49"/>
                  </a:lnTo>
                  <a:lnTo>
                    <a:pt x="308" y="51"/>
                  </a:lnTo>
                  <a:lnTo>
                    <a:pt x="307" y="55"/>
                  </a:lnTo>
                  <a:lnTo>
                    <a:pt x="305" y="56"/>
                  </a:lnTo>
                  <a:lnTo>
                    <a:pt x="305" y="58"/>
                  </a:lnTo>
                  <a:lnTo>
                    <a:pt x="308" y="61"/>
                  </a:lnTo>
                  <a:lnTo>
                    <a:pt x="311" y="62"/>
                  </a:lnTo>
                  <a:lnTo>
                    <a:pt x="314" y="64"/>
                  </a:lnTo>
                  <a:lnTo>
                    <a:pt x="316" y="65"/>
                  </a:lnTo>
                  <a:lnTo>
                    <a:pt x="317" y="68"/>
                  </a:lnTo>
                  <a:lnTo>
                    <a:pt x="321" y="70"/>
                  </a:lnTo>
                  <a:lnTo>
                    <a:pt x="322" y="70"/>
                  </a:lnTo>
                  <a:lnTo>
                    <a:pt x="324" y="73"/>
                  </a:lnTo>
                  <a:lnTo>
                    <a:pt x="326" y="72"/>
                  </a:lnTo>
                  <a:lnTo>
                    <a:pt x="330" y="73"/>
                  </a:lnTo>
                  <a:lnTo>
                    <a:pt x="332" y="75"/>
                  </a:lnTo>
                  <a:lnTo>
                    <a:pt x="334" y="76"/>
                  </a:lnTo>
                  <a:lnTo>
                    <a:pt x="338" y="79"/>
                  </a:lnTo>
                  <a:lnTo>
                    <a:pt x="340" y="81"/>
                  </a:lnTo>
                  <a:lnTo>
                    <a:pt x="340" y="81"/>
                  </a:lnTo>
                  <a:lnTo>
                    <a:pt x="343" y="83"/>
                  </a:lnTo>
                  <a:lnTo>
                    <a:pt x="346" y="84"/>
                  </a:lnTo>
                  <a:lnTo>
                    <a:pt x="349" y="84"/>
                  </a:lnTo>
                  <a:lnTo>
                    <a:pt x="351" y="85"/>
                  </a:lnTo>
                  <a:lnTo>
                    <a:pt x="355" y="87"/>
                  </a:lnTo>
                  <a:lnTo>
                    <a:pt x="356" y="89"/>
                  </a:lnTo>
                  <a:lnTo>
                    <a:pt x="357" y="91"/>
                  </a:lnTo>
                  <a:lnTo>
                    <a:pt x="358" y="92"/>
                  </a:lnTo>
                  <a:lnTo>
                    <a:pt x="360" y="93"/>
                  </a:lnTo>
                  <a:lnTo>
                    <a:pt x="364" y="96"/>
                  </a:lnTo>
                  <a:lnTo>
                    <a:pt x="365" y="96"/>
                  </a:lnTo>
                  <a:lnTo>
                    <a:pt x="367" y="97"/>
                  </a:lnTo>
                  <a:lnTo>
                    <a:pt x="368" y="98"/>
                  </a:lnTo>
                  <a:lnTo>
                    <a:pt x="371" y="98"/>
                  </a:lnTo>
                  <a:lnTo>
                    <a:pt x="373" y="97"/>
                  </a:lnTo>
                  <a:lnTo>
                    <a:pt x="376" y="96"/>
                  </a:lnTo>
                  <a:lnTo>
                    <a:pt x="377" y="94"/>
                  </a:lnTo>
                  <a:lnTo>
                    <a:pt x="380" y="92"/>
                  </a:lnTo>
                  <a:lnTo>
                    <a:pt x="381" y="90"/>
                  </a:lnTo>
                  <a:lnTo>
                    <a:pt x="382" y="87"/>
                  </a:lnTo>
                  <a:lnTo>
                    <a:pt x="383" y="84"/>
                  </a:lnTo>
                  <a:lnTo>
                    <a:pt x="384" y="83"/>
                  </a:lnTo>
                  <a:lnTo>
                    <a:pt x="385" y="81"/>
                  </a:lnTo>
                  <a:lnTo>
                    <a:pt x="386" y="77"/>
                  </a:lnTo>
                  <a:lnTo>
                    <a:pt x="388" y="75"/>
                  </a:lnTo>
                  <a:lnTo>
                    <a:pt x="388" y="74"/>
                  </a:lnTo>
                  <a:lnTo>
                    <a:pt x="386" y="72"/>
                  </a:lnTo>
                  <a:lnTo>
                    <a:pt x="388" y="70"/>
                  </a:lnTo>
                  <a:lnTo>
                    <a:pt x="388" y="66"/>
                  </a:lnTo>
                  <a:lnTo>
                    <a:pt x="389" y="64"/>
                  </a:lnTo>
                  <a:lnTo>
                    <a:pt x="390" y="63"/>
                  </a:lnTo>
                  <a:lnTo>
                    <a:pt x="391" y="59"/>
                  </a:lnTo>
                  <a:lnTo>
                    <a:pt x="390" y="57"/>
                  </a:lnTo>
                  <a:lnTo>
                    <a:pt x="389" y="55"/>
                  </a:lnTo>
                  <a:lnTo>
                    <a:pt x="389" y="51"/>
                  </a:lnTo>
                  <a:lnTo>
                    <a:pt x="390" y="49"/>
                  </a:lnTo>
                  <a:lnTo>
                    <a:pt x="390" y="47"/>
                  </a:lnTo>
                  <a:lnTo>
                    <a:pt x="388" y="44"/>
                  </a:lnTo>
                  <a:lnTo>
                    <a:pt x="389" y="41"/>
                  </a:lnTo>
                  <a:lnTo>
                    <a:pt x="390" y="38"/>
                  </a:lnTo>
                  <a:lnTo>
                    <a:pt x="391" y="37"/>
                  </a:lnTo>
                  <a:lnTo>
                    <a:pt x="391" y="37"/>
                  </a:lnTo>
                  <a:lnTo>
                    <a:pt x="390" y="33"/>
                  </a:lnTo>
                  <a:lnTo>
                    <a:pt x="390" y="31"/>
                  </a:lnTo>
                  <a:lnTo>
                    <a:pt x="392" y="29"/>
                  </a:lnTo>
                  <a:lnTo>
                    <a:pt x="395" y="28"/>
                  </a:lnTo>
                  <a:lnTo>
                    <a:pt x="392" y="25"/>
                  </a:lnTo>
                  <a:lnTo>
                    <a:pt x="390" y="25"/>
                  </a:lnTo>
                  <a:lnTo>
                    <a:pt x="391" y="22"/>
                  </a:lnTo>
                  <a:lnTo>
                    <a:pt x="392" y="20"/>
                  </a:lnTo>
                  <a:lnTo>
                    <a:pt x="395" y="19"/>
                  </a:lnTo>
                  <a:lnTo>
                    <a:pt x="394" y="15"/>
                  </a:lnTo>
                  <a:lnTo>
                    <a:pt x="395" y="13"/>
                  </a:lnTo>
                  <a:lnTo>
                    <a:pt x="397" y="11"/>
                  </a:lnTo>
                  <a:lnTo>
                    <a:pt x="397" y="7"/>
                  </a:lnTo>
                  <a:lnTo>
                    <a:pt x="398" y="5"/>
                  </a:lnTo>
                  <a:lnTo>
                    <a:pt x="400" y="3"/>
                  </a:lnTo>
                  <a:lnTo>
                    <a:pt x="401" y="0"/>
                  </a:lnTo>
                  <a:lnTo>
                    <a:pt x="403" y="0"/>
                  </a:lnTo>
                  <a:lnTo>
                    <a:pt x="402" y="3"/>
                  </a:lnTo>
                  <a:lnTo>
                    <a:pt x="405" y="4"/>
                  </a:lnTo>
                  <a:lnTo>
                    <a:pt x="407" y="6"/>
                  </a:lnTo>
                  <a:lnTo>
                    <a:pt x="407" y="8"/>
                  </a:lnTo>
                  <a:lnTo>
                    <a:pt x="407" y="12"/>
                  </a:lnTo>
                  <a:lnTo>
                    <a:pt x="407" y="14"/>
                  </a:lnTo>
                  <a:lnTo>
                    <a:pt x="410" y="16"/>
                  </a:lnTo>
                  <a:lnTo>
                    <a:pt x="412" y="17"/>
                  </a:lnTo>
                  <a:lnTo>
                    <a:pt x="410" y="20"/>
                  </a:lnTo>
                  <a:lnTo>
                    <a:pt x="411" y="23"/>
                  </a:lnTo>
                  <a:lnTo>
                    <a:pt x="414" y="25"/>
                  </a:lnTo>
                  <a:lnTo>
                    <a:pt x="414" y="28"/>
                  </a:lnTo>
                  <a:lnTo>
                    <a:pt x="416" y="31"/>
                  </a:lnTo>
                  <a:lnTo>
                    <a:pt x="416" y="33"/>
                  </a:lnTo>
                  <a:lnTo>
                    <a:pt x="416" y="37"/>
                  </a:lnTo>
                  <a:lnTo>
                    <a:pt x="417" y="39"/>
                  </a:lnTo>
                  <a:lnTo>
                    <a:pt x="416" y="41"/>
                  </a:lnTo>
                  <a:lnTo>
                    <a:pt x="417" y="45"/>
                  </a:lnTo>
                  <a:lnTo>
                    <a:pt x="417" y="45"/>
                  </a:lnTo>
                  <a:lnTo>
                    <a:pt x="418" y="47"/>
                  </a:lnTo>
                  <a:lnTo>
                    <a:pt x="419" y="50"/>
                  </a:lnTo>
                  <a:lnTo>
                    <a:pt x="422" y="53"/>
                  </a:lnTo>
                  <a:lnTo>
                    <a:pt x="425" y="51"/>
                  </a:lnTo>
                  <a:lnTo>
                    <a:pt x="427" y="50"/>
                  </a:lnTo>
                  <a:lnTo>
                    <a:pt x="429" y="48"/>
                  </a:lnTo>
                  <a:lnTo>
                    <a:pt x="431" y="50"/>
                  </a:lnTo>
                  <a:lnTo>
                    <a:pt x="432" y="54"/>
                  </a:lnTo>
                  <a:lnTo>
                    <a:pt x="434" y="54"/>
                  </a:lnTo>
                  <a:lnTo>
                    <a:pt x="436" y="57"/>
                  </a:lnTo>
                  <a:lnTo>
                    <a:pt x="440" y="58"/>
                  </a:lnTo>
                  <a:lnTo>
                    <a:pt x="441" y="58"/>
                  </a:lnTo>
                  <a:lnTo>
                    <a:pt x="440" y="62"/>
                  </a:lnTo>
                  <a:lnTo>
                    <a:pt x="440" y="64"/>
                  </a:lnTo>
                  <a:lnTo>
                    <a:pt x="440" y="67"/>
                  </a:lnTo>
                  <a:lnTo>
                    <a:pt x="441" y="70"/>
                  </a:lnTo>
                  <a:lnTo>
                    <a:pt x="441" y="72"/>
                  </a:lnTo>
                  <a:lnTo>
                    <a:pt x="443" y="75"/>
                  </a:lnTo>
                  <a:lnTo>
                    <a:pt x="443" y="77"/>
                  </a:lnTo>
                  <a:lnTo>
                    <a:pt x="442" y="80"/>
                  </a:lnTo>
                  <a:lnTo>
                    <a:pt x="444" y="83"/>
                  </a:lnTo>
                  <a:lnTo>
                    <a:pt x="446" y="85"/>
                  </a:lnTo>
                  <a:lnTo>
                    <a:pt x="446" y="87"/>
                  </a:lnTo>
                  <a:lnTo>
                    <a:pt x="450" y="87"/>
                  </a:lnTo>
                  <a:lnTo>
                    <a:pt x="449" y="89"/>
                  </a:lnTo>
                  <a:lnTo>
                    <a:pt x="450" y="91"/>
                  </a:lnTo>
                  <a:lnTo>
                    <a:pt x="451" y="94"/>
                  </a:lnTo>
                  <a:lnTo>
                    <a:pt x="452" y="97"/>
                  </a:lnTo>
                  <a:lnTo>
                    <a:pt x="451" y="99"/>
                  </a:lnTo>
                  <a:lnTo>
                    <a:pt x="451" y="102"/>
                  </a:lnTo>
                  <a:lnTo>
                    <a:pt x="450" y="105"/>
                  </a:lnTo>
                  <a:lnTo>
                    <a:pt x="452" y="108"/>
                  </a:lnTo>
                  <a:lnTo>
                    <a:pt x="454" y="109"/>
                  </a:lnTo>
                  <a:lnTo>
                    <a:pt x="454" y="113"/>
                  </a:lnTo>
                  <a:lnTo>
                    <a:pt x="454" y="115"/>
                  </a:lnTo>
                  <a:lnTo>
                    <a:pt x="457" y="117"/>
                  </a:lnTo>
                  <a:lnTo>
                    <a:pt x="462" y="121"/>
                  </a:lnTo>
                  <a:lnTo>
                    <a:pt x="465" y="121"/>
                  </a:lnTo>
                  <a:lnTo>
                    <a:pt x="468" y="122"/>
                  </a:lnTo>
                  <a:lnTo>
                    <a:pt x="470" y="122"/>
                  </a:lnTo>
                  <a:lnTo>
                    <a:pt x="471" y="125"/>
                  </a:lnTo>
                  <a:lnTo>
                    <a:pt x="471" y="125"/>
                  </a:lnTo>
                  <a:lnTo>
                    <a:pt x="473" y="127"/>
                  </a:lnTo>
                  <a:lnTo>
                    <a:pt x="475" y="126"/>
                  </a:lnTo>
                  <a:lnTo>
                    <a:pt x="476" y="128"/>
                  </a:lnTo>
                  <a:lnTo>
                    <a:pt x="479" y="130"/>
                  </a:lnTo>
                  <a:lnTo>
                    <a:pt x="482" y="130"/>
                  </a:lnTo>
                  <a:lnTo>
                    <a:pt x="483" y="133"/>
                  </a:lnTo>
                  <a:lnTo>
                    <a:pt x="486" y="133"/>
                  </a:lnTo>
                  <a:lnTo>
                    <a:pt x="488" y="134"/>
                  </a:lnTo>
                  <a:lnTo>
                    <a:pt x="490" y="136"/>
                  </a:lnTo>
                  <a:lnTo>
                    <a:pt x="487" y="139"/>
                  </a:lnTo>
                  <a:lnTo>
                    <a:pt x="488" y="141"/>
                  </a:lnTo>
                  <a:lnTo>
                    <a:pt x="491" y="143"/>
                  </a:lnTo>
                  <a:lnTo>
                    <a:pt x="493" y="144"/>
                  </a:lnTo>
                  <a:lnTo>
                    <a:pt x="494" y="148"/>
                  </a:lnTo>
                  <a:lnTo>
                    <a:pt x="495" y="148"/>
                  </a:lnTo>
                  <a:lnTo>
                    <a:pt x="495" y="151"/>
                  </a:lnTo>
                  <a:lnTo>
                    <a:pt x="497" y="152"/>
                  </a:lnTo>
                  <a:lnTo>
                    <a:pt x="497" y="154"/>
                  </a:lnTo>
                  <a:lnTo>
                    <a:pt x="497" y="158"/>
                  </a:lnTo>
                  <a:lnTo>
                    <a:pt x="499" y="160"/>
                  </a:lnTo>
                  <a:lnTo>
                    <a:pt x="500" y="162"/>
                  </a:lnTo>
                  <a:lnTo>
                    <a:pt x="501" y="166"/>
                  </a:lnTo>
                  <a:lnTo>
                    <a:pt x="503" y="165"/>
                  </a:lnTo>
                  <a:lnTo>
                    <a:pt x="504" y="167"/>
                  </a:lnTo>
                  <a:lnTo>
                    <a:pt x="504" y="166"/>
                  </a:lnTo>
                  <a:lnTo>
                    <a:pt x="503" y="164"/>
                  </a:lnTo>
                  <a:lnTo>
                    <a:pt x="504" y="161"/>
                  </a:lnTo>
                  <a:lnTo>
                    <a:pt x="508" y="164"/>
                  </a:lnTo>
                  <a:lnTo>
                    <a:pt x="512" y="167"/>
                  </a:lnTo>
                  <a:lnTo>
                    <a:pt x="512" y="165"/>
                  </a:lnTo>
                  <a:lnTo>
                    <a:pt x="514" y="165"/>
                  </a:lnTo>
                  <a:lnTo>
                    <a:pt x="514" y="167"/>
                  </a:lnTo>
                  <a:lnTo>
                    <a:pt x="516" y="169"/>
                  </a:lnTo>
                  <a:lnTo>
                    <a:pt x="514" y="173"/>
                  </a:lnTo>
                  <a:lnTo>
                    <a:pt x="516" y="175"/>
                  </a:lnTo>
                  <a:lnTo>
                    <a:pt x="516" y="177"/>
                  </a:lnTo>
                  <a:lnTo>
                    <a:pt x="517" y="181"/>
                  </a:lnTo>
                  <a:lnTo>
                    <a:pt x="516" y="181"/>
                  </a:lnTo>
                  <a:lnTo>
                    <a:pt x="519" y="182"/>
                  </a:lnTo>
                  <a:lnTo>
                    <a:pt x="520" y="184"/>
                  </a:lnTo>
                  <a:lnTo>
                    <a:pt x="523" y="186"/>
                  </a:lnTo>
                  <a:lnTo>
                    <a:pt x="525" y="187"/>
                  </a:lnTo>
                  <a:lnTo>
                    <a:pt x="528" y="187"/>
                  </a:lnTo>
                  <a:lnTo>
                    <a:pt x="530" y="190"/>
                  </a:lnTo>
                  <a:lnTo>
                    <a:pt x="531" y="192"/>
                  </a:lnTo>
                  <a:lnTo>
                    <a:pt x="533" y="194"/>
                  </a:lnTo>
                  <a:lnTo>
                    <a:pt x="535" y="198"/>
                  </a:lnTo>
                  <a:lnTo>
                    <a:pt x="538" y="199"/>
                  </a:lnTo>
                  <a:lnTo>
                    <a:pt x="539" y="201"/>
                  </a:lnTo>
                  <a:lnTo>
                    <a:pt x="539" y="203"/>
                  </a:lnTo>
                  <a:lnTo>
                    <a:pt x="542" y="205"/>
                  </a:lnTo>
                  <a:lnTo>
                    <a:pt x="545" y="208"/>
                  </a:lnTo>
                  <a:lnTo>
                    <a:pt x="544" y="211"/>
                  </a:lnTo>
                  <a:lnTo>
                    <a:pt x="545" y="213"/>
                  </a:lnTo>
                  <a:lnTo>
                    <a:pt x="546" y="215"/>
                  </a:lnTo>
                  <a:lnTo>
                    <a:pt x="548" y="216"/>
                  </a:lnTo>
                  <a:lnTo>
                    <a:pt x="547" y="218"/>
                  </a:lnTo>
                  <a:lnTo>
                    <a:pt x="547" y="221"/>
                  </a:lnTo>
                  <a:lnTo>
                    <a:pt x="547" y="224"/>
                  </a:lnTo>
                  <a:lnTo>
                    <a:pt x="547" y="227"/>
                  </a:lnTo>
                  <a:lnTo>
                    <a:pt x="547" y="229"/>
                  </a:lnTo>
                  <a:lnTo>
                    <a:pt x="548" y="232"/>
                  </a:lnTo>
                  <a:lnTo>
                    <a:pt x="547" y="235"/>
                  </a:lnTo>
                  <a:lnTo>
                    <a:pt x="548" y="237"/>
                  </a:lnTo>
                  <a:lnTo>
                    <a:pt x="550" y="241"/>
                  </a:lnTo>
                  <a:lnTo>
                    <a:pt x="552" y="243"/>
                  </a:lnTo>
                  <a:lnTo>
                    <a:pt x="552" y="245"/>
                  </a:lnTo>
                  <a:lnTo>
                    <a:pt x="553" y="248"/>
                  </a:lnTo>
                  <a:lnTo>
                    <a:pt x="554" y="248"/>
                  </a:lnTo>
                  <a:lnTo>
                    <a:pt x="554" y="252"/>
                  </a:lnTo>
                  <a:lnTo>
                    <a:pt x="554" y="254"/>
                  </a:lnTo>
                  <a:lnTo>
                    <a:pt x="554" y="256"/>
                  </a:lnTo>
                  <a:lnTo>
                    <a:pt x="554" y="260"/>
                  </a:lnTo>
                  <a:lnTo>
                    <a:pt x="552" y="262"/>
                  </a:lnTo>
                  <a:lnTo>
                    <a:pt x="551" y="265"/>
                  </a:lnTo>
                  <a:lnTo>
                    <a:pt x="551" y="268"/>
                  </a:lnTo>
                  <a:lnTo>
                    <a:pt x="551" y="270"/>
                  </a:lnTo>
                  <a:lnTo>
                    <a:pt x="550" y="273"/>
                  </a:lnTo>
                  <a:lnTo>
                    <a:pt x="548" y="276"/>
                  </a:lnTo>
                  <a:lnTo>
                    <a:pt x="54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sp>
          <p:nvSpPr>
            <p:cNvPr id="39" name="Freeform 239">
              <a:extLst>
                <a:ext uri="{FF2B5EF4-FFF2-40B4-BE49-F238E27FC236}">
                  <a16:creationId xmlns:a16="http://schemas.microsoft.com/office/drawing/2014/main" id="{8E3946E9-0D04-4E55-AB01-7EAD22995885}"/>
                </a:ext>
              </a:extLst>
            </p:cNvPr>
            <p:cNvSpPr>
              <a:spLocks noEditPoints="1"/>
            </p:cNvSpPr>
            <p:nvPr/>
          </p:nvSpPr>
          <p:spPr bwMode="auto">
            <a:xfrm>
              <a:off x="3175000" y="2281238"/>
              <a:ext cx="6811962" cy="2960688"/>
            </a:xfrm>
            <a:custGeom>
              <a:avLst/>
              <a:gdLst>
                <a:gd name="T0" fmla="*/ 4219 w 4291"/>
                <a:gd name="T1" fmla="*/ 276 h 1865"/>
                <a:gd name="T2" fmla="*/ 3874 w 4291"/>
                <a:gd name="T3" fmla="*/ 206 h 1865"/>
                <a:gd name="T4" fmla="*/ 3458 w 4291"/>
                <a:gd name="T5" fmla="*/ 175 h 1865"/>
                <a:gd name="T6" fmla="*/ 3144 w 4291"/>
                <a:gd name="T7" fmla="*/ 122 h 1865"/>
                <a:gd name="T8" fmla="*/ 3014 w 4291"/>
                <a:gd name="T9" fmla="*/ 50 h 1865"/>
                <a:gd name="T10" fmla="*/ 2764 w 4291"/>
                <a:gd name="T11" fmla="*/ 182 h 1865"/>
                <a:gd name="T12" fmla="*/ 2679 w 4291"/>
                <a:gd name="T13" fmla="*/ 213 h 1865"/>
                <a:gd name="T14" fmla="*/ 2405 w 4291"/>
                <a:gd name="T15" fmla="*/ 238 h 1865"/>
                <a:gd name="T16" fmla="*/ 2146 w 4291"/>
                <a:gd name="T17" fmla="*/ 293 h 1865"/>
                <a:gd name="T18" fmla="*/ 2066 w 4291"/>
                <a:gd name="T19" fmla="*/ 180 h 1865"/>
                <a:gd name="T20" fmla="*/ 1911 w 4291"/>
                <a:gd name="T21" fmla="*/ 248 h 1865"/>
                <a:gd name="T22" fmla="*/ 1822 w 4291"/>
                <a:gd name="T23" fmla="*/ 357 h 1865"/>
                <a:gd name="T24" fmla="*/ 1762 w 4291"/>
                <a:gd name="T25" fmla="*/ 416 h 1865"/>
                <a:gd name="T26" fmla="*/ 1905 w 4291"/>
                <a:gd name="T27" fmla="*/ 501 h 1865"/>
                <a:gd name="T28" fmla="*/ 1979 w 4291"/>
                <a:gd name="T29" fmla="*/ 392 h 1865"/>
                <a:gd name="T30" fmla="*/ 1877 w 4291"/>
                <a:gd name="T31" fmla="*/ 549 h 1865"/>
                <a:gd name="T32" fmla="*/ 1740 w 4291"/>
                <a:gd name="T33" fmla="*/ 592 h 1865"/>
                <a:gd name="T34" fmla="*/ 1565 w 4291"/>
                <a:gd name="T35" fmla="*/ 782 h 1865"/>
                <a:gd name="T36" fmla="*/ 1902 w 4291"/>
                <a:gd name="T37" fmla="*/ 811 h 1865"/>
                <a:gd name="T38" fmla="*/ 1982 w 4291"/>
                <a:gd name="T39" fmla="*/ 818 h 1865"/>
                <a:gd name="T40" fmla="*/ 2115 w 4291"/>
                <a:gd name="T41" fmla="*/ 677 h 1865"/>
                <a:gd name="T42" fmla="*/ 2071 w 4291"/>
                <a:gd name="T43" fmla="*/ 784 h 1865"/>
                <a:gd name="T44" fmla="*/ 2097 w 4291"/>
                <a:gd name="T45" fmla="*/ 925 h 1865"/>
                <a:gd name="T46" fmla="*/ 1563 w 4291"/>
                <a:gd name="T47" fmla="*/ 902 h 1865"/>
                <a:gd name="T48" fmla="*/ 1518 w 4291"/>
                <a:gd name="T49" fmla="*/ 1268 h 1865"/>
                <a:gd name="T50" fmla="*/ 1809 w 4291"/>
                <a:gd name="T51" fmla="*/ 1378 h 1865"/>
                <a:gd name="T52" fmla="*/ 2027 w 4291"/>
                <a:gd name="T53" fmla="*/ 1852 h 1865"/>
                <a:gd name="T54" fmla="*/ 2254 w 4291"/>
                <a:gd name="T55" fmla="*/ 1392 h 1865"/>
                <a:gd name="T56" fmla="*/ 2191 w 4291"/>
                <a:gd name="T57" fmla="*/ 1071 h 1865"/>
                <a:gd name="T58" fmla="*/ 2274 w 4291"/>
                <a:gd name="T59" fmla="*/ 1170 h 1865"/>
                <a:gd name="T60" fmla="*/ 2412 w 4291"/>
                <a:gd name="T61" fmla="*/ 1032 h 1865"/>
                <a:gd name="T62" fmla="*/ 2439 w 4291"/>
                <a:gd name="T63" fmla="*/ 996 h 1865"/>
                <a:gd name="T64" fmla="*/ 2683 w 4291"/>
                <a:gd name="T65" fmla="*/ 1097 h 1865"/>
                <a:gd name="T66" fmla="*/ 2798 w 4291"/>
                <a:gd name="T67" fmla="*/ 1143 h 1865"/>
                <a:gd name="T68" fmla="*/ 2926 w 4291"/>
                <a:gd name="T69" fmla="*/ 1048 h 1865"/>
                <a:gd name="T70" fmla="*/ 3035 w 4291"/>
                <a:gd name="T71" fmla="*/ 1197 h 1865"/>
                <a:gd name="T72" fmla="*/ 3044 w 4291"/>
                <a:gd name="T73" fmla="*/ 1223 h 1865"/>
                <a:gd name="T74" fmla="*/ 3166 w 4291"/>
                <a:gd name="T75" fmla="*/ 1219 h 1865"/>
                <a:gd name="T76" fmla="*/ 3197 w 4291"/>
                <a:gd name="T77" fmla="*/ 1074 h 1865"/>
                <a:gd name="T78" fmla="*/ 3350 w 4291"/>
                <a:gd name="T79" fmla="*/ 956 h 1865"/>
                <a:gd name="T80" fmla="*/ 3328 w 4291"/>
                <a:gd name="T81" fmla="*/ 789 h 1865"/>
                <a:gd name="T82" fmla="*/ 3457 w 4291"/>
                <a:gd name="T83" fmla="*/ 845 h 1865"/>
                <a:gd name="T84" fmla="*/ 3572 w 4291"/>
                <a:gd name="T85" fmla="*/ 549 h 1865"/>
                <a:gd name="T86" fmla="*/ 3865 w 4291"/>
                <a:gd name="T87" fmla="*/ 390 h 1865"/>
                <a:gd name="T88" fmla="*/ 3856 w 4291"/>
                <a:gd name="T89" fmla="*/ 565 h 1865"/>
                <a:gd name="T90" fmla="*/ 4091 w 4291"/>
                <a:gd name="T91" fmla="*/ 384 h 1865"/>
                <a:gd name="T92" fmla="*/ 4255 w 4291"/>
                <a:gd name="T93" fmla="*/ 324 h 1865"/>
                <a:gd name="T94" fmla="*/ 2431 w 4291"/>
                <a:gd name="T95" fmla="*/ 777 h 1865"/>
                <a:gd name="T96" fmla="*/ 2410 w 4291"/>
                <a:gd name="T97" fmla="*/ 792 h 1865"/>
                <a:gd name="T98" fmla="*/ 2419 w 4291"/>
                <a:gd name="T99" fmla="*/ 804 h 1865"/>
                <a:gd name="T100" fmla="*/ 2381 w 4291"/>
                <a:gd name="T101" fmla="*/ 842 h 1865"/>
                <a:gd name="T102" fmla="*/ 2361 w 4291"/>
                <a:gd name="T103" fmla="*/ 796 h 1865"/>
                <a:gd name="T104" fmla="*/ 2353 w 4291"/>
                <a:gd name="T105" fmla="*/ 763 h 1865"/>
                <a:gd name="T106" fmla="*/ 2326 w 4291"/>
                <a:gd name="T107" fmla="*/ 719 h 1865"/>
                <a:gd name="T108" fmla="*/ 2348 w 4291"/>
                <a:gd name="T109" fmla="*/ 693 h 1865"/>
                <a:gd name="T110" fmla="*/ 2372 w 4291"/>
                <a:gd name="T111" fmla="*/ 678 h 1865"/>
                <a:gd name="T112" fmla="*/ 2414 w 4291"/>
                <a:gd name="T113" fmla="*/ 691 h 1865"/>
                <a:gd name="T114" fmla="*/ 2397 w 4291"/>
                <a:gd name="T115" fmla="*/ 702 h 1865"/>
                <a:gd name="T116" fmla="*/ 2381 w 4291"/>
                <a:gd name="T117" fmla="*/ 722 h 1865"/>
                <a:gd name="T118" fmla="*/ 2405 w 4291"/>
                <a:gd name="T119" fmla="*/ 765 h 1865"/>
                <a:gd name="T120" fmla="*/ 2516 w 4291"/>
                <a:gd name="T121" fmla="*/ 714 h 1865"/>
                <a:gd name="T122" fmla="*/ 2504 w 4291"/>
                <a:gd name="T123" fmla="*/ 690 h 1865"/>
                <a:gd name="T124" fmla="*/ 2517 w 4291"/>
                <a:gd name="T125" fmla="*/ 682 h 1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1" h="1865">
                  <a:moveTo>
                    <a:pt x="98" y="9"/>
                  </a:moveTo>
                  <a:lnTo>
                    <a:pt x="95" y="8"/>
                  </a:lnTo>
                  <a:lnTo>
                    <a:pt x="92" y="6"/>
                  </a:lnTo>
                  <a:lnTo>
                    <a:pt x="89" y="5"/>
                  </a:lnTo>
                  <a:lnTo>
                    <a:pt x="86" y="6"/>
                  </a:lnTo>
                  <a:lnTo>
                    <a:pt x="83" y="6"/>
                  </a:lnTo>
                  <a:lnTo>
                    <a:pt x="81" y="8"/>
                  </a:lnTo>
                  <a:lnTo>
                    <a:pt x="83" y="9"/>
                  </a:lnTo>
                  <a:lnTo>
                    <a:pt x="86" y="9"/>
                  </a:lnTo>
                  <a:lnTo>
                    <a:pt x="84" y="12"/>
                  </a:lnTo>
                  <a:lnTo>
                    <a:pt x="81" y="10"/>
                  </a:lnTo>
                  <a:lnTo>
                    <a:pt x="78" y="13"/>
                  </a:lnTo>
                  <a:lnTo>
                    <a:pt x="75" y="12"/>
                  </a:lnTo>
                  <a:lnTo>
                    <a:pt x="73" y="12"/>
                  </a:lnTo>
                  <a:lnTo>
                    <a:pt x="69" y="10"/>
                  </a:lnTo>
                  <a:lnTo>
                    <a:pt x="67" y="10"/>
                  </a:lnTo>
                  <a:lnTo>
                    <a:pt x="64" y="10"/>
                  </a:lnTo>
                  <a:lnTo>
                    <a:pt x="58" y="12"/>
                  </a:lnTo>
                  <a:lnTo>
                    <a:pt x="56" y="12"/>
                  </a:lnTo>
                  <a:lnTo>
                    <a:pt x="52" y="12"/>
                  </a:lnTo>
                  <a:lnTo>
                    <a:pt x="50" y="15"/>
                  </a:lnTo>
                  <a:lnTo>
                    <a:pt x="48" y="17"/>
                  </a:lnTo>
                  <a:lnTo>
                    <a:pt x="44" y="18"/>
                  </a:lnTo>
                  <a:lnTo>
                    <a:pt x="42" y="21"/>
                  </a:lnTo>
                  <a:lnTo>
                    <a:pt x="41" y="21"/>
                  </a:lnTo>
                  <a:lnTo>
                    <a:pt x="39" y="24"/>
                  </a:lnTo>
                  <a:lnTo>
                    <a:pt x="36" y="25"/>
                  </a:lnTo>
                  <a:lnTo>
                    <a:pt x="35" y="27"/>
                  </a:lnTo>
                  <a:lnTo>
                    <a:pt x="33" y="28"/>
                  </a:lnTo>
                  <a:lnTo>
                    <a:pt x="30" y="30"/>
                  </a:lnTo>
                  <a:lnTo>
                    <a:pt x="26" y="31"/>
                  </a:lnTo>
                  <a:lnTo>
                    <a:pt x="24" y="32"/>
                  </a:lnTo>
                  <a:lnTo>
                    <a:pt x="22" y="35"/>
                  </a:lnTo>
                  <a:lnTo>
                    <a:pt x="19" y="38"/>
                  </a:lnTo>
                  <a:lnTo>
                    <a:pt x="16" y="38"/>
                  </a:lnTo>
                  <a:lnTo>
                    <a:pt x="14" y="38"/>
                  </a:lnTo>
                  <a:lnTo>
                    <a:pt x="10" y="38"/>
                  </a:lnTo>
                  <a:lnTo>
                    <a:pt x="8" y="39"/>
                  </a:lnTo>
                  <a:lnTo>
                    <a:pt x="5" y="41"/>
                  </a:lnTo>
                  <a:lnTo>
                    <a:pt x="2" y="43"/>
                  </a:lnTo>
                  <a:lnTo>
                    <a:pt x="0" y="45"/>
                  </a:lnTo>
                  <a:lnTo>
                    <a:pt x="6" y="44"/>
                  </a:lnTo>
                  <a:lnTo>
                    <a:pt x="7" y="48"/>
                  </a:lnTo>
                  <a:lnTo>
                    <a:pt x="5" y="50"/>
                  </a:lnTo>
                  <a:lnTo>
                    <a:pt x="7" y="52"/>
                  </a:lnTo>
                  <a:lnTo>
                    <a:pt x="10" y="51"/>
                  </a:lnTo>
                  <a:lnTo>
                    <a:pt x="13" y="49"/>
                  </a:lnTo>
                  <a:lnTo>
                    <a:pt x="16" y="48"/>
                  </a:lnTo>
                  <a:lnTo>
                    <a:pt x="18" y="49"/>
                  </a:lnTo>
                  <a:lnTo>
                    <a:pt x="22" y="50"/>
                  </a:lnTo>
                  <a:lnTo>
                    <a:pt x="24" y="51"/>
                  </a:lnTo>
                  <a:lnTo>
                    <a:pt x="26" y="50"/>
                  </a:lnTo>
                  <a:lnTo>
                    <a:pt x="27" y="47"/>
                  </a:lnTo>
                  <a:lnTo>
                    <a:pt x="29" y="44"/>
                  </a:lnTo>
                  <a:lnTo>
                    <a:pt x="32" y="45"/>
                  </a:lnTo>
                  <a:lnTo>
                    <a:pt x="31" y="48"/>
                  </a:lnTo>
                  <a:lnTo>
                    <a:pt x="34" y="50"/>
                  </a:lnTo>
                  <a:lnTo>
                    <a:pt x="35" y="52"/>
                  </a:lnTo>
                  <a:lnTo>
                    <a:pt x="35" y="55"/>
                  </a:lnTo>
                  <a:lnTo>
                    <a:pt x="39" y="53"/>
                  </a:lnTo>
                  <a:lnTo>
                    <a:pt x="41" y="55"/>
                  </a:lnTo>
                  <a:lnTo>
                    <a:pt x="41" y="53"/>
                  </a:lnTo>
                  <a:lnTo>
                    <a:pt x="44" y="53"/>
                  </a:lnTo>
                  <a:lnTo>
                    <a:pt x="46" y="50"/>
                  </a:lnTo>
                  <a:lnTo>
                    <a:pt x="47" y="48"/>
                  </a:lnTo>
                  <a:lnTo>
                    <a:pt x="44" y="47"/>
                  </a:lnTo>
                  <a:lnTo>
                    <a:pt x="47" y="47"/>
                  </a:lnTo>
                  <a:lnTo>
                    <a:pt x="47" y="43"/>
                  </a:lnTo>
                  <a:lnTo>
                    <a:pt x="47" y="41"/>
                  </a:lnTo>
                  <a:lnTo>
                    <a:pt x="49" y="42"/>
                  </a:lnTo>
                  <a:lnTo>
                    <a:pt x="51" y="45"/>
                  </a:lnTo>
                  <a:lnTo>
                    <a:pt x="53" y="48"/>
                  </a:lnTo>
                  <a:lnTo>
                    <a:pt x="57" y="44"/>
                  </a:lnTo>
                  <a:lnTo>
                    <a:pt x="57" y="42"/>
                  </a:lnTo>
                  <a:lnTo>
                    <a:pt x="59" y="42"/>
                  </a:lnTo>
                  <a:lnTo>
                    <a:pt x="60" y="39"/>
                  </a:lnTo>
                  <a:lnTo>
                    <a:pt x="58" y="36"/>
                  </a:lnTo>
                  <a:lnTo>
                    <a:pt x="57" y="34"/>
                  </a:lnTo>
                  <a:lnTo>
                    <a:pt x="60" y="35"/>
                  </a:lnTo>
                  <a:lnTo>
                    <a:pt x="63" y="34"/>
                  </a:lnTo>
                  <a:lnTo>
                    <a:pt x="64" y="31"/>
                  </a:lnTo>
                  <a:lnTo>
                    <a:pt x="65" y="28"/>
                  </a:lnTo>
                  <a:lnTo>
                    <a:pt x="67" y="28"/>
                  </a:lnTo>
                  <a:lnTo>
                    <a:pt x="70" y="26"/>
                  </a:lnTo>
                  <a:lnTo>
                    <a:pt x="70" y="30"/>
                  </a:lnTo>
                  <a:lnTo>
                    <a:pt x="69" y="32"/>
                  </a:lnTo>
                  <a:lnTo>
                    <a:pt x="69" y="35"/>
                  </a:lnTo>
                  <a:lnTo>
                    <a:pt x="68" y="38"/>
                  </a:lnTo>
                  <a:lnTo>
                    <a:pt x="70" y="40"/>
                  </a:lnTo>
                  <a:lnTo>
                    <a:pt x="74" y="42"/>
                  </a:lnTo>
                  <a:lnTo>
                    <a:pt x="77" y="42"/>
                  </a:lnTo>
                  <a:lnTo>
                    <a:pt x="79" y="42"/>
                  </a:lnTo>
                  <a:lnTo>
                    <a:pt x="82" y="40"/>
                  </a:lnTo>
                  <a:lnTo>
                    <a:pt x="82" y="38"/>
                  </a:lnTo>
                  <a:lnTo>
                    <a:pt x="82" y="35"/>
                  </a:lnTo>
                  <a:lnTo>
                    <a:pt x="84" y="34"/>
                  </a:lnTo>
                  <a:lnTo>
                    <a:pt x="87" y="33"/>
                  </a:lnTo>
                  <a:lnTo>
                    <a:pt x="90" y="33"/>
                  </a:lnTo>
                  <a:lnTo>
                    <a:pt x="93" y="33"/>
                  </a:lnTo>
                  <a:lnTo>
                    <a:pt x="95" y="31"/>
                  </a:lnTo>
                  <a:lnTo>
                    <a:pt x="96" y="28"/>
                  </a:lnTo>
                  <a:lnTo>
                    <a:pt x="94" y="26"/>
                  </a:lnTo>
                  <a:lnTo>
                    <a:pt x="92" y="24"/>
                  </a:lnTo>
                  <a:lnTo>
                    <a:pt x="94" y="24"/>
                  </a:lnTo>
                  <a:lnTo>
                    <a:pt x="98" y="24"/>
                  </a:lnTo>
                  <a:lnTo>
                    <a:pt x="98" y="22"/>
                  </a:lnTo>
                  <a:lnTo>
                    <a:pt x="94" y="21"/>
                  </a:lnTo>
                  <a:lnTo>
                    <a:pt x="92" y="18"/>
                  </a:lnTo>
                  <a:lnTo>
                    <a:pt x="95" y="16"/>
                  </a:lnTo>
                  <a:lnTo>
                    <a:pt x="98" y="15"/>
                  </a:lnTo>
                  <a:lnTo>
                    <a:pt x="101" y="14"/>
                  </a:lnTo>
                  <a:lnTo>
                    <a:pt x="103" y="13"/>
                  </a:lnTo>
                  <a:lnTo>
                    <a:pt x="101" y="9"/>
                  </a:lnTo>
                  <a:lnTo>
                    <a:pt x="98" y="9"/>
                  </a:lnTo>
                  <a:close/>
                  <a:moveTo>
                    <a:pt x="4288" y="297"/>
                  </a:moveTo>
                  <a:lnTo>
                    <a:pt x="4286" y="297"/>
                  </a:lnTo>
                  <a:lnTo>
                    <a:pt x="4286" y="297"/>
                  </a:lnTo>
                  <a:lnTo>
                    <a:pt x="4284" y="298"/>
                  </a:lnTo>
                  <a:lnTo>
                    <a:pt x="4283" y="295"/>
                  </a:lnTo>
                  <a:lnTo>
                    <a:pt x="4281" y="293"/>
                  </a:lnTo>
                  <a:lnTo>
                    <a:pt x="4279" y="296"/>
                  </a:lnTo>
                  <a:lnTo>
                    <a:pt x="4281" y="293"/>
                  </a:lnTo>
                  <a:lnTo>
                    <a:pt x="4279" y="292"/>
                  </a:lnTo>
                  <a:lnTo>
                    <a:pt x="4275" y="290"/>
                  </a:lnTo>
                  <a:lnTo>
                    <a:pt x="4273" y="288"/>
                  </a:lnTo>
                  <a:lnTo>
                    <a:pt x="4269" y="287"/>
                  </a:lnTo>
                  <a:lnTo>
                    <a:pt x="4267" y="284"/>
                  </a:lnTo>
                  <a:lnTo>
                    <a:pt x="4264" y="282"/>
                  </a:lnTo>
                  <a:lnTo>
                    <a:pt x="4264" y="280"/>
                  </a:lnTo>
                  <a:lnTo>
                    <a:pt x="4260" y="279"/>
                  </a:lnTo>
                  <a:lnTo>
                    <a:pt x="4258" y="279"/>
                  </a:lnTo>
                  <a:lnTo>
                    <a:pt x="4255" y="279"/>
                  </a:lnTo>
                  <a:lnTo>
                    <a:pt x="4250" y="278"/>
                  </a:lnTo>
                  <a:lnTo>
                    <a:pt x="4252" y="278"/>
                  </a:lnTo>
                  <a:lnTo>
                    <a:pt x="4250" y="278"/>
                  </a:lnTo>
                  <a:lnTo>
                    <a:pt x="4248" y="276"/>
                  </a:lnTo>
                  <a:lnTo>
                    <a:pt x="4245" y="276"/>
                  </a:lnTo>
                  <a:lnTo>
                    <a:pt x="4248" y="278"/>
                  </a:lnTo>
                  <a:lnTo>
                    <a:pt x="4250" y="279"/>
                  </a:lnTo>
                  <a:lnTo>
                    <a:pt x="4248" y="280"/>
                  </a:lnTo>
                  <a:lnTo>
                    <a:pt x="4246" y="280"/>
                  </a:lnTo>
                  <a:lnTo>
                    <a:pt x="4242" y="279"/>
                  </a:lnTo>
                  <a:lnTo>
                    <a:pt x="4243" y="281"/>
                  </a:lnTo>
                  <a:lnTo>
                    <a:pt x="4241" y="282"/>
                  </a:lnTo>
                  <a:lnTo>
                    <a:pt x="4241" y="279"/>
                  </a:lnTo>
                  <a:lnTo>
                    <a:pt x="4243" y="276"/>
                  </a:lnTo>
                  <a:lnTo>
                    <a:pt x="4241" y="276"/>
                  </a:lnTo>
                  <a:lnTo>
                    <a:pt x="4238" y="275"/>
                  </a:lnTo>
                  <a:lnTo>
                    <a:pt x="4235" y="275"/>
                  </a:lnTo>
                  <a:lnTo>
                    <a:pt x="4232" y="275"/>
                  </a:lnTo>
                  <a:lnTo>
                    <a:pt x="4230" y="275"/>
                  </a:lnTo>
                  <a:lnTo>
                    <a:pt x="4226" y="275"/>
                  </a:lnTo>
                  <a:lnTo>
                    <a:pt x="4224" y="275"/>
                  </a:lnTo>
                  <a:lnTo>
                    <a:pt x="4226" y="276"/>
                  </a:lnTo>
                  <a:lnTo>
                    <a:pt x="4230" y="278"/>
                  </a:lnTo>
                  <a:lnTo>
                    <a:pt x="4231" y="281"/>
                  </a:lnTo>
                  <a:lnTo>
                    <a:pt x="4232" y="283"/>
                  </a:lnTo>
                  <a:lnTo>
                    <a:pt x="4230" y="287"/>
                  </a:lnTo>
                  <a:lnTo>
                    <a:pt x="4228" y="288"/>
                  </a:lnTo>
                  <a:lnTo>
                    <a:pt x="4230" y="288"/>
                  </a:lnTo>
                  <a:lnTo>
                    <a:pt x="4233" y="289"/>
                  </a:lnTo>
                  <a:lnTo>
                    <a:pt x="4234" y="291"/>
                  </a:lnTo>
                  <a:lnTo>
                    <a:pt x="4232" y="295"/>
                  </a:lnTo>
                  <a:lnTo>
                    <a:pt x="4231" y="296"/>
                  </a:lnTo>
                  <a:lnTo>
                    <a:pt x="4231" y="293"/>
                  </a:lnTo>
                  <a:lnTo>
                    <a:pt x="4232" y="291"/>
                  </a:lnTo>
                  <a:lnTo>
                    <a:pt x="4229" y="290"/>
                  </a:lnTo>
                  <a:lnTo>
                    <a:pt x="4226" y="292"/>
                  </a:lnTo>
                  <a:lnTo>
                    <a:pt x="4225" y="290"/>
                  </a:lnTo>
                  <a:lnTo>
                    <a:pt x="4223" y="288"/>
                  </a:lnTo>
                  <a:lnTo>
                    <a:pt x="4220" y="287"/>
                  </a:lnTo>
                  <a:lnTo>
                    <a:pt x="4220" y="284"/>
                  </a:lnTo>
                  <a:lnTo>
                    <a:pt x="4221" y="281"/>
                  </a:lnTo>
                  <a:lnTo>
                    <a:pt x="4219" y="276"/>
                  </a:lnTo>
                  <a:lnTo>
                    <a:pt x="4220" y="273"/>
                  </a:lnTo>
                  <a:lnTo>
                    <a:pt x="4221" y="271"/>
                  </a:lnTo>
                  <a:lnTo>
                    <a:pt x="4219" y="267"/>
                  </a:lnTo>
                  <a:lnTo>
                    <a:pt x="4216" y="270"/>
                  </a:lnTo>
                  <a:lnTo>
                    <a:pt x="4213" y="270"/>
                  </a:lnTo>
                  <a:lnTo>
                    <a:pt x="4215" y="267"/>
                  </a:lnTo>
                  <a:lnTo>
                    <a:pt x="4214" y="265"/>
                  </a:lnTo>
                  <a:lnTo>
                    <a:pt x="4214" y="263"/>
                  </a:lnTo>
                  <a:lnTo>
                    <a:pt x="4212" y="262"/>
                  </a:lnTo>
                  <a:lnTo>
                    <a:pt x="4209" y="261"/>
                  </a:lnTo>
                  <a:lnTo>
                    <a:pt x="4207" y="260"/>
                  </a:lnTo>
                  <a:lnTo>
                    <a:pt x="4204" y="257"/>
                  </a:lnTo>
                  <a:lnTo>
                    <a:pt x="4202" y="256"/>
                  </a:lnTo>
                  <a:lnTo>
                    <a:pt x="4196" y="254"/>
                  </a:lnTo>
                  <a:lnTo>
                    <a:pt x="4192" y="253"/>
                  </a:lnTo>
                  <a:lnTo>
                    <a:pt x="4188" y="249"/>
                  </a:lnTo>
                  <a:lnTo>
                    <a:pt x="4185" y="248"/>
                  </a:lnTo>
                  <a:lnTo>
                    <a:pt x="4182" y="250"/>
                  </a:lnTo>
                  <a:lnTo>
                    <a:pt x="4181" y="248"/>
                  </a:lnTo>
                  <a:lnTo>
                    <a:pt x="4183" y="248"/>
                  </a:lnTo>
                  <a:lnTo>
                    <a:pt x="4181" y="246"/>
                  </a:lnTo>
                  <a:lnTo>
                    <a:pt x="4178" y="245"/>
                  </a:lnTo>
                  <a:lnTo>
                    <a:pt x="4175" y="244"/>
                  </a:lnTo>
                  <a:lnTo>
                    <a:pt x="4173" y="243"/>
                  </a:lnTo>
                  <a:lnTo>
                    <a:pt x="4175" y="244"/>
                  </a:lnTo>
                  <a:lnTo>
                    <a:pt x="4178" y="245"/>
                  </a:lnTo>
                  <a:lnTo>
                    <a:pt x="4181" y="247"/>
                  </a:lnTo>
                  <a:lnTo>
                    <a:pt x="4178" y="248"/>
                  </a:lnTo>
                  <a:lnTo>
                    <a:pt x="4177" y="245"/>
                  </a:lnTo>
                  <a:lnTo>
                    <a:pt x="4174" y="244"/>
                  </a:lnTo>
                  <a:lnTo>
                    <a:pt x="4171" y="243"/>
                  </a:lnTo>
                  <a:lnTo>
                    <a:pt x="4169" y="243"/>
                  </a:lnTo>
                  <a:lnTo>
                    <a:pt x="4166" y="239"/>
                  </a:lnTo>
                  <a:lnTo>
                    <a:pt x="4170" y="240"/>
                  </a:lnTo>
                  <a:lnTo>
                    <a:pt x="4168" y="238"/>
                  </a:lnTo>
                  <a:lnTo>
                    <a:pt x="4164" y="237"/>
                  </a:lnTo>
                  <a:lnTo>
                    <a:pt x="4162" y="236"/>
                  </a:lnTo>
                  <a:lnTo>
                    <a:pt x="4158" y="236"/>
                  </a:lnTo>
                  <a:lnTo>
                    <a:pt x="4157" y="232"/>
                  </a:lnTo>
                  <a:lnTo>
                    <a:pt x="4154" y="233"/>
                  </a:lnTo>
                  <a:lnTo>
                    <a:pt x="4152" y="232"/>
                  </a:lnTo>
                  <a:lnTo>
                    <a:pt x="4149" y="231"/>
                  </a:lnTo>
                  <a:lnTo>
                    <a:pt x="4147" y="231"/>
                  </a:lnTo>
                  <a:lnTo>
                    <a:pt x="4144" y="229"/>
                  </a:lnTo>
                  <a:lnTo>
                    <a:pt x="4147" y="230"/>
                  </a:lnTo>
                  <a:lnTo>
                    <a:pt x="4144" y="228"/>
                  </a:lnTo>
                  <a:lnTo>
                    <a:pt x="4141" y="226"/>
                  </a:lnTo>
                  <a:lnTo>
                    <a:pt x="4138" y="224"/>
                  </a:lnTo>
                  <a:lnTo>
                    <a:pt x="4136" y="224"/>
                  </a:lnTo>
                  <a:lnTo>
                    <a:pt x="4132" y="224"/>
                  </a:lnTo>
                  <a:lnTo>
                    <a:pt x="4136" y="223"/>
                  </a:lnTo>
                  <a:lnTo>
                    <a:pt x="4132" y="221"/>
                  </a:lnTo>
                  <a:lnTo>
                    <a:pt x="4130" y="220"/>
                  </a:lnTo>
                  <a:lnTo>
                    <a:pt x="4127" y="220"/>
                  </a:lnTo>
                  <a:lnTo>
                    <a:pt x="4124" y="220"/>
                  </a:lnTo>
                  <a:lnTo>
                    <a:pt x="4121" y="219"/>
                  </a:lnTo>
                  <a:lnTo>
                    <a:pt x="4119" y="218"/>
                  </a:lnTo>
                  <a:lnTo>
                    <a:pt x="4117" y="216"/>
                  </a:lnTo>
                  <a:lnTo>
                    <a:pt x="4113" y="216"/>
                  </a:lnTo>
                  <a:lnTo>
                    <a:pt x="4107" y="215"/>
                  </a:lnTo>
                  <a:lnTo>
                    <a:pt x="4105" y="214"/>
                  </a:lnTo>
                  <a:lnTo>
                    <a:pt x="4102" y="213"/>
                  </a:lnTo>
                  <a:lnTo>
                    <a:pt x="4100" y="212"/>
                  </a:lnTo>
                  <a:lnTo>
                    <a:pt x="4097" y="210"/>
                  </a:lnTo>
                  <a:lnTo>
                    <a:pt x="4094" y="209"/>
                  </a:lnTo>
                  <a:lnTo>
                    <a:pt x="4092" y="209"/>
                  </a:lnTo>
                  <a:lnTo>
                    <a:pt x="4088" y="210"/>
                  </a:lnTo>
                  <a:lnTo>
                    <a:pt x="4086" y="211"/>
                  </a:lnTo>
                  <a:lnTo>
                    <a:pt x="4083" y="210"/>
                  </a:lnTo>
                  <a:lnTo>
                    <a:pt x="4074" y="210"/>
                  </a:lnTo>
                  <a:lnTo>
                    <a:pt x="4071" y="210"/>
                  </a:lnTo>
                  <a:lnTo>
                    <a:pt x="4069" y="210"/>
                  </a:lnTo>
                  <a:lnTo>
                    <a:pt x="4066" y="210"/>
                  </a:lnTo>
                  <a:lnTo>
                    <a:pt x="4063" y="209"/>
                  </a:lnTo>
                  <a:lnTo>
                    <a:pt x="4060" y="207"/>
                  </a:lnTo>
                  <a:lnTo>
                    <a:pt x="4058" y="209"/>
                  </a:lnTo>
                  <a:lnTo>
                    <a:pt x="4060" y="211"/>
                  </a:lnTo>
                  <a:lnTo>
                    <a:pt x="4058" y="212"/>
                  </a:lnTo>
                  <a:lnTo>
                    <a:pt x="4057" y="212"/>
                  </a:lnTo>
                  <a:lnTo>
                    <a:pt x="4054" y="210"/>
                  </a:lnTo>
                  <a:lnTo>
                    <a:pt x="4051" y="209"/>
                  </a:lnTo>
                  <a:lnTo>
                    <a:pt x="4049" y="207"/>
                  </a:lnTo>
                  <a:lnTo>
                    <a:pt x="4046" y="207"/>
                  </a:lnTo>
                  <a:lnTo>
                    <a:pt x="4043" y="207"/>
                  </a:lnTo>
                  <a:lnTo>
                    <a:pt x="4041" y="206"/>
                  </a:lnTo>
                  <a:lnTo>
                    <a:pt x="4038" y="206"/>
                  </a:lnTo>
                  <a:lnTo>
                    <a:pt x="4036" y="206"/>
                  </a:lnTo>
                  <a:lnTo>
                    <a:pt x="4034" y="205"/>
                  </a:lnTo>
                  <a:lnTo>
                    <a:pt x="4030" y="205"/>
                  </a:lnTo>
                  <a:lnTo>
                    <a:pt x="4028" y="205"/>
                  </a:lnTo>
                  <a:lnTo>
                    <a:pt x="4025" y="204"/>
                  </a:lnTo>
                  <a:lnTo>
                    <a:pt x="4023" y="204"/>
                  </a:lnTo>
                  <a:lnTo>
                    <a:pt x="4019" y="203"/>
                  </a:lnTo>
                  <a:lnTo>
                    <a:pt x="4020" y="206"/>
                  </a:lnTo>
                  <a:lnTo>
                    <a:pt x="4020" y="206"/>
                  </a:lnTo>
                  <a:lnTo>
                    <a:pt x="4020" y="210"/>
                  </a:lnTo>
                  <a:lnTo>
                    <a:pt x="4020" y="212"/>
                  </a:lnTo>
                  <a:lnTo>
                    <a:pt x="4018" y="213"/>
                  </a:lnTo>
                  <a:lnTo>
                    <a:pt x="4015" y="214"/>
                  </a:lnTo>
                  <a:lnTo>
                    <a:pt x="4018" y="216"/>
                  </a:lnTo>
                  <a:lnTo>
                    <a:pt x="4020" y="216"/>
                  </a:lnTo>
                  <a:lnTo>
                    <a:pt x="4021" y="219"/>
                  </a:lnTo>
                  <a:lnTo>
                    <a:pt x="4024" y="222"/>
                  </a:lnTo>
                  <a:lnTo>
                    <a:pt x="4026" y="224"/>
                  </a:lnTo>
                  <a:lnTo>
                    <a:pt x="4026" y="228"/>
                  </a:lnTo>
                  <a:lnTo>
                    <a:pt x="4028" y="230"/>
                  </a:lnTo>
                  <a:lnTo>
                    <a:pt x="4026" y="231"/>
                  </a:lnTo>
                  <a:lnTo>
                    <a:pt x="4023" y="232"/>
                  </a:lnTo>
                  <a:lnTo>
                    <a:pt x="4023" y="235"/>
                  </a:lnTo>
                  <a:lnTo>
                    <a:pt x="4023" y="236"/>
                  </a:lnTo>
                  <a:lnTo>
                    <a:pt x="4019" y="233"/>
                  </a:lnTo>
                  <a:lnTo>
                    <a:pt x="4020" y="237"/>
                  </a:lnTo>
                  <a:lnTo>
                    <a:pt x="4021" y="237"/>
                  </a:lnTo>
                  <a:lnTo>
                    <a:pt x="4018" y="236"/>
                  </a:lnTo>
                  <a:lnTo>
                    <a:pt x="4016" y="236"/>
                  </a:lnTo>
                  <a:lnTo>
                    <a:pt x="4012" y="236"/>
                  </a:lnTo>
                  <a:lnTo>
                    <a:pt x="4012" y="236"/>
                  </a:lnTo>
                  <a:lnTo>
                    <a:pt x="4010" y="236"/>
                  </a:lnTo>
                  <a:lnTo>
                    <a:pt x="4007" y="236"/>
                  </a:lnTo>
                  <a:lnTo>
                    <a:pt x="4004" y="233"/>
                  </a:lnTo>
                  <a:lnTo>
                    <a:pt x="4004" y="230"/>
                  </a:lnTo>
                  <a:lnTo>
                    <a:pt x="4002" y="229"/>
                  </a:lnTo>
                  <a:lnTo>
                    <a:pt x="3999" y="228"/>
                  </a:lnTo>
                  <a:lnTo>
                    <a:pt x="3996" y="227"/>
                  </a:lnTo>
                  <a:lnTo>
                    <a:pt x="3993" y="226"/>
                  </a:lnTo>
                  <a:lnTo>
                    <a:pt x="3991" y="226"/>
                  </a:lnTo>
                  <a:lnTo>
                    <a:pt x="3989" y="223"/>
                  </a:lnTo>
                  <a:lnTo>
                    <a:pt x="3989" y="218"/>
                  </a:lnTo>
                  <a:lnTo>
                    <a:pt x="3985" y="216"/>
                  </a:lnTo>
                  <a:lnTo>
                    <a:pt x="3984" y="213"/>
                  </a:lnTo>
                  <a:lnTo>
                    <a:pt x="3981" y="212"/>
                  </a:lnTo>
                  <a:lnTo>
                    <a:pt x="3978" y="214"/>
                  </a:lnTo>
                  <a:lnTo>
                    <a:pt x="3975" y="216"/>
                  </a:lnTo>
                  <a:lnTo>
                    <a:pt x="3973" y="218"/>
                  </a:lnTo>
                  <a:lnTo>
                    <a:pt x="3969" y="219"/>
                  </a:lnTo>
                  <a:lnTo>
                    <a:pt x="3967" y="219"/>
                  </a:lnTo>
                  <a:lnTo>
                    <a:pt x="3959" y="219"/>
                  </a:lnTo>
                  <a:lnTo>
                    <a:pt x="3956" y="218"/>
                  </a:lnTo>
                  <a:lnTo>
                    <a:pt x="3953" y="216"/>
                  </a:lnTo>
                  <a:lnTo>
                    <a:pt x="3950" y="216"/>
                  </a:lnTo>
                  <a:lnTo>
                    <a:pt x="3949" y="216"/>
                  </a:lnTo>
                  <a:lnTo>
                    <a:pt x="3947" y="216"/>
                  </a:lnTo>
                  <a:lnTo>
                    <a:pt x="3943" y="216"/>
                  </a:lnTo>
                  <a:lnTo>
                    <a:pt x="3938" y="216"/>
                  </a:lnTo>
                  <a:lnTo>
                    <a:pt x="3935" y="215"/>
                  </a:lnTo>
                  <a:lnTo>
                    <a:pt x="3932" y="213"/>
                  </a:lnTo>
                  <a:lnTo>
                    <a:pt x="3930" y="213"/>
                  </a:lnTo>
                  <a:lnTo>
                    <a:pt x="3926" y="214"/>
                  </a:lnTo>
                  <a:lnTo>
                    <a:pt x="3924" y="214"/>
                  </a:lnTo>
                  <a:lnTo>
                    <a:pt x="3922" y="213"/>
                  </a:lnTo>
                  <a:lnTo>
                    <a:pt x="3918" y="214"/>
                  </a:lnTo>
                  <a:lnTo>
                    <a:pt x="3916" y="214"/>
                  </a:lnTo>
                  <a:lnTo>
                    <a:pt x="3913" y="215"/>
                  </a:lnTo>
                  <a:lnTo>
                    <a:pt x="3910" y="214"/>
                  </a:lnTo>
                  <a:lnTo>
                    <a:pt x="3909" y="214"/>
                  </a:lnTo>
                  <a:lnTo>
                    <a:pt x="3906" y="215"/>
                  </a:lnTo>
                  <a:lnTo>
                    <a:pt x="3905" y="215"/>
                  </a:lnTo>
                  <a:lnTo>
                    <a:pt x="3902" y="215"/>
                  </a:lnTo>
                  <a:lnTo>
                    <a:pt x="3900" y="215"/>
                  </a:lnTo>
                  <a:lnTo>
                    <a:pt x="3897" y="215"/>
                  </a:lnTo>
                  <a:lnTo>
                    <a:pt x="3895" y="216"/>
                  </a:lnTo>
                  <a:lnTo>
                    <a:pt x="3891" y="218"/>
                  </a:lnTo>
                  <a:lnTo>
                    <a:pt x="3887" y="215"/>
                  </a:lnTo>
                  <a:lnTo>
                    <a:pt x="3884" y="214"/>
                  </a:lnTo>
                  <a:lnTo>
                    <a:pt x="3881" y="214"/>
                  </a:lnTo>
                  <a:lnTo>
                    <a:pt x="3880" y="215"/>
                  </a:lnTo>
                  <a:lnTo>
                    <a:pt x="3878" y="213"/>
                  </a:lnTo>
                  <a:lnTo>
                    <a:pt x="3875" y="213"/>
                  </a:lnTo>
                  <a:lnTo>
                    <a:pt x="3873" y="212"/>
                  </a:lnTo>
                  <a:lnTo>
                    <a:pt x="3872" y="210"/>
                  </a:lnTo>
                  <a:lnTo>
                    <a:pt x="3873" y="209"/>
                  </a:lnTo>
                  <a:lnTo>
                    <a:pt x="3873" y="207"/>
                  </a:lnTo>
                  <a:lnTo>
                    <a:pt x="3874" y="206"/>
                  </a:lnTo>
                  <a:lnTo>
                    <a:pt x="3874" y="206"/>
                  </a:lnTo>
                  <a:lnTo>
                    <a:pt x="3874" y="206"/>
                  </a:lnTo>
                  <a:lnTo>
                    <a:pt x="3874" y="205"/>
                  </a:lnTo>
                  <a:lnTo>
                    <a:pt x="3873" y="204"/>
                  </a:lnTo>
                  <a:lnTo>
                    <a:pt x="3875" y="202"/>
                  </a:lnTo>
                  <a:lnTo>
                    <a:pt x="3878" y="199"/>
                  </a:lnTo>
                  <a:lnTo>
                    <a:pt x="3876" y="196"/>
                  </a:lnTo>
                  <a:lnTo>
                    <a:pt x="3874" y="194"/>
                  </a:lnTo>
                  <a:lnTo>
                    <a:pt x="3872" y="190"/>
                  </a:lnTo>
                  <a:lnTo>
                    <a:pt x="3867" y="187"/>
                  </a:lnTo>
                  <a:lnTo>
                    <a:pt x="3856" y="182"/>
                  </a:lnTo>
                  <a:lnTo>
                    <a:pt x="3847" y="180"/>
                  </a:lnTo>
                  <a:lnTo>
                    <a:pt x="3839" y="180"/>
                  </a:lnTo>
                  <a:lnTo>
                    <a:pt x="3820" y="179"/>
                  </a:lnTo>
                  <a:lnTo>
                    <a:pt x="3797" y="182"/>
                  </a:lnTo>
                  <a:lnTo>
                    <a:pt x="3789" y="186"/>
                  </a:lnTo>
                  <a:lnTo>
                    <a:pt x="3786" y="185"/>
                  </a:lnTo>
                  <a:lnTo>
                    <a:pt x="3776" y="186"/>
                  </a:lnTo>
                  <a:lnTo>
                    <a:pt x="3770" y="185"/>
                  </a:lnTo>
                  <a:lnTo>
                    <a:pt x="3761" y="182"/>
                  </a:lnTo>
                  <a:lnTo>
                    <a:pt x="3767" y="182"/>
                  </a:lnTo>
                  <a:lnTo>
                    <a:pt x="3768" y="180"/>
                  </a:lnTo>
                  <a:lnTo>
                    <a:pt x="3762" y="176"/>
                  </a:lnTo>
                  <a:lnTo>
                    <a:pt x="3759" y="173"/>
                  </a:lnTo>
                  <a:lnTo>
                    <a:pt x="3756" y="173"/>
                  </a:lnTo>
                  <a:lnTo>
                    <a:pt x="3753" y="172"/>
                  </a:lnTo>
                  <a:lnTo>
                    <a:pt x="3751" y="172"/>
                  </a:lnTo>
                  <a:lnTo>
                    <a:pt x="3748" y="175"/>
                  </a:lnTo>
                  <a:lnTo>
                    <a:pt x="3745" y="175"/>
                  </a:lnTo>
                  <a:lnTo>
                    <a:pt x="3743" y="175"/>
                  </a:lnTo>
                  <a:lnTo>
                    <a:pt x="3739" y="177"/>
                  </a:lnTo>
                  <a:lnTo>
                    <a:pt x="3742" y="175"/>
                  </a:lnTo>
                  <a:lnTo>
                    <a:pt x="3745" y="173"/>
                  </a:lnTo>
                  <a:lnTo>
                    <a:pt x="3747" y="171"/>
                  </a:lnTo>
                  <a:lnTo>
                    <a:pt x="3744" y="169"/>
                  </a:lnTo>
                  <a:lnTo>
                    <a:pt x="3742" y="169"/>
                  </a:lnTo>
                  <a:lnTo>
                    <a:pt x="3737" y="170"/>
                  </a:lnTo>
                  <a:lnTo>
                    <a:pt x="3738" y="168"/>
                  </a:lnTo>
                  <a:lnTo>
                    <a:pt x="3735" y="166"/>
                  </a:lnTo>
                  <a:lnTo>
                    <a:pt x="3727" y="164"/>
                  </a:lnTo>
                  <a:lnTo>
                    <a:pt x="3724" y="166"/>
                  </a:lnTo>
                  <a:lnTo>
                    <a:pt x="3724" y="162"/>
                  </a:lnTo>
                  <a:lnTo>
                    <a:pt x="3726" y="162"/>
                  </a:lnTo>
                  <a:lnTo>
                    <a:pt x="3729" y="161"/>
                  </a:lnTo>
                  <a:lnTo>
                    <a:pt x="3731" y="160"/>
                  </a:lnTo>
                  <a:lnTo>
                    <a:pt x="3735" y="162"/>
                  </a:lnTo>
                  <a:lnTo>
                    <a:pt x="3737" y="161"/>
                  </a:lnTo>
                  <a:lnTo>
                    <a:pt x="3739" y="159"/>
                  </a:lnTo>
                  <a:lnTo>
                    <a:pt x="3734" y="153"/>
                  </a:lnTo>
                  <a:lnTo>
                    <a:pt x="3726" y="151"/>
                  </a:lnTo>
                  <a:lnTo>
                    <a:pt x="3718" y="149"/>
                  </a:lnTo>
                  <a:lnTo>
                    <a:pt x="3712" y="149"/>
                  </a:lnTo>
                  <a:lnTo>
                    <a:pt x="3701" y="149"/>
                  </a:lnTo>
                  <a:lnTo>
                    <a:pt x="3693" y="155"/>
                  </a:lnTo>
                  <a:lnTo>
                    <a:pt x="3688" y="160"/>
                  </a:lnTo>
                  <a:lnTo>
                    <a:pt x="3686" y="161"/>
                  </a:lnTo>
                  <a:lnTo>
                    <a:pt x="3680" y="163"/>
                  </a:lnTo>
                  <a:lnTo>
                    <a:pt x="3677" y="163"/>
                  </a:lnTo>
                  <a:lnTo>
                    <a:pt x="3675" y="166"/>
                  </a:lnTo>
                  <a:lnTo>
                    <a:pt x="3673" y="164"/>
                  </a:lnTo>
                  <a:lnTo>
                    <a:pt x="3669" y="164"/>
                  </a:lnTo>
                  <a:lnTo>
                    <a:pt x="3673" y="162"/>
                  </a:lnTo>
                  <a:lnTo>
                    <a:pt x="3670" y="159"/>
                  </a:lnTo>
                  <a:lnTo>
                    <a:pt x="3673" y="159"/>
                  </a:lnTo>
                  <a:lnTo>
                    <a:pt x="3676" y="160"/>
                  </a:lnTo>
                  <a:lnTo>
                    <a:pt x="3682" y="159"/>
                  </a:lnTo>
                  <a:lnTo>
                    <a:pt x="3679" y="151"/>
                  </a:lnTo>
                  <a:lnTo>
                    <a:pt x="3682" y="151"/>
                  </a:lnTo>
                  <a:lnTo>
                    <a:pt x="3684" y="153"/>
                  </a:lnTo>
                  <a:lnTo>
                    <a:pt x="3686" y="153"/>
                  </a:lnTo>
                  <a:lnTo>
                    <a:pt x="3686" y="155"/>
                  </a:lnTo>
                  <a:lnTo>
                    <a:pt x="3684" y="158"/>
                  </a:lnTo>
                  <a:lnTo>
                    <a:pt x="3684" y="161"/>
                  </a:lnTo>
                  <a:lnTo>
                    <a:pt x="3688" y="156"/>
                  </a:lnTo>
                  <a:lnTo>
                    <a:pt x="3696" y="149"/>
                  </a:lnTo>
                  <a:lnTo>
                    <a:pt x="3688" y="149"/>
                  </a:lnTo>
                  <a:lnTo>
                    <a:pt x="3671" y="150"/>
                  </a:lnTo>
                  <a:lnTo>
                    <a:pt x="3666" y="151"/>
                  </a:lnTo>
                  <a:lnTo>
                    <a:pt x="3663" y="152"/>
                  </a:lnTo>
                  <a:lnTo>
                    <a:pt x="3660" y="152"/>
                  </a:lnTo>
                  <a:lnTo>
                    <a:pt x="3659" y="151"/>
                  </a:lnTo>
                  <a:lnTo>
                    <a:pt x="3659" y="150"/>
                  </a:lnTo>
                  <a:lnTo>
                    <a:pt x="3665" y="150"/>
                  </a:lnTo>
                  <a:lnTo>
                    <a:pt x="3667" y="146"/>
                  </a:lnTo>
                  <a:lnTo>
                    <a:pt x="3670" y="142"/>
                  </a:lnTo>
                  <a:lnTo>
                    <a:pt x="3665" y="141"/>
                  </a:lnTo>
                  <a:lnTo>
                    <a:pt x="3661" y="141"/>
                  </a:lnTo>
                  <a:lnTo>
                    <a:pt x="3653" y="139"/>
                  </a:lnTo>
                  <a:lnTo>
                    <a:pt x="3651" y="139"/>
                  </a:lnTo>
                  <a:lnTo>
                    <a:pt x="3634" y="138"/>
                  </a:lnTo>
                  <a:lnTo>
                    <a:pt x="3628" y="138"/>
                  </a:lnTo>
                  <a:lnTo>
                    <a:pt x="3623" y="136"/>
                  </a:lnTo>
                  <a:lnTo>
                    <a:pt x="3619" y="135"/>
                  </a:lnTo>
                  <a:lnTo>
                    <a:pt x="3611" y="134"/>
                  </a:lnTo>
                  <a:lnTo>
                    <a:pt x="3611" y="136"/>
                  </a:lnTo>
                  <a:lnTo>
                    <a:pt x="3615" y="138"/>
                  </a:lnTo>
                  <a:lnTo>
                    <a:pt x="3615" y="141"/>
                  </a:lnTo>
                  <a:lnTo>
                    <a:pt x="3612" y="143"/>
                  </a:lnTo>
                  <a:lnTo>
                    <a:pt x="3607" y="144"/>
                  </a:lnTo>
                  <a:lnTo>
                    <a:pt x="3602" y="144"/>
                  </a:lnTo>
                  <a:lnTo>
                    <a:pt x="3599" y="144"/>
                  </a:lnTo>
                  <a:lnTo>
                    <a:pt x="3597" y="144"/>
                  </a:lnTo>
                  <a:lnTo>
                    <a:pt x="3591" y="147"/>
                  </a:lnTo>
                  <a:lnTo>
                    <a:pt x="3590" y="151"/>
                  </a:lnTo>
                  <a:lnTo>
                    <a:pt x="3592" y="153"/>
                  </a:lnTo>
                  <a:lnTo>
                    <a:pt x="3594" y="153"/>
                  </a:lnTo>
                  <a:lnTo>
                    <a:pt x="3598" y="151"/>
                  </a:lnTo>
                  <a:lnTo>
                    <a:pt x="3602" y="151"/>
                  </a:lnTo>
                  <a:lnTo>
                    <a:pt x="3605" y="152"/>
                  </a:lnTo>
                  <a:lnTo>
                    <a:pt x="3599" y="153"/>
                  </a:lnTo>
                  <a:lnTo>
                    <a:pt x="3598" y="156"/>
                  </a:lnTo>
                  <a:lnTo>
                    <a:pt x="3594" y="158"/>
                  </a:lnTo>
                  <a:lnTo>
                    <a:pt x="3598" y="160"/>
                  </a:lnTo>
                  <a:lnTo>
                    <a:pt x="3598" y="162"/>
                  </a:lnTo>
                  <a:lnTo>
                    <a:pt x="3599" y="166"/>
                  </a:lnTo>
                  <a:lnTo>
                    <a:pt x="3601" y="168"/>
                  </a:lnTo>
                  <a:lnTo>
                    <a:pt x="3602" y="170"/>
                  </a:lnTo>
                  <a:lnTo>
                    <a:pt x="3601" y="170"/>
                  </a:lnTo>
                  <a:lnTo>
                    <a:pt x="3599" y="170"/>
                  </a:lnTo>
                  <a:lnTo>
                    <a:pt x="3596" y="170"/>
                  </a:lnTo>
                  <a:lnTo>
                    <a:pt x="3593" y="171"/>
                  </a:lnTo>
                  <a:lnTo>
                    <a:pt x="3590" y="170"/>
                  </a:lnTo>
                  <a:lnTo>
                    <a:pt x="3589" y="168"/>
                  </a:lnTo>
                  <a:lnTo>
                    <a:pt x="3586" y="167"/>
                  </a:lnTo>
                  <a:lnTo>
                    <a:pt x="3583" y="166"/>
                  </a:lnTo>
                  <a:lnTo>
                    <a:pt x="3577" y="167"/>
                  </a:lnTo>
                  <a:lnTo>
                    <a:pt x="3575" y="168"/>
                  </a:lnTo>
                  <a:lnTo>
                    <a:pt x="3574" y="173"/>
                  </a:lnTo>
                  <a:lnTo>
                    <a:pt x="3580" y="175"/>
                  </a:lnTo>
                  <a:lnTo>
                    <a:pt x="3576" y="176"/>
                  </a:lnTo>
                  <a:lnTo>
                    <a:pt x="3571" y="177"/>
                  </a:lnTo>
                  <a:lnTo>
                    <a:pt x="3574" y="178"/>
                  </a:lnTo>
                  <a:lnTo>
                    <a:pt x="3568" y="177"/>
                  </a:lnTo>
                  <a:lnTo>
                    <a:pt x="3571" y="176"/>
                  </a:lnTo>
                  <a:lnTo>
                    <a:pt x="3568" y="176"/>
                  </a:lnTo>
                  <a:lnTo>
                    <a:pt x="3565" y="173"/>
                  </a:lnTo>
                  <a:lnTo>
                    <a:pt x="3559" y="170"/>
                  </a:lnTo>
                  <a:lnTo>
                    <a:pt x="3557" y="169"/>
                  </a:lnTo>
                  <a:lnTo>
                    <a:pt x="3555" y="169"/>
                  </a:lnTo>
                  <a:lnTo>
                    <a:pt x="3552" y="168"/>
                  </a:lnTo>
                  <a:lnTo>
                    <a:pt x="3547" y="166"/>
                  </a:lnTo>
                  <a:lnTo>
                    <a:pt x="3543" y="166"/>
                  </a:lnTo>
                  <a:lnTo>
                    <a:pt x="3541" y="167"/>
                  </a:lnTo>
                  <a:lnTo>
                    <a:pt x="3539" y="169"/>
                  </a:lnTo>
                  <a:lnTo>
                    <a:pt x="3535" y="168"/>
                  </a:lnTo>
                  <a:lnTo>
                    <a:pt x="3533" y="169"/>
                  </a:lnTo>
                  <a:lnTo>
                    <a:pt x="3530" y="171"/>
                  </a:lnTo>
                  <a:lnTo>
                    <a:pt x="3530" y="172"/>
                  </a:lnTo>
                  <a:lnTo>
                    <a:pt x="3529" y="176"/>
                  </a:lnTo>
                  <a:lnTo>
                    <a:pt x="3530" y="172"/>
                  </a:lnTo>
                  <a:lnTo>
                    <a:pt x="3521" y="172"/>
                  </a:lnTo>
                  <a:lnTo>
                    <a:pt x="3516" y="171"/>
                  </a:lnTo>
                  <a:lnTo>
                    <a:pt x="3511" y="169"/>
                  </a:lnTo>
                  <a:lnTo>
                    <a:pt x="3507" y="167"/>
                  </a:lnTo>
                  <a:lnTo>
                    <a:pt x="3503" y="161"/>
                  </a:lnTo>
                  <a:lnTo>
                    <a:pt x="3503" y="158"/>
                  </a:lnTo>
                  <a:lnTo>
                    <a:pt x="3499" y="160"/>
                  </a:lnTo>
                  <a:lnTo>
                    <a:pt x="3496" y="166"/>
                  </a:lnTo>
                  <a:lnTo>
                    <a:pt x="3494" y="171"/>
                  </a:lnTo>
                  <a:lnTo>
                    <a:pt x="3492" y="173"/>
                  </a:lnTo>
                  <a:lnTo>
                    <a:pt x="3494" y="177"/>
                  </a:lnTo>
                  <a:lnTo>
                    <a:pt x="3490" y="178"/>
                  </a:lnTo>
                  <a:lnTo>
                    <a:pt x="3488" y="180"/>
                  </a:lnTo>
                  <a:lnTo>
                    <a:pt x="3488" y="182"/>
                  </a:lnTo>
                  <a:lnTo>
                    <a:pt x="3486" y="186"/>
                  </a:lnTo>
                  <a:lnTo>
                    <a:pt x="3482" y="187"/>
                  </a:lnTo>
                  <a:lnTo>
                    <a:pt x="3480" y="188"/>
                  </a:lnTo>
                  <a:lnTo>
                    <a:pt x="3478" y="186"/>
                  </a:lnTo>
                  <a:lnTo>
                    <a:pt x="3477" y="184"/>
                  </a:lnTo>
                  <a:lnTo>
                    <a:pt x="3473" y="185"/>
                  </a:lnTo>
                  <a:lnTo>
                    <a:pt x="3471" y="184"/>
                  </a:lnTo>
                  <a:lnTo>
                    <a:pt x="3465" y="180"/>
                  </a:lnTo>
                  <a:lnTo>
                    <a:pt x="3462" y="179"/>
                  </a:lnTo>
                  <a:lnTo>
                    <a:pt x="3461" y="177"/>
                  </a:lnTo>
                  <a:lnTo>
                    <a:pt x="3458" y="175"/>
                  </a:lnTo>
                  <a:lnTo>
                    <a:pt x="3456" y="172"/>
                  </a:lnTo>
                  <a:lnTo>
                    <a:pt x="3455" y="169"/>
                  </a:lnTo>
                  <a:lnTo>
                    <a:pt x="3452" y="167"/>
                  </a:lnTo>
                  <a:lnTo>
                    <a:pt x="3449" y="167"/>
                  </a:lnTo>
                  <a:lnTo>
                    <a:pt x="3451" y="164"/>
                  </a:lnTo>
                  <a:lnTo>
                    <a:pt x="3453" y="164"/>
                  </a:lnTo>
                  <a:lnTo>
                    <a:pt x="3455" y="163"/>
                  </a:lnTo>
                  <a:lnTo>
                    <a:pt x="3458" y="164"/>
                  </a:lnTo>
                  <a:lnTo>
                    <a:pt x="3455" y="162"/>
                  </a:lnTo>
                  <a:lnTo>
                    <a:pt x="3454" y="159"/>
                  </a:lnTo>
                  <a:lnTo>
                    <a:pt x="3452" y="156"/>
                  </a:lnTo>
                  <a:lnTo>
                    <a:pt x="3452" y="156"/>
                  </a:lnTo>
                  <a:lnTo>
                    <a:pt x="3453" y="160"/>
                  </a:lnTo>
                  <a:lnTo>
                    <a:pt x="3453" y="162"/>
                  </a:lnTo>
                  <a:lnTo>
                    <a:pt x="3451" y="163"/>
                  </a:lnTo>
                  <a:lnTo>
                    <a:pt x="3448" y="162"/>
                  </a:lnTo>
                  <a:lnTo>
                    <a:pt x="3446" y="160"/>
                  </a:lnTo>
                  <a:lnTo>
                    <a:pt x="3444" y="158"/>
                  </a:lnTo>
                  <a:lnTo>
                    <a:pt x="3440" y="152"/>
                  </a:lnTo>
                  <a:lnTo>
                    <a:pt x="3440" y="151"/>
                  </a:lnTo>
                  <a:lnTo>
                    <a:pt x="3445" y="152"/>
                  </a:lnTo>
                  <a:lnTo>
                    <a:pt x="3446" y="154"/>
                  </a:lnTo>
                  <a:lnTo>
                    <a:pt x="3452" y="155"/>
                  </a:lnTo>
                  <a:lnTo>
                    <a:pt x="3455" y="154"/>
                  </a:lnTo>
                  <a:lnTo>
                    <a:pt x="3457" y="153"/>
                  </a:lnTo>
                  <a:lnTo>
                    <a:pt x="3455" y="153"/>
                  </a:lnTo>
                  <a:lnTo>
                    <a:pt x="3458" y="151"/>
                  </a:lnTo>
                  <a:lnTo>
                    <a:pt x="3456" y="150"/>
                  </a:lnTo>
                  <a:lnTo>
                    <a:pt x="3457" y="147"/>
                  </a:lnTo>
                  <a:lnTo>
                    <a:pt x="3457" y="147"/>
                  </a:lnTo>
                  <a:lnTo>
                    <a:pt x="3455" y="146"/>
                  </a:lnTo>
                  <a:lnTo>
                    <a:pt x="3454" y="144"/>
                  </a:lnTo>
                  <a:lnTo>
                    <a:pt x="3448" y="145"/>
                  </a:lnTo>
                  <a:lnTo>
                    <a:pt x="3445" y="144"/>
                  </a:lnTo>
                  <a:lnTo>
                    <a:pt x="3443" y="143"/>
                  </a:lnTo>
                  <a:lnTo>
                    <a:pt x="3443" y="143"/>
                  </a:lnTo>
                  <a:lnTo>
                    <a:pt x="3448" y="143"/>
                  </a:lnTo>
                  <a:lnTo>
                    <a:pt x="3451" y="139"/>
                  </a:lnTo>
                  <a:lnTo>
                    <a:pt x="3454" y="139"/>
                  </a:lnTo>
                  <a:lnTo>
                    <a:pt x="3454" y="138"/>
                  </a:lnTo>
                  <a:lnTo>
                    <a:pt x="3448" y="137"/>
                  </a:lnTo>
                  <a:lnTo>
                    <a:pt x="3449" y="136"/>
                  </a:lnTo>
                  <a:lnTo>
                    <a:pt x="3452" y="136"/>
                  </a:lnTo>
                  <a:lnTo>
                    <a:pt x="3455" y="136"/>
                  </a:lnTo>
                  <a:lnTo>
                    <a:pt x="3452" y="135"/>
                  </a:lnTo>
                  <a:lnTo>
                    <a:pt x="3444" y="134"/>
                  </a:lnTo>
                  <a:lnTo>
                    <a:pt x="3444" y="133"/>
                  </a:lnTo>
                  <a:lnTo>
                    <a:pt x="3446" y="133"/>
                  </a:lnTo>
                  <a:lnTo>
                    <a:pt x="3449" y="132"/>
                  </a:lnTo>
                  <a:lnTo>
                    <a:pt x="3452" y="130"/>
                  </a:lnTo>
                  <a:lnTo>
                    <a:pt x="3451" y="128"/>
                  </a:lnTo>
                  <a:lnTo>
                    <a:pt x="3448" y="129"/>
                  </a:lnTo>
                  <a:lnTo>
                    <a:pt x="3449" y="128"/>
                  </a:lnTo>
                  <a:lnTo>
                    <a:pt x="3449" y="125"/>
                  </a:lnTo>
                  <a:lnTo>
                    <a:pt x="3446" y="124"/>
                  </a:lnTo>
                  <a:lnTo>
                    <a:pt x="3444" y="125"/>
                  </a:lnTo>
                  <a:lnTo>
                    <a:pt x="3440" y="124"/>
                  </a:lnTo>
                  <a:lnTo>
                    <a:pt x="3441" y="121"/>
                  </a:lnTo>
                  <a:lnTo>
                    <a:pt x="3439" y="121"/>
                  </a:lnTo>
                  <a:lnTo>
                    <a:pt x="3436" y="119"/>
                  </a:lnTo>
                  <a:lnTo>
                    <a:pt x="3436" y="118"/>
                  </a:lnTo>
                  <a:lnTo>
                    <a:pt x="3430" y="118"/>
                  </a:lnTo>
                  <a:lnTo>
                    <a:pt x="3426" y="117"/>
                  </a:lnTo>
                  <a:lnTo>
                    <a:pt x="3422" y="117"/>
                  </a:lnTo>
                  <a:lnTo>
                    <a:pt x="3420" y="119"/>
                  </a:lnTo>
                  <a:lnTo>
                    <a:pt x="3418" y="121"/>
                  </a:lnTo>
                  <a:lnTo>
                    <a:pt x="3415" y="121"/>
                  </a:lnTo>
                  <a:lnTo>
                    <a:pt x="3415" y="120"/>
                  </a:lnTo>
                  <a:lnTo>
                    <a:pt x="3412" y="119"/>
                  </a:lnTo>
                  <a:lnTo>
                    <a:pt x="3415" y="119"/>
                  </a:lnTo>
                  <a:lnTo>
                    <a:pt x="3414" y="117"/>
                  </a:lnTo>
                  <a:lnTo>
                    <a:pt x="3412" y="117"/>
                  </a:lnTo>
                  <a:lnTo>
                    <a:pt x="3409" y="119"/>
                  </a:lnTo>
                  <a:lnTo>
                    <a:pt x="3410" y="117"/>
                  </a:lnTo>
                  <a:lnTo>
                    <a:pt x="3407" y="118"/>
                  </a:lnTo>
                  <a:lnTo>
                    <a:pt x="3404" y="119"/>
                  </a:lnTo>
                  <a:lnTo>
                    <a:pt x="3405" y="117"/>
                  </a:lnTo>
                  <a:lnTo>
                    <a:pt x="3402" y="116"/>
                  </a:lnTo>
                  <a:lnTo>
                    <a:pt x="3400" y="117"/>
                  </a:lnTo>
                  <a:lnTo>
                    <a:pt x="3400" y="113"/>
                  </a:lnTo>
                  <a:lnTo>
                    <a:pt x="3388" y="110"/>
                  </a:lnTo>
                  <a:lnTo>
                    <a:pt x="3385" y="112"/>
                  </a:lnTo>
                  <a:lnTo>
                    <a:pt x="3383" y="110"/>
                  </a:lnTo>
                  <a:lnTo>
                    <a:pt x="3381" y="113"/>
                  </a:lnTo>
                  <a:lnTo>
                    <a:pt x="3379" y="115"/>
                  </a:lnTo>
                  <a:lnTo>
                    <a:pt x="3377" y="112"/>
                  </a:lnTo>
                  <a:lnTo>
                    <a:pt x="3375" y="113"/>
                  </a:lnTo>
                  <a:lnTo>
                    <a:pt x="3373" y="116"/>
                  </a:lnTo>
                  <a:lnTo>
                    <a:pt x="3375" y="118"/>
                  </a:lnTo>
                  <a:lnTo>
                    <a:pt x="3373" y="121"/>
                  </a:lnTo>
                  <a:lnTo>
                    <a:pt x="3376" y="124"/>
                  </a:lnTo>
                  <a:lnTo>
                    <a:pt x="3377" y="127"/>
                  </a:lnTo>
                  <a:lnTo>
                    <a:pt x="3375" y="127"/>
                  </a:lnTo>
                  <a:lnTo>
                    <a:pt x="3373" y="129"/>
                  </a:lnTo>
                  <a:lnTo>
                    <a:pt x="3372" y="133"/>
                  </a:lnTo>
                  <a:lnTo>
                    <a:pt x="3369" y="133"/>
                  </a:lnTo>
                  <a:lnTo>
                    <a:pt x="3367" y="130"/>
                  </a:lnTo>
                  <a:lnTo>
                    <a:pt x="3363" y="130"/>
                  </a:lnTo>
                  <a:lnTo>
                    <a:pt x="3361" y="132"/>
                  </a:lnTo>
                  <a:lnTo>
                    <a:pt x="3359" y="132"/>
                  </a:lnTo>
                  <a:lnTo>
                    <a:pt x="3346" y="132"/>
                  </a:lnTo>
                  <a:lnTo>
                    <a:pt x="3343" y="133"/>
                  </a:lnTo>
                  <a:lnTo>
                    <a:pt x="3341" y="133"/>
                  </a:lnTo>
                  <a:lnTo>
                    <a:pt x="3335" y="132"/>
                  </a:lnTo>
                  <a:lnTo>
                    <a:pt x="3329" y="130"/>
                  </a:lnTo>
                  <a:lnTo>
                    <a:pt x="3325" y="130"/>
                  </a:lnTo>
                  <a:lnTo>
                    <a:pt x="3324" y="130"/>
                  </a:lnTo>
                  <a:lnTo>
                    <a:pt x="3320" y="129"/>
                  </a:lnTo>
                  <a:lnTo>
                    <a:pt x="3316" y="128"/>
                  </a:lnTo>
                  <a:lnTo>
                    <a:pt x="3307" y="126"/>
                  </a:lnTo>
                  <a:lnTo>
                    <a:pt x="3306" y="122"/>
                  </a:lnTo>
                  <a:lnTo>
                    <a:pt x="3306" y="120"/>
                  </a:lnTo>
                  <a:lnTo>
                    <a:pt x="3308" y="118"/>
                  </a:lnTo>
                  <a:lnTo>
                    <a:pt x="3311" y="119"/>
                  </a:lnTo>
                  <a:lnTo>
                    <a:pt x="3313" y="119"/>
                  </a:lnTo>
                  <a:lnTo>
                    <a:pt x="3310" y="116"/>
                  </a:lnTo>
                  <a:lnTo>
                    <a:pt x="3308" y="116"/>
                  </a:lnTo>
                  <a:lnTo>
                    <a:pt x="3294" y="116"/>
                  </a:lnTo>
                  <a:lnTo>
                    <a:pt x="3279" y="113"/>
                  </a:lnTo>
                  <a:lnTo>
                    <a:pt x="3277" y="113"/>
                  </a:lnTo>
                  <a:lnTo>
                    <a:pt x="3272" y="112"/>
                  </a:lnTo>
                  <a:lnTo>
                    <a:pt x="3262" y="112"/>
                  </a:lnTo>
                  <a:lnTo>
                    <a:pt x="3257" y="115"/>
                  </a:lnTo>
                  <a:lnTo>
                    <a:pt x="3247" y="116"/>
                  </a:lnTo>
                  <a:lnTo>
                    <a:pt x="3241" y="117"/>
                  </a:lnTo>
                  <a:lnTo>
                    <a:pt x="3240" y="120"/>
                  </a:lnTo>
                  <a:lnTo>
                    <a:pt x="3243" y="121"/>
                  </a:lnTo>
                  <a:lnTo>
                    <a:pt x="3245" y="121"/>
                  </a:lnTo>
                  <a:lnTo>
                    <a:pt x="3240" y="125"/>
                  </a:lnTo>
                  <a:lnTo>
                    <a:pt x="3239" y="125"/>
                  </a:lnTo>
                  <a:lnTo>
                    <a:pt x="3238" y="121"/>
                  </a:lnTo>
                  <a:lnTo>
                    <a:pt x="3235" y="118"/>
                  </a:lnTo>
                  <a:lnTo>
                    <a:pt x="3238" y="113"/>
                  </a:lnTo>
                  <a:lnTo>
                    <a:pt x="3234" y="108"/>
                  </a:lnTo>
                  <a:lnTo>
                    <a:pt x="3231" y="105"/>
                  </a:lnTo>
                  <a:lnTo>
                    <a:pt x="3231" y="111"/>
                  </a:lnTo>
                  <a:lnTo>
                    <a:pt x="3228" y="112"/>
                  </a:lnTo>
                  <a:lnTo>
                    <a:pt x="3222" y="112"/>
                  </a:lnTo>
                  <a:lnTo>
                    <a:pt x="3219" y="112"/>
                  </a:lnTo>
                  <a:lnTo>
                    <a:pt x="3213" y="111"/>
                  </a:lnTo>
                  <a:lnTo>
                    <a:pt x="3209" y="109"/>
                  </a:lnTo>
                  <a:lnTo>
                    <a:pt x="3208" y="108"/>
                  </a:lnTo>
                  <a:lnTo>
                    <a:pt x="3202" y="111"/>
                  </a:lnTo>
                  <a:lnTo>
                    <a:pt x="3204" y="112"/>
                  </a:lnTo>
                  <a:lnTo>
                    <a:pt x="3198" y="113"/>
                  </a:lnTo>
                  <a:lnTo>
                    <a:pt x="3195" y="116"/>
                  </a:lnTo>
                  <a:lnTo>
                    <a:pt x="3192" y="116"/>
                  </a:lnTo>
                  <a:lnTo>
                    <a:pt x="3190" y="118"/>
                  </a:lnTo>
                  <a:lnTo>
                    <a:pt x="3188" y="119"/>
                  </a:lnTo>
                  <a:lnTo>
                    <a:pt x="3185" y="119"/>
                  </a:lnTo>
                  <a:lnTo>
                    <a:pt x="3182" y="118"/>
                  </a:lnTo>
                  <a:lnTo>
                    <a:pt x="3180" y="117"/>
                  </a:lnTo>
                  <a:lnTo>
                    <a:pt x="3182" y="119"/>
                  </a:lnTo>
                  <a:lnTo>
                    <a:pt x="3180" y="118"/>
                  </a:lnTo>
                  <a:lnTo>
                    <a:pt x="3178" y="121"/>
                  </a:lnTo>
                  <a:lnTo>
                    <a:pt x="3175" y="121"/>
                  </a:lnTo>
                  <a:lnTo>
                    <a:pt x="3167" y="122"/>
                  </a:lnTo>
                  <a:lnTo>
                    <a:pt x="3162" y="126"/>
                  </a:lnTo>
                  <a:lnTo>
                    <a:pt x="3158" y="126"/>
                  </a:lnTo>
                  <a:lnTo>
                    <a:pt x="3153" y="127"/>
                  </a:lnTo>
                  <a:lnTo>
                    <a:pt x="3150" y="126"/>
                  </a:lnTo>
                  <a:lnTo>
                    <a:pt x="3147" y="127"/>
                  </a:lnTo>
                  <a:lnTo>
                    <a:pt x="3142" y="126"/>
                  </a:lnTo>
                  <a:lnTo>
                    <a:pt x="3139" y="127"/>
                  </a:lnTo>
                  <a:lnTo>
                    <a:pt x="3137" y="133"/>
                  </a:lnTo>
                  <a:lnTo>
                    <a:pt x="3129" y="137"/>
                  </a:lnTo>
                  <a:lnTo>
                    <a:pt x="3122" y="137"/>
                  </a:lnTo>
                  <a:lnTo>
                    <a:pt x="3122" y="136"/>
                  </a:lnTo>
                  <a:lnTo>
                    <a:pt x="3124" y="136"/>
                  </a:lnTo>
                  <a:lnTo>
                    <a:pt x="3130" y="134"/>
                  </a:lnTo>
                  <a:lnTo>
                    <a:pt x="3132" y="130"/>
                  </a:lnTo>
                  <a:lnTo>
                    <a:pt x="3133" y="128"/>
                  </a:lnTo>
                  <a:lnTo>
                    <a:pt x="3138" y="122"/>
                  </a:lnTo>
                  <a:lnTo>
                    <a:pt x="3144" y="122"/>
                  </a:lnTo>
                  <a:lnTo>
                    <a:pt x="3146" y="121"/>
                  </a:lnTo>
                  <a:lnTo>
                    <a:pt x="3148" y="119"/>
                  </a:lnTo>
                  <a:lnTo>
                    <a:pt x="3154" y="115"/>
                  </a:lnTo>
                  <a:lnTo>
                    <a:pt x="3159" y="115"/>
                  </a:lnTo>
                  <a:lnTo>
                    <a:pt x="3162" y="113"/>
                  </a:lnTo>
                  <a:lnTo>
                    <a:pt x="3165" y="113"/>
                  </a:lnTo>
                  <a:lnTo>
                    <a:pt x="3170" y="110"/>
                  </a:lnTo>
                  <a:lnTo>
                    <a:pt x="3173" y="107"/>
                  </a:lnTo>
                  <a:lnTo>
                    <a:pt x="3179" y="103"/>
                  </a:lnTo>
                  <a:lnTo>
                    <a:pt x="3184" y="102"/>
                  </a:lnTo>
                  <a:lnTo>
                    <a:pt x="3190" y="99"/>
                  </a:lnTo>
                  <a:lnTo>
                    <a:pt x="3187" y="96"/>
                  </a:lnTo>
                  <a:lnTo>
                    <a:pt x="3190" y="94"/>
                  </a:lnTo>
                  <a:lnTo>
                    <a:pt x="3193" y="94"/>
                  </a:lnTo>
                  <a:lnTo>
                    <a:pt x="3196" y="92"/>
                  </a:lnTo>
                  <a:lnTo>
                    <a:pt x="3198" y="92"/>
                  </a:lnTo>
                  <a:lnTo>
                    <a:pt x="3201" y="91"/>
                  </a:lnTo>
                  <a:lnTo>
                    <a:pt x="3204" y="90"/>
                  </a:lnTo>
                  <a:lnTo>
                    <a:pt x="3209" y="86"/>
                  </a:lnTo>
                  <a:lnTo>
                    <a:pt x="3213" y="86"/>
                  </a:lnTo>
                  <a:lnTo>
                    <a:pt x="3215" y="86"/>
                  </a:lnTo>
                  <a:lnTo>
                    <a:pt x="3219" y="81"/>
                  </a:lnTo>
                  <a:lnTo>
                    <a:pt x="3228" y="78"/>
                  </a:lnTo>
                  <a:lnTo>
                    <a:pt x="3231" y="77"/>
                  </a:lnTo>
                  <a:lnTo>
                    <a:pt x="3239" y="70"/>
                  </a:lnTo>
                  <a:lnTo>
                    <a:pt x="3241" y="68"/>
                  </a:lnTo>
                  <a:lnTo>
                    <a:pt x="3242" y="65"/>
                  </a:lnTo>
                  <a:lnTo>
                    <a:pt x="3236" y="62"/>
                  </a:lnTo>
                  <a:lnTo>
                    <a:pt x="3236" y="59"/>
                  </a:lnTo>
                  <a:lnTo>
                    <a:pt x="3233" y="60"/>
                  </a:lnTo>
                  <a:lnTo>
                    <a:pt x="3231" y="62"/>
                  </a:lnTo>
                  <a:lnTo>
                    <a:pt x="3230" y="57"/>
                  </a:lnTo>
                  <a:lnTo>
                    <a:pt x="3226" y="57"/>
                  </a:lnTo>
                  <a:lnTo>
                    <a:pt x="3224" y="55"/>
                  </a:lnTo>
                  <a:lnTo>
                    <a:pt x="3226" y="55"/>
                  </a:lnTo>
                  <a:lnTo>
                    <a:pt x="3235" y="58"/>
                  </a:lnTo>
                  <a:lnTo>
                    <a:pt x="3238" y="59"/>
                  </a:lnTo>
                  <a:lnTo>
                    <a:pt x="3240" y="60"/>
                  </a:lnTo>
                  <a:lnTo>
                    <a:pt x="3242" y="58"/>
                  </a:lnTo>
                  <a:lnTo>
                    <a:pt x="3243" y="55"/>
                  </a:lnTo>
                  <a:lnTo>
                    <a:pt x="3243" y="52"/>
                  </a:lnTo>
                  <a:lnTo>
                    <a:pt x="3238" y="51"/>
                  </a:lnTo>
                  <a:lnTo>
                    <a:pt x="3239" y="49"/>
                  </a:lnTo>
                  <a:lnTo>
                    <a:pt x="3239" y="45"/>
                  </a:lnTo>
                  <a:lnTo>
                    <a:pt x="3235" y="43"/>
                  </a:lnTo>
                  <a:lnTo>
                    <a:pt x="3233" y="42"/>
                  </a:lnTo>
                  <a:lnTo>
                    <a:pt x="3235" y="44"/>
                  </a:lnTo>
                  <a:lnTo>
                    <a:pt x="3233" y="45"/>
                  </a:lnTo>
                  <a:lnTo>
                    <a:pt x="3231" y="48"/>
                  </a:lnTo>
                  <a:lnTo>
                    <a:pt x="3228" y="48"/>
                  </a:lnTo>
                  <a:lnTo>
                    <a:pt x="3230" y="45"/>
                  </a:lnTo>
                  <a:lnTo>
                    <a:pt x="3227" y="44"/>
                  </a:lnTo>
                  <a:lnTo>
                    <a:pt x="3228" y="42"/>
                  </a:lnTo>
                  <a:lnTo>
                    <a:pt x="3226" y="39"/>
                  </a:lnTo>
                  <a:lnTo>
                    <a:pt x="3223" y="38"/>
                  </a:lnTo>
                  <a:lnTo>
                    <a:pt x="3221" y="38"/>
                  </a:lnTo>
                  <a:lnTo>
                    <a:pt x="3217" y="39"/>
                  </a:lnTo>
                  <a:lnTo>
                    <a:pt x="3221" y="36"/>
                  </a:lnTo>
                  <a:lnTo>
                    <a:pt x="3215" y="32"/>
                  </a:lnTo>
                  <a:lnTo>
                    <a:pt x="3212" y="32"/>
                  </a:lnTo>
                  <a:lnTo>
                    <a:pt x="3209" y="30"/>
                  </a:lnTo>
                  <a:lnTo>
                    <a:pt x="3206" y="31"/>
                  </a:lnTo>
                  <a:lnTo>
                    <a:pt x="3204" y="28"/>
                  </a:lnTo>
                  <a:lnTo>
                    <a:pt x="3200" y="30"/>
                  </a:lnTo>
                  <a:lnTo>
                    <a:pt x="3198" y="28"/>
                  </a:lnTo>
                  <a:lnTo>
                    <a:pt x="3195" y="28"/>
                  </a:lnTo>
                  <a:lnTo>
                    <a:pt x="3192" y="30"/>
                  </a:lnTo>
                  <a:lnTo>
                    <a:pt x="3188" y="30"/>
                  </a:lnTo>
                  <a:lnTo>
                    <a:pt x="3185" y="28"/>
                  </a:lnTo>
                  <a:lnTo>
                    <a:pt x="3182" y="28"/>
                  </a:lnTo>
                  <a:lnTo>
                    <a:pt x="3174" y="30"/>
                  </a:lnTo>
                  <a:lnTo>
                    <a:pt x="3168" y="30"/>
                  </a:lnTo>
                  <a:lnTo>
                    <a:pt x="3163" y="28"/>
                  </a:lnTo>
                  <a:lnTo>
                    <a:pt x="3163" y="32"/>
                  </a:lnTo>
                  <a:lnTo>
                    <a:pt x="3161" y="34"/>
                  </a:lnTo>
                  <a:lnTo>
                    <a:pt x="3158" y="35"/>
                  </a:lnTo>
                  <a:lnTo>
                    <a:pt x="3153" y="35"/>
                  </a:lnTo>
                  <a:lnTo>
                    <a:pt x="3145" y="35"/>
                  </a:lnTo>
                  <a:lnTo>
                    <a:pt x="3141" y="35"/>
                  </a:lnTo>
                  <a:lnTo>
                    <a:pt x="3140" y="35"/>
                  </a:lnTo>
                  <a:lnTo>
                    <a:pt x="3144" y="34"/>
                  </a:lnTo>
                  <a:lnTo>
                    <a:pt x="3146" y="31"/>
                  </a:lnTo>
                  <a:lnTo>
                    <a:pt x="3148" y="30"/>
                  </a:lnTo>
                  <a:lnTo>
                    <a:pt x="3150" y="27"/>
                  </a:lnTo>
                  <a:lnTo>
                    <a:pt x="3154" y="25"/>
                  </a:lnTo>
                  <a:lnTo>
                    <a:pt x="3154" y="23"/>
                  </a:lnTo>
                  <a:lnTo>
                    <a:pt x="3150" y="21"/>
                  </a:lnTo>
                  <a:lnTo>
                    <a:pt x="3148" y="21"/>
                  </a:lnTo>
                  <a:lnTo>
                    <a:pt x="3145" y="21"/>
                  </a:lnTo>
                  <a:lnTo>
                    <a:pt x="3142" y="21"/>
                  </a:lnTo>
                  <a:lnTo>
                    <a:pt x="3140" y="19"/>
                  </a:lnTo>
                  <a:lnTo>
                    <a:pt x="3137" y="19"/>
                  </a:lnTo>
                  <a:lnTo>
                    <a:pt x="3134" y="22"/>
                  </a:lnTo>
                  <a:lnTo>
                    <a:pt x="3129" y="22"/>
                  </a:lnTo>
                  <a:lnTo>
                    <a:pt x="3131" y="21"/>
                  </a:lnTo>
                  <a:lnTo>
                    <a:pt x="3133" y="17"/>
                  </a:lnTo>
                  <a:lnTo>
                    <a:pt x="3125" y="18"/>
                  </a:lnTo>
                  <a:lnTo>
                    <a:pt x="3123" y="18"/>
                  </a:lnTo>
                  <a:lnTo>
                    <a:pt x="3120" y="18"/>
                  </a:lnTo>
                  <a:lnTo>
                    <a:pt x="3117" y="17"/>
                  </a:lnTo>
                  <a:lnTo>
                    <a:pt x="3111" y="19"/>
                  </a:lnTo>
                  <a:lnTo>
                    <a:pt x="3108" y="18"/>
                  </a:lnTo>
                  <a:lnTo>
                    <a:pt x="3111" y="17"/>
                  </a:lnTo>
                  <a:lnTo>
                    <a:pt x="3114" y="17"/>
                  </a:lnTo>
                  <a:lnTo>
                    <a:pt x="3116" y="16"/>
                  </a:lnTo>
                  <a:lnTo>
                    <a:pt x="3122" y="16"/>
                  </a:lnTo>
                  <a:lnTo>
                    <a:pt x="3125" y="15"/>
                  </a:lnTo>
                  <a:lnTo>
                    <a:pt x="3128" y="14"/>
                  </a:lnTo>
                  <a:lnTo>
                    <a:pt x="3131" y="12"/>
                  </a:lnTo>
                  <a:lnTo>
                    <a:pt x="3133" y="10"/>
                  </a:lnTo>
                  <a:lnTo>
                    <a:pt x="3137" y="12"/>
                  </a:lnTo>
                  <a:lnTo>
                    <a:pt x="3134" y="8"/>
                  </a:lnTo>
                  <a:lnTo>
                    <a:pt x="3132" y="6"/>
                  </a:lnTo>
                  <a:lnTo>
                    <a:pt x="3130" y="5"/>
                  </a:lnTo>
                  <a:lnTo>
                    <a:pt x="3127" y="6"/>
                  </a:lnTo>
                  <a:lnTo>
                    <a:pt x="3124" y="5"/>
                  </a:lnTo>
                  <a:lnTo>
                    <a:pt x="3119" y="4"/>
                  </a:lnTo>
                  <a:lnTo>
                    <a:pt x="3115" y="1"/>
                  </a:lnTo>
                  <a:lnTo>
                    <a:pt x="3113" y="1"/>
                  </a:lnTo>
                  <a:lnTo>
                    <a:pt x="3110" y="0"/>
                  </a:lnTo>
                  <a:lnTo>
                    <a:pt x="3107" y="0"/>
                  </a:lnTo>
                  <a:lnTo>
                    <a:pt x="3098" y="4"/>
                  </a:lnTo>
                  <a:lnTo>
                    <a:pt x="3096" y="2"/>
                  </a:lnTo>
                  <a:lnTo>
                    <a:pt x="3093" y="4"/>
                  </a:lnTo>
                  <a:lnTo>
                    <a:pt x="3090" y="6"/>
                  </a:lnTo>
                  <a:lnTo>
                    <a:pt x="3087" y="7"/>
                  </a:lnTo>
                  <a:lnTo>
                    <a:pt x="3085" y="8"/>
                  </a:lnTo>
                  <a:lnTo>
                    <a:pt x="3081" y="10"/>
                  </a:lnTo>
                  <a:lnTo>
                    <a:pt x="3079" y="10"/>
                  </a:lnTo>
                  <a:lnTo>
                    <a:pt x="3079" y="13"/>
                  </a:lnTo>
                  <a:lnTo>
                    <a:pt x="3077" y="14"/>
                  </a:lnTo>
                  <a:lnTo>
                    <a:pt x="3072" y="17"/>
                  </a:lnTo>
                  <a:lnTo>
                    <a:pt x="3071" y="21"/>
                  </a:lnTo>
                  <a:lnTo>
                    <a:pt x="3068" y="22"/>
                  </a:lnTo>
                  <a:lnTo>
                    <a:pt x="3065" y="24"/>
                  </a:lnTo>
                  <a:lnTo>
                    <a:pt x="3068" y="27"/>
                  </a:lnTo>
                  <a:lnTo>
                    <a:pt x="3070" y="27"/>
                  </a:lnTo>
                  <a:lnTo>
                    <a:pt x="3069" y="31"/>
                  </a:lnTo>
                  <a:lnTo>
                    <a:pt x="3069" y="33"/>
                  </a:lnTo>
                  <a:lnTo>
                    <a:pt x="3072" y="35"/>
                  </a:lnTo>
                  <a:lnTo>
                    <a:pt x="3084" y="38"/>
                  </a:lnTo>
                  <a:lnTo>
                    <a:pt x="3081" y="39"/>
                  </a:lnTo>
                  <a:lnTo>
                    <a:pt x="3078" y="36"/>
                  </a:lnTo>
                  <a:lnTo>
                    <a:pt x="3074" y="36"/>
                  </a:lnTo>
                  <a:lnTo>
                    <a:pt x="3072" y="36"/>
                  </a:lnTo>
                  <a:lnTo>
                    <a:pt x="3069" y="36"/>
                  </a:lnTo>
                  <a:lnTo>
                    <a:pt x="3067" y="35"/>
                  </a:lnTo>
                  <a:lnTo>
                    <a:pt x="3057" y="36"/>
                  </a:lnTo>
                  <a:lnTo>
                    <a:pt x="3054" y="35"/>
                  </a:lnTo>
                  <a:lnTo>
                    <a:pt x="3046" y="36"/>
                  </a:lnTo>
                  <a:lnTo>
                    <a:pt x="3043" y="35"/>
                  </a:lnTo>
                  <a:lnTo>
                    <a:pt x="3040" y="35"/>
                  </a:lnTo>
                  <a:lnTo>
                    <a:pt x="3040" y="38"/>
                  </a:lnTo>
                  <a:lnTo>
                    <a:pt x="3046" y="42"/>
                  </a:lnTo>
                  <a:lnTo>
                    <a:pt x="3048" y="42"/>
                  </a:lnTo>
                  <a:lnTo>
                    <a:pt x="3052" y="48"/>
                  </a:lnTo>
                  <a:lnTo>
                    <a:pt x="3052" y="48"/>
                  </a:lnTo>
                  <a:lnTo>
                    <a:pt x="3048" y="48"/>
                  </a:lnTo>
                  <a:lnTo>
                    <a:pt x="3048" y="45"/>
                  </a:lnTo>
                  <a:lnTo>
                    <a:pt x="3043" y="47"/>
                  </a:lnTo>
                  <a:lnTo>
                    <a:pt x="3040" y="43"/>
                  </a:lnTo>
                  <a:lnTo>
                    <a:pt x="3038" y="44"/>
                  </a:lnTo>
                  <a:lnTo>
                    <a:pt x="3036" y="43"/>
                  </a:lnTo>
                  <a:lnTo>
                    <a:pt x="3033" y="44"/>
                  </a:lnTo>
                  <a:lnTo>
                    <a:pt x="3027" y="45"/>
                  </a:lnTo>
                  <a:lnTo>
                    <a:pt x="3029" y="47"/>
                  </a:lnTo>
                  <a:lnTo>
                    <a:pt x="3027" y="48"/>
                  </a:lnTo>
                  <a:lnTo>
                    <a:pt x="3025" y="48"/>
                  </a:lnTo>
                  <a:lnTo>
                    <a:pt x="3021" y="48"/>
                  </a:lnTo>
                  <a:lnTo>
                    <a:pt x="3025" y="49"/>
                  </a:lnTo>
                  <a:lnTo>
                    <a:pt x="3019" y="50"/>
                  </a:lnTo>
                  <a:lnTo>
                    <a:pt x="3016" y="51"/>
                  </a:lnTo>
                  <a:lnTo>
                    <a:pt x="3018" y="49"/>
                  </a:lnTo>
                  <a:lnTo>
                    <a:pt x="3014" y="50"/>
                  </a:lnTo>
                  <a:lnTo>
                    <a:pt x="3012" y="51"/>
                  </a:lnTo>
                  <a:lnTo>
                    <a:pt x="3006" y="53"/>
                  </a:lnTo>
                  <a:lnTo>
                    <a:pt x="3009" y="50"/>
                  </a:lnTo>
                  <a:lnTo>
                    <a:pt x="3005" y="49"/>
                  </a:lnTo>
                  <a:lnTo>
                    <a:pt x="3003" y="51"/>
                  </a:lnTo>
                  <a:lnTo>
                    <a:pt x="3000" y="51"/>
                  </a:lnTo>
                  <a:lnTo>
                    <a:pt x="2994" y="53"/>
                  </a:lnTo>
                  <a:lnTo>
                    <a:pt x="3000" y="48"/>
                  </a:lnTo>
                  <a:lnTo>
                    <a:pt x="2997" y="45"/>
                  </a:lnTo>
                  <a:lnTo>
                    <a:pt x="2992" y="45"/>
                  </a:lnTo>
                  <a:lnTo>
                    <a:pt x="2989" y="47"/>
                  </a:lnTo>
                  <a:lnTo>
                    <a:pt x="2986" y="47"/>
                  </a:lnTo>
                  <a:lnTo>
                    <a:pt x="2980" y="45"/>
                  </a:lnTo>
                  <a:lnTo>
                    <a:pt x="2980" y="48"/>
                  </a:lnTo>
                  <a:lnTo>
                    <a:pt x="2977" y="47"/>
                  </a:lnTo>
                  <a:lnTo>
                    <a:pt x="2968" y="47"/>
                  </a:lnTo>
                  <a:lnTo>
                    <a:pt x="2971" y="48"/>
                  </a:lnTo>
                  <a:lnTo>
                    <a:pt x="2969" y="49"/>
                  </a:lnTo>
                  <a:lnTo>
                    <a:pt x="2963" y="48"/>
                  </a:lnTo>
                  <a:lnTo>
                    <a:pt x="2960" y="47"/>
                  </a:lnTo>
                  <a:lnTo>
                    <a:pt x="2958" y="48"/>
                  </a:lnTo>
                  <a:lnTo>
                    <a:pt x="2956" y="51"/>
                  </a:lnTo>
                  <a:lnTo>
                    <a:pt x="2959" y="52"/>
                  </a:lnTo>
                  <a:lnTo>
                    <a:pt x="2962" y="50"/>
                  </a:lnTo>
                  <a:lnTo>
                    <a:pt x="2963" y="53"/>
                  </a:lnTo>
                  <a:lnTo>
                    <a:pt x="2965" y="51"/>
                  </a:lnTo>
                  <a:lnTo>
                    <a:pt x="2968" y="52"/>
                  </a:lnTo>
                  <a:lnTo>
                    <a:pt x="2974" y="51"/>
                  </a:lnTo>
                  <a:lnTo>
                    <a:pt x="2971" y="52"/>
                  </a:lnTo>
                  <a:lnTo>
                    <a:pt x="2962" y="55"/>
                  </a:lnTo>
                  <a:lnTo>
                    <a:pt x="2946" y="57"/>
                  </a:lnTo>
                  <a:lnTo>
                    <a:pt x="2941" y="57"/>
                  </a:lnTo>
                  <a:lnTo>
                    <a:pt x="2939" y="60"/>
                  </a:lnTo>
                  <a:lnTo>
                    <a:pt x="2936" y="59"/>
                  </a:lnTo>
                  <a:lnTo>
                    <a:pt x="2931" y="60"/>
                  </a:lnTo>
                  <a:lnTo>
                    <a:pt x="2928" y="59"/>
                  </a:lnTo>
                  <a:lnTo>
                    <a:pt x="2925" y="60"/>
                  </a:lnTo>
                  <a:lnTo>
                    <a:pt x="2917" y="61"/>
                  </a:lnTo>
                  <a:lnTo>
                    <a:pt x="2917" y="64"/>
                  </a:lnTo>
                  <a:lnTo>
                    <a:pt x="2915" y="64"/>
                  </a:lnTo>
                  <a:lnTo>
                    <a:pt x="2911" y="65"/>
                  </a:lnTo>
                  <a:lnTo>
                    <a:pt x="2906" y="65"/>
                  </a:lnTo>
                  <a:lnTo>
                    <a:pt x="2903" y="65"/>
                  </a:lnTo>
                  <a:lnTo>
                    <a:pt x="2898" y="69"/>
                  </a:lnTo>
                  <a:lnTo>
                    <a:pt x="2894" y="70"/>
                  </a:lnTo>
                  <a:lnTo>
                    <a:pt x="2892" y="74"/>
                  </a:lnTo>
                  <a:lnTo>
                    <a:pt x="2889" y="75"/>
                  </a:lnTo>
                  <a:lnTo>
                    <a:pt x="2883" y="74"/>
                  </a:lnTo>
                  <a:lnTo>
                    <a:pt x="2877" y="73"/>
                  </a:lnTo>
                  <a:lnTo>
                    <a:pt x="2875" y="74"/>
                  </a:lnTo>
                  <a:lnTo>
                    <a:pt x="2876" y="75"/>
                  </a:lnTo>
                  <a:lnTo>
                    <a:pt x="2882" y="76"/>
                  </a:lnTo>
                  <a:lnTo>
                    <a:pt x="2885" y="76"/>
                  </a:lnTo>
                  <a:lnTo>
                    <a:pt x="2884" y="79"/>
                  </a:lnTo>
                  <a:lnTo>
                    <a:pt x="2881" y="77"/>
                  </a:lnTo>
                  <a:lnTo>
                    <a:pt x="2878" y="77"/>
                  </a:lnTo>
                  <a:lnTo>
                    <a:pt x="2881" y="78"/>
                  </a:lnTo>
                  <a:lnTo>
                    <a:pt x="2878" y="81"/>
                  </a:lnTo>
                  <a:lnTo>
                    <a:pt x="2877" y="83"/>
                  </a:lnTo>
                  <a:lnTo>
                    <a:pt x="2874" y="84"/>
                  </a:lnTo>
                  <a:lnTo>
                    <a:pt x="2875" y="87"/>
                  </a:lnTo>
                  <a:lnTo>
                    <a:pt x="2872" y="87"/>
                  </a:lnTo>
                  <a:lnTo>
                    <a:pt x="2869" y="85"/>
                  </a:lnTo>
                  <a:lnTo>
                    <a:pt x="2867" y="85"/>
                  </a:lnTo>
                  <a:lnTo>
                    <a:pt x="2865" y="83"/>
                  </a:lnTo>
                  <a:lnTo>
                    <a:pt x="2863" y="85"/>
                  </a:lnTo>
                  <a:lnTo>
                    <a:pt x="2860" y="86"/>
                  </a:lnTo>
                  <a:lnTo>
                    <a:pt x="2863" y="87"/>
                  </a:lnTo>
                  <a:lnTo>
                    <a:pt x="2872" y="90"/>
                  </a:lnTo>
                  <a:lnTo>
                    <a:pt x="2872" y="92"/>
                  </a:lnTo>
                  <a:lnTo>
                    <a:pt x="2875" y="93"/>
                  </a:lnTo>
                  <a:lnTo>
                    <a:pt x="2877" y="94"/>
                  </a:lnTo>
                  <a:lnTo>
                    <a:pt x="2876" y="96"/>
                  </a:lnTo>
                  <a:lnTo>
                    <a:pt x="2874" y="96"/>
                  </a:lnTo>
                  <a:lnTo>
                    <a:pt x="2872" y="94"/>
                  </a:lnTo>
                  <a:lnTo>
                    <a:pt x="2868" y="92"/>
                  </a:lnTo>
                  <a:lnTo>
                    <a:pt x="2866" y="93"/>
                  </a:lnTo>
                  <a:lnTo>
                    <a:pt x="2863" y="93"/>
                  </a:lnTo>
                  <a:lnTo>
                    <a:pt x="2866" y="94"/>
                  </a:lnTo>
                  <a:lnTo>
                    <a:pt x="2863" y="95"/>
                  </a:lnTo>
                  <a:lnTo>
                    <a:pt x="2865" y="98"/>
                  </a:lnTo>
                  <a:lnTo>
                    <a:pt x="2871" y="98"/>
                  </a:lnTo>
                  <a:lnTo>
                    <a:pt x="2873" y="100"/>
                  </a:lnTo>
                  <a:lnTo>
                    <a:pt x="2874" y="102"/>
                  </a:lnTo>
                  <a:lnTo>
                    <a:pt x="2880" y="103"/>
                  </a:lnTo>
                  <a:lnTo>
                    <a:pt x="2876" y="103"/>
                  </a:lnTo>
                  <a:lnTo>
                    <a:pt x="2878" y="108"/>
                  </a:lnTo>
                  <a:lnTo>
                    <a:pt x="2877" y="108"/>
                  </a:lnTo>
                  <a:lnTo>
                    <a:pt x="2876" y="108"/>
                  </a:lnTo>
                  <a:lnTo>
                    <a:pt x="2874" y="108"/>
                  </a:lnTo>
                  <a:lnTo>
                    <a:pt x="2863" y="108"/>
                  </a:lnTo>
                  <a:lnTo>
                    <a:pt x="2859" y="109"/>
                  </a:lnTo>
                  <a:lnTo>
                    <a:pt x="2857" y="109"/>
                  </a:lnTo>
                  <a:lnTo>
                    <a:pt x="2855" y="112"/>
                  </a:lnTo>
                  <a:lnTo>
                    <a:pt x="2851" y="112"/>
                  </a:lnTo>
                  <a:lnTo>
                    <a:pt x="2849" y="112"/>
                  </a:lnTo>
                  <a:lnTo>
                    <a:pt x="2847" y="111"/>
                  </a:lnTo>
                  <a:lnTo>
                    <a:pt x="2843" y="111"/>
                  </a:lnTo>
                  <a:lnTo>
                    <a:pt x="2838" y="112"/>
                  </a:lnTo>
                  <a:lnTo>
                    <a:pt x="2832" y="112"/>
                  </a:lnTo>
                  <a:lnTo>
                    <a:pt x="2826" y="113"/>
                  </a:lnTo>
                  <a:lnTo>
                    <a:pt x="2815" y="113"/>
                  </a:lnTo>
                  <a:lnTo>
                    <a:pt x="2806" y="113"/>
                  </a:lnTo>
                  <a:lnTo>
                    <a:pt x="2800" y="113"/>
                  </a:lnTo>
                  <a:lnTo>
                    <a:pt x="2798" y="115"/>
                  </a:lnTo>
                  <a:lnTo>
                    <a:pt x="2795" y="115"/>
                  </a:lnTo>
                  <a:lnTo>
                    <a:pt x="2792" y="116"/>
                  </a:lnTo>
                  <a:lnTo>
                    <a:pt x="2789" y="118"/>
                  </a:lnTo>
                  <a:lnTo>
                    <a:pt x="2787" y="120"/>
                  </a:lnTo>
                  <a:lnTo>
                    <a:pt x="2784" y="124"/>
                  </a:lnTo>
                  <a:lnTo>
                    <a:pt x="2788" y="125"/>
                  </a:lnTo>
                  <a:lnTo>
                    <a:pt x="2784" y="126"/>
                  </a:lnTo>
                  <a:lnTo>
                    <a:pt x="2788" y="129"/>
                  </a:lnTo>
                  <a:lnTo>
                    <a:pt x="2790" y="130"/>
                  </a:lnTo>
                  <a:lnTo>
                    <a:pt x="2791" y="133"/>
                  </a:lnTo>
                  <a:lnTo>
                    <a:pt x="2790" y="136"/>
                  </a:lnTo>
                  <a:lnTo>
                    <a:pt x="2789" y="138"/>
                  </a:lnTo>
                  <a:lnTo>
                    <a:pt x="2791" y="141"/>
                  </a:lnTo>
                  <a:lnTo>
                    <a:pt x="2791" y="144"/>
                  </a:lnTo>
                  <a:lnTo>
                    <a:pt x="2797" y="147"/>
                  </a:lnTo>
                  <a:lnTo>
                    <a:pt x="2805" y="149"/>
                  </a:lnTo>
                  <a:lnTo>
                    <a:pt x="2807" y="150"/>
                  </a:lnTo>
                  <a:lnTo>
                    <a:pt x="2811" y="150"/>
                  </a:lnTo>
                  <a:lnTo>
                    <a:pt x="2812" y="153"/>
                  </a:lnTo>
                  <a:lnTo>
                    <a:pt x="2812" y="155"/>
                  </a:lnTo>
                  <a:lnTo>
                    <a:pt x="2815" y="156"/>
                  </a:lnTo>
                  <a:lnTo>
                    <a:pt x="2817" y="161"/>
                  </a:lnTo>
                  <a:lnTo>
                    <a:pt x="2817" y="162"/>
                  </a:lnTo>
                  <a:lnTo>
                    <a:pt x="2809" y="164"/>
                  </a:lnTo>
                  <a:lnTo>
                    <a:pt x="2804" y="164"/>
                  </a:lnTo>
                  <a:lnTo>
                    <a:pt x="2798" y="162"/>
                  </a:lnTo>
                  <a:lnTo>
                    <a:pt x="2796" y="160"/>
                  </a:lnTo>
                  <a:lnTo>
                    <a:pt x="2791" y="156"/>
                  </a:lnTo>
                  <a:lnTo>
                    <a:pt x="2789" y="154"/>
                  </a:lnTo>
                  <a:lnTo>
                    <a:pt x="2787" y="153"/>
                  </a:lnTo>
                  <a:lnTo>
                    <a:pt x="2781" y="152"/>
                  </a:lnTo>
                  <a:lnTo>
                    <a:pt x="2778" y="150"/>
                  </a:lnTo>
                  <a:lnTo>
                    <a:pt x="2775" y="149"/>
                  </a:lnTo>
                  <a:lnTo>
                    <a:pt x="2772" y="147"/>
                  </a:lnTo>
                  <a:lnTo>
                    <a:pt x="2766" y="147"/>
                  </a:lnTo>
                  <a:lnTo>
                    <a:pt x="2760" y="146"/>
                  </a:lnTo>
                  <a:lnTo>
                    <a:pt x="2760" y="147"/>
                  </a:lnTo>
                  <a:lnTo>
                    <a:pt x="2754" y="147"/>
                  </a:lnTo>
                  <a:lnTo>
                    <a:pt x="2752" y="149"/>
                  </a:lnTo>
                  <a:lnTo>
                    <a:pt x="2749" y="152"/>
                  </a:lnTo>
                  <a:lnTo>
                    <a:pt x="2746" y="151"/>
                  </a:lnTo>
                  <a:lnTo>
                    <a:pt x="2745" y="154"/>
                  </a:lnTo>
                  <a:lnTo>
                    <a:pt x="2747" y="154"/>
                  </a:lnTo>
                  <a:lnTo>
                    <a:pt x="2750" y="154"/>
                  </a:lnTo>
                  <a:lnTo>
                    <a:pt x="2753" y="154"/>
                  </a:lnTo>
                  <a:lnTo>
                    <a:pt x="2755" y="156"/>
                  </a:lnTo>
                  <a:lnTo>
                    <a:pt x="2755" y="159"/>
                  </a:lnTo>
                  <a:lnTo>
                    <a:pt x="2749" y="161"/>
                  </a:lnTo>
                  <a:lnTo>
                    <a:pt x="2747" y="161"/>
                  </a:lnTo>
                  <a:lnTo>
                    <a:pt x="2741" y="158"/>
                  </a:lnTo>
                  <a:lnTo>
                    <a:pt x="2737" y="155"/>
                  </a:lnTo>
                  <a:lnTo>
                    <a:pt x="2735" y="155"/>
                  </a:lnTo>
                  <a:lnTo>
                    <a:pt x="2729" y="158"/>
                  </a:lnTo>
                  <a:lnTo>
                    <a:pt x="2727" y="159"/>
                  </a:lnTo>
                  <a:lnTo>
                    <a:pt x="2727" y="161"/>
                  </a:lnTo>
                  <a:lnTo>
                    <a:pt x="2729" y="167"/>
                  </a:lnTo>
                  <a:lnTo>
                    <a:pt x="2735" y="170"/>
                  </a:lnTo>
                  <a:lnTo>
                    <a:pt x="2737" y="171"/>
                  </a:lnTo>
                  <a:lnTo>
                    <a:pt x="2740" y="171"/>
                  </a:lnTo>
                  <a:lnTo>
                    <a:pt x="2746" y="175"/>
                  </a:lnTo>
                  <a:lnTo>
                    <a:pt x="2748" y="175"/>
                  </a:lnTo>
                  <a:lnTo>
                    <a:pt x="2752" y="173"/>
                  </a:lnTo>
                  <a:lnTo>
                    <a:pt x="2754" y="175"/>
                  </a:lnTo>
                  <a:lnTo>
                    <a:pt x="2757" y="176"/>
                  </a:lnTo>
                  <a:lnTo>
                    <a:pt x="2756" y="178"/>
                  </a:lnTo>
                  <a:lnTo>
                    <a:pt x="2760" y="181"/>
                  </a:lnTo>
                  <a:lnTo>
                    <a:pt x="2758" y="184"/>
                  </a:lnTo>
                  <a:lnTo>
                    <a:pt x="2762" y="182"/>
                  </a:lnTo>
                  <a:lnTo>
                    <a:pt x="2764" y="182"/>
                  </a:lnTo>
                  <a:lnTo>
                    <a:pt x="2767" y="181"/>
                  </a:lnTo>
                  <a:lnTo>
                    <a:pt x="2764" y="184"/>
                  </a:lnTo>
                  <a:lnTo>
                    <a:pt x="2758" y="185"/>
                  </a:lnTo>
                  <a:lnTo>
                    <a:pt x="2756" y="184"/>
                  </a:lnTo>
                  <a:lnTo>
                    <a:pt x="2753" y="182"/>
                  </a:lnTo>
                  <a:lnTo>
                    <a:pt x="2752" y="180"/>
                  </a:lnTo>
                  <a:lnTo>
                    <a:pt x="2748" y="178"/>
                  </a:lnTo>
                  <a:lnTo>
                    <a:pt x="2739" y="177"/>
                  </a:lnTo>
                  <a:lnTo>
                    <a:pt x="2738" y="180"/>
                  </a:lnTo>
                  <a:lnTo>
                    <a:pt x="2738" y="178"/>
                  </a:lnTo>
                  <a:lnTo>
                    <a:pt x="2735" y="177"/>
                  </a:lnTo>
                  <a:lnTo>
                    <a:pt x="2727" y="177"/>
                  </a:lnTo>
                  <a:lnTo>
                    <a:pt x="2723" y="176"/>
                  </a:lnTo>
                  <a:lnTo>
                    <a:pt x="2719" y="175"/>
                  </a:lnTo>
                  <a:lnTo>
                    <a:pt x="2715" y="173"/>
                  </a:lnTo>
                  <a:lnTo>
                    <a:pt x="2715" y="170"/>
                  </a:lnTo>
                  <a:lnTo>
                    <a:pt x="2719" y="169"/>
                  </a:lnTo>
                  <a:lnTo>
                    <a:pt x="2718" y="166"/>
                  </a:lnTo>
                  <a:lnTo>
                    <a:pt x="2715" y="163"/>
                  </a:lnTo>
                  <a:lnTo>
                    <a:pt x="2715" y="161"/>
                  </a:lnTo>
                  <a:lnTo>
                    <a:pt x="2715" y="158"/>
                  </a:lnTo>
                  <a:lnTo>
                    <a:pt x="2718" y="156"/>
                  </a:lnTo>
                  <a:lnTo>
                    <a:pt x="2721" y="149"/>
                  </a:lnTo>
                  <a:lnTo>
                    <a:pt x="2719" y="141"/>
                  </a:lnTo>
                  <a:lnTo>
                    <a:pt x="2719" y="137"/>
                  </a:lnTo>
                  <a:lnTo>
                    <a:pt x="2715" y="135"/>
                  </a:lnTo>
                  <a:lnTo>
                    <a:pt x="2713" y="135"/>
                  </a:lnTo>
                  <a:lnTo>
                    <a:pt x="2711" y="135"/>
                  </a:lnTo>
                  <a:lnTo>
                    <a:pt x="2710" y="137"/>
                  </a:lnTo>
                  <a:lnTo>
                    <a:pt x="2712" y="139"/>
                  </a:lnTo>
                  <a:lnTo>
                    <a:pt x="2713" y="149"/>
                  </a:lnTo>
                  <a:lnTo>
                    <a:pt x="2713" y="151"/>
                  </a:lnTo>
                  <a:lnTo>
                    <a:pt x="2711" y="153"/>
                  </a:lnTo>
                  <a:lnTo>
                    <a:pt x="2709" y="155"/>
                  </a:lnTo>
                  <a:lnTo>
                    <a:pt x="2705" y="156"/>
                  </a:lnTo>
                  <a:lnTo>
                    <a:pt x="2694" y="160"/>
                  </a:lnTo>
                  <a:lnTo>
                    <a:pt x="2692" y="161"/>
                  </a:lnTo>
                  <a:lnTo>
                    <a:pt x="2692" y="164"/>
                  </a:lnTo>
                  <a:lnTo>
                    <a:pt x="2689" y="167"/>
                  </a:lnTo>
                  <a:lnTo>
                    <a:pt x="2687" y="169"/>
                  </a:lnTo>
                  <a:lnTo>
                    <a:pt x="2685" y="172"/>
                  </a:lnTo>
                  <a:lnTo>
                    <a:pt x="2690" y="175"/>
                  </a:lnTo>
                  <a:lnTo>
                    <a:pt x="2693" y="178"/>
                  </a:lnTo>
                  <a:lnTo>
                    <a:pt x="2694" y="180"/>
                  </a:lnTo>
                  <a:lnTo>
                    <a:pt x="2697" y="182"/>
                  </a:lnTo>
                  <a:lnTo>
                    <a:pt x="2697" y="186"/>
                  </a:lnTo>
                  <a:lnTo>
                    <a:pt x="2702" y="190"/>
                  </a:lnTo>
                  <a:lnTo>
                    <a:pt x="2703" y="193"/>
                  </a:lnTo>
                  <a:lnTo>
                    <a:pt x="2698" y="198"/>
                  </a:lnTo>
                  <a:lnTo>
                    <a:pt x="2696" y="201"/>
                  </a:lnTo>
                  <a:lnTo>
                    <a:pt x="2694" y="206"/>
                  </a:lnTo>
                  <a:lnTo>
                    <a:pt x="2694" y="207"/>
                  </a:lnTo>
                  <a:lnTo>
                    <a:pt x="2693" y="210"/>
                  </a:lnTo>
                  <a:lnTo>
                    <a:pt x="2692" y="213"/>
                  </a:lnTo>
                  <a:lnTo>
                    <a:pt x="2693" y="215"/>
                  </a:lnTo>
                  <a:lnTo>
                    <a:pt x="2695" y="218"/>
                  </a:lnTo>
                  <a:lnTo>
                    <a:pt x="2696" y="221"/>
                  </a:lnTo>
                  <a:lnTo>
                    <a:pt x="2696" y="223"/>
                  </a:lnTo>
                  <a:lnTo>
                    <a:pt x="2695" y="227"/>
                  </a:lnTo>
                  <a:lnTo>
                    <a:pt x="2697" y="229"/>
                  </a:lnTo>
                  <a:lnTo>
                    <a:pt x="2702" y="228"/>
                  </a:lnTo>
                  <a:lnTo>
                    <a:pt x="2705" y="228"/>
                  </a:lnTo>
                  <a:lnTo>
                    <a:pt x="2707" y="229"/>
                  </a:lnTo>
                  <a:lnTo>
                    <a:pt x="2711" y="229"/>
                  </a:lnTo>
                  <a:lnTo>
                    <a:pt x="2717" y="226"/>
                  </a:lnTo>
                  <a:lnTo>
                    <a:pt x="2720" y="224"/>
                  </a:lnTo>
                  <a:lnTo>
                    <a:pt x="2722" y="226"/>
                  </a:lnTo>
                  <a:lnTo>
                    <a:pt x="2724" y="226"/>
                  </a:lnTo>
                  <a:lnTo>
                    <a:pt x="2730" y="227"/>
                  </a:lnTo>
                  <a:lnTo>
                    <a:pt x="2736" y="228"/>
                  </a:lnTo>
                  <a:lnTo>
                    <a:pt x="2738" y="230"/>
                  </a:lnTo>
                  <a:lnTo>
                    <a:pt x="2746" y="232"/>
                  </a:lnTo>
                  <a:lnTo>
                    <a:pt x="2748" y="236"/>
                  </a:lnTo>
                  <a:lnTo>
                    <a:pt x="2749" y="238"/>
                  </a:lnTo>
                  <a:lnTo>
                    <a:pt x="2749" y="240"/>
                  </a:lnTo>
                  <a:lnTo>
                    <a:pt x="2752" y="244"/>
                  </a:lnTo>
                  <a:lnTo>
                    <a:pt x="2754" y="246"/>
                  </a:lnTo>
                  <a:lnTo>
                    <a:pt x="2754" y="248"/>
                  </a:lnTo>
                  <a:lnTo>
                    <a:pt x="2748" y="249"/>
                  </a:lnTo>
                  <a:lnTo>
                    <a:pt x="2746" y="253"/>
                  </a:lnTo>
                  <a:lnTo>
                    <a:pt x="2746" y="258"/>
                  </a:lnTo>
                  <a:lnTo>
                    <a:pt x="2746" y="261"/>
                  </a:lnTo>
                  <a:lnTo>
                    <a:pt x="2752" y="261"/>
                  </a:lnTo>
                  <a:lnTo>
                    <a:pt x="2753" y="262"/>
                  </a:lnTo>
                  <a:lnTo>
                    <a:pt x="2761" y="264"/>
                  </a:lnTo>
                  <a:lnTo>
                    <a:pt x="2763" y="263"/>
                  </a:lnTo>
                  <a:lnTo>
                    <a:pt x="2766" y="265"/>
                  </a:lnTo>
                  <a:lnTo>
                    <a:pt x="2763" y="264"/>
                  </a:lnTo>
                  <a:lnTo>
                    <a:pt x="2761" y="265"/>
                  </a:lnTo>
                  <a:lnTo>
                    <a:pt x="2760" y="265"/>
                  </a:lnTo>
                  <a:lnTo>
                    <a:pt x="2757" y="265"/>
                  </a:lnTo>
                  <a:lnTo>
                    <a:pt x="2754" y="265"/>
                  </a:lnTo>
                  <a:lnTo>
                    <a:pt x="2750" y="265"/>
                  </a:lnTo>
                  <a:lnTo>
                    <a:pt x="2741" y="261"/>
                  </a:lnTo>
                  <a:lnTo>
                    <a:pt x="2743" y="258"/>
                  </a:lnTo>
                  <a:lnTo>
                    <a:pt x="2741" y="255"/>
                  </a:lnTo>
                  <a:lnTo>
                    <a:pt x="2741" y="253"/>
                  </a:lnTo>
                  <a:lnTo>
                    <a:pt x="2744" y="249"/>
                  </a:lnTo>
                  <a:lnTo>
                    <a:pt x="2741" y="247"/>
                  </a:lnTo>
                  <a:lnTo>
                    <a:pt x="2743" y="245"/>
                  </a:lnTo>
                  <a:lnTo>
                    <a:pt x="2743" y="241"/>
                  </a:lnTo>
                  <a:lnTo>
                    <a:pt x="2740" y="241"/>
                  </a:lnTo>
                  <a:lnTo>
                    <a:pt x="2737" y="238"/>
                  </a:lnTo>
                  <a:lnTo>
                    <a:pt x="2735" y="237"/>
                  </a:lnTo>
                  <a:lnTo>
                    <a:pt x="2735" y="235"/>
                  </a:lnTo>
                  <a:lnTo>
                    <a:pt x="2732" y="231"/>
                  </a:lnTo>
                  <a:lnTo>
                    <a:pt x="2728" y="231"/>
                  </a:lnTo>
                  <a:lnTo>
                    <a:pt x="2715" y="233"/>
                  </a:lnTo>
                  <a:lnTo>
                    <a:pt x="2705" y="237"/>
                  </a:lnTo>
                  <a:lnTo>
                    <a:pt x="2704" y="240"/>
                  </a:lnTo>
                  <a:lnTo>
                    <a:pt x="2704" y="243"/>
                  </a:lnTo>
                  <a:lnTo>
                    <a:pt x="2703" y="246"/>
                  </a:lnTo>
                  <a:lnTo>
                    <a:pt x="2707" y="250"/>
                  </a:lnTo>
                  <a:lnTo>
                    <a:pt x="2710" y="256"/>
                  </a:lnTo>
                  <a:lnTo>
                    <a:pt x="2709" y="260"/>
                  </a:lnTo>
                  <a:lnTo>
                    <a:pt x="2707" y="262"/>
                  </a:lnTo>
                  <a:lnTo>
                    <a:pt x="2703" y="266"/>
                  </a:lnTo>
                  <a:lnTo>
                    <a:pt x="2700" y="267"/>
                  </a:lnTo>
                  <a:lnTo>
                    <a:pt x="2697" y="271"/>
                  </a:lnTo>
                  <a:lnTo>
                    <a:pt x="2697" y="275"/>
                  </a:lnTo>
                  <a:lnTo>
                    <a:pt x="2695" y="279"/>
                  </a:lnTo>
                  <a:lnTo>
                    <a:pt x="2693" y="280"/>
                  </a:lnTo>
                  <a:lnTo>
                    <a:pt x="2690" y="282"/>
                  </a:lnTo>
                  <a:lnTo>
                    <a:pt x="2685" y="284"/>
                  </a:lnTo>
                  <a:lnTo>
                    <a:pt x="2681" y="287"/>
                  </a:lnTo>
                  <a:lnTo>
                    <a:pt x="2679" y="287"/>
                  </a:lnTo>
                  <a:lnTo>
                    <a:pt x="2676" y="288"/>
                  </a:lnTo>
                  <a:lnTo>
                    <a:pt x="2676" y="293"/>
                  </a:lnTo>
                  <a:lnTo>
                    <a:pt x="2671" y="296"/>
                  </a:lnTo>
                  <a:lnTo>
                    <a:pt x="2668" y="296"/>
                  </a:lnTo>
                  <a:lnTo>
                    <a:pt x="2666" y="293"/>
                  </a:lnTo>
                  <a:lnTo>
                    <a:pt x="2662" y="292"/>
                  </a:lnTo>
                  <a:lnTo>
                    <a:pt x="2656" y="292"/>
                  </a:lnTo>
                  <a:lnTo>
                    <a:pt x="2649" y="293"/>
                  </a:lnTo>
                  <a:lnTo>
                    <a:pt x="2641" y="290"/>
                  </a:lnTo>
                  <a:lnTo>
                    <a:pt x="2635" y="289"/>
                  </a:lnTo>
                  <a:lnTo>
                    <a:pt x="2633" y="288"/>
                  </a:lnTo>
                  <a:lnTo>
                    <a:pt x="2632" y="284"/>
                  </a:lnTo>
                  <a:lnTo>
                    <a:pt x="2629" y="282"/>
                  </a:lnTo>
                  <a:lnTo>
                    <a:pt x="2635" y="282"/>
                  </a:lnTo>
                  <a:lnTo>
                    <a:pt x="2637" y="283"/>
                  </a:lnTo>
                  <a:lnTo>
                    <a:pt x="2643" y="282"/>
                  </a:lnTo>
                  <a:lnTo>
                    <a:pt x="2643" y="283"/>
                  </a:lnTo>
                  <a:lnTo>
                    <a:pt x="2646" y="284"/>
                  </a:lnTo>
                  <a:lnTo>
                    <a:pt x="2649" y="286"/>
                  </a:lnTo>
                  <a:lnTo>
                    <a:pt x="2654" y="283"/>
                  </a:lnTo>
                  <a:lnTo>
                    <a:pt x="2654" y="283"/>
                  </a:lnTo>
                  <a:lnTo>
                    <a:pt x="2656" y="282"/>
                  </a:lnTo>
                  <a:lnTo>
                    <a:pt x="2660" y="281"/>
                  </a:lnTo>
                  <a:lnTo>
                    <a:pt x="2668" y="279"/>
                  </a:lnTo>
                  <a:lnTo>
                    <a:pt x="2671" y="276"/>
                  </a:lnTo>
                  <a:lnTo>
                    <a:pt x="2672" y="274"/>
                  </a:lnTo>
                  <a:lnTo>
                    <a:pt x="2671" y="271"/>
                  </a:lnTo>
                  <a:lnTo>
                    <a:pt x="2673" y="271"/>
                  </a:lnTo>
                  <a:lnTo>
                    <a:pt x="2677" y="270"/>
                  </a:lnTo>
                  <a:lnTo>
                    <a:pt x="2677" y="266"/>
                  </a:lnTo>
                  <a:lnTo>
                    <a:pt x="2680" y="263"/>
                  </a:lnTo>
                  <a:lnTo>
                    <a:pt x="2686" y="261"/>
                  </a:lnTo>
                  <a:lnTo>
                    <a:pt x="2686" y="258"/>
                  </a:lnTo>
                  <a:lnTo>
                    <a:pt x="2687" y="256"/>
                  </a:lnTo>
                  <a:lnTo>
                    <a:pt x="2686" y="253"/>
                  </a:lnTo>
                  <a:lnTo>
                    <a:pt x="2686" y="250"/>
                  </a:lnTo>
                  <a:lnTo>
                    <a:pt x="2690" y="245"/>
                  </a:lnTo>
                  <a:lnTo>
                    <a:pt x="2693" y="244"/>
                  </a:lnTo>
                  <a:lnTo>
                    <a:pt x="2693" y="241"/>
                  </a:lnTo>
                  <a:lnTo>
                    <a:pt x="2687" y="238"/>
                  </a:lnTo>
                  <a:lnTo>
                    <a:pt x="2681" y="235"/>
                  </a:lnTo>
                  <a:lnTo>
                    <a:pt x="2679" y="232"/>
                  </a:lnTo>
                  <a:lnTo>
                    <a:pt x="2677" y="227"/>
                  </a:lnTo>
                  <a:lnTo>
                    <a:pt x="2679" y="224"/>
                  </a:lnTo>
                  <a:lnTo>
                    <a:pt x="2678" y="222"/>
                  </a:lnTo>
                  <a:lnTo>
                    <a:pt x="2679" y="219"/>
                  </a:lnTo>
                  <a:lnTo>
                    <a:pt x="2678" y="216"/>
                  </a:lnTo>
                  <a:lnTo>
                    <a:pt x="2679" y="213"/>
                  </a:lnTo>
                  <a:lnTo>
                    <a:pt x="2680" y="211"/>
                  </a:lnTo>
                  <a:lnTo>
                    <a:pt x="2678" y="206"/>
                  </a:lnTo>
                  <a:lnTo>
                    <a:pt x="2678" y="204"/>
                  </a:lnTo>
                  <a:lnTo>
                    <a:pt x="2678" y="202"/>
                  </a:lnTo>
                  <a:lnTo>
                    <a:pt x="2678" y="198"/>
                  </a:lnTo>
                  <a:lnTo>
                    <a:pt x="2680" y="196"/>
                  </a:lnTo>
                  <a:lnTo>
                    <a:pt x="2681" y="194"/>
                  </a:lnTo>
                  <a:lnTo>
                    <a:pt x="2680" y="192"/>
                  </a:lnTo>
                  <a:lnTo>
                    <a:pt x="2683" y="186"/>
                  </a:lnTo>
                  <a:lnTo>
                    <a:pt x="2680" y="182"/>
                  </a:lnTo>
                  <a:lnTo>
                    <a:pt x="2679" y="180"/>
                  </a:lnTo>
                  <a:lnTo>
                    <a:pt x="2677" y="178"/>
                  </a:lnTo>
                  <a:lnTo>
                    <a:pt x="2671" y="175"/>
                  </a:lnTo>
                  <a:lnTo>
                    <a:pt x="2669" y="171"/>
                  </a:lnTo>
                  <a:lnTo>
                    <a:pt x="2668" y="169"/>
                  </a:lnTo>
                  <a:lnTo>
                    <a:pt x="2673" y="166"/>
                  </a:lnTo>
                  <a:lnTo>
                    <a:pt x="2676" y="163"/>
                  </a:lnTo>
                  <a:lnTo>
                    <a:pt x="2676" y="161"/>
                  </a:lnTo>
                  <a:lnTo>
                    <a:pt x="2678" y="159"/>
                  </a:lnTo>
                  <a:lnTo>
                    <a:pt x="2678" y="156"/>
                  </a:lnTo>
                  <a:lnTo>
                    <a:pt x="2680" y="154"/>
                  </a:lnTo>
                  <a:lnTo>
                    <a:pt x="2683" y="149"/>
                  </a:lnTo>
                  <a:lnTo>
                    <a:pt x="2681" y="145"/>
                  </a:lnTo>
                  <a:lnTo>
                    <a:pt x="2681" y="141"/>
                  </a:lnTo>
                  <a:lnTo>
                    <a:pt x="2680" y="137"/>
                  </a:lnTo>
                  <a:lnTo>
                    <a:pt x="2671" y="135"/>
                  </a:lnTo>
                  <a:lnTo>
                    <a:pt x="2669" y="136"/>
                  </a:lnTo>
                  <a:lnTo>
                    <a:pt x="2666" y="134"/>
                  </a:lnTo>
                  <a:lnTo>
                    <a:pt x="2663" y="133"/>
                  </a:lnTo>
                  <a:lnTo>
                    <a:pt x="2660" y="134"/>
                  </a:lnTo>
                  <a:lnTo>
                    <a:pt x="2646" y="134"/>
                  </a:lnTo>
                  <a:lnTo>
                    <a:pt x="2637" y="134"/>
                  </a:lnTo>
                  <a:lnTo>
                    <a:pt x="2641" y="133"/>
                  </a:lnTo>
                  <a:lnTo>
                    <a:pt x="2637" y="132"/>
                  </a:lnTo>
                  <a:lnTo>
                    <a:pt x="2635" y="132"/>
                  </a:lnTo>
                  <a:lnTo>
                    <a:pt x="2634" y="135"/>
                  </a:lnTo>
                  <a:lnTo>
                    <a:pt x="2630" y="137"/>
                  </a:lnTo>
                  <a:lnTo>
                    <a:pt x="2629" y="141"/>
                  </a:lnTo>
                  <a:lnTo>
                    <a:pt x="2628" y="143"/>
                  </a:lnTo>
                  <a:lnTo>
                    <a:pt x="2627" y="149"/>
                  </a:lnTo>
                  <a:lnTo>
                    <a:pt x="2624" y="159"/>
                  </a:lnTo>
                  <a:lnTo>
                    <a:pt x="2620" y="164"/>
                  </a:lnTo>
                  <a:lnTo>
                    <a:pt x="2611" y="170"/>
                  </a:lnTo>
                  <a:lnTo>
                    <a:pt x="2603" y="175"/>
                  </a:lnTo>
                  <a:lnTo>
                    <a:pt x="2600" y="176"/>
                  </a:lnTo>
                  <a:lnTo>
                    <a:pt x="2598" y="181"/>
                  </a:lnTo>
                  <a:lnTo>
                    <a:pt x="2600" y="179"/>
                  </a:lnTo>
                  <a:lnTo>
                    <a:pt x="2600" y="182"/>
                  </a:lnTo>
                  <a:lnTo>
                    <a:pt x="2596" y="185"/>
                  </a:lnTo>
                  <a:lnTo>
                    <a:pt x="2599" y="187"/>
                  </a:lnTo>
                  <a:lnTo>
                    <a:pt x="2604" y="186"/>
                  </a:lnTo>
                  <a:lnTo>
                    <a:pt x="2607" y="187"/>
                  </a:lnTo>
                  <a:lnTo>
                    <a:pt x="2605" y="193"/>
                  </a:lnTo>
                  <a:lnTo>
                    <a:pt x="2605" y="196"/>
                  </a:lnTo>
                  <a:lnTo>
                    <a:pt x="2603" y="201"/>
                  </a:lnTo>
                  <a:lnTo>
                    <a:pt x="2607" y="204"/>
                  </a:lnTo>
                  <a:lnTo>
                    <a:pt x="2605" y="206"/>
                  </a:lnTo>
                  <a:lnTo>
                    <a:pt x="2602" y="206"/>
                  </a:lnTo>
                  <a:lnTo>
                    <a:pt x="2600" y="207"/>
                  </a:lnTo>
                  <a:lnTo>
                    <a:pt x="2599" y="213"/>
                  </a:lnTo>
                  <a:lnTo>
                    <a:pt x="2599" y="215"/>
                  </a:lnTo>
                  <a:lnTo>
                    <a:pt x="2602" y="218"/>
                  </a:lnTo>
                  <a:lnTo>
                    <a:pt x="2601" y="215"/>
                  </a:lnTo>
                  <a:lnTo>
                    <a:pt x="2603" y="214"/>
                  </a:lnTo>
                  <a:lnTo>
                    <a:pt x="2605" y="215"/>
                  </a:lnTo>
                  <a:lnTo>
                    <a:pt x="2609" y="215"/>
                  </a:lnTo>
                  <a:lnTo>
                    <a:pt x="2611" y="218"/>
                  </a:lnTo>
                  <a:lnTo>
                    <a:pt x="2615" y="219"/>
                  </a:lnTo>
                  <a:lnTo>
                    <a:pt x="2617" y="219"/>
                  </a:lnTo>
                  <a:lnTo>
                    <a:pt x="2617" y="221"/>
                  </a:lnTo>
                  <a:lnTo>
                    <a:pt x="2617" y="223"/>
                  </a:lnTo>
                  <a:lnTo>
                    <a:pt x="2618" y="227"/>
                  </a:lnTo>
                  <a:lnTo>
                    <a:pt x="2624" y="232"/>
                  </a:lnTo>
                  <a:lnTo>
                    <a:pt x="2626" y="233"/>
                  </a:lnTo>
                  <a:lnTo>
                    <a:pt x="2629" y="232"/>
                  </a:lnTo>
                  <a:lnTo>
                    <a:pt x="2632" y="232"/>
                  </a:lnTo>
                  <a:lnTo>
                    <a:pt x="2629" y="233"/>
                  </a:lnTo>
                  <a:lnTo>
                    <a:pt x="2629" y="237"/>
                  </a:lnTo>
                  <a:lnTo>
                    <a:pt x="2627" y="241"/>
                  </a:lnTo>
                  <a:lnTo>
                    <a:pt x="2625" y="245"/>
                  </a:lnTo>
                  <a:lnTo>
                    <a:pt x="2625" y="247"/>
                  </a:lnTo>
                  <a:lnTo>
                    <a:pt x="2624" y="247"/>
                  </a:lnTo>
                  <a:lnTo>
                    <a:pt x="2621" y="249"/>
                  </a:lnTo>
                  <a:lnTo>
                    <a:pt x="2619" y="248"/>
                  </a:lnTo>
                  <a:lnTo>
                    <a:pt x="2618" y="245"/>
                  </a:lnTo>
                  <a:lnTo>
                    <a:pt x="2612" y="243"/>
                  </a:lnTo>
                  <a:lnTo>
                    <a:pt x="2604" y="237"/>
                  </a:lnTo>
                  <a:lnTo>
                    <a:pt x="2603" y="235"/>
                  </a:lnTo>
                  <a:lnTo>
                    <a:pt x="2598" y="233"/>
                  </a:lnTo>
                  <a:lnTo>
                    <a:pt x="2592" y="231"/>
                  </a:lnTo>
                  <a:lnTo>
                    <a:pt x="2586" y="229"/>
                  </a:lnTo>
                  <a:lnTo>
                    <a:pt x="2584" y="228"/>
                  </a:lnTo>
                  <a:lnTo>
                    <a:pt x="2586" y="228"/>
                  </a:lnTo>
                  <a:lnTo>
                    <a:pt x="2581" y="227"/>
                  </a:lnTo>
                  <a:lnTo>
                    <a:pt x="2575" y="224"/>
                  </a:lnTo>
                  <a:lnTo>
                    <a:pt x="2574" y="227"/>
                  </a:lnTo>
                  <a:lnTo>
                    <a:pt x="2573" y="227"/>
                  </a:lnTo>
                  <a:lnTo>
                    <a:pt x="2572" y="226"/>
                  </a:lnTo>
                  <a:lnTo>
                    <a:pt x="2573" y="222"/>
                  </a:lnTo>
                  <a:lnTo>
                    <a:pt x="2565" y="219"/>
                  </a:lnTo>
                  <a:lnTo>
                    <a:pt x="2550" y="214"/>
                  </a:lnTo>
                  <a:lnTo>
                    <a:pt x="2539" y="213"/>
                  </a:lnTo>
                  <a:lnTo>
                    <a:pt x="2533" y="213"/>
                  </a:lnTo>
                  <a:lnTo>
                    <a:pt x="2527" y="212"/>
                  </a:lnTo>
                  <a:lnTo>
                    <a:pt x="2519" y="210"/>
                  </a:lnTo>
                  <a:lnTo>
                    <a:pt x="2516" y="211"/>
                  </a:lnTo>
                  <a:lnTo>
                    <a:pt x="2516" y="213"/>
                  </a:lnTo>
                  <a:lnTo>
                    <a:pt x="2513" y="214"/>
                  </a:lnTo>
                  <a:lnTo>
                    <a:pt x="2510" y="214"/>
                  </a:lnTo>
                  <a:lnTo>
                    <a:pt x="2509" y="218"/>
                  </a:lnTo>
                  <a:lnTo>
                    <a:pt x="2510" y="220"/>
                  </a:lnTo>
                  <a:lnTo>
                    <a:pt x="2514" y="223"/>
                  </a:lnTo>
                  <a:lnTo>
                    <a:pt x="2516" y="229"/>
                  </a:lnTo>
                  <a:lnTo>
                    <a:pt x="2519" y="228"/>
                  </a:lnTo>
                  <a:lnTo>
                    <a:pt x="2519" y="231"/>
                  </a:lnTo>
                  <a:lnTo>
                    <a:pt x="2517" y="233"/>
                  </a:lnTo>
                  <a:lnTo>
                    <a:pt x="2515" y="237"/>
                  </a:lnTo>
                  <a:lnTo>
                    <a:pt x="2511" y="238"/>
                  </a:lnTo>
                  <a:lnTo>
                    <a:pt x="2509" y="238"/>
                  </a:lnTo>
                  <a:lnTo>
                    <a:pt x="2506" y="238"/>
                  </a:lnTo>
                  <a:lnTo>
                    <a:pt x="2502" y="239"/>
                  </a:lnTo>
                  <a:lnTo>
                    <a:pt x="2506" y="243"/>
                  </a:lnTo>
                  <a:lnTo>
                    <a:pt x="2505" y="245"/>
                  </a:lnTo>
                  <a:lnTo>
                    <a:pt x="2502" y="247"/>
                  </a:lnTo>
                  <a:lnTo>
                    <a:pt x="2499" y="246"/>
                  </a:lnTo>
                  <a:lnTo>
                    <a:pt x="2497" y="246"/>
                  </a:lnTo>
                  <a:lnTo>
                    <a:pt x="2493" y="244"/>
                  </a:lnTo>
                  <a:lnTo>
                    <a:pt x="2493" y="240"/>
                  </a:lnTo>
                  <a:lnTo>
                    <a:pt x="2496" y="238"/>
                  </a:lnTo>
                  <a:lnTo>
                    <a:pt x="2498" y="238"/>
                  </a:lnTo>
                  <a:lnTo>
                    <a:pt x="2497" y="235"/>
                  </a:lnTo>
                  <a:lnTo>
                    <a:pt x="2493" y="233"/>
                  </a:lnTo>
                  <a:lnTo>
                    <a:pt x="2491" y="232"/>
                  </a:lnTo>
                  <a:lnTo>
                    <a:pt x="2493" y="231"/>
                  </a:lnTo>
                  <a:lnTo>
                    <a:pt x="2491" y="231"/>
                  </a:lnTo>
                  <a:lnTo>
                    <a:pt x="2489" y="231"/>
                  </a:lnTo>
                  <a:lnTo>
                    <a:pt x="2485" y="232"/>
                  </a:lnTo>
                  <a:lnTo>
                    <a:pt x="2483" y="233"/>
                  </a:lnTo>
                  <a:lnTo>
                    <a:pt x="2483" y="237"/>
                  </a:lnTo>
                  <a:lnTo>
                    <a:pt x="2481" y="233"/>
                  </a:lnTo>
                  <a:lnTo>
                    <a:pt x="2479" y="237"/>
                  </a:lnTo>
                  <a:lnTo>
                    <a:pt x="2473" y="238"/>
                  </a:lnTo>
                  <a:lnTo>
                    <a:pt x="2471" y="240"/>
                  </a:lnTo>
                  <a:lnTo>
                    <a:pt x="2468" y="241"/>
                  </a:lnTo>
                  <a:lnTo>
                    <a:pt x="2465" y="241"/>
                  </a:lnTo>
                  <a:lnTo>
                    <a:pt x="2459" y="239"/>
                  </a:lnTo>
                  <a:lnTo>
                    <a:pt x="2455" y="240"/>
                  </a:lnTo>
                  <a:lnTo>
                    <a:pt x="2451" y="239"/>
                  </a:lnTo>
                  <a:lnTo>
                    <a:pt x="2449" y="240"/>
                  </a:lnTo>
                  <a:lnTo>
                    <a:pt x="2444" y="241"/>
                  </a:lnTo>
                  <a:lnTo>
                    <a:pt x="2438" y="245"/>
                  </a:lnTo>
                  <a:lnTo>
                    <a:pt x="2437" y="245"/>
                  </a:lnTo>
                  <a:lnTo>
                    <a:pt x="2437" y="248"/>
                  </a:lnTo>
                  <a:lnTo>
                    <a:pt x="2436" y="250"/>
                  </a:lnTo>
                  <a:lnTo>
                    <a:pt x="2430" y="248"/>
                  </a:lnTo>
                  <a:lnTo>
                    <a:pt x="2428" y="249"/>
                  </a:lnTo>
                  <a:lnTo>
                    <a:pt x="2425" y="248"/>
                  </a:lnTo>
                  <a:lnTo>
                    <a:pt x="2423" y="249"/>
                  </a:lnTo>
                  <a:lnTo>
                    <a:pt x="2422" y="249"/>
                  </a:lnTo>
                  <a:lnTo>
                    <a:pt x="2420" y="248"/>
                  </a:lnTo>
                  <a:lnTo>
                    <a:pt x="2414" y="248"/>
                  </a:lnTo>
                  <a:lnTo>
                    <a:pt x="2415" y="246"/>
                  </a:lnTo>
                  <a:lnTo>
                    <a:pt x="2421" y="246"/>
                  </a:lnTo>
                  <a:lnTo>
                    <a:pt x="2423" y="245"/>
                  </a:lnTo>
                  <a:lnTo>
                    <a:pt x="2422" y="243"/>
                  </a:lnTo>
                  <a:lnTo>
                    <a:pt x="2420" y="239"/>
                  </a:lnTo>
                  <a:lnTo>
                    <a:pt x="2423" y="233"/>
                  </a:lnTo>
                  <a:lnTo>
                    <a:pt x="2421" y="232"/>
                  </a:lnTo>
                  <a:lnTo>
                    <a:pt x="2427" y="232"/>
                  </a:lnTo>
                  <a:lnTo>
                    <a:pt x="2429" y="231"/>
                  </a:lnTo>
                  <a:lnTo>
                    <a:pt x="2427" y="231"/>
                  </a:lnTo>
                  <a:lnTo>
                    <a:pt x="2421" y="231"/>
                  </a:lnTo>
                  <a:lnTo>
                    <a:pt x="2415" y="233"/>
                  </a:lnTo>
                  <a:lnTo>
                    <a:pt x="2405" y="238"/>
                  </a:lnTo>
                  <a:lnTo>
                    <a:pt x="2403" y="240"/>
                  </a:lnTo>
                  <a:lnTo>
                    <a:pt x="2406" y="239"/>
                  </a:lnTo>
                  <a:lnTo>
                    <a:pt x="2405" y="245"/>
                  </a:lnTo>
                  <a:lnTo>
                    <a:pt x="2402" y="247"/>
                  </a:lnTo>
                  <a:lnTo>
                    <a:pt x="2399" y="247"/>
                  </a:lnTo>
                  <a:lnTo>
                    <a:pt x="2400" y="244"/>
                  </a:lnTo>
                  <a:lnTo>
                    <a:pt x="2399" y="241"/>
                  </a:lnTo>
                  <a:lnTo>
                    <a:pt x="2394" y="243"/>
                  </a:lnTo>
                  <a:lnTo>
                    <a:pt x="2391" y="244"/>
                  </a:lnTo>
                  <a:lnTo>
                    <a:pt x="2386" y="246"/>
                  </a:lnTo>
                  <a:lnTo>
                    <a:pt x="2383" y="246"/>
                  </a:lnTo>
                  <a:lnTo>
                    <a:pt x="2380" y="246"/>
                  </a:lnTo>
                  <a:lnTo>
                    <a:pt x="2378" y="248"/>
                  </a:lnTo>
                  <a:lnTo>
                    <a:pt x="2372" y="250"/>
                  </a:lnTo>
                  <a:lnTo>
                    <a:pt x="2370" y="254"/>
                  </a:lnTo>
                  <a:lnTo>
                    <a:pt x="2369" y="253"/>
                  </a:lnTo>
                  <a:lnTo>
                    <a:pt x="2364" y="255"/>
                  </a:lnTo>
                  <a:lnTo>
                    <a:pt x="2359" y="257"/>
                  </a:lnTo>
                  <a:lnTo>
                    <a:pt x="2353" y="258"/>
                  </a:lnTo>
                  <a:lnTo>
                    <a:pt x="2354" y="261"/>
                  </a:lnTo>
                  <a:lnTo>
                    <a:pt x="2356" y="263"/>
                  </a:lnTo>
                  <a:lnTo>
                    <a:pt x="2354" y="262"/>
                  </a:lnTo>
                  <a:lnTo>
                    <a:pt x="2351" y="262"/>
                  </a:lnTo>
                  <a:lnTo>
                    <a:pt x="2348" y="263"/>
                  </a:lnTo>
                  <a:lnTo>
                    <a:pt x="2345" y="262"/>
                  </a:lnTo>
                  <a:lnTo>
                    <a:pt x="2343" y="263"/>
                  </a:lnTo>
                  <a:lnTo>
                    <a:pt x="2340" y="264"/>
                  </a:lnTo>
                  <a:lnTo>
                    <a:pt x="2340" y="266"/>
                  </a:lnTo>
                  <a:lnTo>
                    <a:pt x="2339" y="270"/>
                  </a:lnTo>
                  <a:lnTo>
                    <a:pt x="2339" y="272"/>
                  </a:lnTo>
                  <a:lnTo>
                    <a:pt x="2338" y="278"/>
                  </a:lnTo>
                  <a:lnTo>
                    <a:pt x="2336" y="281"/>
                  </a:lnTo>
                  <a:lnTo>
                    <a:pt x="2334" y="280"/>
                  </a:lnTo>
                  <a:lnTo>
                    <a:pt x="2322" y="282"/>
                  </a:lnTo>
                  <a:lnTo>
                    <a:pt x="2320" y="283"/>
                  </a:lnTo>
                  <a:lnTo>
                    <a:pt x="2321" y="281"/>
                  </a:lnTo>
                  <a:lnTo>
                    <a:pt x="2316" y="282"/>
                  </a:lnTo>
                  <a:lnTo>
                    <a:pt x="2312" y="280"/>
                  </a:lnTo>
                  <a:lnTo>
                    <a:pt x="2310" y="276"/>
                  </a:lnTo>
                  <a:lnTo>
                    <a:pt x="2310" y="274"/>
                  </a:lnTo>
                  <a:lnTo>
                    <a:pt x="2301" y="271"/>
                  </a:lnTo>
                  <a:lnTo>
                    <a:pt x="2300" y="269"/>
                  </a:lnTo>
                  <a:lnTo>
                    <a:pt x="2301" y="266"/>
                  </a:lnTo>
                  <a:lnTo>
                    <a:pt x="2302" y="265"/>
                  </a:lnTo>
                  <a:lnTo>
                    <a:pt x="2305" y="264"/>
                  </a:lnTo>
                  <a:lnTo>
                    <a:pt x="2305" y="262"/>
                  </a:lnTo>
                  <a:lnTo>
                    <a:pt x="2308" y="261"/>
                  </a:lnTo>
                  <a:lnTo>
                    <a:pt x="2319" y="258"/>
                  </a:lnTo>
                  <a:lnTo>
                    <a:pt x="2325" y="258"/>
                  </a:lnTo>
                  <a:lnTo>
                    <a:pt x="2322" y="253"/>
                  </a:lnTo>
                  <a:lnTo>
                    <a:pt x="2320" y="250"/>
                  </a:lnTo>
                  <a:lnTo>
                    <a:pt x="2318" y="249"/>
                  </a:lnTo>
                  <a:lnTo>
                    <a:pt x="2314" y="247"/>
                  </a:lnTo>
                  <a:lnTo>
                    <a:pt x="2314" y="244"/>
                  </a:lnTo>
                  <a:lnTo>
                    <a:pt x="2306" y="241"/>
                  </a:lnTo>
                  <a:lnTo>
                    <a:pt x="2301" y="241"/>
                  </a:lnTo>
                  <a:lnTo>
                    <a:pt x="2289" y="243"/>
                  </a:lnTo>
                  <a:lnTo>
                    <a:pt x="2286" y="241"/>
                  </a:lnTo>
                  <a:lnTo>
                    <a:pt x="2284" y="240"/>
                  </a:lnTo>
                  <a:lnTo>
                    <a:pt x="2282" y="239"/>
                  </a:lnTo>
                  <a:lnTo>
                    <a:pt x="2278" y="240"/>
                  </a:lnTo>
                  <a:lnTo>
                    <a:pt x="2284" y="244"/>
                  </a:lnTo>
                  <a:lnTo>
                    <a:pt x="2286" y="245"/>
                  </a:lnTo>
                  <a:lnTo>
                    <a:pt x="2289" y="247"/>
                  </a:lnTo>
                  <a:lnTo>
                    <a:pt x="2291" y="248"/>
                  </a:lnTo>
                  <a:lnTo>
                    <a:pt x="2289" y="252"/>
                  </a:lnTo>
                  <a:lnTo>
                    <a:pt x="2291" y="254"/>
                  </a:lnTo>
                  <a:lnTo>
                    <a:pt x="2291" y="256"/>
                  </a:lnTo>
                  <a:lnTo>
                    <a:pt x="2289" y="260"/>
                  </a:lnTo>
                  <a:lnTo>
                    <a:pt x="2288" y="262"/>
                  </a:lnTo>
                  <a:lnTo>
                    <a:pt x="2285" y="267"/>
                  </a:lnTo>
                  <a:lnTo>
                    <a:pt x="2284" y="270"/>
                  </a:lnTo>
                  <a:lnTo>
                    <a:pt x="2284" y="273"/>
                  </a:lnTo>
                  <a:lnTo>
                    <a:pt x="2289" y="274"/>
                  </a:lnTo>
                  <a:lnTo>
                    <a:pt x="2292" y="275"/>
                  </a:lnTo>
                  <a:lnTo>
                    <a:pt x="2293" y="279"/>
                  </a:lnTo>
                  <a:lnTo>
                    <a:pt x="2294" y="281"/>
                  </a:lnTo>
                  <a:lnTo>
                    <a:pt x="2293" y="284"/>
                  </a:lnTo>
                  <a:lnTo>
                    <a:pt x="2292" y="290"/>
                  </a:lnTo>
                  <a:lnTo>
                    <a:pt x="2289" y="293"/>
                  </a:lnTo>
                  <a:lnTo>
                    <a:pt x="2288" y="296"/>
                  </a:lnTo>
                  <a:lnTo>
                    <a:pt x="2289" y="298"/>
                  </a:lnTo>
                  <a:lnTo>
                    <a:pt x="2289" y="301"/>
                  </a:lnTo>
                  <a:lnTo>
                    <a:pt x="2289" y="304"/>
                  </a:lnTo>
                  <a:lnTo>
                    <a:pt x="2288" y="301"/>
                  </a:lnTo>
                  <a:lnTo>
                    <a:pt x="2287" y="298"/>
                  </a:lnTo>
                  <a:lnTo>
                    <a:pt x="2284" y="297"/>
                  </a:lnTo>
                  <a:lnTo>
                    <a:pt x="2282" y="297"/>
                  </a:lnTo>
                  <a:lnTo>
                    <a:pt x="2278" y="300"/>
                  </a:lnTo>
                  <a:lnTo>
                    <a:pt x="2279" y="297"/>
                  </a:lnTo>
                  <a:lnTo>
                    <a:pt x="2283" y="296"/>
                  </a:lnTo>
                  <a:lnTo>
                    <a:pt x="2280" y="293"/>
                  </a:lnTo>
                  <a:lnTo>
                    <a:pt x="2276" y="291"/>
                  </a:lnTo>
                  <a:lnTo>
                    <a:pt x="2270" y="291"/>
                  </a:lnTo>
                  <a:lnTo>
                    <a:pt x="2267" y="290"/>
                  </a:lnTo>
                  <a:lnTo>
                    <a:pt x="2265" y="289"/>
                  </a:lnTo>
                  <a:lnTo>
                    <a:pt x="2261" y="289"/>
                  </a:lnTo>
                  <a:lnTo>
                    <a:pt x="2257" y="295"/>
                  </a:lnTo>
                  <a:lnTo>
                    <a:pt x="2251" y="299"/>
                  </a:lnTo>
                  <a:lnTo>
                    <a:pt x="2249" y="300"/>
                  </a:lnTo>
                  <a:lnTo>
                    <a:pt x="2246" y="300"/>
                  </a:lnTo>
                  <a:lnTo>
                    <a:pt x="2243" y="301"/>
                  </a:lnTo>
                  <a:lnTo>
                    <a:pt x="2237" y="306"/>
                  </a:lnTo>
                  <a:lnTo>
                    <a:pt x="2232" y="309"/>
                  </a:lnTo>
                  <a:lnTo>
                    <a:pt x="2229" y="312"/>
                  </a:lnTo>
                  <a:lnTo>
                    <a:pt x="2228" y="314"/>
                  </a:lnTo>
                  <a:lnTo>
                    <a:pt x="2234" y="322"/>
                  </a:lnTo>
                  <a:lnTo>
                    <a:pt x="2236" y="323"/>
                  </a:lnTo>
                  <a:lnTo>
                    <a:pt x="2237" y="325"/>
                  </a:lnTo>
                  <a:lnTo>
                    <a:pt x="2238" y="327"/>
                  </a:lnTo>
                  <a:lnTo>
                    <a:pt x="2238" y="330"/>
                  </a:lnTo>
                  <a:lnTo>
                    <a:pt x="2240" y="333"/>
                  </a:lnTo>
                  <a:lnTo>
                    <a:pt x="2240" y="333"/>
                  </a:lnTo>
                  <a:lnTo>
                    <a:pt x="2235" y="333"/>
                  </a:lnTo>
                  <a:lnTo>
                    <a:pt x="2233" y="331"/>
                  </a:lnTo>
                  <a:lnTo>
                    <a:pt x="2228" y="333"/>
                  </a:lnTo>
                  <a:lnTo>
                    <a:pt x="2225" y="332"/>
                  </a:lnTo>
                  <a:lnTo>
                    <a:pt x="2223" y="331"/>
                  </a:lnTo>
                  <a:lnTo>
                    <a:pt x="2217" y="329"/>
                  </a:lnTo>
                  <a:lnTo>
                    <a:pt x="2215" y="329"/>
                  </a:lnTo>
                  <a:lnTo>
                    <a:pt x="2211" y="329"/>
                  </a:lnTo>
                  <a:lnTo>
                    <a:pt x="2209" y="330"/>
                  </a:lnTo>
                  <a:lnTo>
                    <a:pt x="2206" y="331"/>
                  </a:lnTo>
                  <a:lnTo>
                    <a:pt x="2207" y="329"/>
                  </a:lnTo>
                  <a:lnTo>
                    <a:pt x="2210" y="326"/>
                  </a:lnTo>
                  <a:lnTo>
                    <a:pt x="2207" y="326"/>
                  </a:lnTo>
                  <a:lnTo>
                    <a:pt x="2205" y="326"/>
                  </a:lnTo>
                  <a:lnTo>
                    <a:pt x="2200" y="322"/>
                  </a:lnTo>
                  <a:lnTo>
                    <a:pt x="2192" y="318"/>
                  </a:lnTo>
                  <a:lnTo>
                    <a:pt x="2190" y="321"/>
                  </a:lnTo>
                  <a:lnTo>
                    <a:pt x="2189" y="323"/>
                  </a:lnTo>
                  <a:lnTo>
                    <a:pt x="2184" y="326"/>
                  </a:lnTo>
                  <a:lnTo>
                    <a:pt x="2186" y="329"/>
                  </a:lnTo>
                  <a:lnTo>
                    <a:pt x="2194" y="337"/>
                  </a:lnTo>
                  <a:lnTo>
                    <a:pt x="2197" y="338"/>
                  </a:lnTo>
                  <a:lnTo>
                    <a:pt x="2202" y="337"/>
                  </a:lnTo>
                  <a:lnTo>
                    <a:pt x="2206" y="339"/>
                  </a:lnTo>
                  <a:lnTo>
                    <a:pt x="2205" y="341"/>
                  </a:lnTo>
                  <a:lnTo>
                    <a:pt x="2206" y="344"/>
                  </a:lnTo>
                  <a:lnTo>
                    <a:pt x="2205" y="347"/>
                  </a:lnTo>
                  <a:lnTo>
                    <a:pt x="2201" y="347"/>
                  </a:lnTo>
                  <a:lnTo>
                    <a:pt x="2199" y="349"/>
                  </a:lnTo>
                  <a:lnTo>
                    <a:pt x="2197" y="349"/>
                  </a:lnTo>
                  <a:lnTo>
                    <a:pt x="2193" y="348"/>
                  </a:lnTo>
                  <a:lnTo>
                    <a:pt x="2190" y="347"/>
                  </a:lnTo>
                  <a:lnTo>
                    <a:pt x="2188" y="347"/>
                  </a:lnTo>
                  <a:lnTo>
                    <a:pt x="2184" y="346"/>
                  </a:lnTo>
                  <a:lnTo>
                    <a:pt x="2181" y="343"/>
                  </a:lnTo>
                  <a:lnTo>
                    <a:pt x="2180" y="341"/>
                  </a:lnTo>
                  <a:lnTo>
                    <a:pt x="2177" y="340"/>
                  </a:lnTo>
                  <a:lnTo>
                    <a:pt x="2175" y="338"/>
                  </a:lnTo>
                  <a:lnTo>
                    <a:pt x="2169" y="339"/>
                  </a:lnTo>
                  <a:lnTo>
                    <a:pt x="2164" y="335"/>
                  </a:lnTo>
                  <a:lnTo>
                    <a:pt x="2161" y="333"/>
                  </a:lnTo>
                  <a:lnTo>
                    <a:pt x="2163" y="331"/>
                  </a:lnTo>
                  <a:lnTo>
                    <a:pt x="2164" y="329"/>
                  </a:lnTo>
                  <a:lnTo>
                    <a:pt x="2161" y="329"/>
                  </a:lnTo>
                  <a:lnTo>
                    <a:pt x="2163" y="326"/>
                  </a:lnTo>
                  <a:lnTo>
                    <a:pt x="2160" y="324"/>
                  </a:lnTo>
                  <a:lnTo>
                    <a:pt x="2160" y="323"/>
                  </a:lnTo>
                  <a:lnTo>
                    <a:pt x="2158" y="317"/>
                  </a:lnTo>
                  <a:lnTo>
                    <a:pt x="2156" y="315"/>
                  </a:lnTo>
                  <a:lnTo>
                    <a:pt x="2158" y="314"/>
                  </a:lnTo>
                  <a:lnTo>
                    <a:pt x="2160" y="310"/>
                  </a:lnTo>
                  <a:lnTo>
                    <a:pt x="2159" y="305"/>
                  </a:lnTo>
                  <a:lnTo>
                    <a:pt x="2163" y="307"/>
                  </a:lnTo>
                  <a:lnTo>
                    <a:pt x="2163" y="305"/>
                  </a:lnTo>
                  <a:lnTo>
                    <a:pt x="2159" y="303"/>
                  </a:lnTo>
                  <a:lnTo>
                    <a:pt x="2159" y="300"/>
                  </a:lnTo>
                  <a:lnTo>
                    <a:pt x="2157" y="298"/>
                  </a:lnTo>
                  <a:lnTo>
                    <a:pt x="2154" y="297"/>
                  </a:lnTo>
                  <a:lnTo>
                    <a:pt x="2151" y="296"/>
                  </a:lnTo>
                  <a:lnTo>
                    <a:pt x="2149" y="296"/>
                  </a:lnTo>
                  <a:lnTo>
                    <a:pt x="2146" y="293"/>
                  </a:lnTo>
                  <a:lnTo>
                    <a:pt x="2141" y="293"/>
                  </a:lnTo>
                  <a:lnTo>
                    <a:pt x="2143" y="292"/>
                  </a:lnTo>
                  <a:lnTo>
                    <a:pt x="2146" y="292"/>
                  </a:lnTo>
                  <a:lnTo>
                    <a:pt x="2140" y="289"/>
                  </a:lnTo>
                  <a:lnTo>
                    <a:pt x="2137" y="289"/>
                  </a:lnTo>
                  <a:lnTo>
                    <a:pt x="2139" y="288"/>
                  </a:lnTo>
                  <a:lnTo>
                    <a:pt x="2142" y="289"/>
                  </a:lnTo>
                  <a:lnTo>
                    <a:pt x="2139" y="288"/>
                  </a:lnTo>
                  <a:lnTo>
                    <a:pt x="2138" y="288"/>
                  </a:lnTo>
                  <a:lnTo>
                    <a:pt x="2134" y="288"/>
                  </a:lnTo>
                  <a:lnTo>
                    <a:pt x="2140" y="287"/>
                  </a:lnTo>
                  <a:lnTo>
                    <a:pt x="2138" y="286"/>
                  </a:lnTo>
                  <a:lnTo>
                    <a:pt x="2134" y="284"/>
                  </a:lnTo>
                  <a:lnTo>
                    <a:pt x="2132" y="282"/>
                  </a:lnTo>
                  <a:lnTo>
                    <a:pt x="2130" y="281"/>
                  </a:lnTo>
                  <a:lnTo>
                    <a:pt x="2131" y="278"/>
                  </a:lnTo>
                  <a:lnTo>
                    <a:pt x="2127" y="276"/>
                  </a:lnTo>
                  <a:lnTo>
                    <a:pt x="2125" y="275"/>
                  </a:lnTo>
                  <a:lnTo>
                    <a:pt x="2122" y="275"/>
                  </a:lnTo>
                  <a:lnTo>
                    <a:pt x="2125" y="274"/>
                  </a:lnTo>
                  <a:lnTo>
                    <a:pt x="2132" y="275"/>
                  </a:lnTo>
                  <a:lnTo>
                    <a:pt x="2134" y="275"/>
                  </a:lnTo>
                  <a:lnTo>
                    <a:pt x="2134" y="279"/>
                  </a:lnTo>
                  <a:lnTo>
                    <a:pt x="2140" y="283"/>
                  </a:lnTo>
                  <a:lnTo>
                    <a:pt x="2142" y="284"/>
                  </a:lnTo>
                  <a:lnTo>
                    <a:pt x="2146" y="282"/>
                  </a:lnTo>
                  <a:lnTo>
                    <a:pt x="2148" y="284"/>
                  </a:lnTo>
                  <a:lnTo>
                    <a:pt x="2154" y="286"/>
                  </a:lnTo>
                  <a:lnTo>
                    <a:pt x="2157" y="287"/>
                  </a:lnTo>
                  <a:lnTo>
                    <a:pt x="2159" y="288"/>
                  </a:lnTo>
                  <a:lnTo>
                    <a:pt x="2163" y="287"/>
                  </a:lnTo>
                  <a:lnTo>
                    <a:pt x="2169" y="291"/>
                  </a:lnTo>
                  <a:lnTo>
                    <a:pt x="2183" y="293"/>
                  </a:lnTo>
                  <a:lnTo>
                    <a:pt x="2193" y="295"/>
                  </a:lnTo>
                  <a:lnTo>
                    <a:pt x="2195" y="296"/>
                  </a:lnTo>
                  <a:lnTo>
                    <a:pt x="2198" y="297"/>
                  </a:lnTo>
                  <a:lnTo>
                    <a:pt x="2205" y="299"/>
                  </a:lnTo>
                  <a:lnTo>
                    <a:pt x="2212" y="300"/>
                  </a:lnTo>
                  <a:lnTo>
                    <a:pt x="2218" y="298"/>
                  </a:lnTo>
                  <a:lnTo>
                    <a:pt x="2220" y="298"/>
                  </a:lnTo>
                  <a:lnTo>
                    <a:pt x="2224" y="298"/>
                  </a:lnTo>
                  <a:lnTo>
                    <a:pt x="2226" y="296"/>
                  </a:lnTo>
                  <a:lnTo>
                    <a:pt x="2233" y="295"/>
                  </a:lnTo>
                  <a:lnTo>
                    <a:pt x="2235" y="292"/>
                  </a:lnTo>
                  <a:lnTo>
                    <a:pt x="2237" y="291"/>
                  </a:lnTo>
                  <a:lnTo>
                    <a:pt x="2249" y="282"/>
                  </a:lnTo>
                  <a:lnTo>
                    <a:pt x="2250" y="279"/>
                  </a:lnTo>
                  <a:lnTo>
                    <a:pt x="2250" y="278"/>
                  </a:lnTo>
                  <a:lnTo>
                    <a:pt x="2251" y="275"/>
                  </a:lnTo>
                  <a:lnTo>
                    <a:pt x="2250" y="273"/>
                  </a:lnTo>
                  <a:lnTo>
                    <a:pt x="2248" y="270"/>
                  </a:lnTo>
                  <a:lnTo>
                    <a:pt x="2246" y="267"/>
                  </a:lnTo>
                  <a:lnTo>
                    <a:pt x="2246" y="262"/>
                  </a:lnTo>
                  <a:lnTo>
                    <a:pt x="2243" y="261"/>
                  </a:lnTo>
                  <a:lnTo>
                    <a:pt x="2241" y="260"/>
                  </a:lnTo>
                  <a:lnTo>
                    <a:pt x="2237" y="260"/>
                  </a:lnTo>
                  <a:lnTo>
                    <a:pt x="2236" y="257"/>
                  </a:lnTo>
                  <a:lnTo>
                    <a:pt x="2233" y="254"/>
                  </a:lnTo>
                  <a:lnTo>
                    <a:pt x="2231" y="252"/>
                  </a:lnTo>
                  <a:lnTo>
                    <a:pt x="2227" y="253"/>
                  </a:lnTo>
                  <a:lnTo>
                    <a:pt x="2225" y="253"/>
                  </a:lnTo>
                  <a:lnTo>
                    <a:pt x="2214" y="246"/>
                  </a:lnTo>
                  <a:lnTo>
                    <a:pt x="2211" y="246"/>
                  </a:lnTo>
                  <a:lnTo>
                    <a:pt x="2202" y="239"/>
                  </a:lnTo>
                  <a:lnTo>
                    <a:pt x="2200" y="238"/>
                  </a:lnTo>
                  <a:lnTo>
                    <a:pt x="2194" y="236"/>
                  </a:lnTo>
                  <a:lnTo>
                    <a:pt x="2186" y="230"/>
                  </a:lnTo>
                  <a:lnTo>
                    <a:pt x="2184" y="230"/>
                  </a:lnTo>
                  <a:lnTo>
                    <a:pt x="2181" y="228"/>
                  </a:lnTo>
                  <a:lnTo>
                    <a:pt x="2178" y="228"/>
                  </a:lnTo>
                  <a:lnTo>
                    <a:pt x="2175" y="227"/>
                  </a:lnTo>
                  <a:lnTo>
                    <a:pt x="2169" y="224"/>
                  </a:lnTo>
                  <a:lnTo>
                    <a:pt x="2167" y="224"/>
                  </a:lnTo>
                  <a:lnTo>
                    <a:pt x="2164" y="226"/>
                  </a:lnTo>
                  <a:lnTo>
                    <a:pt x="2161" y="226"/>
                  </a:lnTo>
                  <a:lnTo>
                    <a:pt x="2156" y="223"/>
                  </a:lnTo>
                  <a:lnTo>
                    <a:pt x="2150" y="223"/>
                  </a:lnTo>
                  <a:lnTo>
                    <a:pt x="2144" y="223"/>
                  </a:lnTo>
                  <a:lnTo>
                    <a:pt x="2144" y="227"/>
                  </a:lnTo>
                  <a:lnTo>
                    <a:pt x="2141" y="229"/>
                  </a:lnTo>
                  <a:lnTo>
                    <a:pt x="2139" y="229"/>
                  </a:lnTo>
                  <a:lnTo>
                    <a:pt x="2137" y="232"/>
                  </a:lnTo>
                  <a:lnTo>
                    <a:pt x="2137" y="229"/>
                  </a:lnTo>
                  <a:lnTo>
                    <a:pt x="2140" y="229"/>
                  </a:lnTo>
                  <a:lnTo>
                    <a:pt x="2142" y="227"/>
                  </a:lnTo>
                  <a:lnTo>
                    <a:pt x="2143" y="224"/>
                  </a:lnTo>
                  <a:lnTo>
                    <a:pt x="2140" y="224"/>
                  </a:lnTo>
                  <a:lnTo>
                    <a:pt x="2143" y="222"/>
                  </a:lnTo>
                  <a:lnTo>
                    <a:pt x="2140" y="221"/>
                  </a:lnTo>
                  <a:lnTo>
                    <a:pt x="2138" y="221"/>
                  </a:lnTo>
                  <a:lnTo>
                    <a:pt x="2135" y="223"/>
                  </a:lnTo>
                  <a:lnTo>
                    <a:pt x="2137" y="221"/>
                  </a:lnTo>
                  <a:lnTo>
                    <a:pt x="2133" y="221"/>
                  </a:lnTo>
                  <a:lnTo>
                    <a:pt x="2131" y="219"/>
                  </a:lnTo>
                  <a:lnTo>
                    <a:pt x="2127" y="220"/>
                  </a:lnTo>
                  <a:lnTo>
                    <a:pt x="2129" y="218"/>
                  </a:lnTo>
                  <a:lnTo>
                    <a:pt x="2123" y="215"/>
                  </a:lnTo>
                  <a:lnTo>
                    <a:pt x="2124" y="213"/>
                  </a:lnTo>
                  <a:lnTo>
                    <a:pt x="2127" y="215"/>
                  </a:lnTo>
                  <a:lnTo>
                    <a:pt x="2135" y="216"/>
                  </a:lnTo>
                  <a:lnTo>
                    <a:pt x="2138" y="214"/>
                  </a:lnTo>
                  <a:lnTo>
                    <a:pt x="2135" y="212"/>
                  </a:lnTo>
                  <a:lnTo>
                    <a:pt x="2130" y="212"/>
                  </a:lnTo>
                  <a:lnTo>
                    <a:pt x="2127" y="210"/>
                  </a:lnTo>
                  <a:lnTo>
                    <a:pt x="2124" y="209"/>
                  </a:lnTo>
                  <a:lnTo>
                    <a:pt x="2122" y="209"/>
                  </a:lnTo>
                  <a:lnTo>
                    <a:pt x="2124" y="211"/>
                  </a:lnTo>
                  <a:lnTo>
                    <a:pt x="2121" y="211"/>
                  </a:lnTo>
                  <a:lnTo>
                    <a:pt x="2118" y="213"/>
                  </a:lnTo>
                  <a:lnTo>
                    <a:pt x="2116" y="214"/>
                  </a:lnTo>
                  <a:lnTo>
                    <a:pt x="2113" y="216"/>
                  </a:lnTo>
                  <a:lnTo>
                    <a:pt x="2115" y="213"/>
                  </a:lnTo>
                  <a:lnTo>
                    <a:pt x="2107" y="212"/>
                  </a:lnTo>
                  <a:lnTo>
                    <a:pt x="2105" y="211"/>
                  </a:lnTo>
                  <a:lnTo>
                    <a:pt x="2103" y="214"/>
                  </a:lnTo>
                  <a:lnTo>
                    <a:pt x="2101" y="211"/>
                  </a:lnTo>
                  <a:lnTo>
                    <a:pt x="2099" y="210"/>
                  </a:lnTo>
                  <a:lnTo>
                    <a:pt x="2099" y="212"/>
                  </a:lnTo>
                  <a:lnTo>
                    <a:pt x="2098" y="214"/>
                  </a:lnTo>
                  <a:lnTo>
                    <a:pt x="2096" y="214"/>
                  </a:lnTo>
                  <a:lnTo>
                    <a:pt x="2096" y="213"/>
                  </a:lnTo>
                  <a:lnTo>
                    <a:pt x="2092" y="213"/>
                  </a:lnTo>
                  <a:lnTo>
                    <a:pt x="2089" y="213"/>
                  </a:lnTo>
                  <a:lnTo>
                    <a:pt x="2092" y="212"/>
                  </a:lnTo>
                  <a:lnTo>
                    <a:pt x="2091" y="209"/>
                  </a:lnTo>
                  <a:lnTo>
                    <a:pt x="2088" y="210"/>
                  </a:lnTo>
                  <a:lnTo>
                    <a:pt x="2089" y="206"/>
                  </a:lnTo>
                  <a:lnTo>
                    <a:pt x="2087" y="206"/>
                  </a:lnTo>
                  <a:lnTo>
                    <a:pt x="2083" y="205"/>
                  </a:lnTo>
                  <a:lnTo>
                    <a:pt x="2078" y="204"/>
                  </a:lnTo>
                  <a:lnTo>
                    <a:pt x="2081" y="203"/>
                  </a:lnTo>
                  <a:lnTo>
                    <a:pt x="2092" y="205"/>
                  </a:lnTo>
                  <a:lnTo>
                    <a:pt x="2098" y="205"/>
                  </a:lnTo>
                  <a:lnTo>
                    <a:pt x="2101" y="203"/>
                  </a:lnTo>
                  <a:lnTo>
                    <a:pt x="2104" y="201"/>
                  </a:lnTo>
                  <a:lnTo>
                    <a:pt x="2109" y="199"/>
                  </a:lnTo>
                  <a:lnTo>
                    <a:pt x="2110" y="197"/>
                  </a:lnTo>
                  <a:lnTo>
                    <a:pt x="2101" y="193"/>
                  </a:lnTo>
                  <a:lnTo>
                    <a:pt x="2099" y="194"/>
                  </a:lnTo>
                  <a:lnTo>
                    <a:pt x="2097" y="194"/>
                  </a:lnTo>
                  <a:lnTo>
                    <a:pt x="2099" y="193"/>
                  </a:lnTo>
                  <a:lnTo>
                    <a:pt x="2099" y="190"/>
                  </a:lnTo>
                  <a:lnTo>
                    <a:pt x="2096" y="189"/>
                  </a:lnTo>
                  <a:lnTo>
                    <a:pt x="2092" y="192"/>
                  </a:lnTo>
                  <a:lnTo>
                    <a:pt x="2092" y="188"/>
                  </a:lnTo>
                  <a:lnTo>
                    <a:pt x="2089" y="189"/>
                  </a:lnTo>
                  <a:lnTo>
                    <a:pt x="2087" y="190"/>
                  </a:lnTo>
                  <a:lnTo>
                    <a:pt x="2088" y="187"/>
                  </a:lnTo>
                  <a:lnTo>
                    <a:pt x="2084" y="186"/>
                  </a:lnTo>
                  <a:lnTo>
                    <a:pt x="2082" y="185"/>
                  </a:lnTo>
                  <a:lnTo>
                    <a:pt x="2079" y="186"/>
                  </a:lnTo>
                  <a:lnTo>
                    <a:pt x="2077" y="188"/>
                  </a:lnTo>
                  <a:lnTo>
                    <a:pt x="2075" y="190"/>
                  </a:lnTo>
                  <a:lnTo>
                    <a:pt x="2075" y="194"/>
                  </a:lnTo>
                  <a:lnTo>
                    <a:pt x="2072" y="196"/>
                  </a:lnTo>
                  <a:lnTo>
                    <a:pt x="2071" y="199"/>
                  </a:lnTo>
                  <a:lnTo>
                    <a:pt x="2071" y="196"/>
                  </a:lnTo>
                  <a:lnTo>
                    <a:pt x="2073" y="194"/>
                  </a:lnTo>
                  <a:lnTo>
                    <a:pt x="2069" y="195"/>
                  </a:lnTo>
                  <a:lnTo>
                    <a:pt x="2071" y="192"/>
                  </a:lnTo>
                  <a:lnTo>
                    <a:pt x="2073" y="189"/>
                  </a:lnTo>
                  <a:lnTo>
                    <a:pt x="2066" y="192"/>
                  </a:lnTo>
                  <a:lnTo>
                    <a:pt x="2064" y="192"/>
                  </a:lnTo>
                  <a:lnTo>
                    <a:pt x="2066" y="190"/>
                  </a:lnTo>
                  <a:lnTo>
                    <a:pt x="2070" y="189"/>
                  </a:lnTo>
                  <a:lnTo>
                    <a:pt x="2066" y="188"/>
                  </a:lnTo>
                  <a:lnTo>
                    <a:pt x="2069" y="186"/>
                  </a:lnTo>
                  <a:lnTo>
                    <a:pt x="2071" y="187"/>
                  </a:lnTo>
                  <a:lnTo>
                    <a:pt x="2075" y="185"/>
                  </a:lnTo>
                  <a:lnTo>
                    <a:pt x="2074" y="181"/>
                  </a:lnTo>
                  <a:lnTo>
                    <a:pt x="2071" y="182"/>
                  </a:lnTo>
                  <a:lnTo>
                    <a:pt x="2072" y="180"/>
                  </a:lnTo>
                  <a:lnTo>
                    <a:pt x="2069" y="180"/>
                  </a:lnTo>
                  <a:lnTo>
                    <a:pt x="2066" y="180"/>
                  </a:lnTo>
                  <a:lnTo>
                    <a:pt x="2064" y="179"/>
                  </a:lnTo>
                  <a:lnTo>
                    <a:pt x="2061" y="181"/>
                  </a:lnTo>
                  <a:lnTo>
                    <a:pt x="2058" y="181"/>
                  </a:lnTo>
                  <a:lnTo>
                    <a:pt x="2058" y="185"/>
                  </a:lnTo>
                  <a:lnTo>
                    <a:pt x="2062" y="187"/>
                  </a:lnTo>
                  <a:lnTo>
                    <a:pt x="2058" y="188"/>
                  </a:lnTo>
                  <a:lnTo>
                    <a:pt x="2056" y="189"/>
                  </a:lnTo>
                  <a:lnTo>
                    <a:pt x="2057" y="192"/>
                  </a:lnTo>
                  <a:lnTo>
                    <a:pt x="2055" y="192"/>
                  </a:lnTo>
                  <a:lnTo>
                    <a:pt x="2056" y="195"/>
                  </a:lnTo>
                  <a:lnTo>
                    <a:pt x="2054" y="195"/>
                  </a:lnTo>
                  <a:lnTo>
                    <a:pt x="2048" y="197"/>
                  </a:lnTo>
                  <a:lnTo>
                    <a:pt x="2049" y="195"/>
                  </a:lnTo>
                  <a:lnTo>
                    <a:pt x="2049" y="193"/>
                  </a:lnTo>
                  <a:lnTo>
                    <a:pt x="2048" y="189"/>
                  </a:lnTo>
                  <a:lnTo>
                    <a:pt x="2050" y="188"/>
                  </a:lnTo>
                  <a:lnTo>
                    <a:pt x="2049" y="182"/>
                  </a:lnTo>
                  <a:lnTo>
                    <a:pt x="2047" y="185"/>
                  </a:lnTo>
                  <a:lnTo>
                    <a:pt x="2041" y="189"/>
                  </a:lnTo>
                  <a:lnTo>
                    <a:pt x="2040" y="192"/>
                  </a:lnTo>
                  <a:lnTo>
                    <a:pt x="2038" y="194"/>
                  </a:lnTo>
                  <a:lnTo>
                    <a:pt x="2036" y="196"/>
                  </a:lnTo>
                  <a:lnTo>
                    <a:pt x="2035" y="199"/>
                  </a:lnTo>
                  <a:lnTo>
                    <a:pt x="2032" y="202"/>
                  </a:lnTo>
                  <a:lnTo>
                    <a:pt x="2029" y="203"/>
                  </a:lnTo>
                  <a:lnTo>
                    <a:pt x="2027" y="203"/>
                  </a:lnTo>
                  <a:lnTo>
                    <a:pt x="2028" y="201"/>
                  </a:lnTo>
                  <a:lnTo>
                    <a:pt x="2029" y="197"/>
                  </a:lnTo>
                  <a:lnTo>
                    <a:pt x="2031" y="195"/>
                  </a:lnTo>
                  <a:lnTo>
                    <a:pt x="2029" y="195"/>
                  </a:lnTo>
                  <a:lnTo>
                    <a:pt x="2030" y="193"/>
                  </a:lnTo>
                  <a:lnTo>
                    <a:pt x="2038" y="187"/>
                  </a:lnTo>
                  <a:lnTo>
                    <a:pt x="2038" y="185"/>
                  </a:lnTo>
                  <a:lnTo>
                    <a:pt x="2036" y="185"/>
                  </a:lnTo>
                  <a:lnTo>
                    <a:pt x="2032" y="184"/>
                  </a:lnTo>
                  <a:lnTo>
                    <a:pt x="2031" y="187"/>
                  </a:lnTo>
                  <a:lnTo>
                    <a:pt x="2029" y="184"/>
                  </a:lnTo>
                  <a:lnTo>
                    <a:pt x="2027" y="184"/>
                  </a:lnTo>
                  <a:lnTo>
                    <a:pt x="2024" y="182"/>
                  </a:lnTo>
                  <a:lnTo>
                    <a:pt x="2021" y="182"/>
                  </a:lnTo>
                  <a:lnTo>
                    <a:pt x="2023" y="185"/>
                  </a:lnTo>
                  <a:lnTo>
                    <a:pt x="2020" y="186"/>
                  </a:lnTo>
                  <a:lnTo>
                    <a:pt x="2018" y="187"/>
                  </a:lnTo>
                  <a:lnTo>
                    <a:pt x="2020" y="188"/>
                  </a:lnTo>
                  <a:lnTo>
                    <a:pt x="2023" y="190"/>
                  </a:lnTo>
                  <a:lnTo>
                    <a:pt x="2018" y="190"/>
                  </a:lnTo>
                  <a:lnTo>
                    <a:pt x="2015" y="193"/>
                  </a:lnTo>
                  <a:lnTo>
                    <a:pt x="2019" y="195"/>
                  </a:lnTo>
                  <a:lnTo>
                    <a:pt x="2014" y="194"/>
                  </a:lnTo>
                  <a:lnTo>
                    <a:pt x="2011" y="195"/>
                  </a:lnTo>
                  <a:lnTo>
                    <a:pt x="2009" y="196"/>
                  </a:lnTo>
                  <a:lnTo>
                    <a:pt x="2007" y="199"/>
                  </a:lnTo>
                  <a:lnTo>
                    <a:pt x="2005" y="199"/>
                  </a:lnTo>
                  <a:lnTo>
                    <a:pt x="2004" y="203"/>
                  </a:lnTo>
                  <a:lnTo>
                    <a:pt x="2003" y="205"/>
                  </a:lnTo>
                  <a:lnTo>
                    <a:pt x="2006" y="206"/>
                  </a:lnTo>
                  <a:lnTo>
                    <a:pt x="2006" y="206"/>
                  </a:lnTo>
                  <a:lnTo>
                    <a:pt x="2003" y="207"/>
                  </a:lnTo>
                  <a:lnTo>
                    <a:pt x="2002" y="206"/>
                  </a:lnTo>
                  <a:lnTo>
                    <a:pt x="2001" y="206"/>
                  </a:lnTo>
                  <a:lnTo>
                    <a:pt x="1999" y="203"/>
                  </a:lnTo>
                  <a:lnTo>
                    <a:pt x="1997" y="204"/>
                  </a:lnTo>
                  <a:lnTo>
                    <a:pt x="1992" y="205"/>
                  </a:lnTo>
                  <a:lnTo>
                    <a:pt x="1996" y="204"/>
                  </a:lnTo>
                  <a:lnTo>
                    <a:pt x="1999" y="202"/>
                  </a:lnTo>
                  <a:lnTo>
                    <a:pt x="1993" y="201"/>
                  </a:lnTo>
                  <a:lnTo>
                    <a:pt x="1990" y="201"/>
                  </a:lnTo>
                  <a:lnTo>
                    <a:pt x="1993" y="203"/>
                  </a:lnTo>
                  <a:lnTo>
                    <a:pt x="1989" y="202"/>
                  </a:lnTo>
                  <a:lnTo>
                    <a:pt x="1988" y="199"/>
                  </a:lnTo>
                  <a:lnTo>
                    <a:pt x="1985" y="198"/>
                  </a:lnTo>
                  <a:lnTo>
                    <a:pt x="1984" y="202"/>
                  </a:lnTo>
                  <a:lnTo>
                    <a:pt x="1980" y="198"/>
                  </a:lnTo>
                  <a:lnTo>
                    <a:pt x="1976" y="201"/>
                  </a:lnTo>
                  <a:lnTo>
                    <a:pt x="1978" y="203"/>
                  </a:lnTo>
                  <a:lnTo>
                    <a:pt x="1981" y="205"/>
                  </a:lnTo>
                  <a:lnTo>
                    <a:pt x="1984" y="205"/>
                  </a:lnTo>
                  <a:lnTo>
                    <a:pt x="1987" y="204"/>
                  </a:lnTo>
                  <a:lnTo>
                    <a:pt x="1984" y="205"/>
                  </a:lnTo>
                  <a:lnTo>
                    <a:pt x="1987" y="206"/>
                  </a:lnTo>
                  <a:lnTo>
                    <a:pt x="1987" y="206"/>
                  </a:lnTo>
                  <a:lnTo>
                    <a:pt x="1985" y="207"/>
                  </a:lnTo>
                  <a:lnTo>
                    <a:pt x="1985" y="211"/>
                  </a:lnTo>
                  <a:lnTo>
                    <a:pt x="1986" y="213"/>
                  </a:lnTo>
                  <a:lnTo>
                    <a:pt x="1985" y="211"/>
                  </a:lnTo>
                  <a:lnTo>
                    <a:pt x="1982" y="209"/>
                  </a:lnTo>
                  <a:lnTo>
                    <a:pt x="1979" y="206"/>
                  </a:lnTo>
                  <a:lnTo>
                    <a:pt x="1976" y="206"/>
                  </a:lnTo>
                  <a:lnTo>
                    <a:pt x="1976" y="211"/>
                  </a:lnTo>
                  <a:lnTo>
                    <a:pt x="1973" y="212"/>
                  </a:lnTo>
                  <a:lnTo>
                    <a:pt x="1971" y="210"/>
                  </a:lnTo>
                  <a:lnTo>
                    <a:pt x="1973" y="207"/>
                  </a:lnTo>
                  <a:lnTo>
                    <a:pt x="1971" y="209"/>
                  </a:lnTo>
                  <a:lnTo>
                    <a:pt x="1969" y="212"/>
                  </a:lnTo>
                  <a:lnTo>
                    <a:pt x="1967" y="213"/>
                  </a:lnTo>
                  <a:lnTo>
                    <a:pt x="1967" y="216"/>
                  </a:lnTo>
                  <a:lnTo>
                    <a:pt x="1970" y="219"/>
                  </a:lnTo>
                  <a:lnTo>
                    <a:pt x="1967" y="218"/>
                  </a:lnTo>
                  <a:lnTo>
                    <a:pt x="1964" y="219"/>
                  </a:lnTo>
                  <a:lnTo>
                    <a:pt x="1962" y="222"/>
                  </a:lnTo>
                  <a:lnTo>
                    <a:pt x="1959" y="224"/>
                  </a:lnTo>
                  <a:lnTo>
                    <a:pt x="1959" y="223"/>
                  </a:lnTo>
                  <a:lnTo>
                    <a:pt x="1961" y="221"/>
                  </a:lnTo>
                  <a:lnTo>
                    <a:pt x="1964" y="215"/>
                  </a:lnTo>
                  <a:lnTo>
                    <a:pt x="1963" y="213"/>
                  </a:lnTo>
                  <a:lnTo>
                    <a:pt x="1964" y="210"/>
                  </a:lnTo>
                  <a:lnTo>
                    <a:pt x="1963" y="207"/>
                  </a:lnTo>
                  <a:lnTo>
                    <a:pt x="1962" y="210"/>
                  </a:lnTo>
                  <a:lnTo>
                    <a:pt x="1959" y="212"/>
                  </a:lnTo>
                  <a:lnTo>
                    <a:pt x="1959" y="211"/>
                  </a:lnTo>
                  <a:lnTo>
                    <a:pt x="1956" y="213"/>
                  </a:lnTo>
                  <a:lnTo>
                    <a:pt x="1958" y="216"/>
                  </a:lnTo>
                  <a:lnTo>
                    <a:pt x="1959" y="216"/>
                  </a:lnTo>
                  <a:lnTo>
                    <a:pt x="1955" y="216"/>
                  </a:lnTo>
                  <a:lnTo>
                    <a:pt x="1955" y="219"/>
                  </a:lnTo>
                  <a:lnTo>
                    <a:pt x="1953" y="221"/>
                  </a:lnTo>
                  <a:lnTo>
                    <a:pt x="1955" y="215"/>
                  </a:lnTo>
                  <a:lnTo>
                    <a:pt x="1955" y="213"/>
                  </a:lnTo>
                  <a:lnTo>
                    <a:pt x="1953" y="212"/>
                  </a:lnTo>
                  <a:lnTo>
                    <a:pt x="1950" y="212"/>
                  </a:lnTo>
                  <a:lnTo>
                    <a:pt x="1947" y="213"/>
                  </a:lnTo>
                  <a:lnTo>
                    <a:pt x="1945" y="215"/>
                  </a:lnTo>
                  <a:lnTo>
                    <a:pt x="1945" y="218"/>
                  </a:lnTo>
                  <a:lnTo>
                    <a:pt x="1949" y="218"/>
                  </a:lnTo>
                  <a:lnTo>
                    <a:pt x="1945" y="219"/>
                  </a:lnTo>
                  <a:lnTo>
                    <a:pt x="1946" y="222"/>
                  </a:lnTo>
                  <a:lnTo>
                    <a:pt x="1950" y="222"/>
                  </a:lnTo>
                  <a:lnTo>
                    <a:pt x="1951" y="224"/>
                  </a:lnTo>
                  <a:lnTo>
                    <a:pt x="1949" y="222"/>
                  </a:lnTo>
                  <a:lnTo>
                    <a:pt x="1945" y="222"/>
                  </a:lnTo>
                  <a:lnTo>
                    <a:pt x="1944" y="219"/>
                  </a:lnTo>
                  <a:lnTo>
                    <a:pt x="1941" y="218"/>
                  </a:lnTo>
                  <a:lnTo>
                    <a:pt x="1938" y="219"/>
                  </a:lnTo>
                  <a:lnTo>
                    <a:pt x="1939" y="221"/>
                  </a:lnTo>
                  <a:lnTo>
                    <a:pt x="1945" y="224"/>
                  </a:lnTo>
                  <a:lnTo>
                    <a:pt x="1943" y="223"/>
                  </a:lnTo>
                  <a:lnTo>
                    <a:pt x="1939" y="223"/>
                  </a:lnTo>
                  <a:lnTo>
                    <a:pt x="1938" y="226"/>
                  </a:lnTo>
                  <a:lnTo>
                    <a:pt x="1938" y="224"/>
                  </a:lnTo>
                  <a:lnTo>
                    <a:pt x="1937" y="221"/>
                  </a:lnTo>
                  <a:lnTo>
                    <a:pt x="1935" y="220"/>
                  </a:lnTo>
                  <a:lnTo>
                    <a:pt x="1932" y="226"/>
                  </a:lnTo>
                  <a:lnTo>
                    <a:pt x="1933" y="228"/>
                  </a:lnTo>
                  <a:lnTo>
                    <a:pt x="1928" y="228"/>
                  </a:lnTo>
                  <a:lnTo>
                    <a:pt x="1925" y="230"/>
                  </a:lnTo>
                  <a:lnTo>
                    <a:pt x="1925" y="233"/>
                  </a:lnTo>
                  <a:lnTo>
                    <a:pt x="1927" y="233"/>
                  </a:lnTo>
                  <a:lnTo>
                    <a:pt x="1927" y="236"/>
                  </a:lnTo>
                  <a:lnTo>
                    <a:pt x="1924" y="236"/>
                  </a:lnTo>
                  <a:lnTo>
                    <a:pt x="1922" y="236"/>
                  </a:lnTo>
                  <a:lnTo>
                    <a:pt x="1927" y="239"/>
                  </a:lnTo>
                  <a:lnTo>
                    <a:pt x="1921" y="237"/>
                  </a:lnTo>
                  <a:lnTo>
                    <a:pt x="1918" y="238"/>
                  </a:lnTo>
                  <a:lnTo>
                    <a:pt x="1912" y="239"/>
                  </a:lnTo>
                  <a:lnTo>
                    <a:pt x="1912" y="241"/>
                  </a:lnTo>
                  <a:lnTo>
                    <a:pt x="1913" y="244"/>
                  </a:lnTo>
                  <a:lnTo>
                    <a:pt x="1919" y="244"/>
                  </a:lnTo>
                  <a:lnTo>
                    <a:pt x="1922" y="244"/>
                  </a:lnTo>
                  <a:lnTo>
                    <a:pt x="1928" y="244"/>
                  </a:lnTo>
                  <a:lnTo>
                    <a:pt x="1924" y="245"/>
                  </a:lnTo>
                  <a:lnTo>
                    <a:pt x="1921" y="246"/>
                  </a:lnTo>
                  <a:lnTo>
                    <a:pt x="1921" y="247"/>
                  </a:lnTo>
                  <a:lnTo>
                    <a:pt x="1924" y="249"/>
                  </a:lnTo>
                  <a:lnTo>
                    <a:pt x="1921" y="247"/>
                  </a:lnTo>
                  <a:lnTo>
                    <a:pt x="1921" y="246"/>
                  </a:lnTo>
                  <a:lnTo>
                    <a:pt x="1919" y="246"/>
                  </a:lnTo>
                  <a:lnTo>
                    <a:pt x="1916" y="247"/>
                  </a:lnTo>
                  <a:lnTo>
                    <a:pt x="1913" y="245"/>
                  </a:lnTo>
                  <a:lnTo>
                    <a:pt x="1910" y="245"/>
                  </a:lnTo>
                  <a:lnTo>
                    <a:pt x="1911" y="248"/>
                  </a:lnTo>
                  <a:lnTo>
                    <a:pt x="1915" y="250"/>
                  </a:lnTo>
                  <a:lnTo>
                    <a:pt x="1911" y="248"/>
                  </a:lnTo>
                  <a:lnTo>
                    <a:pt x="1908" y="247"/>
                  </a:lnTo>
                  <a:lnTo>
                    <a:pt x="1911" y="248"/>
                  </a:lnTo>
                  <a:lnTo>
                    <a:pt x="1910" y="250"/>
                  </a:lnTo>
                  <a:lnTo>
                    <a:pt x="1913" y="253"/>
                  </a:lnTo>
                  <a:lnTo>
                    <a:pt x="1910" y="253"/>
                  </a:lnTo>
                  <a:lnTo>
                    <a:pt x="1911" y="255"/>
                  </a:lnTo>
                  <a:lnTo>
                    <a:pt x="1909" y="254"/>
                  </a:lnTo>
                  <a:lnTo>
                    <a:pt x="1910" y="257"/>
                  </a:lnTo>
                  <a:lnTo>
                    <a:pt x="1908" y="254"/>
                  </a:lnTo>
                  <a:lnTo>
                    <a:pt x="1908" y="257"/>
                  </a:lnTo>
                  <a:lnTo>
                    <a:pt x="1910" y="258"/>
                  </a:lnTo>
                  <a:lnTo>
                    <a:pt x="1908" y="257"/>
                  </a:lnTo>
                  <a:lnTo>
                    <a:pt x="1908" y="257"/>
                  </a:lnTo>
                  <a:lnTo>
                    <a:pt x="1907" y="255"/>
                  </a:lnTo>
                  <a:lnTo>
                    <a:pt x="1905" y="249"/>
                  </a:lnTo>
                  <a:lnTo>
                    <a:pt x="1902" y="249"/>
                  </a:lnTo>
                  <a:lnTo>
                    <a:pt x="1901" y="253"/>
                  </a:lnTo>
                  <a:lnTo>
                    <a:pt x="1899" y="252"/>
                  </a:lnTo>
                  <a:lnTo>
                    <a:pt x="1896" y="252"/>
                  </a:lnTo>
                  <a:lnTo>
                    <a:pt x="1895" y="254"/>
                  </a:lnTo>
                  <a:lnTo>
                    <a:pt x="1899" y="253"/>
                  </a:lnTo>
                  <a:lnTo>
                    <a:pt x="1901" y="254"/>
                  </a:lnTo>
                  <a:lnTo>
                    <a:pt x="1901" y="254"/>
                  </a:lnTo>
                  <a:lnTo>
                    <a:pt x="1901" y="254"/>
                  </a:lnTo>
                  <a:lnTo>
                    <a:pt x="1903" y="255"/>
                  </a:lnTo>
                  <a:lnTo>
                    <a:pt x="1901" y="255"/>
                  </a:lnTo>
                  <a:lnTo>
                    <a:pt x="1893" y="257"/>
                  </a:lnTo>
                  <a:lnTo>
                    <a:pt x="1890" y="257"/>
                  </a:lnTo>
                  <a:lnTo>
                    <a:pt x="1890" y="261"/>
                  </a:lnTo>
                  <a:lnTo>
                    <a:pt x="1887" y="262"/>
                  </a:lnTo>
                  <a:lnTo>
                    <a:pt x="1890" y="263"/>
                  </a:lnTo>
                  <a:lnTo>
                    <a:pt x="1896" y="258"/>
                  </a:lnTo>
                  <a:lnTo>
                    <a:pt x="1899" y="260"/>
                  </a:lnTo>
                  <a:lnTo>
                    <a:pt x="1901" y="262"/>
                  </a:lnTo>
                  <a:lnTo>
                    <a:pt x="1899" y="261"/>
                  </a:lnTo>
                  <a:lnTo>
                    <a:pt x="1896" y="261"/>
                  </a:lnTo>
                  <a:lnTo>
                    <a:pt x="1899" y="262"/>
                  </a:lnTo>
                  <a:lnTo>
                    <a:pt x="1896" y="262"/>
                  </a:lnTo>
                  <a:lnTo>
                    <a:pt x="1893" y="263"/>
                  </a:lnTo>
                  <a:lnTo>
                    <a:pt x="1896" y="265"/>
                  </a:lnTo>
                  <a:lnTo>
                    <a:pt x="1901" y="265"/>
                  </a:lnTo>
                  <a:lnTo>
                    <a:pt x="1899" y="266"/>
                  </a:lnTo>
                  <a:lnTo>
                    <a:pt x="1900" y="269"/>
                  </a:lnTo>
                  <a:lnTo>
                    <a:pt x="1898" y="269"/>
                  </a:lnTo>
                  <a:lnTo>
                    <a:pt x="1895" y="266"/>
                  </a:lnTo>
                  <a:lnTo>
                    <a:pt x="1893" y="265"/>
                  </a:lnTo>
                  <a:lnTo>
                    <a:pt x="1890" y="266"/>
                  </a:lnTo>
                  <a:lnTo>
                    <a:pt x="1893" y="265"/>
                  </a:lnTo>
                  <a:lnTo>
                    <a:pt x="1890" y="264"/>
                  </a:lnTo>
                  <a:lnTo>
                    <a:pt x="1887" y="266"/>
                  </a:lnTo>
                  <a:lnTo>
                    <a:pt x="1890" y="267"/>
                  </a:lnTo>
                  <a:lnTo>
                    <a:pt x="1890" y="267"/>
                  </a:lnTo>
                  <a:lnTo>
                    <a:pt x="1887" y="267"/>
                  </a:lnTo>
                  <a:lnTo>
                    <a:pt x="1882" y="272"/>
                  </a:lnTo>
                  <a:lnTo>
                    <a:pt x="1887" y="271"/>
                  </a:lnTo>
                  <a:lnTo>
                    <a:pt x="1887" y="272"/>
                  </a:lnTo>
                  <a:lnTo>
                    <a:pt x="1893" y="270"/>
                  </a:lnTo>
                  <a:lnTo>
                    <a:pt x="1895" y="272"/>
                  </a:lnTo>
                  <a:lnTo>
                    <a:pt x="1900" y="272"/>
                  </a:lnTo>
                  <a:lnTo>
                    <a:pt x="1898" y="272"/>
                  </a:lnTo>
                  <a:lnTo>
                    <a:pt x="1896" y="275"/>
                  </a:lnTo>
                  <a:lnTo>
                    <a:pt x="1894" y="273"/>
                  </a:lnTo>
                  <a:lnTo>
                    <a:pt x="1891" y="273"/>
                  </a:lnTo>
                  <a:lnTo>
                    <a:pt x="1890" y="273"/>
                  </a:lnTo>
                  <a:lnTo>
                    <a:pt x="1890" y="272"/>
                  </a:lnTo>
                  <a:lnTo>
                    <a:pt x="1884" y="274"/>
                  </a:lnTo>
                  <a:lnTo>
                    <a:pt x="1882" y="275"/>
                  </a:lnTo>
                  <a:lnTo>
                    <a:pt x="1884" y="276"/>
                  </a:lnTo>
                  <a:lnTo>
                    <a:pt x="1882" y="276"/>
                  </a:lnTo>
                  <a:lnTo>
                    <a:pt x="1879" y="278"/>
                  </a:lnTo>
                  <a:lnTo>
                    <a:pt x="1876" y="278"/>
                  </a:lnTo>
                  <a:lnTo>
                    <a:pt x="1874" y="279"/>
                  </a:lnTo>
                  <a:lnTo>
                    <a:pt x="1870" y="280"/>
                  </a:lnTo>
                  <a:lnTo>
                    <a:pt x="1876" y="282"/>
                  </a:lnTo>
                  <a:lnTo>
                    <a:pt x="1874" y="282"/>
                  </a:lnTo>
                  <a:lnTo>
                    <a:pt x="1870" y="283"/>
                  </a:lnTo>
                  <a:lnTo>
                    <a:pt x="1874" y="283"/>
                  </a:lnTo>
                  <a:lnTo>
                    <a:pt x="1870" y="283"/>
                  </a:lnTo>
                  <a:lnTo>
                    <a:pt x="1871" y="284"/>
                  </a:lnTo>
                  <a:lnTo>
                    <a:pt x="1874" y="284"/>
                  </a:lnTo>
                  <a:lnTo>
                    <a:pt x="1871" y="284"/>
                  </a:lnTo>
                  <a:lnTo>
                    <a:pt x="1868" y="284"/>
                  </a:lnTo>
                  <a:lnTo>
                    <a:pt x="1869" y="286"/>
                  </a:lnTo>
                  <a:lnTo>
                    <a:pt x="1866" y="286"/>
                  </a:lnTo>
                  <a:lnTo>
                    <a:pt x="1867" y="288"/>
                  </a:lnTo>
                  <a:lnTo>
                    <a:pt x="1869" y="288"/>
                  </a:lnTo>
                  <a:lnTo>
                    <a:pt x="1873" y="289"/>
                  </a:lnTo>
                  <a:lnTo>
                    <a:pt x="1869" y="288"/>
                  </a:lnTo>
                  <a:lnTo>
                    <a:pt x="1867" y="290"/>
                  </a:lnTo>
                  <a:lnTo>
                    <a:pt x="1864" y="288"/>
                  </a:lnTo>
                  <a:lnTo>
                    <a:pt x="1865" y="291"/>
                  </a:lnTo>
                  <a:lnTo>
                    <a:pt x="1865" y="293"/>
                  </a:lnTo>
                  <a:lnTo>
                    <a:pt x="1870" y="293"/>
                  </a:lnTo>
                  <a:lnTo>
                    <a:pt x="1868" y="293"/>
                  </a:lnTo>
                  <a:lnTo>
                    <a:pt x="1865" y="296"/>
                  </a:lnTo>
                  <a:lnTo>
                    <a:pt x="1868" y="295"/>
                  </a:lnTo>
                  <a:lnTo>
                    <a:pt x="1870" y="295"/>
                  </a:lnTo>
                  <a:lnTo>
                    <a:pt x="1874" y="295"/>
                  </a:lnTo>
                  <a:lnTo>
                    <a:pt x="1879" y="293"/>
                  </a:lnTo>
                  <a:lnTo>
                    <a:pt x="1875" y="296"/>
                  </a:lnTo>
                  <a:lnTo>
                    <a:pt x="1871" y="297"/>
                  </a:lnTo>
                  <a:lnTo>
                    <a:pt x="1873" y="297"/>
                  </a:lnTo>
                  <a:lnTo>
                    <a:pt x="1874" y="297"/>
                  </a:lnTo>
                  <a:lnTo>
                    <a:pt x="1875" y="297"/>
                  </a:lnTo>
                  <a:lnTo>
                    <a:pt x="1873" y="297"/>
                  </a:lnTo>
                  <a:lnTo>
                    <a:pt x="1870" y="298"/>
                  </a:lnTo>
                  <a:lnTo>
                    <a:pt x="1869" y="296"/>
                  </a:lnTo>
                  <a:lnTo>
                    <a:pt x="1864" y="297"/>
                  </a:lnTo>
                  <a:lnTo>
                    <a:pt x="1861" y="298"/>
                  </a:lnTo>
                  <a:lnTo>
                    <a:pt x="1859" y="300"/>
                  </a:lnTo>
                  <a:lnTo>
                    <a:pt x="1864" y="299"/>
                  </a:lnTo>
                  <a:lnTo>
                    <a:pt x="1862" y="301"/>
                  </a:lnTo>
                  <a:lnTo>
                    <a:pt x="1864" y="303"/>
                  </a:lnTo>
                  <a:lnTo>
                    <a:pt x="1861" y="301"/>
                  </a:lnTo>
                  <a:lnTo>
                    <a:pt x="1859" y="303"/>
                  </a:lnTo>
                  <a:lnTo>
                    <a:pt x="1858" y="308"/>
                  </a:lnTo>
                  <a:lnTo>
                    <a:pt x="1856" y="308"/>
                  </a:lnTo>
                  <a:lnTo>
                    <a:pt x="1854" y="310"/>
                  </a:lnTo>
                  <a:lnTo>
                    <a:pt x="1858" y="310"/>
                  </a:lnTo>
                  <a:lnTo>
                    <a:pt x="1858" y="314"/>
                  </a:lnTo>
                  <a:lnTo>
                    <a:pt x="1856" y="313"/>
                  </a:lnTo>
                  <a:lnTo>
                    <a:pt x="1853" y="310"/>
                  </a:lnTo>
                  <a:lnTo>
                    <a:pt x="1854" y="313"/>
                  </a:lnTo>
                  <a:lnTo>
                    <a:pt x="1851" y="315"/>
                  </a:lnTo>
                  <a:lnTo>
                    <a:pt x="1852" y="318"/>
                  </a:lnTo>
                  <a:lnTo>
                    <a:pt x="1854" y="316"/>
                  </a:lnTo>
                  <a:lnTo>
                    <a:pt x="1854" y="320"/>
                  </a:lnTo>
                  <a:lnTo>
                    <a:pt x="1857" y="320"/>
                  </a:lnTo>
                  <a:lnTo>
                    <a:pt x="1862" y="316"/>
                  </a:lnTo>
                  <a:lnTo>
                    <a:pt x="1859" y="318"/>
                  </a:lnTo>
                  <a:lnTo>
                    <a:pt x="1853" y="322"/>
                  </a:lnTo>
                  <a:lnTo>
                    <a:pt x="1851" y="322"/>
                  </a:lnTo>
                  <a:lnTo>
                    <a:pt x="1854" y="321"/>
                  </a:lnTo>
                  <a:lnTo>
                    <a:pt x="1849" y="320"/>
                  </a:lnTo>
                  <a:lnTo>
                    <a:pt x="1847" y="323"/>
                  </a:lnTo>
                  <a:lnTo>
                    <a:pt x="1849" y="322"/>
                  </a:lnTo>
                  <a:lnTo>
                    <a:pt x="1847" y="323"/>
                  </a:lnTo>
                  <a:lnTo>
                    <a:pt x="1844" y="323"/>
                  </a:lnTo>
                  <a:lnTo>
                    <a:pt x="1842" y="325"/>
                  </a:lnTo>
                  <a:lnTo>
                    <a:pt x="1844" y="325"/>
                  </a:lnTo>
                  <a:lnTo>
                    <a:pt x="1840" y="326"/>
                  </a:lnTo>
                  <a:lnTo>
                    <a:pt x="1842" y="327"/>
                  </a:lnTo>
                  <a:lnTo>
                    <a:pt x="1844" y="326"/>
                  </a:lnTo>
                  <a:lnTo>
                    <a:pt x="1850" y="324"/>
                  </a:lnTo>
                  <a:lnTo>
                    <a:pt x="1852" y="324"/>
                  </a:lnTo>
                  <a:lnTo>
                    <a:pt x="1849" y="324"/>
                  </a:lnTo>
                  <a:lnTo>
                    <a:pt x="1847" y="325"/>
                  </a:lnTo>
                  <a:lnTo>
                    <a:pt x="1844" y="327"/>
                  </a:lnTo>
                  <a:lnTo>
                    <a:pt x="1847" y="327"/>
                  </a:lnTo>
                  <a:lnTo>
                    <a:pt x="1841" y="330"/>
                  </a:lnTo>
                  <a:lnTo>
                    <a:pt x="1842" y="332"/>
                  </a:lnTo>
                  <a:lnTo>
                    <a:pt x="1845" y="332"/>
                  </a:lnTo>
                  <a:lnTo>
                    <a:pt x="1843" y="335"/>
                  </a:lnTo>
                  <a:lnTo>
                    <a:pt x="1844" y="335"/>
                  </a:lnTo>
                  <a:lnTo>
                    <a:pt x="1843" y="335"/>
                  </a:lnTo>
                  <a:lnTo>
                    <a:pt x="1840" y="338"/>
                  </a:lnTo>
                  <a:lnTo>
                    <a:pt x="1838" y="334"/>
                  </a:lnTo>
                  <a:lnTo>
                    <a:pt x="1832" y="334"/>
                  </a:lnTo>
                  <a:lnTo>
                    <a:pt x="1833" y="337"/>
                  </a:lnTo>
                  <a:lnTo>
                    <a:pt x="1831" y="337"/>
                  </a:lnTo>
                  <a:lnTo>
                    <a:pt x="1827" y="339"/>
                  </a:lnTo>
                  <a:lnTo>
                    <a:pt x="1827" y="341"/>
                  </a:lnTo>
                  <a:lnTo>
                    <a:pt x="1824" y="341"/>
                  </a:lnTo>
                  <a:lnTo>
                    <a:pt x="1823" y="344"/>
                  </a:lnTo>
                  <a:lnTo>
                    <a:pt x="1822" y="347"/>
                  </a:lnTo>
                  <a:lnTo>
                    <a:pt x="1824" y="346"/>
                  </a:lnTo>
                  <a:lnTo>
                    <a:pt x="1822" y="347"/>
                  </a:lnTo>
                  <a:lnTo>
                    <a:pt x="1822" y="348"/>
                  </a:lnTo>
                  <a:lnTo>
                    <a:pt x="1824" y="347"/>
                  </a:lnTo>
                  <a:lnTo>
                    <a:pt x="1816" y="350"/>
                  </a:lnTo>
                  <a:lnTo>
                    <a:pt x="1819" y="350"/>
                  </a:lnTo>
                  <a:lnTo>
                    <a:pt x="1816" y="352"/>
                  </a:lnTo>
                  <a:lnTo>
                    <a:pt x="1822" y="351"/>
                  </a:lnTo>
                  <a:lnTo>
                    <a:pt x="1822" y="351"/>
                  </a:lnTo>
                  <a:lnTo>
                    <a:pt x="1819" y="353"/>
                  </a:lnTo>
                  <a:lnTo>
                    <a:pt x="1822" y="357"/>
                  </a:lnTo>
                  <a:lnTo>
                    <a:pt x="1828" y="355"/>
                  </a:lnTo>
                  <a:lnTo>
                    <a:pt x="1831" y="352"/>
                  </a:lnTo>
                  <a:lnTo>
                    <a:pt x="1834" y="351"/>
                  </a:lnTo>
                  <a:lnTo>
                    <a:pt x="1836" y="349"/>
                  </a:lnTo>
                  <a:lnTo>
                    <a:pt x="1834" y="348"/>
                  </a:lnTo>
                  <a:lnTo>
                    <a:pt x="1832" y="349"/>
                  </a:lnTo>
                  <a:lnTo>
                    <a:pt x="1840" y="344"/>
                  </a:lnTo>
                  <a:lnTo>
                    <a:pt x="1843" y="344"/>
                  </a:lnTo>
                  <a:lnTo>
                    <a:pt x="1842" y="346"/>
                  </a:lnTo>
                  <a:lnTo>
                    <a:pt x="1840" y="346"/>
                  </a:lnTo>
                  <a:lnTo>
                    <a:pt x="1838" y="349"/>
                  </a:lnTo>
                  <a:lnTo>
                    <a:pt x="1840" y="350"/>
                  </a:lnTo>
                  <a:lnTo>
                    <a:pt x="1838" y="351"/>
                  </a:lnTo>
                  <a:lnTo>
                    <a:pt x="1834" y="352"/>
                  </a:lnTo>
                  <a:lnTo>
                    <a:pt x="1832" y="355"/>
                  </a:lnTo>
                  <a:lnTo>
                    <a:pt x="1835" y="355"/>
                  </a:lnTo>
                  <a:lnTo>
                    <a:pt x="1834" y="357"/>
                  </a:lnTo>
                  <a:lnTo>
                    <a:pt x="1824" y="357"/>
                  </a:lnTo>
                  <a:lnTo>
                    <a:pt x="1824" y="360"/>
                  </a:lnTo>
                  <a:lnTo>
                    <a:pt x="1822" y="359"/>
                  </a:lnTo>
                  <a:lnTo>
                    <a:pt x="1819" y="360"/>
                  </a:lnTo>
                  <a:lnTo>
                    <a:pt x="1822" y="358"/>
                  </a:lnTo>
                  <a:lnTo>
                    <a:pt x="1822" y="357"/>
                  </a:lnTo>
                  <a:lnTo>
                    <a:pt x="1817" y="353"/>
                  </a:lnTo>
                  <a:lnTo>
                    <a:pt x="1815" y="356"/>
                  </a:lnTo>
                  <a:lnTo>
                    <a:pt x="1811" y="357"/>
                  </a:lnTo>
                  <a:lnTo>
                    <a:pt x="1815" y="357"/>
                  </a:lnTo>
                  <a:lnTo>
                    <a:pt x="1811" y="359"/>
                  </a:lnTo>
                  <a:lnTo>
                    <a:pt x="1815" y="359"/>
                  </a:lnTo>
                  <a:lnTo>
                    <a:pt x="1811" y="359"/>
                  </a:lnTo>
                  <a:lnTo>
                    <a:pt x="1809" y="361"/>
                  </a:lnTo>
                  <a:lnTo>
                    <a:pt x="1810" y="358"/>
                  </a:lnTo>
                  <a:lnTo>
                    <a:pt x="1805" y="358"/>
                  </a:lnTo>
                  <a:lnTo>
                    <a:pt x="1804" y="360"/>
                  </a:lnTo>
                  <a:lnTo>
                    <a:pt x="1804" y="363"/>
                  </a:lnTo>
                  <a:lnTo>
                    <a:pt x="1806" y="363"/>
                  </a:lnTo>
                  <a:lnTo>
                    <a:pt x="1801" y="364"/>
                  </a:lnTo>
                  <a:lnTo>
                    <a:pt x="1797" y="365"/>
                  </a:lnTo>
                  <a:lnTo>
                    <a:pt x="1800" y="366"/>
                  </a:lnTo>
                  <a:lnTo>
                    <a:pt x="1802" y="366"/>
                  </a:lnTo>
                  <a:lnTo>
                    <a:pt x="1801" y="369"/>
                  </a:lnTo>
                  <a:lnTo>
                    <a:pt x="1805" y="370"/>
                  </a:lnTo>
                  <a:lnTo>
                    <a:pt x="1801" y="369"/>
                  </a:lnTo>
                  <a:lnTo>
                    <a:pt x="1799" y="367"/>
                  </a:lnTo>
                  <a:lnTo>
                    <a:pt x="1797" y="365"/>
                  </a:lnTo>
                  <a:lnTo>
                    <a:pt x="1794" y="365"/>
                  </a:lnTo>
                  <a:lnTo>
                    <a:pt x="1798" y="370"/>
                  </a:lnTo>
                  <a:lnTo>
                    <a:pt x="1800" y="372"/>
                  </a:lnTo>
                  <a:lnTo>
                    <a:pt x="1801" y="373"/>
                  </a:lnTo>
                  <a:lnTo>
                    <a:pt x="1802" y="373"/>
                  </a:lnTo>
                  <a:lnTo>
                    <a:pt x="1802" y="374"/>
                  </a:lnTo>
                  <a:lnTo>
                    <a:pt x="1801" y="373"/>
                  </a:lnTo>
                  <a:lnTo>
                    <a:pt x="1797" y="370"/>
                  </a:lnTo>
                  <a:lnTo>
                    <a:pt x="1794" y="367"/>
                  </a:lnTo>
                  <a:lnTo>
                    <a:pt x="1792" y="368"/>
                  </a:lnTo>
                  <a:lnTo>
                    <a:pt x="1788" y="367"/>
                  </a:lnTo>
                  <a:lnTo>
                    <a:pt x="1787" y="367"/>
                  </a:lnTo>
                  <a:lnTo>
                    <a:pt x="1784" y="367"/>
                  </a:lnTo>
                  <a:lnTo>
                    <a:pt x="1781" y="368"/>
                  </a:lnTo>
                  <a:lnTo>
                    <a:pt x="1784" y="370"/>
                  </a:lnTo>
                  <a:lnTo>
                    <a:pt x="1781" y="370"/>
                  </a:lnTo>
                  <a:lnTo>
                    <a:pt x="1784" y="373"/>
                  </a:lnTo>
                  <a:lnTo>
                    <a:pt x="1789" y="372"/>
                  </a:lnTo>
                  <a:lnTo>
                    <a:pt x="1787" y="373"/>
                  </a:lnTo>
                  <a:lnTo>
                    <a:pt x="1790" y="373"/>
                  </a:lnTo>
                  <a:lnTo>
                    <a:pt x="1794" y="372"/>
                  </a:lnTo>
                  <a:lnTo>
                    <a:pt x="1789" y="374"/>
                  </a:lnTo>
                  <a:lnTo>
                    <a:pt x="1791" y="376"/>
                  </a:lnTo>
                  <a:lnTo>
                    <a:pt x="1791" y="376"/>
                  </a:lnTo>
                  <a:lnTo>
                    <a:pt x="1788" y="376"/>
                  </a:lnTo>
                  <a:lnTo>
                    <a:pt x="1785" y="375"/>
                  </a:lnTo>
                  <a:lnTo>
                    <a:pt x="1782" y="375"/>
                  </a:lnTo>
                  <a:lnTo>
                    <a:pt x="1780" y="375"/>
                  </a:lnTo>
                  <a:lnTo>
                    <a:pt x="1776" y="375"/>
                  </a:lnTo>
                  <a:lnTo>
                    <a:pt x="1771" y="375"/>
                  </a:lnTo>
                  <a:lnTo>
                    <a:pt x="1774" y="376"/>
                  </a:lnTo>
                  <a:lnTo>
                    <a:pt x="1771" y="378"/>
                  </a:lnTo>
                  <a:lnTo>
                    <a:pt x="1775" y="378"/>
                  </a:lnTo>
                  <a:lnTo>
                    <a:pt x="1777" y="378"/>
                  </a:lnTo>
                  <a:lnTo>
                    <a:pt x="1780" y="380"/>
                  </a:lnTo>
                  <a:lnTo>
                    <a:pt x="1782" y="382"/>
                  </a:lnTo>
                  <a:lnTo>
                    <a:pt x="1785" y="382"/>
                  </a:lnTo>
                  <a:lnTo>
                    <a:pt x="1782" y="382"/>
                  </a:lnTo>
                  <a:lnTo>
                    <a:pt x="1781" y="385"/>
                  </a:lnTo>
                  <a:lnTo>
                    <a:pt x="1784" y="385"/>
                  </a:lnTo>
                  <a:lnTo>
                    <a:pt x="1781" y="386"/>
                  </a:lnTo>
                  <a:lnTo>
                    <a:pt x="1781" y="385"/>
                  </a:lnTo>
                  <a:lnTo>
                    <a:pt x="1781" y="383"/>
                  </a:lnTo>
                  <a:lnTo>
                    <a:pt x="1780" y="381"/>
                  </a:lnTo>
                  <a:lnTo>
                    <a:pt x="1777" y="378"/>
                  </a:lnTo>
                  <a:lnTo>
                    <a:pt x="1774" y="380"/>
                  </a:lnTo>
                  <a:lnTo>
                    <a:pt x="1774" y="382"/>
                  </a:lnTo>
                  <a:lnTo>
                    <a:pt x="1775" y="384"/>
                  </a:lnTo>
                  <a:lnTo>
                    <a:pt x="1773" y="381"/>
                  </a:lnTo>
                  <a:lnTo>
                    <a:pt x="1770" y="381"/>
                  </a:lnTo>
                  <a:lnTo>
                    <a:pt x="1767" y="383"/>
                  </a:lnTo>
                  <a:lnTo>
                    <a:pt x="1768" y="385"/>
                  </a:lnTo>
                  <a:lnTo>
                    <a:pt x="1772" y="386"/>
                  </a:lnTo>
                  <a:lnTo>
                    <a:pt x="1766" y="386"/>
                  </a:lnTo>
                  <a:lnTo>
                    <a:pt x="1765" y="384"/>
                  </a:lnTo>
                  <a:lnTo>
                    <a:pt x="1759" y="385"/>
                  </a:lnTo>
                  <a:lnTo>
                    <a:pt x="1760" y="387"/>
                  </a:lnTo>
                  <a:lnTo>
                    <a:pt x="1758" y="385"/>
                  </a:lnTo>
                  <a:lnTo>
                    <a:pt x="1756" y="386"/>
                  </a:lnTo>
                  <a:lnTo>
                    <a:pt x="1758" y="387"/>
                  </a:lnTo>
                  <a:lnTo>
                    <a:pt x="1756" y="390"/>
                  </a:lnTo>
                  <a:lnTo>
                    <a:pt x="1758" y="390"/>
                  </a:lnTo>
                  <a:lnTo>
                    <a:pt x="1764" y="390"/>
                  </a:lnTo>
                  <a:lnTo>
                    <a:pt x="1770" y="391"/>
                  </a:lnTo>
                  <a:lnTo>
                    <a:pt x="1775" y="391"/>
                  </a:lnTo>
                  <a:lnTo>
                    <a:pt x="1777" y="391"/>
                  </a:lnTo>
                  <a:lnTo>
                    <a:pt x="1775" y="392"/>
                  </a:lnTo>
                  <a:lnTo>
                    <a:pt x="1772" y="392"/>
                  </a:lnTo>
                  <a:lnTo>
                    <a:pt x="1766" y="393"/>
                  </a:lnTo>
                  <a:lnTo>
                    <a:pt x="1764" y="392"/>
                  </a:lnTo>
                  <a:lnTo>
                    <a:pt x="1760" y="390"/>
                  </a:lnTo>
                  <a:lnTo>
                    <a:pt x="1758" y="391"/>
                  </a:lnTo>
                  <a:lnTo>
                    <a:pt x="1756" y="392"/>
                  </a:lnTo>
                  <a:lnTo>
                    <a:pt x="1754" y="395"/>
                  </a:lnTo>
                  <a:lnTo>
                    <a:pt x="1756" y="397"/>
                  </a:lnTo>
                  <a:lnTo>
                    <a:pt x="1759" y="395"/>
                  </a:lnTo>
                  <a:lnTo>
                    <a:pt x="1754" y="397"/>
                  </a:lnTo>
                  <a:lnTo>
                    <a:pt x="1756" y="397"/>
                  </a:lnTo>
                  <a:lnTo>
                    <a:pt x="1759" y="397"/>
                  </a:lnTo>
                  <a:lnTo>
                    <a:pt x="1756" y="397"/>
                  </a:lnTo>
                  <a:lnTo>
                    <a:pt x="1759" y="398"/>
                  </a:lnTo>
                  <a:lnTo>
                    <a:pt x="1757" y="399"/>
                  </a:lnTo>
                  <a:lnTo>
                    <a:pt x="1762" y="400"/>
                  </a:lnTo>
                  <a:lnTo>
                    <a:pt x="1765" y="400"/>
                  </a:lnTo>
                  <a:lnTo>
                    <a:pt x="1762" y="400"/>
                  </a:lnTo>
                  <a:lnTo>
                    <a:pt x="1759" y="399"/>
                  </a:lnTo>
                  <a:lnTo>
                    <a:pt x="1754" y="401"/>
                  </a:lnTo>
                  <a:lnTo>
                    <a:pt x="1756" y="401"/>
                  </a:lnTo>
                  <a:lnTo>
                    <a:pt x="1762" y="401"/>
                  </a:lnTo>
                  <a:lnTo>
                    <a:pt x="1757" y="402"/>
                  </a:lnTo>
                  <a:lnTo>
                    <a:pt x="1754" y="403"/>
                  </a:lnTo>
                  <a:lnTo>
                    <a:pt x="1756" y="404"/>
                  </a:lnTo>
                  <a:lnTo>
                    <a:pt x="1759" y="408"/>
                  </a:lnTo>
                  <a:lnTo>
                    <a:pt x="1765" y="404"/>
                  </a:lnTo>
                  <a:lnTo>
                    <a:pt x="1771" y="404"/>
                  </a:lnTo>
                  <a:lnTo>
                    <a:pt x="1773" y="407"/>
                  </a:lnTo>
                  <a:lnTo>
                    <a:pt x="1776" y="402"/>
                  </a:lnTo>
                  <a:lnTo>
                    <a:pt x="1775" y="404"/>
                  </a:lnTo>
                  <a:lnTo>
                    <a:pt x="1776" y="404"/>
                  </a:lnTo>
                  <a:lnTo>
                    <a:pt x="1782" y="404"/>
                  </a:lnTo>
                  <a:lnTo>
                    <a:pt x="1780" y="406"/>
                  </a:lnTo>
                  <a:lnTo>
                    <a:pt x="1783" y="406"/>
                  </a:lnTo>
                  <a:lnTo>
                    <a:pt x="1785" y="406"/>
                  </a:lnTo>
                  <a:lnTo>
                    <a:pt x="1784" y="403"/>
                  </a:lnTo>
                  <a:lnTo>
                    <a:pt x="1787" y="401"/>
                  </a:lnTo>
                  <a:lnTo>
                    <a:pt x="1785" y="403"/>
                  </a:lnTo>
                  <a:lnTo>
                    <a:pt x="1787" y="404"/>
                  </a:lnTo>
                  <a:lnTo>
                    <a:pt x="1788" y="404"/>
                  </a:lnTo>
                  <a:lnTo>
                    <a:pt x="1790" y="404"/>
                  </a:lnTo>
                  <a:lnTo>
                    <a:pt x="1788" y="407"/>
                  </a:lnTo>
                  <a:lnTo>
                    <a:pt x="1784" y="406"/>
                  </a:lnTo>
                  <a:lnTo>
                    <a:pt x="1781" y="408"/>
                  </a:lnTo>
                  <a:lnTo>
                    <a:pt x="1782" y="410"/>
                  </a:lnTo>
                  <a:lnTo>
                    <a:pt x="1780" y="410"/>
                  </a:lnTo>
                  <a:lnTo>
                    <a:pt x="1780" y="408"/>
                  </a:lnTo>
                  <a:lnTo>
                    <a:pt x="1777" y="406"/>
                  </a:lnTo>
                  <a:lnTo>
                    <a:pt x="1774" y="407"/>
                  </a:lnTo>
                  <a:lnTo>
                    <a:pt x="1764" y="407"/>
                  </a:lnTo>
                  <a:lnTo>
                    <a:pt x="1756" y="409"/>
                  </a:lnTo>
                  <a:lnTo>
                    <a:pt x="1755" y="412"/>
                  </a:lnTo>
                  <a:lnTo>
                    <a:pt x="1757" y="412"/>
                  </a:lnTo>
                  <a:lnTo>
                    <a:pt x="1760" y="412"/>
                  </a:lnTo>
                  <a:lnTo>
                    <a:pt x="1758" y="414"/>
                  </a:lnTo>
                  <a:lnTo>
                    <a:pt x="1759" y="416"/>
                  </a:lnTo>
                  <a:lnTo>
                    <a:pt x="1757" y="415"/>
                  </a:lnTo>
                  <a:lnTo>
                    <a:pt x="1754" y="414"/>
                  </a:lnTo>
                  <a:lnTo>
                    <a:pt x="1756" y="416"/>
                  </a:lnTo>
                  <a:lnTo>
                    <a:pt x="1757" y="418"/>
                  </a:lnTo>
                  <a:lnTo>
                    <a:pt x="1762" y="416"/>
                  </a:lnTo>
                  <a:lnTo>
                    <a:pt x="1764" y="416"/>
                  </a:lnTo>
                  <a:lnTo>
                    <a:pt x="1764" y="418"/>
                  </a:lnTo>
                  <a:lnTo>
                    <a:pt x="1763" y="419"/>
                  </a:lnTo>
                  <a:lnTo>
                    <a:pt x="1763" y="419"/>
                  </a:lnTo>
                  <a:lnTo>
                    <a:pt x="1762" y="420"/>
                  </a:lnTo>
                  <a:lnTo>
                    <a:pt x="1762" y="420"/>
                  </a:lnTo>
                  <a:lnTo>
                    <a:pt x="1762" y="420"/>
                  </a:lnTo>
                  <a:lnTo>
                    <a:pt x="1758" y="419"/>
                  </a:lnTo>
                  <a:lnTo>
                    <a:pt x="1756" y="421"/>
                  </a:lnTo>
                  <a:lnTo>
                    <a:pt x="1757" y="425"/>
                  </a:lnTo>
                  <a:lnTo>
                    <a:pt x="1759" y="426"/>
                  </a:lnTo>
                  <a:lnTo>
                    <a:pt x="1762" y="424"/>
                  </a:lnTo>
                  <a:lnTo>
                    <a:pt x="1762" y="426"/>
                  </a:lnTo>
                  <a:lnTo>
                    <a:pt x="1764" y="426"/>
                  </a:lnTo>
                  <a:lnTo>
                    <a:pt x="1764" y="429"/>
                  </a:lnTo>
                  <a:lnTo>
                    <a:pt x="1765" y="429"/>
                  </a:lnTo>
                  <a:lnTo>
                    <a:pt x="1767" y="425"/>
                  </a:lnTo>
                  <a:lnTo>
                    <a:pt x="1770" y="424"/>
                  </a:lnTo>
                  <a:lnTo>
                    <a:pt x="1772" y="421"/>
                  </a:lnTo>
                  <a:lnTo>
                    <a:pt x="1774" y="420"/>
                  </a:lnTo>
                  <a:lnTo>
                    <a:pt x="1780" y="420"/>
                  </a:lnTo>
                  <a:lnTo>
                    <a:pt x="1777" y="421"/>
                  </a:lnTo>
                  <a:lnTo>
                    <a:pt x="1775" y="426"/>
                  </a:lnTo>
                  <a:lnTo>
                    <a:pt x="1775" y="424"/>
                  </a:lnTo>
                  <a:lnTo>
                    <a:pt x="1775" y="421"/>
                  </a:lnTo>
                  <a:lnTo>
                    <a:pt x="1773" y="423"/>
                  </a:lnTo>
                  <a:lnTo>
                    <a:pt x="1770" y="425"/>
                  </a:lnTo>
                  <a:lnTo>
                    <a:pt x="1770" y="427"/>
                  </a:lnTo>
                  <a:lnTo>
                    <a:pt x="1766" y="429"/>
                  </a:lnTo>
                  <a:lnTo>
                    <a:pt x="1767" y="430"/>
                  </a:lnTo>
                  <a:lnTo>
                    <a:pt x="1764" y="432"/>
                  </a:lnTo>
                  <a:lnTo>
                    <a:pt x="1763" y="433"/>
                  </a:lnTo>
                  <a:lnTo>
                    <a:pt x="1766" y="434"/>
                  </a:lnTo>
                  <a:lnTo>
                    <a:pt x="1768" y="435"/>
                  </a:lnTo>
                  <a:lnTo>
                    <a:pt x="1771" y="433"/>
                  </a:lnTo>
                  <a:lnTo>
                    <a:pt x="1768" y="435"/>
                  </a:lnTo>
                  <a:lnTo>
                    <a:pt x="1766" y="435"/>
                  </a:lnTo>
                  <a:lnTo>
                    <a:pt x="1765" y="437"/>
                  </a:lnTo>
                  <a:lnTo>
                    <a:pt x="1762" y="436"/>
                  </a:lnTo>
                  <a:lnTo>
                    <a:pt x="1762" y="438"/>
                  </a:lnTo>
                  <a:lnTo>
                    <a:pt x="1758" y="440"/>
                  </a:lnTo>
                  <a:lnTo>
                    <a:pt x="1760" y="437"/>
                  </a:lnTo>
                  <a:lnTo>
                    <a:pt x="1758" y="437"/>
                  </a:lnTo>
                  <a:lnTo>
                    <a:pt x="1757" y="440"/>
                  </a:lnTo>
                  <a:lnTo>
                    <a:pt x="1758" y="443"/>
                  </a:lnTo>
                  <a:lnTo>
                    <a:pt x="1759" y="444"/>
                  </a:lnTo>
                  <a:lnTo>
                    <a:pt x="1762" y="442"/>
                  </a:lnTo>
                  <a:lnTo>
                    <a:pt x="1763" y="444"/>
                  </a:lnTo>
                  <a:lnTo>
                    <a:pt x="1765" y="443"/>
                  </a:lnTo>
                  <a:lnTo>
                    <a:pt x="1764" y="441"/>
                  </a:lnTo>
                  <a:lnTo>
                    <a:pt x="1770" y="441"/>
                  </a:lnTo>
                  <a:lnTo>
                    <a:pt x="1766" y="441"/>
                  </a:lnTo>
                  <a:lnTo>
                    <a:pt x="1770" y="442"/>
                  </a:lnTo>
                  <a:lnTo>
                    <a:pt x="1771" y="440"/>
                  </a:lnTo>
                  <a:lnTo>
                    <a:pt x="1771" y="437"/>
                  </a:lnTo>
                  <a:lnTo>
                    <a:pt x="1774" y="438"/>
                  </a:lnTo>
                  <a:lnTo>
                    <a:pt x="1771" y="440"/>
                  </a:lnTo>
                  <a:lnTo>
                    <a:pt x="1770" y="442"/>
                  </a:lnTo>
                  <a:lnTo>
                    <a:pt x="1768" y="442"/>
                  </a:lnTo>
                  <a:lnTo>
                    <a:pt x="1771" y="443"/>
                  </a:lnTo>
                  <a:lnTo>
                    <a:pt x="1770" y="444"/>
                  </a:lnTo>
                  <a:lnTo>
                    <a:pt x="1772" y="444"/>
                  </a:lnTo>
                  <a:lnTo>
                    <a:pt x="1770" y="445"/>
                  </a:lnTo>
                  <a:lnTo>
                    <a:pt x="1766" y="447"/>
                  </a:lnTo>
                  <a:lnTo>
                    <a:pt x="1767" y="450"/>
                  </a:lnTo>
                  <a:lnTo>
                    <a:pt x="1768" y="452"/>
                  </a:lnTo>
                  <a:lnTo>
                    <a:pt x="1771" y="450"/>
                  </a:lnTo>
                  <a:lnTo>
                    <a:pt x="1774" y="449"/>
                  </a:lnTo>
                  <a:lnTo>
                    <a:pt x="1771" y="450"/>
                  </a:lnTo>
                  <a:lnTo>
                    <a:pt x="1770" y="453"/>
                  </a:lnTo>
                  <a:lnTo>
                    <a:pt x="1767" y="452"/>
                  </a:lnTo>
                  <a:lnTo>
                    <a:pt x="1765" y="452"/>
                  </a:lnTo>
                  <a:lnTo>
                    <a:pt x="1763" y="450"/>
                  </a:lnTo>
                  <a:lnTo>
                    <a:pt x="1762" y="452"/>
                  </a:lnTo>
                  <a:lnTo>
                    <a:pt x="1760" y="455"/>
                  </a:lnTo>
                  <a:lnTo>
                    <a:pt x="1760" y="457"/>
                  </a:lnTo>
                  <a:lnTo>
                    <a:pt x="1763" y="460"/>
                  </a:lnTo>
                  <a:lnTo>
                    <a:pt x="1766" y="461"/>
                  </a:lnTo>
                  <a:lnTo>
                    <a:pt x="1768" y="463"/>
                  </a:lnTo>
                  <a:lnTo>
                    <a:pt x="1772" y="463"/>
                  </a:lnTo>
                  <a:lnTo>
                    <a:pt x="1772" y="464"/>
                  </a:lnTo>
                  <a:lnTo>
                    <a:pt x="1779" y="466"/>
                  </a:lnTo>
                  <a:lnTo>
                    <a:pt x="1780" y="464"/>
                  </a:lnTo>
                  <a:lnTo>
                    <a:pt x="1777" y="466"/>
                  </a:lnTo>
                  <a:lnTo>
                    <a:pt x="1775" y="469"/>
                  </a:lnTo>
                  <a:lnTo>
                    <a:pt x="1781" y="468"/>
                  </a:lnTo>
                  <a:lnTo>
                    <a:pt x="1784" y="469"/>
                  </a:lnTo>
                  <a:lnTo>
                    <a:pt x="1788" y="470"/>
                  </a:lnTo>
                  <a:lnTo>
                    <a:pt x="1789" y="470"/>
                  </a:lnTo>
                  <a:lnTo>
                    <a:pt x="1794" y="468"/>
                  </a:lnTo>
                  <a:lnTo>
                    <a:pt x="1796" y="467"/>
                  </a:lnTo>
                  <a:lnTo>
                    <a:pt x="1797" y="467"/>
                  </a:lnTo>
                  <a:lnTo>
                    <a:pt x="1802" y="464"/>
                  </a:lnTo>
                  <a:lnTo>
                    <a:pt x="1805" y="461"/>
                  </a:lnTo>
                  <a:lnTo>
                    <a:pt x="1814" y="454"/>
                  </a:lnTo>
                  <a:lnTo>
                    <a:pt x="1815" y="452"/>
                  </a:lnTo>
                  <a:lnTo>
                    <a:pt x="1817" y="451"/>
                  </a:lnTo>
                  <a:lnTo>
                    <a:pt x="1817" y="449"/>
                  </a:lnTo>
                  <a:lnTo>
                    <a:pt x="1817" y="447"/>
                  </a:lnTo>
                  <a:lnTo>
                    <a:pt x="1817" y="449"/>
                  </a:lnTo>
                  <a:lnTo>
                    <a:pt x="1819" y="450"/>
                  </a:lnTo>
                  <a:lnTo>
                    <a:pt x="1822" y="451"/>
                  </a:lnTo>
                  <a:lnTo>
                    <a:pt x="1823" y="449"/>
                  </a:lnTo>
                  <a:lnTo>
                    <a:pt x="1825" y="447"/>
                  </a:lnTo>
                  <a:lnTo>
                    <a:pt x="1827" y="445"/>
                  </a:lnTo>
                  <a:lnTo>
                    <a:pt x="1828" y="442"/>
                  </a:lnTo>
                  <a:lnTo>
                    <a:pt x="1826" y="440"/>
                  </a:lnTo>
                  <a:lnTo>
                    <a:pt x="1827" y="437"/>
                  </a:lnTo>
                  <a:lnTo>
                    <a:pt x="1831" y="438"/>
                  </a:lnTo>
                  <a:lnTo>
                    <a:pt x="1830" y="436"/>
                  </a:lnTo>
                  <a:lnTo>
                    <a:pt x="1828" y="434"/>
                  </a:lnTo>
                  <a:lnTo>
                    <a:pt x="1831" y="432"/>
                  </a:lnTo>
                  <a:lnTo>
                    <a:pt x="1833" y="433"/>
                  </a:lnTo>
                  <a:lnTo>
                    <a:pt x="1831" y="436"/>
                  </a:lnTo>
                  <a:lnTo>
                    <a:pt x="1832" y="440"/>
                  </a:lnTo>
                  <a:lnTo>
                    <a:pt x="1832" y="443"/>
                  </a:lnTo>
                  <a:lnTo>
                    <a:pt x="1832" y="445"/>
                  </a:lnTo>
                  <a:lnTo>
                    <a:pt x="1834" y="445"/>
                  </a:lnTo>
                  <a:lnTo>
                    <a:pt x="1838" y="446"/>
                  </a:lnTo>
                  <a:lnTo>
                    <a:pt x="1839" y="449"/>
                  </a:lnTo>
                  <a:lnTo>
                    <a:pt x="1838" y="451"/>
                  </a:lnTo>
                  <a:lnTo>
                    <a:pt x="1839" y="453"/>
                  </a:lnTo>
                  <a:lnTo>
                    <a:pt x="1839" y="457"/>
                  </a:lnTo>
                  <a:lnTo>
                    <a:pt x="1840" y="461"/>
                  </a:lnTo>
                  <a:lnTo>
                    <a:pt x="1842" y="464"/>
                  </a:lnTo>
                  <a:lnTo>
                    <a:pt x="1843" y="461"/>
                  </a:lnTo>
                  <a:lnTo>
                    <a:pt x="1843" y="464"/>
                  </a:lnTo>
                  <a:lnTo>
                    <a:pt x="1845" y="463"/>
                  </a:lnTo>
                  <a:lnTo>
                    <a:pt x="1847" y="466"/>
                  </a:lnTo>
                  <a:lnTo>
                    <a:pt x="1847" y="466"/>
                  </a:lnTo>
                  <a:lnTo>
                    <a:pt x="1847" y="466"/>
                  </a:lnTo>
                  <a:lnTo>
                    <a:pt x="1848" y="467"/>
                  </a:lnTo>
                  <a:lnTo>
                    <a:pt x="1847" y="469"/>
                  </a:lnTo>
                  <a:lnTo>
                    <a:pt x="1845" y="474"/>
                  </a:lnTo>
                  <a:lnTo>
                    <a:pt x="1848" y="474"/>
                  </a:lnTo>
                  <a:lnTo>
                    <a:pt x="1848" y="477"/>
                  </a:lnTo>
                  <a:lnTo>
                    <a:pt x="1849" y="478"/>
                  </a:lnTo>
                  <a:lnTo>
                    <a:pt x="1848" y="481"/>
                  </a:lnTo>
                  <a:lnTo>
                    <a:pt x="1851" y="481"/>
                  </a:lnTo>
                  <a:lnTo>
                    <a:pt x="1852" y="487"/>
                  </a:lnTo>
                  <a:lnTo>
                    <a:pt x="1853" y="489"/>
                  </a:lnTo>
                  <a:lnTo>
                    <a:pt x="1856" y="492"/>
                  </a:lnTo>
                  <a:lnTo>
                    <a:pt x="1856" y="492"/>
                  </a:lnTo>
                  <a:lnTo>
                    <a:pt x="1857" y="493"/>
                  </a:lnTo>
                  <a:lnTo>
                    <a:pt x="1859" y="496"/>
                  </a:lnTo>
                  <a:lnTo>
                    <a:pt x="1861" y="496"/>
                  </a:lnTo>
                  <a:lnTo>
                    <a:pt x="1862" y="498"/>
                  </a:lnTo>
                  <a:lnTo>
                    <a:pt x="1861" y="501"/>
                  </a:lnTo>
                  <a:lnTo>
                    <a:pt x="1859" y="500"/>
                  </a:lnTo>
                  <a:lnTo>
                    <a:pt x="1860" y="505"/>
                  </a:lnTo>
                  <a:lnTo>
                    <a:pt x="1858" y="504"/>
                  </a:lnTo>
                  <a:lnTo>
                    <a:pt x="1858" y="506"/>
                  </a:lnTo>
                  <a:lnTo>
                    <a:pt x="1859" y="509"/>
                  </a:lnTo>
                  <a:lnTo>
                    <a:pt x="1861" y="514"/>
                  </a:lnTo>
                  <a:lnTo>
                    <a:pt x="1862" y="517"/>
                  </a:lnTo>
                  <a:lnTo>
                    <a:pt x="1862" y="519"/>
                  </a:lnTo>
                  <a:lnTo>
                    <a:pt x="1865" y="521"/>
                  </a:lnTo>
                  <a:lnTo>
                    <a:pt x="1868" y="522"/>
                  </a:lnTo>
                  <a:lnTo>
                    <a:pt x="1874" y="520"/>
                  </a:lnTo>
                  <a:lnTo>
                    <a:pt x="1879" y="521"/>
                  </a:lnTo>
                  <a:lnTo>
                    <a:pt x="1882" y="518"/>
                  </a:lnTo>
                  <a:lnTo>
                    <a:pt x="1879" y="515"/>
                  </a:lnTo>
                  <a:lnTo>
                    <a:pt x="1879" y="512"/>
                  </a:lnTo>
                  <a:lnTo>
                    <a:pt x="1882" y="511"/>
                  </a:lnTo>
                  <a:lnTo>
                    <a:pt x="1884" y="509"/>
                  </a:lnTo>
                  <a:lnTo>
                    <a:pt x="1886" y="510"/>
                  </a:lnTo>
                  <a:lnTo>
                    <a:pt x="1886" y="506"/>
                  </a:lnTo>
                  <a:lnTo>
                    <a:pt x="1890" y="506"/>
                  </a:lnTo>
                  <a:lnTo>
                    <a:pt x="1895" y="506"/>
                  </a:lnTo>
                  <a:lnTo>
                    <a:pt x="1899" y="505"/>
                  </a:lnTo>
                  <a:lnTo>
                    <a:pt x="1900" y="505"/>
                  </a:lnTo>
                  <a:lnTo>
                    <a:pt x="1902" y="508"/>
                  </a:lnTo>
                  <a:lnTo>
                    <a:pt x="1904" y="505"/>
                  </a:lnTo>
                  <a:lnTo>
                    <a:pt x="1905" y="501"/>
                  </a:lnTo>
                  <a:lnTo>
                    <a:pt x="1909" y="496"/>
                  </a:lnTo>
                  <a:lnTo>
                    <a:pt x="1910" y="491"/>
                  </a:lnTo>
                  <a:lnTo>
                    <a:pt x="1910" y="491"/>
                  </a:lnTo>
                  <a:lnTo>
                    <a:pt x="1911" y="487"/>
                  </a:lnTo>
                  <a:lnTo>
                    <a:pt x="1911" y="487"/>
                  </a:lnTo>
                  <a:lnTo>
                    <a:pt x="1910" y="485"/>
                  </a:lnTo>
                  <a:lnTo>
                    <a:pt x="1912" y="483"/>
                  </a:lnTo>
                  <a:lnTo>
                    <a:pt x="1913" y="475"/>
                  </a:lnTo>
                  <a:lnTo>
                    <a:pt x="1911" y="472"/>
                  </a:lnTo>
                  <a:lnTo>
                    <a:pt x="1915" y="472"/>
                  </a:lnTo>
                  <a:lnTo>
                    <a:pt x="1913" y="470"/>
                  </a:lnTo>
                  <a:lnTo>
                    <a:pt x="1915" y="462"/>
                  </a:lnTo>
                  <a:lnTo>
                    <a:pt x="1910" y="461"/>
                  </a:lnTo>
                  <a:lnTo>
                    <a:pt x="1912" y="461"/>
                  </a:lnTo>
                  <a:lnTo>
                    <a:pt x="1916" y="461"/>
                  </a:lnTo>
                  <a:lnTo>
                    <a:pt x="1915" y="459"/>
                  </a:lnTo>
                  <a:lnTo>
                    <a:pt x="1912" y="458"/>
                  </a:lnTo>
                  <a:lnTo>
                    <a:pt x="1912" y="458"/>
                  </a:lnTo>
                  <a:lnTo>
                    <a:pt x="1918" y="458"/>
                  </a:lnTo>
                  <a:lnTo>
                    <a:pt x="1919" y="455"/>
                  </a:lnTo>
                  <a:lnTo>
                    <a:pt x="1921" y="455"/>
                  </a:lnTo>
                  <a:lnTo>
                    <a:pt x="1925" y="454"/>
                  </a:lnTo>
                  <a:lnTo>
                    <a:pt x="1927" y="452"/>
                  </a:lnTo>
                  <a:lnTo>
                    <a:pt x="1926" y="451"/>
                  </a:lnTo>
                  <a:lnTo>
                    <a:pt x="1927" y="449"/>
                  </a:lnTo>
                  <a:lnTo>
                    <a:pt x="1929" y="454"/>
                  </a:lnTo>
                  <a:lnTo>
                    <a:pt x="1930" y="451"/>
                  </a:lnTo>
                  <a:lnTo>
                    <a:pt x="1935" y="447"/>
                  </a:lnTo>
                  <a:lnTo>
                    <a:pt x="1937" y="447"/>
                  </a:lnTo>
                  <a:lnTo>
                    <a:pt x="1936" y="444"/>
                  </a:lnTo>
                  <a:lnTo>
                    <a:pt x="1938" y="446"/>
                  </a:lnTo>
                  <a:lnTo>
                    <a:pt x="1939" y="445"/>
                  </a:lnTo>
                  <a:lnTo>
                    <a:pt x="1938" y="443"/>
                  </a:lnTo>
                  <a:lnTo>
                    <a:pt x="1936" y="443"/>
                  </a:lnTo>
                  <a:lnTo>
                    <a:pt x="1934" y="444"/>
                  </a:lnTo>
                  <a:lnTo>
                    <a:pt x="1933" y="441"/>
                  </a:lnTo>
                  <a:lnTo>
                    <a:pt x="1936" y="443"/>
                  </a:lnTo>
                  <a:lnTo>
                    <a:pt x="1938" y="440"/>
                  </a:lnTo>
                  <a:lnTo>
                    <a:pt x="1941" y="438"/>
                  </a:lnTo>
                  <a:lnTo>
                    <a:pt x="1942" y="436"/>
                  </a:lnTo>
                  <a:lnTo>
                    <a:pt x="1944" y="435"/>
                  </a:lnTo>
                  <a:lnTo>
                    <a:pt x="1945" y="433"/>
                  </a:lnTo>
                  <a:lnTo>
                    <a:pt x="1943" y="429"/>
                  </a:lnTo>
                  <a:lnTo>
                    <a:pt x="1941" y="427"/>
                  </a:lnTo>
                  <a:lnTo>
                    <a:pt x="1939" y="427"/>
                  </a:lnTo>
                  <a:lnTo>
                    <a:pt x="1938" y="426"/>
                  </a:lnTo>
                  <a:lnTo>
                    <a:pt x="1937" y="423"/>
                  </a:lnTo>
                  <a:lnTo>
                    <a:pt x="1935" y="423"/>
                  </a:lnTo>
                  <a:lnTo>
                    <a:pt x="1929" y="418"/>
                  </a:lnTo>
                  <a:lnTo>
                    <a:pt x="1927" y="418"/>
                  </a:lnTo>
                  <a:lnTo>
                    <a:pt x="1924" y="417"/>
                  </a:lnTo>
                  <a:lnTo>
                    <a:pt x="1920" y="416"/>
                  </a:lnTo>
                  <a:lnTo>
                    <a:pt x="1921" y="414"/>
                  </a:lnTo>
                  <a:lnTo>
                    <a:pt x="1919" y="410"/>
                  </a:lnTo>
                  <a:lnTo>
                    <a:pt x="1920" y="408"/>
                  </a:lnTo>
                  <a:lnTo>
                    <a:pt x="1920" y="403"/>
                  </a:lnTo>
                  <a:lnTo>
                    <a:pt x="1919" y="401"/>
                  </a:lnTo>
                  <a:lnTo>
                    <a:pt x="1920" y="398"/>
                  </a:lnTo>
                  <a:lnTo>
                    <a:pt x="1921" y="397"/>
                  </a:lnTo>
                  <a:lnTo>
                    <a:pt x="1920" y="394"/>
                  </a:lnTo>
                  <a:lnTo>
                    <a:pt x="1922" y="393"/>
                  </a:lnTo>
                  <a:lnTo>
                    <a:pt x="1922" y="391"/>
                  </a:lnTo>
                  <a:lnTo>
                    <a:pt x="1926" y="383"/>
                  </a:lnTo>
                  <a:lnTo>
                    <a:pt x="1924" y="382"/>
                  </a:lnTo>
                  <a:lnTo>
                    <a:pt x="1924" y="377"/>
                  </a:lnTo>
                  <a:lnTo>
                    <a:pt x="1925" y="378"/>
                  </a:lnTo>
                  <a:lnTo>
                    <a:pt x="1927" y="377"/>
                  </a:lnTo>
                  <a:lnTo>
                    <a:pt x="1930" y="376"/>
                  </a:lnTo>
                  <a:lnTo>
                    <a:pt x="1932" y="373"/>
                  </a:lnTo>
                  <a:lnTo>
                    <a:pt x="1929" y="369"/>
                  </a:lnTo>
                  <a:lnTo>
                    <a:pt x="1928" y="368"/>
                  </a:lnTo>
                  <a:lnTo>
                    <a:pt x="1928" y="365"/>
                  </a:lnTo>
                  <a:lnTo>
                    <a:pt x="1930" y="369"/>
                  </a:lnTo>
                  <a:lnTo>
                    <a:pt x="1933" y="370"/>
                  </a:lnTo>
                  <a:lnTo>
                    <a:pt x="1937" y="368"/>
                  </a:lnTo>
                  <a:lnTo>
                    <a:pt x="1937" y="366"/>
                  </a:lnTo>
                  <a:lnTo>
                    <a:pt x="1939" y="365"/>
                  </a:lnTo>
                  <a:lnTo>
                    <a:pt x="1941" y="361"/>
                  </a:lnTo>
                  <a:lnTo>
                    <a:pt x="1944" y="361"/>
                  </a:lnTo>
                  <a:lnTo>
                    <a:pt x="1943" y="360"/>
                  </a:lnTo>
                  <a:lnTo>
                    <a:pt x="1946" y="361"/>
                  </a:lnTo>
                  <a:lnTo>
                    <a:pt x="1949" y="359"/>
                  </a:lnTo>
                  <a:lnTo>
                    <a:pt x="1950" y="357"/>
                  </a:lnTo>
                  <a:lnTo>
                    <a:pt x="1951" y="357"/>
                  </a:lnTo>
                  <a:lnTo>
                    <a:pt x="1953" y="356"/>
                  </a:lnTo>
                  <a:lnTo>
                    <a:pt x="1955" y="356"/>
                  </a:lnTo>
                  <a:lnTo>
                    <a:pt x="1961" y="352"/>
                  </a:lnTo>
                  <a:lnTo>
                    <a:pt x="1963" y="350"/>
                  </a:lnTo>
                  <a:lnTo>
                    <a:pt x="1967" y="350"/>
                  </a:lnTo>
                  <a:lnTo>
                    <a:pt x="1969" y="349"/>
                  </a:lnTo>
                  <a:lnTo>
                    <a:pt x="1972" y="343"/>
                  </a:lnTo>
                  <a:lnTo>
                    <a:pt x="1975" y="341"/>
                  </a:lnTo>
                  <a:lnTo>
                    <a:pt x="1979" y="337"/>
                  </a:lnTo>
                  <a:lnTo>
                    <a:pt x="1980" y="333"/>
                  </a:lnTo>
                  <a:lnTo>
                    <a:pt x="1978" y="332"/>
                  </a:lnTo>
                  <a:lnTo>
                    <a:pt x="1975" y="330"/>
                  </a:lnTo>
                  <a:lnTo>
                    <a:pt x="1977" y="331"/>
                  </a:lnTo>
                  <a:lnTo>
                    <a:pt x="1976" y="327"/>
                  </a:lnTo>
                  <a:lnTo>
                    <a:pt x="1973" y="326"/>
                  </a:lnTo>
                  <a:lnTo>
                    <a:pt x="1976" y="326"/>
                  </a:lnTo>
                  <a:lnTo>
                    <a:pt x="1978" y="323"/>
                  </a:lnTo>
                  <a:lnTo>
                    <a:pt x="1980" y="322"/>
                  </a:lnTo>
                  <a:lnTo>
                    <a:pt x="1980" y="318"/>
                  </a:lnTo>
                  <a:lnTo>
                    <a:pt x="1982" y="316"/>
                  </a:lnTo>
                  <a:lnTo>
                    <a:pt x="1979" y="316"/>
                  </a:lnTo>
                  <a:lnTo>
                    <a:pt x="1980" y="314"/>
                  </a:lnTo>
                  <a:lnTo>
                    <a:pt x="1984" y="314"/>
                  </a:lnTo>
                  <a:lnTo>
                    <a:pt x="1986" y="314"/>
                  </a:lnTo>
                  <a:lnTo>
                    <a:pt x="1985" y="312"/>
                  </a:lnTo>
                  <a:lnTo>
                    <a:pt x="1987" y="310"/>
                  </a:lnTo>
                  <a:lnTo>
                    <a:pt x="1989" y="310"/>
                  </a:lnTo>
                  <a:lnTo>
                    <a:pt x="1992" y="309"/>
                  </a:lnTo>
                  <a:lnTo>
                    <a:pt x="1990" y="305"/>
                  </a:lnTo>
                  <a:lnTo>
                    <a:pt x="1996" y="306"/>
                  </a:lnTo>
                  <a:lnTo>
                    <a:pt x="1996" y="304"/>
                  </a:lnTo>
                  <a:lnTo>
                    <a:pt x="1998" y="306"/>
                  </a:lnTo>
                  <a:lnTo>
                    <a:pt x="2002" y="307"/>
                  </a:lnTo>
                  <a:lnTo>
                    <a:pt x="2004" y="307"/>
                  </a:lnTo>
                  <a:lnTo>
                    <a:pt x="2002" y="305"/>
                  </a:lnTo>
                  <a:lnTo>
                    <a:pt x="2005" y="306"/>
                  </a:lnTo>
                  <a:lnTo>
                    <a:pt x="2011" y="305"/>
                  </a:lnTo>
                  <a:lnTo>
                    <a:pt x="2015" y="305"/>
                  </a:lnTo>
                  <a:lnTo>
                    <a:pt x="2016" y="306"/>
                  </a:lnTo>
                  <a:lnTo>
                    <a:pt x="2021" y="306"/>
                  </a:lnTo>
                  <a:lnTo>
                    <a:pt x="2021" y="306"/>
                  </a:lnTo>
                  <a:lnTo>
                    <a:pt x="2022" y="307"/>
                  </a:lnTo>
                  <a:lnTo>
                    <a:pt x="2024" y="309"/>
                  </a:lnTo>
                  <a:lnTo>
                    <a:pt x="2027" y="309"/>
                  </a:lnTo>
                  <a:lnTo>
                    <a:pt x="2031" y="314"/>
                  </a:lnTo>
                  <a:lnTo>
                    <a:pt x="2031" y="316"/>
                  </a:lnTo>
                  <a:lnTo>
                    <a:pt x="2031" y="318"/>
                  </a:lnTo>
                  <a:lnTo>
                    <a:pt x="2030" y="321"/>
                  </a:lnTo>
                  <a:lnTo>
                    <a:pt x="2033" y="323"/>
                  </a:lnTo>
                  <a:lnTo>
                    <a:pt x="2033" y="323"/>
                  </a:lnTo>
                  <a:lnTo>
                    <a:pt x="2032" y="324"/>
                  </a:lnTo>
                  <a:lnTo>
                    <a:pt x="2030" y="324"/>
                  </a:lnTo>
                  <a:lnTo>
                    <a:pt x="2032" y="326"/>
                  </a:lnTo>
                  <a:lnTo>
                    <a:pt x="2030" y="325"/>
                  </a:lnTo>
                  <a:lnTo>
                    <a:pt x="2027" y="325"/>
                  </a:lnTo>
                  <a:lnTo>
                    <a:pt x="2023" y="326"/>
                  </a:lnTo>
                  <a:lnTo>
                    <a:pt x="2021" y="329"/>
                  </a:lnTo>
                  <a:lnTo>
                    <a:pt x="2016" y="335"/>
                  </a:lnTo>
                  <a:lnTo>
                    <a:pt x="2014" y="337"/>
                  </a:lnTo>
                  <a:lnTo>
                    <a:pt x="2013" y="340"/>
                  </a:lnTo>
                  <a:lnTo>
                    <a:pt x="2010" y="341"/>
                  </a:lnTo>
                  <a:lnTo>
                    <a:pt x="2007" y="344"/>
                  </a:lnTo>
                  <a:lnTo>
                    <a:pt x="2005" y="344"/>
                  </a:lnTo>
                  <a:lnTo>
                    <a:pt x="2005" y="347"/>
                  </a:lnTo>
                  <a:lnTo>
                    <a:pt x="2002" y="348"/>
                  </a:lnTo>
                  <a:lnTo>
                    <a:pt x="2002" y="348"/>
                  </a:lnTo>
                  <a:lnTo>
                    <a:pt x="1998" y="353"/>
                  </a:lnTo>
                  <a:lnTo>
                    <a:pt x="1995" y="351"/>
                  </a:lnTo>
                  <a:lnTo>
                    <a:pt x="1993" y="355"/>
                  </a:lnTo>
                  <a:lnTo>
                    <a:pt x="1992" y="357"/>
                  </a:lnTo>
                  <a:lnTo>
                    <a:pt x="1992" y="360"/>
                  </a:lnTo>
                  <a:lnTo>
                    <a:pt x="1992" y="361"/>
                  </a:lnTo>
                  <a:lnTo>
                    <a:pt x="1986" y="363"/>
                  </a:lnTo>
                  <a:lnTo>
                    <a:pt x="1986" y="361"/>
                  </a:lnTo>
                  <a:lnTo>
                    <a:pt x="1984" y="363"/>
                  </a:lnTo>
                  <a:lnTo>
                    <a:pt x="1980" y="360"/>
                  </a:lnTo>
                  <a:lnTo>
                    <a:pt x="1980" y="363"/>
                  </a:lnTo>
                  <a:lnTo>
                    <a:pt x="1980" y="365"/>
                  </a:lnTo>
                  <a:lnTo>
                    <a:pt x="1979" y="368"/>
                  </a:lnTo>
                  <a:lnTo>
                    <a:pt x="1976" y="370"/>
                  </a:lnTo>
                  <a:lnTo>
                    <a:pt x="1976" y="373"/>
                  </a:lnTo>
                  <a:lnTo>
                    <a:pt x="1976" y="375"/>
                  </a:lnTo>
                  <a:lnTo>
                    <a:pt x="1975" y="378"/>
                  </a:lnTo>
                  <a:lnTo>
                    <a:pt x="1976" y="381"/>
                  </a:lnTo>
                  <a:lnTo>
                    <a:pt x="1977" y="380"/>
                  </a:lnTo>
                  <a:lnTo>
                    <a:pt x="1978" y="383"/>
                  </a:lnTo>
                  <a:lnTo>
                    <a:pt x="1978" y="385"/>
                  </a:lnTo>
                  <a:lnTo>
                    <a:pt x="1977" y="387"/>
                  </a:lnTo>
                  <a:lnTo>
                    <a:pt x="1977" y="389"/>
                  </a:lnTo>
                  <a:lnTo>
                    <a:pt x="1979" y="392"/>
                  </a:lnTo>
                  <a:lnTo>
                    <a:pt x="1982" y="398"/>
                  </a:lnTo>
                  <a:lnTo>
                    <a:pt x="1980" y="397"/>
                  </a:lnTo>
                  <a:lnTo>
                    <a:pt x="1980" y="402"/>
                  </a:lnTo>
                  <a:lnTo>
                    <a:pt x="1980" y="406"/>
                  </a:lnTo>
                  <a:lnTo>
                    <a:pt x="1978" y="408"/>
                  </a:lnTo>
                  <a:lnTo>
                    <a:pt x="1979" y="410"/>
                  </a:lnTo>
                  <a:lnTo>
                    <a:pt x="1978" y="416"/>
                  </a:lnTo>
                  <a:lnTo>
                    <a:pt x="1980" y="418"/>
                  </a:lnTo>
                  <a:lnTo>
                    <a:pt x="1980" y="418"/>
                  </a:lnTo>
                  <a:lnTo>
                    <a:pt x="1982" y="417"/>
                  </a:lnTo>
                  <a:lnTo>
                    <a:pt x="1984" y="419"/>
                  </a:lnTo>
                  <a:lnTo>
                    <a:pt x="1986" y="419"/>
                  </a:lnTo>
                  <a:lnTo>
                    <a:pt x="1987" y="420"/>
                  </a:lnTo>
                  <a:lnTo>
                    <a:pt x="1989" y="421"/>
                  </a:lnTo>
                  <a:lnTo>
                    <a:pt x="1995" y="421"/>
                  </a:lnTo>
                  <a:lnTo>
                    <a:pt x="1993" y="425"/>
                  </a:lnTo>
                  <a:lnTo>
                    <a:pt x="1997" y="425"/>
                  </a:lnTo>
                  <a:lnTo>
                    <a:pt x="1999" y="423"/>
                  </a:lnTo>
                  <a:lnTo>
                    <a:pt x="1999" y="425"/>
                  </a:lnTo>
                  <a:lnTo>
                    <a:pt x="1998" y="426"/>
                  </a:lnTo>
                  <a:lnTo>
                    <a:pt x="1999" y="428"/>
                  </a:lnTo>
                  <a:lnTo>
                    <a:pt x="2003" y="428"/>
                  </a:lnTo>
                  <a:lnTo>
                    <a:pt x="2003" y="429"/>
                  </a:lnTo>
                  <a:lnTo>
                    <a:pt x="2002" y="429"/>
                  </a:lnTo>
                  <a:lnTo>
                    <a:pt x="2002" y="430"/>
                  </a:lnTo>
                  <a:lnTo>
                    <a:pt x="2004" y="429"/>
                  </a:lnTo>
                  <a:lnTo>
                    <a:pt x="2003" y="432"/>
                  </a:lnTo>
                  <a:lnTo>
                    <a:pt x="2006" y="430"/>
                  </a:lnTo>
                  <a:lnTo>
                    <a:pt x="2006" y="429"/>
                  </a:lnTo>
                  <a:lnTo>
                    <a:pt x="2010" y="430"/>
                  </a:lnTo>
                  <a:lnTo>
                    <a:pt x="2012" y="429"/>
                  </a:lnTo>
                  <a:lnTo>
                    <a:pt x="2018" y="428"/>
                  </a:lnTo>
                  <a:lnTo>
                    <a:pt x="2018" y="429"/>
                  </a:lnTo>
                  <a:lnTo>
                    <a:pt x="2020" y="429"/>
                  </a:lnTo>
                  <a:lnTo>
                    <a:pt x="2022" y="427"/>
                  </a:lnTo>
                  <a:lnTo>
                    <a:pt x="2024" y="427"/>
                  </a:lnTo>
                  <a:lnTo>
                    <a:pt x="2027" y="426"/>
                  </a:lnTo>
                  <a:lnTo>
                    <a:pt x="2030" y="426"/>
                  </a:lnTo>
                  <a:lnTo>
                    <a:pt x="2032" y="425"/>
                  </a:lnTo>
                  <a:lnTo>
                    <a:pt x="2037" y="423"/>
                  </a:lnTo>
                  <a:lnTo>
                    <a:pt x="2038" y="425"/>
                  </a:lnTo>
                  <a:lnTo>
                    <a:pt x="2039" y="423"/>
                  </a:lnTo>
                  <a:lnTo>
                    <a:pt x="2043" y="424"/>
                  </a:lnTo>
                  <a:lnTo>
                    <a:pt x="2041" y="420"/>
                  </a:lnTo>
                  <a:lnTo>
                    <a:pt x="2044" y="421"/>
                  </a:lnTo>
                  <a:lnTo>
                    <a:pt x="2046" y="421"/>
                  </a:lnTo>
                  <a:lnTo>
                    <a:pt x="2047" y="420"/>
                  </a:lnTo>
                  <a:lnTo>
                    <a:pt x="2049" y="420"/>
                  </a:lnTo>
                  <a:lnTo>
                    <a:pt x="2054" y="420"/>
                  </a:lnTo>
                  <a:lnTo>
                    <a:pt x="2057" y="418"/>
                  </a:lnTo>
                  <a:lnTo>
                    <a:pt x="2060" y="419"/>
                  </a:lnTo>
                  <a:lnTo>
                    <a:pt x="2065" y="419"/>
                  </a:lnTo>
                  <a:lnTo>
                    <a:pt x="2065" y="418"/>
                  </a:lnTo>
                  <a:lnTo>
                    <a:pt x="2069" y="419"/>
                  </a:lnTo>
                  <a:lnTo>
                    <a:pt x="2072" y="418"/>
                  </a:lnTo>
                  <a:lnTo>
                    <a:pt x="2078" y="415"/>
                  </a:lnTo>
                  <a:lnTo>
                    <a:pt x="2078" y="416"/>
                  </a:lnTo>
                  <a:lnTo>
                    <a:pt x="2078" y="418"/>
                  </a:lnTo>
                  <a:lnTo>
                    <a:pt x="2078" y="420"/>
                  </a:lnTo>
                  <a:lnTo>
                    <a:pt x="2075" y="419"/>
                  </a:lnTo>
                  <a:lnTo>
                    <a:pt x="2077" y="423"/>
                  </a:lnTo>
                  <a:lnTo>
                    <a:pt x="2082" y="426"/>
                  </a:lnTo>
                  <a:lnTo>
                    <a:pt x="2088" y="426"/>
                  </a:lnTo>
                  <a:lnTo>
                    <a:pt x="2091" y="426"/>
                  </a:lnTo>
                  <a:lnTo>
                    <a:pt x="2093" y="427"/>
                  </a:lnTo>
                  <a:lnTo>
                    <a:pt x="2096" y="429"/>
                  </a:lnTo>
                  <a:lnTo>
                    <a:pt x="2098" y="429"/>
                  </a:lnTo>
                  <a:lnTo>
                    <a:pt x="2098" y="432"/>
                  </a:lnTo>
                  <a:lnTo>
                    <a:pt x="2098" y="433"/>
                  </a:lnTo>
                  <a:lnTo>
                    <a:pt x="2084" y="429"/>
                  </a:lnTo>
                  <a:lnTo>
                    <a:pt x="2082" y="433"/>
                  </a:lnTo>
                  <a:lnTo>
                    <a:pt x="2080" y="434"/>
                  </a:lnTo>
                  <a:lnTo>
                    <a:pt x="2077" y="434"/>
                  </a:lnTo>
                  <a:lnTo>
                    <a:pt x="2074" y="434"/>
                  </a:lnTo>
                  <a:lnTo>
                    <a:pt x="2073" y="436"/>
                  </a:lnTo>
                  <a:lnTo>
                    <a:pt x="2071" y="435"/>
                  </a:lnTo>
                  <a:lnTo>
                    <a:pt x="2069" y="435"/>
                  </a:lnTo>
                  <a:lnTo>
                    <a:pt x="2069" y="437"/>
                  </a:lnTo>
                  <a:lnTo>
                    <a:pt x="2069" y="441"/>
                  </a:lnTo>
                  <a:lnTo>
                    <a:pt x="2066" y="442"/>
                  </a:lnTo>
                  <a:lnTo>
                    <a:pt x="2053" y="441"/>
                  </a:lnTo>
                  <a:lnTo>
                    <a:pt x="2050" y="440"/>
                  </a:lnTo>
                  <a:lnTo>
                    <a:pt x="2047" y="440"/>
                  </a:lnTo>
                  <a:lnTo>
                    <a:pt x="2045" y="438"/>
                  </a:lnTo>
                  <a:lnTo>
                    <a:pt x="2039" y="437"/>
                  </a:lnTo>
                  <a:lnTo>
                    <a:pt x="2037" y="438"/>
                  </a:lnTo>
                  <a:lnTo>
                    <a:pt x="2033" y="437"/>
                  </a:lnTo>
                  <a:lnTo>
                    <a:pt x="2032" y="441"/>
                  </a:lnTo>
                  <a:lnTo>
                    <a:pt x="2030" y="440"/>
                  </a:lnTo>
                  <a:lnTo>
                    <a:pt x="2024" y="440"/>
                  </a:lnTo>
                  <a:lnTo>
                    <a:pt x="2022" y="441"/>
                  </a:lnTo>
                  <a:lnTo>
                    <a:pt x="2019" y="441"/>
                  </a:lnTo>
                  <a:lnTo>
                    <a:pt x="2016" y="443"/>
                  </a:lnTo>
                  <a:lnTo>
                    <a:pt x="2014" y="442"/>
                  </a:lnTo>
                  <a:lnTo>
                    <a:pt x="2014" y="444"/>
                  </a:lnTo>
                  <a:lnTo>
                    <a:pt x="2010" y="445"/>
                  </a:lnTo>
                  <a:lnTo>
                    <a:pt x="2006" y="447"/>
                  </a:lnTo>
                  <a:lnTo>
                    <a:pt x="2005" y="450"/>
                  </a:lnTo>
                  <a:lnTo>
                    <a:pt x="2009" y="451"/>
                  </a:lnTo>
                  <a:lnTo>
                    <a:pt x="2005" y="452"/>
                  </a:lnTo>
                  <a:lnTo>
                    <a:pt x="2007" y="454"/>
                  </a:lnTo>
                  <a:lnTo>
                    <a:pt x="2010" y="455"/>
                  </a:lnTo>
                  <a:lnTo>
                    <a:pt x="2007" y="455"/>
                  </a:lnTo>
                  <a:lnTo>
                    <a:pt x="2006" y="459"/>
                  </a:lnTo>
                  <a:lnTo>
                    <a:pt x="2009" y="461"/>
                  </a:lnTo>
                  <a:lnTo>
                    <a:pt x="2010" y="463"/>
                  </a:lnTo>
                  <a:lnTo>
                    <a:pt x="2013" y="463"/>
                  </a:lnTo>
                  <a:lnTo>
                    <a:pt x="2015" y="464"/>
                  </a:lnTo>
                  <a:lnTo>
                    <a:pt x="2018" y="462"/>
                  </a:lnTo>
                  <a:lnTo>
                    <a:pt x="2021" y="464"/>
                  </a:lnTo>
                  <a:lnTo>
                    <a:pt x="2018" y="474"/>
                  </a:lnTo>
                  <a:lnTo>
                    <a:pt x="2018" y="476"/>
                  </a:lnTo>
                  <a:lnTo>
                    <a:pt x="2019" y="484"/>
                  </a:lnTo>
                  <a:lnTo>
                    <a:pt x="2016" y="487"/>
                  </a:lnTo>
                  <a:lnTo>
                    <a:pt x="2014" y="488"/>
                  </a:lnTo>
                  <a:lnTo>
                    <a:pt x="2011" y="491"/>
                  </a:lnTo>
                  <a:lnTo>
                    <a:pt x="2009" y="491"/>
                  </a:lnTo>
                  <a:lnTo>
                    <a:pt x="2003" y="487"/>
                  </a:lnTo>
                  <a:lnTo>
                    <a:pt x="2002" y="485"/>
                  </a:lnTo>
                  <a:lnTo>
                    <a:pt x="1997" y="479"/>
                  </a:lnTo>
                  <a:lnTo>
                    <a:pt x="1995" y="478"/>
                  </a:lnTo>
                  <a:lnTo>
                    <a:pt x="1993" y="475"/>
                  </a:lnTo>
                  <a:lnTo>
                    <a:pt x="1986" y="478"/>
                  </a:lnTo>
                  <a:lnTo>
                    <a:pt x="1984" y="478"/>
                  </a:lnTo>
                  <a:lnTo>
                    <a:pt x="1980" y="480"/>
                  </a:lnTo>
                  <a:lnTo>
                    <a:pt x="1979" y="484"/>
                  </a:lnTo>
                  <a:lnTo>
                    <a:pt x="1978" y="486"/>
                  </a:lnTo>
                  <a:lnTo>
                    <a:pt x="1978" y="488"/>
                  </a:lnTo>
                  <a:lnTo>
                    <a:pt x="1976" y="492"/>
                  </a:lnTo>
                  <a:lnTo>
                    <a:pt x="1973" y="494"/>
                  </a:lnTo>
                  <a:lnTo>
                    <a:pt x="1972" y="500"/>
                  </a:lnTo>
                  <a:lnTo>
                    <a:pt x="1972" y="505"/>
                  </a:lnTo>
                  <a:lnTo>
                    <a:pt x="1973" y="508"/>
                  </a:lnTo>
                  <a:lnTo>
                    <a:pt x="1973" y="512"/>
                  </a:lnTo>
                  <a:lnTo>
                    <a:pt x="1973" y="514"/>
                  </a:lnTo>
                  <a:lnTo>
                    <a:pt x="1975" y="515"/>
                  </a:lnTo>
                  <a:lnTo>
                    <a:pt x="1975" y="517"/>
                  </a:lnTo>
                  <a:lnTo>
                    <a:pt x="1975" y="517"/>
                  </a:lnTo>
                  <a:lnTo>
                    <a:pt x="1976" y="519"/>
                  </a:lnTo>
                  <a:lnTo>
                    <a:pt x="1976" y="522"/>
                  </a:lnTo>
                  <a:lnTo>
                    <a:pt x="1976" y="523"/>
                  </a:lnTo>
                  <a:lnTo>
                    <a:pt x="1975" y="526"/>
                  </a:lnTo>
                  <a:lnTo>
                    <a:pt x="1976" y="528"/>
                  </a:lnTo>
                  <a:lnTo>
                    <a:pt x="1972" y="530"/>
                  </a:lnTo>
                  <a:lnTo>
                    <a:pt x="1967" y="530"/>
                  </a:lnTo>
                  <a:lnTo>
                    <a:pt x="1967" y="530"/>
                  </a:lnTo>
                  <a:lnTo>
                    <a:pt x="1962" y="529"/>
                  </a:lnTo>
                  <a:lnTo>
                    <a:pt x="1962" y="529"/>
                  </a:lnTo>
                  <a:lnTo>
                    <a:pt x="1961" y="529"/>
                  </a:lnTo>
                  <a:lnTo>
                    <a:pt x="1959" y="529"/>
                  </a:lnTo>
                  <a:lnTo>
                    <a:pt x="1958" y="530"/>
                  </a:lnTo>
                  <a:lnTo>
                    <a:pt x="1959" y="532"/>
                  </a:lnTo>
                  <a:lnTo>
                    <a:pt x="1956" y="536"/>
                  </a:lnTo>
                  <a:lnTo>
                    <a:pt x="1953" y="538"/>
                  </a:lnTo>
                  <a:lnTo>
                    <a:pt x="1951" y="540"/>
                  </a:lnTo>
                  <a:lnTo>
                    <a:pt x="1945" y="540"/>
                  </a:lnTo>
                  <a:lnTo>
                    <a:pt x="1942" y="540"/>
                  </a:lnTo>
                  <a:lnTo>
                    <a:pt x="1941" y="539"/>
                  </a:lnTo>
                  <a:lnTo>
                    <a:pt x="1937" y="532"/>
                  </a:lnTo>
                  <a:lnTo>
                    <a:pt x="1937" y="532"/>
                  </a:lnTo>
                  <a:lnTo>
                    <a:pt x="1935" y="531"/>
                  </a:lnTo>
                  <a:lnTo>
                    <a:pt x="1929" y="531"/>
                  </a:lnTo>
                  <a:lnTo>
                    <a:pt x="1921" y="534"/>
                  </a:lnTo>
                  <a:lnTo>
                    <a:pt x="1916" y="536"/>
                  </a:lnTo>
                  <a:lnTo>
                    <a:pt x="1911" y="537"/>
                  </a:lnTo>
                  <a:lnTo>
                    <a:pt x="1910" y="538"/>
                  </a:lnTo>
                  <a:lnTo>
                    <a:pt x="1907" y="543"/>
                  </a:lnTo>
                  <a:lnTo>
                    <a:pt x="1895" y="544"/>
                  </a:lnTo>
                  <a:lnTo>
                    <a:pt x="1881" y="548"/>
                  </a:lnTo>
                  <a:lnTo>
                    <a:pt x="1879" y="548"/>
                  </a:lnTo>
                  <a:lnTo>
                    <a:pt x="1876" y="546"/>
                  </a:lnTo>
                  <a:lnTo>
                    <a:pt x="1875" y="549"/>
                  </a:lnTo>
                  <a:lnTo>
                    <a:pt x="1874" y="551"/>
                  </a:lnTo>
                  <a:lnTo>
                    <a:pt x="1877" y="549"/>
                  </a:lnTo>
                  <a:lnTo>
                    <a:pt x="1879" y="549"/>
                  </a:lnTo>
                  <a:lnTo>
                    <a:pt x="1881" y="551"/>
                  </a:lnTo>
                  <a:lnTo>
                    <a:pt x="1882" y="549"/>
                  </a:lnTo>
                  <a:lnTo>
                    <a:pt x="1882" y="549"/>
                  </a:lnTo>
                  <a:lnTo>
                    <a:pt x="1885" y="551"/>
                  </a:lnTo>
                  <a:lnTo>
                    <a:pt x="1884" y="553"/>
                  </a:lnTo>
                  <a:lnTo>
                    <a:pt x="1884" y="555"/>
                  </a:lnTo>
                  <a:lnTo>
                    <a:pt x="1882" y="553"/>
                  </a:lnTo>
                  <a:lnTo>
                    <a:pt x="1881" y="553"/>
                  </a:lnTo>
                  <a:lnTo>
                    <a:pt x="1875" y="551"/>
                  </a:lnTo>
                  <a:lnTo>
                    <a:pt x="1874" y="551"/>
                  </a:lnTo>
                  <a:lnTo>
                    <a:pt x="1874" y="549"/>
                  </a:lnTo>
                  <a:lnTo>
                    <a:pt x="1873" y="544"/>
                  </a:lnTo>
                  <a:lnTo>
                    <a:pt x="1870" y="545"/>
                  </a:lnTo>
                  <a:lnTo>
                    <a:pt x="1869" y="546"/>
                  </a:lnTo>
                  <a:lnTo>
                    <a:pt x="1865" y="541"/>
                  </a:lnTo>
                  <a:lnTo>
                    <a:pt x="1865" y="541"/>
                  </a:lnTo>
                  <a:lnTo>
                    <a:pt x="1861" y="540"/>
                  </a:lnTo>
                  <a:lnTo>
                    <a:pt x="1859" y="540"/>
                  </a:lnTo>
                  <a:lnTo>
                    <a:pt x="1856" y="541"/>
                  </a:lnTo>
                  <a:lnTo>
                    <a:pt x="1856" y="540"/>
                  </a:lnTo>
                  <a:lnTo>
                    <a:pt x="1858" y="539"/>
                  </a:lnTo>
                  <a:lnTo>
                    <a:pt x="1861" y="539"/>
                  </a:lnTo>
                  <a:lnTo>
                    <a:pt x="1856" y="538"/>
                  </a:lnTo>
                  <a:lnTo>
                    <a:pt x="1854" y="541"/>
                  </a:lnTo>
                  <a:lnTo>
                    <a:pt x="1851" y="543"/>
                  </a:lnTo>
                  <a:lnTo>
                    <a:pt x="1850" y="545"/>
                  </a:lnTo>
                  <a:lnTo>
                    <a:pt x="1850" y="544"/>
                  </a:lnTo>
                  <a:lnTo>
                    <a:pt x="1848" y="544"/>
                  </a:lnTo>
                  <a:lnTo>
                    <a:pt x="1844" y="544"/>
                  </a:lnTo>
                  <a:lnTo>
                    <a:pt x="1842" y="547"/>
                  </a:lnTo>
                  <a:lnTo>
                    <a:pt x="1841" y="549"/>
                  </a:lnTo>
                  <a:lnTo>
                    <a:pt x="1839" y="548"/>
                  </a:lnTo>
                  <a:lnTo>
                    <a:pt x="1836" y="547"/>
                  </a:lnTo>
                  <a:lnTo>
                    <a:pt x="1834" y="548"/>
                  </a:lnTo>
                  <a:lnTo>
                    <a:pt x="1834" y="545"/>
                  </a:lnTo>
                  <a:lnTo>
                    <a:pt x="1836" y="543"/>
                  </a:lnTo>
                  <a:lnTo>
                    <a:pt x="1836" y="540"/>
                  </a:lnTo>
                  <a:lnTo>
                    <a:pt x="1834" y="540"/>
                  </a:lnTo>
                  <a:lnTo>
                    <a:pt x="1832" y="541"/>
                  </a:lnTo>
                  <a:lnTo>
                    <a:pt x="1826" y="539"/>
                  </a:lnTo>
                  <a:lnTo>
                    <a:pt x="1824" y="540"/>
                  </a:lnTo>
                  <a:lnTo>
                    <a:pt x="1822" y="538"/>
                  </a:lnTo>
                  <a:lnTo>
                    <a:pt x="1822" y="535"/>
                  </a:lnTo>
                  <a:lnTo>
                    <a:pt x="1821" y="535"/>
                  </a:lnTo>
                  <a:lnTo>
                    <a:pt x="1822" y="534"/>
                  </a:lnTo>
                  <a:lnTo>
                    <a:pt x="1817" y="531"/>
                  </a:lnTo>
                  <a:lnTo>
                    <a:pt x="1814" y="531"/>
                  </a:lnTo>
                  <a:lnTo>
                    <a:pt x="1816" y="530"/>
                  </a:lnTo>
                  <a:lnTo>
                    <a:pt x="1818" y="530"/>
                  </a:lnTo>
                  <a:lnTo>
                    <a:pt x="1815" y="526"/>
                  </a:lnTo>
                  <a:lnTo>
                    <a:pt x="1817" y="523"/>
                  </a:lnTo>
                  <a:lnTo>
                    <a:pt x="1815" y="519"/>
                  </a:lnTo>
                  <a:lnTo>
                    <a:pt x="1817" y="518"/>
                  </a:lnTo>
                  <a:lnTo>
                    <a:pt x="1819" y="517"/>
                  </a:lnTo>
                  <a:lnTo>
                    <a:pt x="1816" y="514"/>
                  </a:lnTo>
                  <a:lnTo>
                    <a:pt x="1819" y="515"/>
                  </a:lnTo>
                  <a:lnTo>
                    <a:pt x="1822" y="515"/>
                  </a:lnTo>
                  <a:lnTo>
                    <a:pt x="1822" y="512"/>
                  </a:lnTo>
                  <a:lnTo>
                    <a:pt x="1825" y="511"/>
                  </a:lnTo>
                  <a:lnTo>
                    <a:pt x="1825" y="505"/>
                  </a:lnTo>
                  <a:lnTo>
                    <a:pt x="1828" y="505"/>
                  </a:lnTo>
                  <a:lnTo>
                    <a:pt x="1828" y="508"/>
                  </a:lnTo>
                  <a:lnTo>
                    <a:pt x="1831" y="505"/>
                  </a:lnTo>
                  <a:lnTo>
                    <a:pt x="1833" y="504"/>
                  </a:lnTo>
                  <a:lnTo>
                    <a:pt x="1834" y="502"/>
                  </a:lnTo>
                  <a:lnTo>
                    <a:pt x="1832" y="498"/>
                  </a:lnTo>
                  <a:lnTo>
                    <a:pt x="1830" y="500"/>
                  </a:lnTo>
                  <a:lnTo>
                    <a:pt x="1827" y="498"/>
                  </a:lnTo>
                  <a:lnTo>
                    <a:pt x="1824" y="501"/>
                  </a:lnTo>
                  <a:lnTo>
                    <a:pt x="1826" y="497"/>
                  </a:lnTo>
                  <a:lnTo>
                    <a:pt x="1823" y="495"/>
                  </a:lnTo>
                  <a:lnTo>
                    <a:pt x="1822" y="496"/>
                  </a:lnTo>
                  <a:lnTo>
                    <a:pt x="1819" y="496"/>
                  </a:lnTo>
                  <a:lnTo>
                    <a:pt x="1823" y="495"/>
                  </a:lnTo>
                  <a:lnTo>
                    <a:pt x="1826" y="495"/>
                  </a:lnTo>
                  <a:lnTo>
                    <a:pt x="1825" y="493"/>
                  </a:lnTo>
                  <a:lnTo>
                    <a:pt x="1824" y="491"/>
                  </a:lnTo>
                  <a:lnTo>
                    <a:pt x="1822" y="488"/>
                  </a:lnTo>
                  <a:lnTo>
                    <a:pt x="1821" y="488"/>
                  </a:lnTo>
                  <a:lnTo>
                    <a:pt x="1811" y="489"/>
                  </a:lnTo>
                  <a:lnTo>
                    <a:pt x="1810" y="493"/>
                  </a:lnTo>
                  <a:lnTo>
                    <a:pt x="1813" y="496"/>
                  </a:lnTo>
                  <a:lnTo>
                    <a:pt x="1811" y="498"/>
                  </a:lnTo>
                  <a:lnTo>
                    <a:pt x="1809" y="496"/>
                  </a:lnTo>
                  <a:lnTo>
                    <a:pt x="1808" y="494"/>
                  </a:lnTo>
                  <a:lnTo>
                    <a:pt x="1806" y="496"/>
                  </a:lnTo>
                  <a:lnTo>
                    <a:pt x="1805" y="498"/>
                  </a:lnTo>
                  <a:lnTo>
                    <a:pt x="1798" y="498"/>
                  </a:lnTo>
                  <a:lnTo>
                    <a:pt x="1797" y="496"/>
                  </a:lnTo>
                  <a:lnTo>
                    <a:pt x="1796" y="498"/>
                  </a:lnTo>
                  <a:lnTo>
                    <a:pt x="1796" y="510"/>
                  </a:lnTo>
                  <a:lnTo>
                    <a:pt x="1798" y="509"/>
                  </a:lnTo>
                  <a:lnTo>
                    <a:pt x="1800" y="511"/>
                  </a:lnTo>
                  <a:lnTo>
                    <a:pt x="1799" y="512"/>
                  </a:lnTo>
                  <a:lnTo>
                    <a:pt x="1797" y="510"/>
                  </a:lnTo>
                  <a:lnTo>
                    <a:pt x="1797" y="515"/>
                  </a:lnTo>
                  <a:lnTo>
                    <a:pt x="1796" y="518"/>
                  </a:lnTo>
                  <a:lnTo>
                    <a:pt x="1799" y="518"/>
                  </a:lnTo>
                  <a:lnTo>
                    <a:pt x="1800" y="520"/>
                  </a:lnTo>
                  <a:lnTo>
                    <a:pt x="1804" y="522"/>
                  </a:lnTo>
                  <a:lnTo>
                    <a:pt x="1804" y="524"/>
                  </a:lnTo>
                  <a:lnTo>
                    <a:pt x="1802" y="526"/>
                  </a:lnTo>
                  <a:lnTo>
                    <a:pt x="1804" y="530"/>
                  </a:lnTo>
                  <a:lnTo>
                    <a:pt x="1802" y="530"/>
                  </a:lnTo>
                  <a:lnTo>
                    <a:pt x="1800" y="528"/>
                  </a:lnTo>
                  <a:lnTo>
                    <a:pt x="1799" y="528"/>
                  </a:lnTo>
                  <a:lnTo>
                    <a:pt x="1800" y="531"/>
                  </a:lnTo>
                  <a:lnTo>
                    <a:pt x="1804" y="531"/>
                  </a:lnTo>
                  <a:lnTo>
                    <a:pt x="1804" y="531"/>
                  </a:lnTo>
                  <a:lnTo>
                    <a:pt x="1808" y="537"/>
                  </a:lnTo>
                  <a:lnTo>
                    <a:pt x="1807" y="538"/>
                  </a:lnTo>
                  <a:lnTo>
                    <a:pt x="1805" y="539"/>
                  </a:lnTo>
                  <a:lnTo>
                    <a:pt x="1804" y="543"/>
                  </a:lnTo>
                  <a:lnTo>
                    <a:pt x="1806" y="541"/>
                  </a:lnTo>
                  <a:lnTo>
                    <a:pt x="1807" y="545"/>
                  </a:lnTo>
                  <a:lnTo>
                    <a:pt x="1806" y="547"/>
                  </a:lnTo>
                  <a:lnTo>
                    <a:pt x="1809" y="549"/>
                  </a:lnTo>
                  <a:lnTo>
                    <a:pt x="1813" y="549"/>
                  </a:lnTo>
                  <a:lnTo>
                    <a:pt x="1817" y="555"/>
                  </a:lnTo>
                  <a:lnTo>
                    <a:pt x="1819" y="556"/>
                  </a:lnTo>
                  <a:lnTo>
                    <a:pt x="1819" y="556"/>
                  </a:lnTo>
                  <a:lnTo>
                    <a:pt x="1816" y="555"/>
                  </a:lnTo>
                  <a:lnTo>
                    <a:pt x="1814" y="553"/>
                  </a:lnTo>
                  <a:lnTo>
                    <a:pt x="1810" y="549"/>
                  </a:lnTo>
                  <a:lnTo>
                    <a:pt x="1808" y="551"/>
                  </a:lnTo>
                  <a:lnTo>
                    <a:pt x="1806" y="551"/>
                  </a:lnTo>
                  <a:lnTo>
                    <a:pt x="1805" y="549"/>
                  </a:lnTo>
                  <a:lnTo>
                    <a:pt x="1801" y="551"/>
                  </a:lnTo>
                  <a:lnTo>
                    <a:pt x="1801" y="553"/>
                  </a:lnTo>
                  <a:lnTo>
                    <a:pt x="1801" y="556"/>
                  </a:lnTo>
                  <a:lnTo>
                    <a:pt x="1801" y="560"/>
                  </a:lnTo>
                  <a:lnTo>
                    <a:pt x="1800" y="555"/>
                  </a:lnTo>
                  <a:lnTo>
                    <a:pt x="1798" y="555"/>
                  </a:lnTo>
                  <a:lnTo>
                    <a:pt x="1798" y="557"/>
                  </a:lnTo>
                  <a:lnTo>
                    <a:pt x="1796" y="557"/>
                  </a:lnTo>
                  <a:lnTo>
                    <a:pt x="1796" y="555"/>
                  </a:lnTo>
                  <a:lnTo>
                    <a:pt x="1793" y="553"/>
                  </a:lnTo>
                  <a:lnTo>
                    <a:pt x="1789" y="553"/>
                  </a:lnTo>
                  <a:lnTo>
                    <a:pt x="1788" y="553"/>
                  </a:lnTo>
                  <a:lnTo>
                    <a:pt x="1785" y="553"/>
                  </a:lnTo>
                  <a:lnTo>
                    <a:pt x="1783" y="554"/>
                  </a:lnTo>
                  <a:lnTo>
                    <a:pt x="1781" y="556"/>
                  </a:lnTo>
                  <a:lnTo>
                    <a:pt x="1781" y="560"/>
                  </a:lnTo>
                  <a:lnTo>
                    <a:pt x="1784" y="560"/>
                  </a:lnTo>
                  <a:lnTo>
                    <a:pt x="1785" y="561"/>
                  </a:lnTo>
                  <a:lnTo>
                    <a:pt x="1783" y="562"/>
                  </a:lnTo>
                  <a:lnTo>
                    <a:pt x="1780" y="560"/>
                  </a:lnTo>
                  <a:lnTo>
                    <a:pt x="1777" y="557"/>
                  </a:lnTo>
                  <a:lnTo>
                    <a:pt x="1772" y="558"/>
                  </a:lnTo>
                  <a:lnTo>
                    <a:pt x="1766" y="558"/>
                  </a:lnTo>
                  <a:lnTo>
                    <a:pt x="1762" y="561"/>
                  </a:lnTo>
                  <a:lnTo>
                    <a:pt x="1758" y="563"/>
                  </a:lnTo>
                  <a:lnTo>
                    <a:pt x="1758" y="564"/>
                  </a:lnTo>
                  <a:lnTo>
                    <a:pt x="1756" y="566"/>
                  </a:lnTo>
                  <a:lnTo>
                    <a:pt x="1753" y="568"/>
                  </a:lnTo>
                  <a:lnTo>
                    <a:pt x="1749" y="568"/>
                  </a:lnTo>
                  <a:lnTo>
                    <a:pt x="1748" y="570"/>
                  </a:lnTo>
                  <a:lnTo>
                    <a:pt x="1748" y="575"/>
                  </a:lnTo>
                  <a:lnTo>
                    <a:pt x="1746" y="579"/>
                  </a:lnTo>
                  <a:lnTo>
                    <a:pt x="1741" y="585"/>
                  </a:lnTo>
                  <a:lnTo>
                    <a:pt x="1740" y="585"/>
                  </a:lnTo>
                  <a:lnTo>
                    <a:pt x="1740" y="588"/>
                  </a:lnTo>
                  <a:lnTo>
                    <a:pt x="1745" y="589"/>
                  </a:lnTo>
                  <a:lnTo>
                    <a:pt x="1748" y="589"/>
                  </a:lnTo>
                  <a:lnTo>
                    <a:pt x="1750" y="588"/>
                  </a:lnTo>
                  <a:lnTo>
                    <a:pt x="1750" y="590"/>
                  </a:lnTo>
                  <a:lnTo>
                    <a:pt x="1748" y="589"/>
                  </a:lnTo>
                  <a:lnTo>
                    <a:pt x="1748" y="589"/>
                  </a:lnTo>
                  <a:lnTo>
                    <a:pt x="1745" y="590"/>
                  </a:lnTo>
                  <a:lnTo>
                    <a:pt x="1742" y="591"/>
                  </a:lnTo>
                  <a:lnTo>
                    <a:pt x="1741" y="591"/>
                  </a:lnTo>
                  <a:lnTo>
                    <a:pt x="1742" y="592"/>
                  </a:lnTo>
                  <a:lnTo>
                    <a:pt x="1740" y="592"/>
                  </a:lnTo>
                  <a:lnTo>
                    <a:pt x="1742" y="594"/>
                  </a:lnTo>
                  <a:lnTo>
                    <a:pt x="1743" y="595"/>
                  </a:lnTo>
                  <a:lnTo>
                    <a:pt x="1740" y="594"/>
                  </a:lnTo>
                  <a:lnTo>
                    <a:pt x="1738" y="591"/>
                  </a:lnTo>
                  <a:lnTo>
                    <a:pt x="1733" y="592"/>
                  </a:lnTo>
                  <a:lnTo>
                    <a:pt x="1734" y="595"/>
                  </a:lnTo>
                  <a:lnTo>
                    <a:pt x="1737" y="596"/>
                  </a:lnTo>
                  <a:lnTo>
                    <a:pt x="1740" y="595"/>
                  </a:lnTo>
                  <a:lnTo>
                    <a:pt x="1742" y="596"/>
                  </a:lnTo>
                  <a:lnTo>
                    <a:pt x="1743" y="598"/>
                  </a:lnTo>
                  <a:lnTo>
                    <a:pt x="1742" y="596"/>
                  </a:lnTo>
                  <a:lnTo>
                    <a:pt x="1739" y="596"/>
                  </a:lnTo>
                  <a:lnTo>
                    <a:pt x="1736" y="597"/>
                  </a:lnTo>
                  <a:lnTo>
                    <a:pt x="1733" y="596"/>
                  </a:lnTo>
                  <a:lnTo>
                    <a:pt x="1728" y="597"/>
                  </a:lnTo>
                  <a:lnTo>
                    <a:pt x="1719" y="601"/>
                  </a:lnTo>
                  <a:lnTo>
                    <a:pt x="1710" y="604"/>
                  </a:lnTo>
                  <a:lnTo>
                    <a:pt x="1706" y="606"/>
                  </a:lnTo>
                  <a:lnTo>
                    <a:pt x="1706" y="608"/>
                  </a:lnTo>
                  <a:lnTo>
                    <a:pt x="1706" y="614"/>
                  </a:lnTo>
                  <a:lnTo>
                    <a:pt x="1706" y="614"/>
                  </a:lnTo>
                  <a:lnTo>
                    <a:pt x="1707" y="617"/>
                  </a:lnTo>
                  <a:lnTo>
                    <a:pt x="1706" y="616"/>
                  </a:lnTo>
                  <a:lnTo>
                    <a:pt x="1704" y="620"/>
                  </a:lnTo>
                  <a:lnTo>
                    <a:pt x="1700" y="622"/>
                  </a:lnTo>
                  <a:lnTo>
                    <a:pt x="1695" y="623"/>
                  </a:lnTo>
                  <a:lnTo>
                    <a:pt x="1689" y="625"/>
                  </a:lnTo>
                  <a:lnTo>
                    <a:pt x="1687" y="628"/>
                  </a:lnTo>
                  <a:lnTo>
                    <a:pt x="1688" y="630"/>
                  </a:lnTo>
                  <a:lnTo>
                    <a:pt x="1691" y="630"/>
                  </a:lnTo>
                  <a:lnTo>
                    <a:pt x="1691" y="630"/>
                  </a:lnTo>
                  <a:lnTo>
                    <a:pt x="1688" y="631"/>
                  </a:lnTo>
                  <a:lnTo>
                    <a:pt x="1682" y="633"/>
                  </a:lnTo>
                  <a:lnTo>
                    <a:pt x="1678" y="632"/>
                  </a:lnTo>
                  <a:lnTo>
                    <a:pt x="1674" y="632"/>
                  </a:lnTo>
                  <a:lnTo>
                    <a:pt x="1672" y="631"/>
                  </a:lnTo>
                  <a:lnTo>
                    <a:pt x="1669" y="632"/>
                  </a:lnTo>
                  <a:lnTo>
                    <a:pt x="1666" y="629"/>
                  </a:lnTo>
                  <a:lnTo>
                    <a:pt x="1666" y="626"/>
                  </a:lnTo>
                  <a:lnTo>
                    <a:pt x="1662" y="626"/>
                  </a:lnTo>
                  <a:lnTo>
                    <a:pt x="1657" y="626"/>
                  </a:lnTo>
                  <a:lnTo>
                    <a:pt x="1660" y="631"/>
                  </a:lnTo>
                  <a:lnTo>
                    <a:pt x="1662" y="634"/>
                  </a:lnTo>
                  <a:lnTo>
                    <a:pt x="1663" y="640"/>
                  </a:lnTo>
                  <a:lnTo>
                    <a:pt x="1663" y="642"/>
                  </a:lnTo>
                  <a:lnTo>
                    <a:pt x="1665" y="645"/>
                  </a:lnTo>
                  <a:lnTo>
                    <a:pt x="1657" y="646"/>
                  </a:lnTo>
                  <a:lnTo>
                    <a:pt x="1657" y="647"/>
                  </a:lnTo>
                  <a:lnTo>
                    <a:pt x="1657" y="647"/>
                  </a:lnTo>
                  <a:lnTo>
                    <a:pt x="1657" y="646"/>
                  </a:lnTo>
                  <a:lnTo>
                    <a:pt x="1653" y="643"/>
                  </a:lnTo>
                  <a:lnTo>
                    <a:pt x="1649" y="646"/>
                  </a:lnTo>
                  <a:lnTo>
                    <a:pt x="1647" y="646"/>
                  </a:lnTo>
                  <a:lnTo>
                    <a:pt x="1643" y="640"/>
                  </a:lnTo>
                  <a:lnTo>
                    <a:pt x="1639" y="641"/>
                  </a:lnTo>
                  <a:lnTo>
                    <a:pt x="1637" y="641"/>
                  </a:lnTo>
                  <a:lnTo>
                    <a:pt x="1635" y="645"/>
                  </a:lnTo>
                  <a:lnTo>
                    <a:pt x="1630" y="643"/>
                  </a:lnTo>
                  <a:lnTo>
                    <a:pt x="1625" y="645"/>
                  </a:lnTo>
                  <a:lnTo>
                    <a:pt x="1622" y="646"/>
                  </a:lnTo>
                  <a:lnTo>
                    <a:pt x="1619" y="648"/>
                  </a:lnTo>
                  <a:lnTo>
                    <a:pt x="1620" y="650"/>
                  </a:lnTo>
                  <a:lnTo>
                    <a:pt x="1625" y="649"/>
                  </a:lnTo>
                  <a:lnTo>
                    <a:pt x="1626" y="651"/>
                  </a:lnTo>
                  <a:lnTo>
                    <a:pt x="1622" y="650"/>
                  </a:lnTo>
                  <a:lnTo>
                    <a:pt x="1622" y="652"/>
                  </a:lnTo>
                  <a:lnTo>
                    <a:pt x="1626" y="654"/>
                  </a:lnTo>
                  <a:lnTo>
                    <a:pt x="1620" y="655"/>
                  </a:lnTo>
                  <a:lnTo>
                    <a:pt x="1621" y="656"/>
                  </a:lnTo>
                  <a:lnTo>
                    <a:pt x="1625" y="657"/>
                  </a:lnTo>
                  <a:lnTo>
                    <a:pt x="1627" y="659"/>
                  </a:lnTo>
                  <a:lnTo>
                    <a:pt x="1629" y="658"/>
                  </a:lnTo>
                  <a:lnTo>
                    <a:pt x="1638" y="660"/>
                  </a:lnTo>
                  <a:lnTo>
                    <a:pt x="1640" y="663"/>
                  </a:lnTo>
                  <a:lnTo>
                    <a:pt x="1643" y="665"/>
                  </a:lnTo>
                  <a:lnTo>
                    <a:pt x="1644" y="663"/>
                  </a:lnTo>
                  <a:lnTo>
                    <a:pt x="1647" y="665"/>
                  </a:lnTo>
                  <a:lnTo>
                    <a:pt x="1653" y="665"/>
                  </a:lnTo>
                  <a:lnTo>
                    <a:pt x="1651" y="666"/>
                  </a:lnTo>
                  <a:lnTo>
                    <a:pt x="1652" y="668"/>
                  </a:lnTo>
                  <a:lnTo>
                    <a:pt x="1655" y="668"/>
                  </a:lnTo>
                  <a:lnTo>
                    <a:pt x="1659" y="668"/>
                  </a:lnTo>
                  <a:lnTo>
                    <a:pt x="1661" y="669"/>
                  </a:lnTo>
                  <a:lnTo>
                    <a:pt x="1657" y="668"/>
                  </a:lnTo>
                  <a:lnTo>
                    <a:pt x="1655" y="668"/>
                  </a:lnTo>
                  <a:lnTo>
                    <a:pt x="1655" y="671"/>
                  </a:lnTo>
                  <a:lnTo>
                    <a:pt x="1657" y="673"/>
                  </a:lnTo>
                  <a:lnTo>
                    <a:pt x="1655" y="676"/>
                  </a:lnTo>
                  <a:lnTo>
                    <a:pt x="1659" y="678"/>
                  </a:lnTo>
                  <a:lnTo>
                    <a:pt x="1661" y="682"/>
                  </a:lnTo>
                  <a:lnTo>
                    <a:pt x="1662" y="683"/>
                  </a:lnTo>
                  <a:lnTo>
                    <a:pt x="1664" y="683"/>
                  </a:lnTo>
                  <a:lnTo>
                    <a:pt x="1666" y="685"/>
                  </a:lnTo>
                  <a:lnTo>
                    <a:pt x="1670" y="685"/>
                  </a:lnTo>
                  <a:lnTo>
                    <a:pt x="1669" y="686"/>
                  </a:lnTo>
                  <a:lnTo>
                    <a:pt x="1670" y="692"/>
                  </a:lnTo>
                  <a:lnTo>
                    <a:pt x="1670" y="694"/>
                  </a:lnTo>
                  <a:lnTo>
                    <a:pt x="1668" y="695"/>
                  </a:lnTo>
                  <a:lnTo>
                    <a:pt x="1669" y="695"/>
                  </a:lnTo>
                  <a:lnTo>
                    <a:pt x="1671" y="697"/>
                  </a:lnTo>
                  <a:lnTo>
                    <a:pt x="1673" y="699"/>
                  </a:lnTo>
                  <a:lnTo>
                    <a:pt x="1676" y="702"/>
                  </a:lnTo>
                  <a:lnTo>
                    <a:pt x="1676" y="705"/>
                  </a:lnTo>
                  <a:lnTo>
                    <a:pt x="1677" y="708"/>
                  </a:lnTo>
                  <a:lnTo>
                    <a:pt x="1678" y="709"/>
                  </a:lnTo>
                  <a:lnTo>
                    <a:pt x="1677" y="708"/>
                  </a:lnTo>
                  <a:lnTo>
                    <a:pt x="1674" y="706"/>
                  </a:lnTo>
                  <a:lnTo>
                    <a:pt x="1674" y="702"/>
                  </a:lnTo>
                  <a:lnTo>
                    <a:pt x="1672" y="700"/>
                  </a:lnTo>
                  <a:lnTo>
                    <a:pt x="1669" y="699"/>
                  </a:lnTo>
                  <a:lnTo>
                    <a:pt x="1668" y="711"/>
                  </a:lnTo>
                  <a:lnTo>
                    <a:pt x="1668" y="714"/>
                  </a:lnTo>
                  <a:lnTo>
                    <a:pt x="1668" y="718"/>
                  </a:lnTo>
                  <a:lnTo>
                    <a:pt x="1665" y="727"/>
                  </a:lnTo>
                  <a:lnTo>
                    <a:pt x="1663" y="734"/>
                  </a:lnTo>
                  <a:lnTo>
                    <a:pt x="1661" y="735"/>
                  </a:lnTo>
                  <a:lnTo>
                    <a:pt x="1657" y="736"/>
                  </a:lnTo>
                  <a:lnTo>
                    <a:pt x="1654" y="736"/>
                  </a:lnTo>
                  <a:lnTo>
                    <a:pt x="1652" y="736"/>
                  </a:lnTo>
                  <a:lnTo>
                    <a:pt x="1647" y="733"/>
                  </a:lnTo>
                  <a:lnTo>
                    <a:pt x="1645" y="734"/>
                  </a:lnTo>
                  <a:lnTo>
                    <a:pt x="1644" y="735"/>
                  </a:lnTo>
                  <a:lnTo>
                    <a:pt x="1642" y="735"/>
                  </a:lnTo>
                  <a:lnTo>
                    <a:pt x="1637" y="733"/>
                  </a:lnTo>
                  <a:lnTo>
                    <a:pt x="1635" y="733"/>
                  </a:lnTo>
                  <a:lnTo>
                    <a:pt x="1632" y="733"/>
                  </a:lnTo>
                  <a:lnTo>
                    <a:pt x="1629" y="734"/>
                  </a:lnTo>
                  <a:lnTo>
                    <a:pt x="1629" y="734"/>
                  </a:lnTo>
                  <a:lnTo>
                    <a:pt x="1627" y="734"/>
                  </a:lnTo>
                  <a:lnTo>
                    <a:pt x="1621" y="734"/>
                  </a:lnTo>
                  <a:lnTo>
                    <a:pt x="1615" y="733"/>
                  </a:lnTo>
                  <a:lnTo>
                    <a:pt x="1612" y="732"/>
                  </a:lnTo>
                  <a:lnTo>
                    <a:pt x="1606" y="732"/>
                  </a:lnTo>
                  <a:lnTo>
                    <a:pt x="1604" y="731"/>
                  </a:lnTo>
                  <a:lnTo>
                    <a:pt x="1602" y="732"/>
                  </a:lnTo>
                  <a:lnTo>
                    <a:pt x="1593" y="732"/>
                  </a:lnTo>
                  <a:lnTo>
                    <a:pt x="1591" y="732"/>
                  </a:lnTo>
                  <a:lnTo>
                    <a:pt x="1588" y="733"/>
                  </a:lnTo>
                  <a:lnTo>
                    <a:pt x="1587" y="732"/>
                  </a:lnTo>
                  <a:lnTo>
                    <a:pt x="1585" y="731"/>
                  </a:lnTo>
                  <a:lnTo>
                    <a:pt x="1582" y="729"/>
                  </a:lnTo>
                  <a:lnTo>
                    <a:pt x="1576" y="728"/>
                  </a:lnTo>
                  <a:lnTo>
                    <a:pt x="1574" y="731"/>
                  </a:lnTo>
                  <a:lnTo>
                    <a:pt x="1572" y="733"/>
                  </a:lnTo>
                  <a:lnTo>
                    <a:pt x="1572" y="733"/>
                  </a:lnTo>
                  <a:lnTo>
                    <a:pt x="1572" y="734"/>
                  </a:lnTo>
                  <a:lnTo>
                    <a:pt x="1569" y="735"/>
                  </a:lnTo>
                  <a:lnTo>
                    <a:pt x="1567" y="736"/>
                  </a:lnTo>
                  <a:lnTo>
                    <a:pt x="1563" y="736"/>
                  </a:lnTo>
                  <a:lnTo>
                    <a:pt x="1558" y="740"/>
                  </a:lnTo>
                  <a:lnTo>
                    <a:pt x="1560" y="743"/>
                  </a:lnTo>
                  <a:lnTo>
                    <a:pt x="1560" y="743"/>
                  </a:lnTo>
                  <a:lnTo>
                    <a:pt x="1561" y="744"/>
                  </a:lnTo>
                  <a:lnTo>
                    <a:pt x="1563" y="744"/>
                  </a:lnTo>
                  <a:lnTo>
                    <a:pt x="1562" y="744"/>
                  </a:lnTo>
                  <a:lnTo>
                    <a:pt x="1562" y="748"/>
                  </a:lnTo>
                  <a:lnTo>
                    <a:pt x="1566" y="746"/>
                  </a:lnTo>
                  <a:lnTo>
                    <a:pt x="1563" y="749"/>
                  </a:lnTo>
                  <a:lnTo>
                    <a:pt x="1563" y="751"/>
                  </a:lnTo>
                  <a:lnTo>
                    <a:pt x="1567" y="751"/>
                  </a:lnTo>
                  <a:lnTo>
                    <a:pt x="1563" y="753"/>
                  </a:lnTo>
                  <a:lnTo>
                    <a:pt x="1566" y="753"/>
                  </a:lnTo>
                  <a:lnTo>
                    <a:pt x="1567" y="752"/>
                  </a:lnTo>
                  <a:lnTo>
                    <a:pt x="1567" y="753"/>
                  </a:lnTo>
                  <a:lnTo>
                    <a:pt x="1563" y="756"/>
                  </a:lnTo>
                  <a:lnTo>
                    <a:pt x="1565" y="758"/>
                  </a:lnTo>
                  <a:lnTo>
                    <a:pt x="1563" y="760"/>
                  </a:lnTo>
                  <a:lnTo>
                    <a:pt x="1563" y="762"/>
                  </a:lnTo>
                  <a:lnTo>
                    <a:pt x="1566" y="770"/>
                  </a:lnTo>
                  <a:lnTo>
                    <a:pt x="1567" y="771"/>
                  </a:lnTo>
                  <a:lnTo>
                    <a:pt x="1566" y="779"/>
                  </a:lnTo>
                  <a:lnTo>
                    <a:pt x="1567" y="776"/>
                  </a:lnTo>
                  <a:lnTo>
                    <a:pt x="1567" y="779"/>
                  </a:lnTo>
                  <a:lnTo>
                    <a:pt x="1565" y="782"/>
                  </a:lnTo>
                  <a:lnTo>
                    <a:pt x="1563" y="788"/>
                  </a:lnTo>
                  <a:lnTo>
                    <a:pt x="1560" y="796"/>
                  </a:lnTo>
                  <a:lnTo>
                    <a:pt x="1557" y="801"/>
                  </a:lnTo>
                  <a:lnTo>
                    <a:pt x="1557" y="803"/>
                  </a:lnTo>
                  <a:lnTo>
                    <a:pt x="1555" y="805"/>
                  </a:lnTo>
                  <a:lnTo>
                    <a:pt x="1555" y="809"/>
                  </a:lnTo>
                  <a:lnTo>
                    <a:pt x="1557" y="811"/>
                  </a:lnTo>
                  <a:lnTo>
                    <a:pt x="1559" y="811"/>
                  </a:lnTo>
                  <a:lnTo>
                    <a:pt x="1560" y="810"/>
                  </a:lnTo>
                  <a:lnTo>
                    <a:pt x="1562" y="806"/>
                  </a:lnTo>
                  <a:lnTo>
                    <a:pt x="1562" y="810"/>
                  </a:lnTo>
                  <a:lnTo>
                    <a:pt x="1560" y="812"/>
                  </a:lnTo>
                  <a:lnTo>
                    <a:pt x="1559" y="811"/>
                  </a:lnTo>
                  <a:lnTo>
                    <a:pt x="1559" y="814"/>
                  </a:lnTo>
                  <a:lnTo>
                    <a:pt x="1565" y="814"/>
                  </a:lnTo>
                  <a:lnTo>
                    <a:pt x="1566" y="813"/>
                  </a:lnTo>
                  <a:lnTo>
                    <a:pt x="1565" y="816"/>
                  </a:lnTo>
                  <a:lnTo>
                    <a:pt x="1565" y="819"/>
                  </a:lnTo>
                  <a:lnTo>
                    <a:pt x="1563" y="822"/>
                  </a:lnTo>
                  <a:lnTo>
                    <a:pt x="1565" y="827"/>
                  </a:lnTo>
                  <a:lnTo>
                    <a:pt x="1565" y="828"/>
                  </a:lnTo>
                  <a:lnTo>
                    <a:pt x="1565" y="831"/>
                  </a:lnTo>
                  <a:lnTo>
                    <a:pt x="1562" y="835"/>
                  </a:lnTo>
                  <a:lnTo>
                    <a:pt x="1562" y="838"/>
                  </a:lnTo>
                  <a:lnTo>
                    <a:pt x="1568" y="836"/>
                  </a:lnTo>
                  <a:lnTo>
                    <a:pt x="1570" y="836"/>
                  </a:lnTo>
                  <a:lnTo>
                    <a:pt x="1572" y="836"/>
                  </a:lnTo>
                  <a:lnTo>
                    <a:pt x="1575" y="837"/>
                  </a:lnTo>
                  <a:lnTo>
                    <a:pt x="1578" y="837"/>
                  </a:lnTo>
                  <a:lnTo>
                    <a:pt x="1583" y="835"/>
                  </a:lnTo>
                  <a:lnTo>
                    <a:pt x="1583" y="834"/>
                  </a:lnTo>
                  <a:lnTo>
                    <a:pt x="1584" y="835"/>
                  </a:lnTo>
                  <a:lnTo>
                    <a:pt x="1584" y="835"/>
                  </a:lnTo>
                  <a:lnTo>
                    <a:pt x="1589" y="834"/>
                  </a:lnTo>
                  <a:lnTo>
                    <a:pt x="1591" y="834"/>
                  </a:lnTo>
                  <a:lnTo>
                    <a:pt x="1589" y="835"/>
                  </a:lnTo>
                  <a:lnTo>
                    <a:pt x="1595" y="838"/>
                  </a:lnTo>
                  <a:lnTo>
                    <a:pt x="1600" y="839"/>
                  </a:lnTo>
                  <a:lnTo>
                    <a:pt x="1596" y="843"/>
                  </a:lnTo>
                  <a:lnTo>
                    <a:pt x="1600" y="845"/>
                  </a:lnTo>
                  <a:lnTo>
                    <a:pt x="1600" y="845"/>
                  </a:lnTo>
                  <a:lnTo>
                    <a:pt x="1600" y="847"/>
                  </a:lnTo>
                  <a:lnTo>
                    <a:pt x="1602" y="851"/>
                  </a:lnTo>
                  <a:lnTo>
                    <a:pt x="1608" y="854"/>
                  </a:lnTo>
                  <a:lnTo>
                    <a:pt x="1612" y="852"/>
                  </a:lnTo>
                  <a:lnTo>
                    <a:pt x="1613" y="847"/>
                  </a:lnTo>
                  <a:lnTo>
                    <a:pt x="1617" y="846"/>
                  </a:lnTo>
                  <a:lnTo>
                    <a:pt x="1619" y="846"/>
                  </a:lnTo>
                  <a:lnTo>
                    <a:pt x="1621" y="846"/>
                  </a:lnTo>
                  <a:lnTo>
                    <a:pt x="1623" y="843"/>
                  </a:lnTo>
                  <a:lnTo>
                    <a:pt x="1625" y="843"/>
                  </a:lnTo>
                  <a:lnTo>
                    <a:pt x="1636" y="843"/>
                  </a:lnTo>
                  <a:lnTo>
                    <a:pt x="1642" y="842"/>
                  </a:lnTo>
                  <a:lnTo>
                    <a:pt x="1646" y="843"/>
                  </a:lnTo>
                  <a:lnTo>
                    <a:pt x="1648" y="843"/>
                  </a:lnTo>
                  <a:lnTo>
                    <a:pt x="1651" y="840"/>
                  </a:lnTo>
                  <a:lnTo>
                    <a:pt x="1653" y="840"/>
                  </a:lnTo>
                  <a:lnTo>
                    <a:pt x="1656" y="842"/>
                  </a:lnTo>
                  <a:lnTo>
                    <a:pt x="1657" y="839"/>
                  </a:lnTo>
                  <a:lnTo>
                    <a:pt x="1660" y="836"/>
                  </a:lnTo>
                  <a:lnTo>
                    <a:pt x="1660" y="834"/>
                  </a:lnTo>
                  <a:lnTo>
                    <a:pt x="1665" y="830"/>
                  </a:lnTo>
                  <a:lnTo>
                    <a:pt x="1668" y="829"/>
                  </a:lnTo>
                  <a:lnTo>
                    <a:pt x="1671" y="829"/>
                  </a:lnTo>
                  <a:lnTo>
                    <a:pt x="1673" y="827"/>
                  </a:lnTo>
                  <a:lnTo>
                    <a:pt x="1676" y="823"/>
                  </a:lnTo>
                  <a:lnTo>
                    <a:pt x="1676" y="820"/>
                  </a:lnTo>
                  <a:lnTo>
                    <a:pt x="1679" y="816"/>
                  </a:lnTo>
                  <a:lnTo>
                    <a:pt x="1685" y="812"/>
                  </a:lnTo>
                  <a:lnTo>
                    <a:pt x="1688" y="811"/>
                  </a:lnTo>
                  <a:lnTo>
                    <a:pt x="1682" y="806"/>
                  </a:lnTo>
                  <a:lnTo>
                    <a:pt x="1681" y="804"/>
                  </a:lnTo>
                  <a:lnTo>
                    <a:pt x="1680" y="800"/>
                  </a:lnTo>
                  <a:lnTo>
                    <a:pt x="1682" y="794"/>
                  </a:lnTo>
                  <a:lnTo>
                    <a:pt x="1685" y="792"/>
                  </a:lnTo>
                  <a:lnTo>
                    <a:pt x="1686" y="789"/>
                  </a:lnTo>
                  <a:lnTo>
                    <a:pt x="1690" y="784"/>
                  </a:lnTo>
                  <a:lnTo>
                    <a:pt x="1691" y="782"/>
                  </a:lnTo>
                  <a:lnTo>
                    <a:pt x="1694" y="780"/>
                  </a:lnTo>
                  <a:lnTo>
                    <a:pt x="1697" y="779"/>
                  </a:lnTo>
                  <a:lnTo>
                    <a:pt x="1697" y="778"/>
                  </a:lnTo>
                  <a:lnTo>
                    <a:pt x="1695" y="777"/>
                  </a:lnTo>
                  <a:lnTo>
                    <a:pt x="1697" y="775"/>
                  </a:lnTo>
                  <a:lnTo>
                    <a:pt x="1702" y="772"/>
                  </a:lnTo>
                  <a:lnTo>
                    <a:pt x="1714" y="769"/>
                  </a:lnTo>
                  <a:lnTo>
                    <a:pt x="1715" y="768"/>
                  </a:lnTo>
                  <a:lnTo>
                    <a:pt x="1717" y="766"/>
                  </a:lnTo>
                  <a:lnTo>
                    <a:pt x="1725" y="762"/>
                  </a:lnTo>
                  <a:lnTo>
                    <a:pt x="1728" y="760"/>
                  </a:lnTo>
                  <a:lnTo>
                    <a:pt x="1729" y="757"/>
                  </a:lnTo>
                  <a:lnTo>
                    <a:pt x="1728" y="754"/>
                  </a:lnTo>
                  <a:lnTo>
                    <a:pt x="1730" y="753"/>
                  </a:lnTo>
                  <a:lnTo>
                    <a:pt x="1726" y="746"/>
                  </a:lnTo>
                  <a:lnTo>
                    <a:pt x="1726" y="744"/>
                  </a:lnTo>
                  <a:lnTo>
                    <a:pt x="1725" y="743"/>
                  </a:lnTo>
                  <a:lnTo>
                    <a:pt x="1726" y="743"/>
                  </a:lnTo>
                  <a:lnTo>
                    <a:pt x="1726" y="740"/>
                  </a:lnTo>
                  <a:lnTo>
                    <a:pt x="1730" y="737"/>
                  </a:lnTo>
                  <a:lnTo>
                    <a:pt x="1732" y="736"/>
                  </a:lnTo>
                  <a:lnTo>
                    <a:pt x="1738" y="733"/>
                  </a:lnTo>
                  <a:lnTo>
                    <a:pt x="1740" y="732"/>
                  </a:lnTo>
                  <a:lnTo>
                    <a:pt x="1742" y="733"/>
                  </a:lnTo>
                  <a:lnTo>
                    <a:pt x="1745" y="733"/>
                  </a:lnTo>
                  <a:lnTo>
                    <a:pt x="1747" y="735"/>
                  </a:lnTo>
                  <a:lnTo>
                    <a:pt x="1750" y="734"/>
                  </a:lnTo>
                  <a:lnTo>
                    <a:pt x="1749" y="732"/>
                  </a:lnTo>
                  <a:lnTo>
                    <a:pt x="1750" y="734"/>
                  </a:lnTo>
                  <a:lnTo>
                    <a:pt x="1754" y="734"/>
                  </a:lnTo>
                  <a:lnTo>
                    <a:pt x="1754" y="734"/>
                  </a:lnTo>
                  <a:lnTo>
                    <a:pt x="1755" y="735"/>
                  </a:lnTo>
                  <a:lnTo>
                    <a:pt x="1757" y="735"/>
                  </a:lnTo>
                  <a:lnTo>
                    <a:pt x="1759" y="737"/>
                  </a:lnTo>
                  <a:lnTo>
                    <a:pt x="1763" y="737"/>
                  </a:lnTo>
                  <a:lnTo>
                    <a:pt x="1763" y="739"/>
                  </a:lnTo>
                  <a:lnTo>
                    <a:pt x="1766" y="739"/>
                  </a:lnTo>
                  <a:lnTo>
                    <a:pt x="1768" y="740"/>
                  </a:lnTo>
                  <a:lnTo>
                    <a:pt x="1774" y="739"/>
                  </a:lnTo>
                  <a:lnTo>
                    <a:pt x="1776" y="736"/>
                  </a:lnTo>
                  <a:lnTo>
                    <a:pt x="1777" y="734"/>
                  </a:lnTo>
                  <a:lnTo>
                    <a:pt x="1783" y="729"/>
                  </a:lnTo>
                  <a:lnTo>
                    <a:pt x="1787" y="728"/>
                  </a:lnTo>
                  <a:lnTo>
                    <a:pt x="1790" y="728"/>
                  </a:lnTo>
                  <a:lnTo>
                    <a:pt x="1793" y="727"/>
                  </a:lnTo>
                  <a:lnTo>
                    <a:pt x="1796" y="725"/>
                  </a:lnTo>
                  <a:lnTo>
                    <a:pt x="1801" y="719"/>
                  </a:lnTo>
                  <a:lnTo>
                    <a:pt x="1805" y="717"/>
                  </a:lnTo>
                  <a:lnTo>
                    <a:pt x="1807" y="717"/>
                  </a:lnTo>
                  <a:lnTo>
                    <a:pt x="1813" y="719"/>
                  </a:lnTo>
                  <a:lnTo>
                    <a:pt x="1817" y="723"/>
                  </a:lnTo>
                  <a:lnTo>
                    <a:pt x="1819" y="723"/>
                  </a:lnTo>
                  <a:lnTo>
                    <a:pt x="1821" y="723"/>
                  </a:lnTo>
                  <a:lnTo>
                    <a:pt x="1822" y="724"/>
                  </a:lnTo>
                  <a:lnTo>
                    <a:pt x="1824" y="725"/>
                  </a:lnTo>
                  <a:lnTo>
                    <a:pt x="1825" y="727"/>
                  </a:lnTo>
                  <a:lnTo>
                    <a:pt x="1825" y="732"/>
                  </a:lnTo>
                  <a:lnTo>
                    <a:pt x="1828" y="736"/>
                  </a:lnTo>
                  <a:lnTo>
                    <a:pt x="1828" y="742"/>
                  </a:lnTo>
                  <a:lnTo>
                    <a:pt x="1832" y="742"/>
                  </a:lnTo>
                  <a:lnTo>
                    <a:pt x="1833" y="744"/>
                  </a:lnTo>
                  <a:lnTo>
                    <a:pt x="1836" y="748"/>
                  </a:lnTo>
                  <a:lnTo>
                    <a:pt x="1839" y="751"/>
                  </a:lnTo>
                  <a:lnTo>
                    <a:pt x="1843" y="752"/>
                  </a:lnTo>
                  <a:lnTo>
                    <a:pt x="1845" y="754"/>
                  </a:lnTo>
                  <a:lnTo>
                    <a:pt x="1845" y="757"/>
                  </a:lnTo>
                  <a:lnTo>
                    <a:pt x="1849" y="758"/>
                  </a:lnTo>
                  <a:lnTo>
                    <a:pt x="1851" y="759"/>
                  </a:lnTo>
                  <a:lnTo>
                    <a:pt x="1852" y="762"/>
                  </a:lnTo>
                  <a:lnTo>
                    <a:pt x="1856" y="763"/>
                  </a:lnTo>
                  <a:lnTo>
                    <a:pt x="1857" y="766"/>
                  </a:lnTo>
                  <a:lnTo>
                    <a:pt x="1862" y="769"/>
                  </a:lnTo>
                  <a:lnTo>
                    <a:pt x="1865" y="769"/>
                  </a:lnTo>
                  <a:lnTo>
                    <a:pt x="1868" y="769"/>
                  </a:lnTo>
                  <a:lnTo>
                    <a:pt x="1870" y="770"/>
                  </a:lnTo>
                  <a:lnTo>
                    <a:pt x="1873" y="770"/>
                  </a:lnTo>
                  <a:lnTo>
                    <a:pt x="1875" y="774"/>
                  </a:lnTo>
                  <a:lnTo>
                    <a:pt x="1878" y="777"/>
                  </a:lnTo>
                  <a:lnTo>
                    <a:pt x="1882" y="777"/>
                  </a:lnTo>
                  <a:lnTo>
                    <a:pt x="1883" y="780"/>
                  </a:lnTo>
                  <a:lnTo>
                    <a:pt x="1884" y="780"/>
                  </a:lnTo>
                  <a:lnTo>
                    <a:pt x="1886" y="779"/>
                  </a:lnTo>
                  <a:lnTo>
                    <a:pt x="1888" y="782"/>
                  </a:lnTo>
                  <a:lnTo>
                    <a:pt x="1890" y="784"/>
                  </a:lnTo>
                  <a:lnTo>
                    <a:pt x="1890" y="787"/>
                  </a:lnTo>
                  <a:lnTo>
                    <a:pt x="1892" y="788"/>
                  </a:lnTo>
                  <a:lnTo>
                    <a:pt x="1895" y="791"/>
                  </a:lnTo>
                  <a:lnTo>
                    <a:pt x="1899" y="789"/>
                  </a:lnTo>
                  <a:lnTo>
                    <a:pt x="1901" y="792"/>
                  </a:lnTo>
                  <a:lnTo>
                    <a:pt x="1901" y="795"/>
                  </a:lnTo>
                  <a:lnTo>
                    <a:pt x="1902" y="797"/>
                  </a:lnTo>
                  <a:lnTo>
                    <a:pt x="1904" y="800"/>
                  </a:lnTo>
                  <a:lnTo>
                    <a:pt x="1905" y="805"/>
                  </a:lnTo>
                  <a:lnTo>
                    <a:pt x="1907" y="808"/>
                  </a:lnTo>
                  <a:lnTo>
                    <a:pt x="1905" y="811"/>
                  </a:lnTo>
                  <a:lnTo>
                    <a:pt x="1902" y="811"/>
                  </a:lnTo>
                  <a:lnTo>
                    <a:pt x="1902" y="816"/>
                  </a:lnTo>
                  <a:lnTo>
                    <a:pt x="1899" y="820"/>
                  </a:lnTo>
                  <a:lnTo>
                    <a:pt x="1900" y="823"/>
                  </a:lnTo>
                  <a:lnTo>
                    <a:pt x="1903" y="823"/>
                  </a:lnTo>
                  <a:lnTo>
                    <a:pt x="1905" y="822"/>
                  </a:lnTo>
                  <a:lnTo>
                    <a:pt x="1907" y="820"/>
                  </a:lnTo>
                  <a:lnTo>
                    <a:pt x="1911" y="814"/>
                  </a:lnTo>
                  <a:lnTo>
                    <a:pt x="1911" y="810"/>
                  </a:lnTo>
                  <a:lnTo>
                    <a:pt x="1919" y="805"/>
                  </a:lnTo>
                  <a:lnTo>
                    <a:pt x="1919" y="803"/>
                  </a:lnTo>
                  <a:lnTo>
                    <a:pt x="1918" y="799"/>
                  </a:lnTo>
                  <a:lnTo>
                    <a:pt x="1913" y="796"/>
                  </a:lnTo>
                  <a:lnTo>
                    <a:pt x="1911" y="795"/>
                  </a:lnTo>
                  <a:lnTo>
                    <a:pt x="1911" y="793"/>
                  </a:lnTo>
                  <a:lnTo>
                    <a:pt x="1912" y="791"/>
                  </a:lnTo>
                  <a:lnTo>
                    <a:pt x="1912" y="788"/>
                  </a:lnTo>
                  <a:lnTo>
                    <a:pt x="1915" y="787"/>
                  </a:lnTo>
                  <a:lnTo>
                    <a:pt x="1916" y="784"/>
                  </a:lnTo>
                  <a:lnTo>
                    <a:pt x="1918" y="782"/>
                  </a:lnTo>
                  <a:lnTo>
                    <a:pt x="1921" y="782"/>
                  </a:lnTo>
                  <a:lnTo>
                    <a:pt x="1921" y="783"/>
                  </a:lnTo>
                  <a:lnTo>
                    <a:pt x="1920" y="783"/>
                  </a:lnTo>
                  <a:lnTo>
                    <a:pt x="1922" y="785"/>
                  </a:lnTo>
                  <a:lnTo>
                    <a:pt x="1928" y="785"/>
                  </a:lnTo>
                  <a:lnTo>
                    <a:pt x="1930" y="787"/>
                  </a:lnTo>
                  <a:lnTo>
                    <a:pt x="1932" y="791"/>
                  </a:lnTo>
                  <a:lnTo>
                    <a:pt x="1934" y="793"/>
                  </a:lnTo>
                  <a:lnTo>
                    <a:pt x="1936" y="793"/>
                  </a:lnTo>
                  <a:lnTo>
                    <a:pt x="1938" y="788"/>
                  </a:lnTo>
                  <a:lnTo>
                    <a:pt x="1937" y="786"/>
                  </a:lnTo>
                  <a:lnTo>
                    <a:pt x="1935" y="784"/>
                  </a:lnTo>
                  <a:lnTo>
                    <a:pt x="1932" y="782"/>
                  </a:lnTo>
                  <a:lnTo>
                    <a:pt x="1930" y="779"/>
                  </a:lnTo>
                  <a:lnTo>
                    <a:pt x="1922" y="776"/>
                  </a:lnTo>
                  <a:lnTo>
                    <a:pt x="1920" y="774"/>
                  </a:lnTo>
                  <a:lnTo>
                    <a:pt x="1912" y="770"/>
                  </a:lnTo>
                  <a:lnTo>
                    <a:pt x="1903" y="766"/>
                  </a:lnTo>
                  <a:lnTo>
                    <a:pt x="1903" y="763"/>
                  </a:lnTo>
                  <a:lnTo>
                    <a:pt x="1905" y="761"/>
                  </a:lnTo>
                  <a:lnTo>
                    <a:pt x="1905" y="759"/>
                  </a:lnTo>
                  <a:lnTo>
                    <a:pt x="1892" y="759"/>
                  </a:lnTo>
                  <a:lnTo>
                    <a:pt x="1890" y="758"/>
                  </a:lnTo>
                  <a:lnTo>
                    <a:pt x="1886" y="757"/>
                  </a:lnTo>
                  <a:lnTo>
                    <a:pt x="1876" y="746"/>
                  </a:lnTo>
                  <a:lnTo>
                    <a:pt x="1873" y="736"/>
                  </a:lnTo>
                  <a:lnTo>
                    <a:pt x="1870" y="732"/>
                  </a:lnTo>
                  <a:lnTo>
                    <a:pt x="1868" y="731"/>
                  </a:lnTo>
                  <a:lnTo>
                    <a:pt x="1862" y="726"/>
                  </a:lnTo>
                  <a:lnTo>
                    <a:pt x="1859" y="725"/>
                  </a:lnTo>
                  <a:lnTo>
                    <a:pt x="1854" y="720"/>
                  </a:lnTo>
                  <a:lnTo>
                    <a:pt x="1853" y="717"/>
                  </a:lnTo>
                  <a:lnTo>
                    <a:pt x="1853" y="714"/>
                  </a:lnTo>
                  <a:lnTo>
                    <a:pt x="1852" y="714"/>
                  </a:lnTo>
                  <a:lnTo>
                    <a:pt x="1856" y="710"/>
                  </a:lnTo>
                  <a:lnTo>
                    <a:pt x="1857" y="708"/>
                  </a:lnTo>
                  <a:lnTo>
                    <a:pt x="1856" y="708"/>
                  </a:lnTo>
                  <a:lnTo>
                    <a:pt x="1853" y="705"/>
                  </a:lnTo>
                  <a:lnTo>
                    <a:pt x="1852" y="703"/>
                  </a:lnTo>
                  <a:lnTo>
                    <a:pt x="1852" y="703"/>
                  </a:lnTo>
                  <a:lnTo>
                    <a:pt x="1851" y="702"/>
                  </a:lnTo>
                  <a:lnTo>
                    <a:pt x="1851" y="702"/>
                  </a:lnTo>
                  <a:lnTo>
                    <a:pt x="1852" y="702"/>
                  </a:lnTo>
                  <a:lnTo>
                    <a:pt x="1853" y="700"/>
                  </a:lnTo>
                  <a:lnTo>
                    <a:pt x="1856" y="700"/>
                  </a:lnTo>
                  <a:lnTo>
                    <a:pt x="1859" y="699"/>
                  </a:lnTo>
                  <a:lnTo>
                    <a:pt x="1861" y="697"/>
                  </a:lnTo>
                  <a:lnTo>
                    <a:pt x="1864" y="697"/>
                  </a:lnTo>
                  <a:lnTo>
                    <a:pt x="1864" y="695"/>
                  </a:lnTo>
                  <a:lnTo>
                    <a:pt x="1867" y="694"/>
                  </a:lnTo>
                  <a:lnTo>
                    <a:pt x="1868" y="695"/>
                  </a:lnTo>
                  <a:lnTo>
                    <a:pt x="1868" y="695"/>
                  </a:lnTo>
                  <a:lnTo>
                    <a:pt x="1868" y="695"/>
                  </a:lnTo>
                  <a:lnTo>
                    <a:pt x="1870" y="694"/>
                  </a:lnTo>
                  <a:lnTo>
                    <a:pt x="1871" y="694"/>
                  </a:lnTo>
                  <a:lnTo>
                    <a:pt x="1873" y="698"/>
                  </a:lnTo>
                  <a:lnTo>
                    <a:pt x="1873" y="698"/>
                  </a:lnTo>
                  <a:lnTo>
                    <a:pt x="1871" y="698"/>
                  </a:lnTo>
                  <a:lnTo>
                    <a:pt x="1870" y="699"/>
                  </a:lnTo>
                  <a:lnTo>
                    <a:pt x="1869" y="700"/>
                  </a:lnTo>
                  <a:lnTo>
                    <a:pt x="1870" y="702"/>
                  </a:lnTo>
                  <a:lnTo>
                    <a:pt x="1870" y="702"/>
                  </a:lnTo>
                  <a:lnTo>
                    <a:pt x="1873" y="706"/>
                  </a:lnTo>
                  <a:lnTo>
                    <a:pt x="1873" y="708"/>
                  </a:lnTo>
                  <a:lnTo>
                    <a:pt x="1875" y="711"/>
                  </a:lnTo>
                  <a:lnTo>
                    <a:pt x="1876" y="710"/>
                  </a:lnTo>
                  <a:lnTo>
                    <a:pt x="1877" y="707"/>
                  </a:lnTo>
                  <a:lnTo>
                    <a:pt x="1877" y="708"/>
                  </a:lnTo>
                  <a:lnTo>
                    <a:pt x="1878" y="708"/>
                  </a:lnTo>
                  <a:lnTo>
                    <a:pt x="1881" y="701"/>
                  </a:lnTo>
                  <a:lnTo>
                    <a:pt x="1885" y="703"/>
                  </a:lnTo>
                  <a:lnTo>
                    <a:pt x="1888" y="708"/>
                  </a:lnTo>
                  <a:lnTo>
                    <a:pt x="1888" y="712"/>
                  </a:lnTo>
                  <a:lnTo>
                    <a:pt x="1890" y="715"/>
                  </a:lnTo>
                  <a:lnTo>
                    <a:pt x="1892" y="716"/>
                  </a:lnTo>
                  <a:lnTo>
                    <a:pt x="1894" y="718"/>
                  </a:lnTo>
                  <a:lnTo>
                    <a:pt x="1898" y="720"/>
                  </a:lnTo>
                  <a:lnTo>
                    <a:pt x="1898" y="720"/>
                  </a:lnTo>
                  <a:lnTo>
                    <a:pt x="1899" y="720"/>
                  </a:lnTo>
                  <a:lnTo>
                    <a:pt x="1899" y="722"/>
                  </a:lnTo>
                  <a:lnTo>
                    <a:pt x="1898" y="720"/>
                  </a:lnTo>
                  <a:lnTo>
                    <a:pt x="1894" y="719"/>
                  </a:lnTo>
                  <a:lnTo>
                    <a:pt x="1893" y="722"/>
                  </a:lnTo>
                  <a:lnTo>
                    <a:pt x="1899" y="727"/>
                  </a:lnTo>
                  <a:lnTo>
                    <a:pt x="1903" y="729"/>
                  </a:lnTo>
                  <a:lnTo>
                    <a:pt x="1904" y="733"/>
                  </a:lnTo>
                  <a:lnTo>
                    <a:pt x="1909" y="732"/>
                  </a:lnTo>
                  <a:lnTo>
                    <a:pt x="1913" y="734"/>
                  </a:lnTo>
                  <a:lnTo>
                    <a:pt x="1916" y="734"/>
                  </a:lnTo>
                  <a:lnTo>
                    <a:pt x="1919" y="737"/>
                  </a:lnTo>
                  <a:lnTo>
                    <a:pt x="1924" y="741"/>
                  </a:lnTo>
                  <a:lnTo>
                    <a:pt x="1927" y="743"/>
                  </a:lnTo>
                  <a:lnTo>
                    <a:pt x="1924" y="742"/>
                  </a:lnTo>
                  <a:lnTo>
                    <a:pt x="1921" y="741"/>
                  </a:lnTo>
                  <a:lnTo>
                    <a:pt x="1918" y="741"/>
                  </a:lnTo>
                  <a:lnTo>
                    <a:pt x="1924" y="743"/>
                  </a:lnTo>
                  <a:lnTo>
                    <a:pt x="1929" y="744"/>
                  </a:lnTo>
                  <a:lnTo>
                    <a:pt x="1937" y="750"/>
                  </a:lnTo>
                  <a:lnTo>
                    <a:pt x="1942" y="750"/>
                  </a:lnTo>
                  <a:lnTo>
                    <a:pt x="1942" y="751"/>
                  </a:lnTo>
                  <a:lnTo>
                    <a:pt x="1941" y="750"/>
                  </a:lnTo>
                  <a:lnTo>
                    <a:pt x="1938" y="751"/>
                  </a:lnTo>
                  <a:lnTo>
                    <a:pt x="1942" y="753"/>
                  </a:lnTo>
                  <a:lnTo>
                    <a:pt x="1944" y="754"/>
                  </a:lnTo>
                  <a:lnTo>
                    <a:pt x="1946" y="758"/>
                  </a:lnTo>
                  <a:lnTo>
                    <a:pt x="1950" y="760"/>
                  </a:lnTo>
                  <a:lnTo>
                    <a:pt x="1952" y="760"/>
                  </a:lnTo>
                  <a:lnTo>
                    <a:pt x="1953" y="761"/>
                  </a:lnTo>
                  <a:lnTo>
                    <a:pt x="1953" y="765"/>
                  </a:lnTo>
                  <a:lnTo>
                    <a:pt x="1951" y="768"/>
                  </a:lnTo>
                  <a:lnTo>
                    <a:pt x="1951" y="770"/>
                  </a:lnTo>
                  <a:lnTo>
                    <a:pt x="1951" y="774"/>
                  </a:lnTo>
                  <a:lnTo>
                    <a:pt x="1951" y="776"/>
                  </a:lnTo>
                  <a:lnTo>
                    <a:pt x="1950" y="779"/>
                  </a:lnTo>
                  <a:lnTo>
                    <a:pt x="1951" y="782"/>
                  </a:lnTo>
                  <a:lnTo>
                    <a:pt x="1951" y="782"/>
                  </a:lnTo>
                  <a:lnTo>
                    <a:pt x="1951" y="785"/>
                  </a:lnTo>
                  <a:lnTo>
                    <a:pt x="1951" y="785"/>
                  </a:lnTo>
                  <a:lnTo>
                    <a:pt x="1950" y="784"/>
                  </a:lnTo>
                  <a:lnTo>
                    <a:pt x="1951" y="786"/>
                  </a:lnTo>
                  <a:lnTo>
                    <a:pt x="1956" y="789"/>
                  </a:lnTo>
                  <a:lnTo>
                    <a:pt x="1959" y="793"/>
                  </a:lnTo>
                  <a:lnTo>
                    <a:pt x="1959" y="795"/>
                  </a:lnTo>
                  <a:lnTo>
                    <a:pt x="1961" y="796"/>
                  </a:lnTo>
                  <a:lnTo>
                    <a:pt x="1963" y="801"/>
                  </a:lnTo>
                  <a:lnTo>
                    <a:pt x="1966" y="802"/>
                  </a:lnTo>
                  <a:lnTo>
                    <a:pt x="1969" y="806"/>
                  </a:lnTo>
                  <a:lnTo>
                    <a:pt x="1970" y="804"/>
                  </a:lnTo>
                  <a:lnTo>
                    <a:pt x="1971" y="805"/>
                  </a:lnTo>
                  <a:lnTo>
                    <a:pt x="1973" y="805"/>
                  </a:lnTo>
                  <a:lnTo>
                    <a:pt x="1972" y="808"/>
                  </a:lnTo>
                  <a:lnTo>
                    <a:pt x="1971" y="808"/>
                  </a:lnTo>
                  <a:lnTo>
                    <a:pt x="1969" y="806"/>
                  </a:lnTo>
                  <a:lnTo>
                    <a:pt x="1969" y="810"/>
                  </a:lnTo>
                  <a:lnTo>
                    <a:pt x="1972" y="812"/>
                  </a:lnTo>
                  <a:lnTo>
                    <a:pt x="1975" y="818"/>
                  </a:lnTo>
                  <a:lnTo>
                    <a:pt x="1977" y="816"/>
                  </a:lnTo>
                  <a:lnTo>
                    <a:pt x="1977" y="814"/>
                  </a:lnTo>
                  <a:lnTo>
                    <a:pt x="1979" y="818"/>
                  </a:lnTo>
                  <a:lnTo>
                    <a:pt x="1986" y="816"/>
                  </a:lnTo>
                  <a:lnTo>
                    <a:pt x="1988" y="817"/>
                  </a:lnTo>
                  <a:lnTo>
                    <a:pt x="1992" y="816"/>
                  </a:lnTo>
                  <a:lnTo>
                    <a:pt x="1994" y="818"/>
                  </a:lnTo>
                  <a:lnTo>
                    <a:pt x="1995" y="817"/>
                  </a:lnTo>
                  <a:lnTo>
                    <a:pt x="1997" y="819"/>
                  </a:lnTo>
                  <a:lnTo>
                    <a:pt x="1999" y="819"/>
                  </a:lnTo>
                  <a:lnTo>
                    <a:pt x="2003" y="820"/>
                  </a:lnTo>
                  <a:lnTo>
                    <a:pt x="2002" y="821"/>
                  </a:lnTo>
                  <a:lnTo>
                    <a:pt x="1999" y="822"/>
                  </a:lnTo>
                  <a:lnTo>
                    <a:pt x="1997" y="822"/>
                  </a:lnTo>
                  <a:lnTo>
                    <a:pt x="1994" y="820"/>
                  </a:lnTo>
                  <a:lnTo>
                    <a:pt x="1992" y="820"/>
                  </a:lnTo>
                  <a:lnTo>
                    <a:pt x="1988" y="819"/>
                  </a:lnTo>
                  <a:lnTo>
                    <a:pt x="1985" y="817"/>
                  </a:lnTo>
                  <a:lnTo>
                    <a:pt x="1982" y="818"/>
                  </a:lnTo>
                  <a:lnTo>
                    <a:pt x="1980" y="820"/>
                  </a:lnTo>
                  <a:lnTo>
                    <a:pt x="1977" y="820"/>
                  </a:lnTo>
                  <a:lnTo>
                    <a:pt x="1976" y="822"/>
                  </a:lnTo>
                  <a:lnTo>
                    <a:pt x="1976" y="826"/>
                  </a:lnTo>
                  <a:lnTo>
                    <a:pt x="1978" y="828"/>
                  </a:lnTo>
                  <a:lnTo>
                    <a:pt x="1980" y="829"/>
                  </a:lnTo>
                  <a:lnTo>
                    <a:pt x="1981" y="831"/>
                  </a:lnTo>
                  <a:lnTo>
                    <a:pt x="1980" y="837"/>
                  </a:lnTo>
                  <a:lnTo>
                    <a:pt x="1982" y="840"/>
                  </a:lnTo>
                  <a:lnTo>
                    <a:pt x="1985" y="840"/>
                  </a:lnTo>
                  <a:lnTo>
                    <a:pt x="1987" y="837"/>
                  </a:lnTo>
                  <a:lnTo>
                    <a:pt x="1988" y="839"/>
                  </a:lnTo>
                  <a:lnTo>
                    <a:pt x="1990" y="842"/>
                  </a:lnTo>
                  <a:lnTo>
                    <a:pt x="1993" y="846"/>
                  </a:lnTo>
                  <a:lnTo>
                    <a:pt x="1993" y="846"/>
                  </a:lnTo>
                  <a:lnTo>
                    <a:pt x="1993" y="844"/>
                  </a:lnTo>
                  <a:lnTo>
                    <a:pt x="1995" y="840"/>
                  </a:lnTo>
                  <a:lnTo>
                    <a:pt x="1997" y="843"/>
                  </a:lnTo>
                  <a:lnTo>
                    <a:pt x="1998" y="845"/>
                  </a:lnTo>
                  <a:lnTo>
                    <a:pt x="2002" y="847"/>
                  </a:lnTo>
                  <a:lnTo>
                    <a:pt x="2002" y="845"/>
                  </a:lnTo>
                  <a:lnTo>
                    <a:pt x="2001" y="843"/>
                  </a:lnTo>
                  <a:lnTo>
                    <a:pt x="2001" y="840"/>
                  </a:lnTo>
                  <a:lnTo>
                    <a:pt x="1999" y="837"/>
                  </a:lnTo>
                  <a:lnTo>
                    <a:pt x="1997" y="833"/>
                  </a:lnTo>
                  <a:lnTo>
                    <a:pt x="1996" y="829"/>
                  </a:lnTo>
                  <a:lnTo>
                    <a:pt x="1996" y="829"/>
                  </a:lnTo>
                  <a:lnTo>
                    <a:pt x="1998" y="830"/>
                  </a:lnTo>
                  <a:lnTo>
                    <a:pt x="2001" y="833"/>
                  </a:lnTo>
                  <a:lnTo>
                    <a:pt x="2006" y="831"/>
                  </a:lnTo>
                  <a:lnTo>
                    <a:pt x="2006" y="831"/>
                  </a:lnTo>
                  <a:lnTo>
                    <a:pt x="2005" y="828"/>
                  </a:lnTo>
                  <a:lnTo>
                    <a:pt x="2003" y="829"/>
                  </a:lnTo>
                  <a:lnTo>
                    <a:pt x="2002" y="827"/>
                  </a:lnTo>
                  <a:lnTo>
                    <a:pt x="1999" y="825"/>
                  </a:lnTo>
                  <a:lnTo>
                    <a:pt x="1999" y="823"/>
                  </a:lnTo>
                  <a:lnTo>
                    <a:pt x="2006" y="822"/>
                  </a:lnTo>
                  <a:lnTo>
                    <a:pt x="2009" y="823"/>
                  </a:lnTo>
                  <a:lnTo>
                    <a:pt x="2011" y="825"/>
                  </a:lnTo>
                  <a:lnTo>
                    <a:pt x="2014" y="828"/>
                  </a:lnTo>
                  <a:lnTo>
                    <a:pt x="2014" y="827"/>
                  </a:lnTo>
                  <a:lnTo>
                    <a:pt x="2014" y="825"/>
                  </a:lnTo>
                  <a:lnTo>
                    <a:pt x="2013" y="822"/>
                  </a:lnTo>
                  <a:lnTo>
                    <a:pt x="2013" y="820"/>
                  </a:lnTo>
                  <a:lnTo>
                    <a:pt x="2012" y="818"/>
                  </a:lnTo>
                  <a:lnTo>
                    <a:pt x="2010" y="817"/>
                  </a:lnTo>
                  <a:lnTo>
                    <a:pt x="2007" y="814"/>
                  </a:lnTo>
                  <a:lnTo>
                    <a:pt x="2004" y="814"/>
                  </a:lnTo>
                  <a:lnTo>
                    <a:pt x="2004" y="812"/>
                  </a:lnTo>
                  <a:lnTo>
                    <a:pt x="2002" y="812"/>
                  </a:lnTo>
                  <a:lnTo>
                    <a:pt x="1998" y="810"/>
                  </a:lnTo>
                  <a:lnTo>
                    <a:pt x="1996" y="810"/>
                  </a:lnTo>
                  <a:lnTo>
                    <a:pt x="1994" y="808"/>
                  </a:lnTo>
                  <a:lnTo>
                    <a:pt x="1997" y="808"/>
                  </a:lnTo>
                  <a:lnTo>
                    <a:pt x="1999" y="806"/>
                  </a:lnTo>
                  <a:lnTo>
                    <a:pt x="1997" y="802"/>
                  </a:lnTo>
                  <a:lnTo>
                    <a:pt x="2001" y="801"/>
                  </a:lnTo>
                  <a:lnTo>
                    <a:pt x="2002" y="802"/>
                  </a:lnTo>
                  <a:lnTo>
                    <a:pt x="2001" y="805"/>
                  </a:lnTo>
                  <a:lnTo>
                    <a:pt x="2003" y="804"/>
                  </a:lnTo>
                  <a:lnTo>
                    <a:pt x="2004" y="802"/>
                  </a:lnTo>
                  <a:lnTo>
                    <a:pt x="1998" y="796"/>
                  </a:lnTo>
                  <a:lnTo>
                    <a:pt x="1995" y="791"/>
                  </a:lnTo>
                  <a:lnTo>
                    <a:pt x="1994" y="791"/>
                  </a:lnTo>
                  <a:lnTo>
                    <a:pt x="1994" y="788"/>
                  </a:lnTo>
                  <a:lnTo>
                    <a:pt x="1995" y="785"/>
                  </a:lnTo>
                  <a:lnTo>
                    <a:pt x="1995" y="783"/>
                  </a:lnTo>
                  <a:lnTo>
                    <a:pt x="1995" y="782"/>
                  </a:lnTo>
                  <a:lnTo>
                    <a:pt x="1996" y="782"/>
                  </a:lnTo>
                  <a:lnTo>
                    <a:pt x="1998" y="779"/>
                  </a:lnTo>
                  <a:lnTo>
                    <a:pt x="1997" y="783"/>
                  </a:lnTo>
                  <a:lnTo>
                    <a:pt x="2001" y="785"/>
                  </a:lnTo>
                  <a:lnTo>
                    <a:pt x="2004" y="787"/>
                  </a:lnTo>
                  <a:lnTo>
                    <a:pt x="2005" y="791"/>
                  </a:lnTo>
                  <a:lnTo>
                    <a:pt x="2007" y="791"/>
                  </a:lnTo>
                  <a:lnTo>
                    <a:pt x="2006" y="789"/>
                  </a:lnTo>
                  <a:lnTo>
                    <a:pt x="2004" y="786"/>
                  </a:lnTo>
                  <a:lnTo>
                    <a:pt x="2006" y="786"/>
                  </a:lnTo>
                  <a:lnTo>
                    <a:pt x="2010" y="787"/>
                  </a:lnTo>
                  <a:lnTo>
                    <a:pt x="2012" y="791"/>
                  </a:lnTo>
                  <a:lnTo>
                    <a:pt x="2013" y="791"/>
                  </a:lnTo>
                  <a:lnTo>
                    <a:pt x="2013" y="789"/>
                  </a:lnTo>
                  <a:lnTo>
                    <a:pt x="2012" y="787"/>
                  </a:lnTo>
                  <a:lnTo>
                    <a:pt x="2011" y="787"/>
                  </a:lnTo>
                  <a:lnTo>
                    <a:pt x="2010" y="784"/>
                  </a:lnTo>
                  <a:lnTo>
                    <a:pt x="2013" y="784"/>
                  </a:lnTo>
                  <a:lnTo>
                    <a:pt x="2015" y="785"/>
                  </a:lnTo>
                  <a:lnTo>
                    <a:pt x="2018" y="788"/>
                  </a:lnTo>
                  <a:lnTo>
                    <a:pt x="2019" y="787"/>
                  </a:lnTo>
                  <a:lnTo>
                    <a:pt x="2016" y="785"/>
                  </a:lnTo>
                  <a:lnTo>
                    <a:pt x="2014" y="783"/>
                  </a:lnTo>
                  <a:lnTo>
                    <a:pt x="2011" y="783"/>
                  </a:lnTo>
                  <a:lnTo>
                    <a:pt x="2010" y="778"/>
                  </a:lnTo>
                  <a:lnTo>
                    <a:pt x="2012" y="777"/>
                  </a:lnTo>
                  <a:lnTo>
                    <a:pt x="2013" y="778"/>
                  </a:lnTo>
                  <a:lnTo>
                    <a:pt x="2016" y="777"/>
                  </a:lnTo>
                  <a:lnTo>
                    <a:pt x="2019" y="775"/>
                  </a:lnTo>
                  <a:lnTo>
                    <a:pt x="2024" y="776"/>
                  </a:lnTo>
                  <a:lnTo>
                    <a:pt x="2027" y="775"/>
                  </a:lnTo>
                  <a:lnTo>
                    <a:pt x="2029" y="774"/>
                  </a:lnTo>
                  <a:lnTo>
                    <a:pt x="2030" y="775"/>
                  </a:lnTo>
                  <a:lnTo>
                    <a:pt x="2039" y="776"/>
                  </a:lnTo>
                  <a:lnTo>
                    <a:pt x="2041" y="778"/>
                  </a:lnTo>
                  <a:lnTo>
                    <a:pt x="2043" y="780"/>
                  </a:lnTo>
                  <a:lnTo>
                    <a:pt x="2046" y="780"/>
                  </a:lnTo>
                  <a:lnTo>
                    <a:pt x="2050" y="779"/>
                  </a:lnTo>
                  <a:lnTo>
                    <a:pt x="2052" y="780"/>
                  </a:lnTo>
                  <a:lnTo>
                    <a:pt x="2044" y="785"/>
                  </a:lnTo>
                  <a:lnTo>
                    <a:pt x="2045" y="786"/>
                  </a:lnTo>
                  <a:lnTo>
                    <a:pt x="2044" y="789"/>
                  </a:lnTo>
                  <a:lnTo>
                    <a:pt x="2046" y="786"/>
                  </a:lnTo>
                  <a:lnTo>
                    <a:pt x="2049" y="785"/>
                  </a:lnTo>
                  <a:lnTo>
                    <a:pt x="2052" y="782"/>
                  </a:lnTo>
                  <a:lnTo>
                    <a:pt x="2054" y="782"/>
                  </a:lnTo>
                  <a:lnTo>
                    <a:pt x="2055" y="780"/>
                  </a:lnTo>
                  <a:lnTo>
                    <a:pt x="2057" y="779"/>
                  </a:lnTo>
                  <a:lnTo>
                    <a:pt x="2063" y="774"/>
                  </a:lnTo>
                  <a:lnTo>
                    <a:pt x="2065" y="774"/>
                  </a:lnTo>
                  <a:lnTo>
                    <a:pt x="2071" y="772"/>
                  </a:lnTo>
                  <a:lnTo>
                    <a:pt x="2075" y="774"/>
                  </a:lnTo>
                  <a:lnTo>
                    <a:pt x="2077" y="774"/>
                  </a:lnTo>
                  <a:lnTo>
                    <a:pt x="2077" y="775"/>
                  </a:lnTo>
                  <a:lnTo>
                    <a:pt x="2080" y="775"/>
                  </a:lnTo>
                  <a:lnTo>
                    <a:pt x="2082" y="772"/>
                  </a:lnTo>
                  <a:lnTo>
                    <a:pt x="2081" y="770"/>
                  </a:lnTo>
                  <a:lnTo>
                    <a:pt x="2073" y="767"/>
                  </a:lnTo>
                  <a:lnTo>
                    <a:pt x="2070" y="765"/>
                  </a:lnTo>
                  <a:lnTo>
                    <a:pt x="2067" y="760"/>
                  </a:lnTo>
                  <a:lnTo>
                    <a:pt x="2069" y="758"/>
                  </a:lnTo>
                  <a:lnTo>
                    <a:pt x="2067" y="756"/>
                  </a:lnTo>
                  <a:lnTo>
                    <a:pt x="2065" y="753"/>
                  </a:lnTo>
                  <a:lnTo>
                    <a:pt x="2063" y="751"/>
                  </a:lnTo>
                  <a:lnTo>
                    <a:pt x="2061" y="750"/>
                  </a:lnTo>
                  <a:lnTo>
                    <a:pt x="2063" y="749"/>
                  </a:lnTo>
                  <a:lnTo>
                    <a:pt x="2064" y="746"/>
                  </a:lnTo>
                  <a:lnTo>
                    <a:pt x="2066" y="744"/>
                  </a:lnTo>
                  <a:lnTo>
                    <a:pt x="2067" y="737"/>
                  </a:lnTo>
                  <a:lnTo>
                    <a:pt x="2069" y="737"/>
                  </a:lnTo>
                  <a:lnTo>
                    <a:pt x="2070" y="734"/>
                  </a:lnTo>
                  <a:lnTo>
                    <a:pt x="2075" y="734"/>
                  </a:lnTo>
                  <a:lnTo>
                    <a:pt x="2077" y="726"/>
                  </a:lnTo>
                  <a:lnTo>
                    <a:pt x="2077" y="720"/>
                  </a:lnTo>
                  <a:lnTo>
                    <a:pt x="2078" y="718"/>
                  </a:lnTo>
                  <a:lnTo>
                    <a:pt x="2082" y="712"/>
                  </a:lnTo>
                  <a:lnTo>
                    <a:pt x="2079" y="714"/>
                  </a:lnTo>
                  <a:lnTo>
                    <a:pt x="2079" y="714"/>
                  </a:lnTo>
                  <a:lnTo>
                    <a:pt x="2081" y="710"/>
                  </a:lnTo>
                  <a:lnTo>
                    <a:pt x="2081" y="708"/>
                  </a:lnTo>
                  <a:lnTo>
                    <a:pt x="2082" y="708"/>
                  </a:lnTo>
                  <a:lnTo>
                    <a:pt x="2082" y="710"/>
                  </a:lnTo>
                  <a:lnTo>
                    <a:pt x="2086" y="711"/>
                  </a:lnTo>
                  <a:lnTo>
                    <a:pt x="2088" y="710"/>
                  </a:lnTo>
                  <a:lnTo>
                    <a:pt x="2090" y="709"/>
                  </a:lnTo>
                  <a:lnTo>
                    <a:pt x="2091" y="708"/>
                  </a:lnTo>
                  <a:lnTo>
                    <a:pt x="2091" y="703"/>
                  </a:lnTo>
                  <a:lnTo>
                    <a:pt x="2091" y="703"/>
                  </a:lnTo>
                  <a:lnTo>
                    <a:pt x="2092" y="701"/>
                  </a:lnTo>
                  <a:lnTo>
                    <a:pt x="2092" y="700"/>
                  </a:lnTo>
                  <a:lnTo>
                    <a:pt x="2090" y="698"/>
                  </a:lnTo>
                  <a:lnTo>
                    <a:pt x="2090" y="695"/>
                  </a:lnTo>
                  <a:lnTo>
                    <a:pt x="2092" y="695"/>
                  </a:lnTo>
                  <a:lnTo>
                    <a:pt x="2096" y="693"/>
                  </a:lnTo>
                  <a:lnTo>
                    <a:pt x="2096" y="694"/>
                  </a:lnTo>
                  <a:lnTo>
                    <a:pt x="2098" y="693"/>
                  </a:lnTo>
                  <a:lnTo>
                    <a:pt x="2101" y="689"/>
                  </a:lnTo>
                  <a:lnTo>
                    <a:pt x="2098" y="684"/>
                  </a:lnTo>
                  <a:lnTo>
                    <a:pt x="2099" y="684"/>
                  </a:lnTo>
                  <a:lnTo>
                    <a:pt x="2101" y="688"/>
                  </a:lnTo>
                  <a:lnTo>
                    <a:pt x="2101" y="689"/>
                  </a:lnTo>
                  <a:lnTo>
                    <a:pt x="2106" y="684"/>
                  </a:lnTo>
                  <a:lnTo>
                    <a:pt x="2106" y="681"/>
                  </a:lnTo>
                  <a:lnTo>
                    <a:pt x="2112" y="680"/>
                  </a:lnTo>
                  <a:lnTo>
                    <a:pt x="2114" y="680"/>
                  </a:lnTo>
                  <a:lnTo>
                    <a:pt x="2115" y="677"/>
                  </a:lnTo>
                  <a:lnTo>
                    <a:pt x="2116" y="680"/>
                  </a:lnTo>
                  <a:lnTo>
                    <a:pt x="2120" y="680"/>
                  </a:lnTo>
                  <a:lnTo>
                    <a:pt x="2121" y="677"/>
                  </a:lnTo>
                  <a:lnTo>
                    <a:pt x="2122" y="674"/>
                  </a:lnTo>
                  <a:lnTo>
                    <a:pt x="2122" y="674"/>
                  </a:lnTo>
                  <a:lnTo>
                    <a:pt x="2120" y="669"/>
                  </a:lnTo>
                  <a:lnTo>
                    <a:pt x="2123" y="674"/>
                  </a:lnTo>
                  <a:lnTo>
                    <a:pt x="2123" y="678"/>
                  </a:lnTo>
                  <a:lnTo>
                    <a:pt x="2124" y="681"/>
                  </a:lnTo>
                  <a:lnTo>
                    <a:pt x="2127" y="681"/>
                  </a:lnTo>
                  <a:lnTo>
                    <a:pt x="2132" y="680"/>
                  </a:lnTo>
                  <a:lnTo>
                    <a:pt x="2129" y="681"/>
                  </a:lnTo>
                  <a:lnTo>
                    <a:pt x="2129" y="682"/>
                  </a:lnTo>
                  <a:lnTo>
                    <a:pt x="2123" y="682"/>
                  </a:lnTo>
                  <a:lnTo>
                    <a:pt x="2118" y="681"/>
                  </a:lnTo>
                  <a:lnTo>
                    <a:pt x="2121" y="682"/>
                  </a:lnTo>
                  <a:lnTo>
                    <a:pt x="2123" y="684"/>
                  </a:lnTo>
                  <a:lnTo>
                    <a:pt x="2120" y="685"/>
                  </a:lnTo>
                  <a:lnTo>
                    <a:pt x="2123" y="686"/>
                  </a:lnTo>
                  <a:lnTo>
                    <a:pt x="2127" y="689"/>
                  </a:lnTo>
                  <a:lnTo>
                    <a:pt x="2130" y="689"/>
                  </a:lnTo>
                  <a:lnTo>
                    <a:pt x="2138" y="689"/>
                  </a:lnTo>
                  <a:lnTo>
                    <a:pt x="2143" y="690"/>
                  </a:lnTo>
                  <a:lnTo>
                    <a:pt x="2146" y="689"/>
                  </a:lnTo>
                  <a:lnTo>
                    <a:pt x="2146" y="688"/>
                  </a:lnTo>
                  <a:lnTo>
                    <a:pt x="2146" y="688"/>
                  </a:lnTo>
                  <a:lnTo>
                    <a:pt x="2146" y="686"/>
                  </a:lnTo>
                  <a:lnTo>
                    <a:pt x="2146" y="686"/>
                  </a:lnTo>
                  <a:lnTo>
                    <a:pt x="2148" y="686"/>
                  </a:lnTo>
                  <a:lnTo>
                    <a:pt x="2151" y="688"/>
                  </a:lnTo>
                  <a:lnTo>
                    <a:pt x="2154" y="686"/>
                  </a:lnTo>
                  <a:lnTo>
                    <a:pt x="2156" y="689"/>
                  </a:lnTo>
                  <a:lnTo>
                    <a:pt x="2157" y="691"/>
                  </a:lnTo>
                  <a:lnTo>
                    <a:pt x="2160" y="690"/>
                  </a:lnTo>
                  <a:lnTo>
                    <a:pt x="2163" y="695"/>
                  </a:lnTo>
                  <a:lnTo>
                    <a:pt x="2164" y="695"/>
                  </a:lnTo>
                  <a:lnTo>
                    <a:pt x="2164" y="694"/>
                  </a:lnTo>
                  <a:lnTo>
                    <a:pt x="2163" y="692"/>
                  </a:lnTo>
                  <a:lnTo>
                    <a:pt x="2161" y="690"/>
                  </a:lnTo>
                  <a:lnTo>
                    <a:pt x="2161" y="688"/>
                  </a:lnTo>
                  <a:lnTo>
                    <a:pt x="2166" y="685"/>
                  </a:lnTo>
                  <a:lnTo>
                    <a:pt x="2167" y="683"/>
                  </a:lnTo>
                  <a:lnTo>
                    <a:pt x="2168" y="685"/>
                  </a:lnTo>
                  <a:lnTo>
                    <a:pt x="2164" y="689"/>
                  </a:lnTo>
                  <a:lnTo>
                    <a:pt x="2164" y="689"/>
                  </a:lnTo>
                  <a:lnTo>
                    <a:pt x="2167" y="688"/>
                  </a:lnTo>
                  <a:lnTo>
                    <a:pt x="2171" y="683"/>
                  </a:lnTo>
                  <a:lnTo>
                    <a:pt x="2173" y="682"/>
                  </a:lnTo>
                  <a:lnTo>
                    <a:pt x="2175" y="680"/>
                  </a:lnTo>
                  <a:lnTo>
                    <a:pt x="2178" y="678"/>
                  </a:lnTo>
                  <a:lnTo>
                    <a:pt x="2181" y="680"/>
                  </a:lnTo>
                  <a:lnTo>
                    <a:pt x="2184" y="678"/>
                  </a:lnTo>
                  <a:lnTo>
                    <a:pt x="2186" y="677"/>
                  </a:lnTo>
                  <a:lnTo>
                    <a:pt x="2189" y="678"/>
                  </a:lnTo>
                  <a:lnTo>
                    <a:pt x="2192" y="675"/>
                  </a:lnTo>
                  <a:lnTo>
                    <a:pt x="2198" y="674"/>
                  </a:lnTo>
                  <a:lnTo>
                    <a:pt x="2199" y="673"/>
                  </a:lnTo>
                  <a:lnTo>
                    <a:pt x="2203" y="672"/>
                  </a:lnTo>
                  <a:lnTo>
                    <a:pt x="2207" y="672"/>
                  </a:lnTo>
                  <a:lnTo>
                    <a:pt x="2208" y="672"/>
                  </a:lnTo>
                  <a:lnTo>
                    <a:pt x="2209" y="671"/>
                  </a:lnTo>
                  <a:lnTo>
                    <a:pt x="2212" y="669"/>
                  </a:lnTo>
                  <a:lnTo>
                    <a:pt x="2215" y="669"/>
                  </a:lnTo>
                  <a:lnTo>
                    <a:pt x="2212" y="671"/>
                  </a:lnTo>
                  <a:lnTo>
                    <a:pt x="2215" y="671"/>
                  </a:lnTo>
                  <a:lnTo>
                    <a:pt x="2217" y="671"/>
                  </a:lnTo>
                  <a:lnTo>
                    <a:pt x="2219" y="668"/>
                  </a:lnTo>
                  <a:lnTo>
                    <a:pt x="2223" y="669"/>
                  </a:lnTo>
                  <a:lnTo>
                    <a:pt x="2223" y="671"/>
                  </a:lnTo>
                  <a:lnTo>
                    <a:pt x="2224" y="672"/>
                  </a:lnTo>
                  <a:lnTo>
                    <a:pt x="2223" y="673"/>
                  </a:lnTo>
                  <a:lnTo>
                    <a:pt x="2219" y="673"/>
                  </a:lnTo>
                  <a:lnTo>
                    <a:pt x="2215" y="675"/>
                  </a:lnTo>
                  <a:lnTo>
                    <a:pt x="2211" y="675"/>
                  </a:lnTo>
                  <a:lnTo>
                    <a:pt x="2210" y="678"/>
                  </a:lnTo>
                  <a:lnTo>
                    <a:pt x="2212" y="680"/>
                  </a:lnTo>
                  <a:lnTo>
                    <a:pt x="2208" y="678"/>
                  </a:lnTo>
                  <a:lnTo>
                    <a:pt x="2202" y="681"/>
                  </a:lnTo>
                  <a:lnTo>
                    <a:pt x="2205" y="683"/>
                  </a:lnTo>
                  <a:lnTo>
                    <a:pt x="2208" y="684"/>
                  </a:lnTo>
                  <a:lnTo>
                    <a:pt x="2212" y="690"/>
                  </a:lnTo>
                  <a:lnTo>
                    <a:pt x="2210" y="689"/>
                  </a:lnTo>
                  <a:lnTo>
                    <a:pt x="2207" y="690"/>
                  </a:lnTo>
                  <a:lnTo>
                    <a:pt x="2206" y="692"/>
                  </a:lnTo>
                  <a:lnTo>
                    <a:pt x="2206" y="690"/>
                  </a:lnTo>
                  <a:lnTo>
                    <a:pt x="2202" y="695"/>
                  </a:lnTo>
                  <a:lnTo>
                    <a:pt x="2200" y="697"/>
                  </a:lnTo>
                  <a:lnTo>
                    <a:pt x="2201" y="699"/>
                  </a:lnTo>
                  <a:lnTo>
                    <a:pt x="2199" y="701"/>
                  </a:lnTo>
                  <a:lnTo>
                    <a:pt x="2197" y="702"/>
                  </a:lnTo>
                  <a:lnTo>
                    <a:pt x="2193" y="702"/>
                  </a:lnTo>
                  <a:lnTo>
                    <a:pt x="2190" y="700"/>
                  </a:lnTo>
                  <a:lnTo>
                    <a:pt x="2186" y="701"/>
                  </a:lnTo>
                  <a:lnTo>
                    <a:pt x="2190" y="703"/>
                  </a:lnTo>
                  <a:lnTo>
                    <a:pt x="2188" y="705"/>
                  </a:lnTo>
                  <a:lnTo>
                    <a:pt x="2188" y="706"/>
                  </a:lnTo>
                  <a:lnTo>
                    <a:pt x="2193" y="708"/>
                  </a:lnTo>
                  <a:lnTo>
                    <a:pt x="2198" y="712"/>
                  </a:lnTo>
                  <a:lnTo>
                    <a:pt x="2201" y="714"/>
                  </a:lnTo>
                  <a:lnTo>
                    <a:pt x="2203" y="712"/>
                  </a:lnTo>
                  <a:lnTo>
                    <a:pt x="2208" y="718"/>
                  </a:lnTo>
                  <a:lnTo>
                    <a:pt x="2214" y="719"/>
                  </a:lnTo>
                  <a:lnTo>
                    <a:pt x="2219" y="723"/>
                  </a:lnTo>
                  <a:lnTo>
                    <a:pt x="2225" y="727"/>
                  </a:lnTo>
                  <a:lnTo>
                    <a:pt x="2227" y="731"/>
                  </a:lnTo>
                  <a:lnTo>
                    <a:pt x="2232" y="734"/>
                  </a:lnTo>
                  <a:lnTo>
                    <a:pt x="2233" y="735"/>
                  </a:lnTo>
                  <a:lnTo>
                    <a:pt x="2236" y="736"/>
                  </a:lnTo>
                  <a:lnTo>
                    <a:pt x="2238" y="739"/>
                  </a:lnTo>
                  <a:lnTo>
                    <a:pt x="2244" y="740"/>
                  </a:lnTo>
                  <a:lnTo>
                    <a:pt x="2246" y="742"/>
                  </a:lnTo>
                  <a:lnTo>
                    <a:pt x="2250" y="744"/>
                  </a:lnTo>
                  <a:lnTo>
                    <a:pt x="2252" y="745"/>
                  </a:lnTo>
                  <a:lnTo>
                    <a:pt x="2253" y="749"/>
                  </a:lnTo>
                  <a:lnTo>
                    <a:pt x="2253" y="751"/>
                  </a:lnTo>
                  <a:lnTo>
                    <a:pt x="2255" y="754"/>
                  </a:lnTo>
                  <a:lnTo>
                    <a:pt x="2257" y="759"/>
                  </a:lnTo>
                  <a:lnTo>
                    <a:pt x="2257" y="761"/>
                  </a:lnTo>
                  <a:lnTo>
                    <a:pt x="2253" y="766"/>
                  </a:lnTo>
                  <a:lnTo>
                    <a:pt x="2251" y="768"/>
                  </a:lnTo>
                  <a:lnTo>
                    <a:pt x="2246" y="770"/>
                  </a:lnTo>
                  <a:lnTo>
                    <a:pt x="2244" y="770"/>
                  </a:lnTo>
                  <a:lnTo>
                    <a:pt x="2242" y="772"/>
                  </a:lnTo>
                  <a:lnTo>
                    <a:pt x="2234" y="775"/>
                  </a:lnTo>
                  <a:lnTo>
                    <a:pt x="2233" y="775"/>
                  </a:lnTo>
                  <a:lnTo>
                    <a:pt x="2227" y="774"/>
                  </a:lnTo>
                  <a:lnTo>
                    <a:pt x="2224" y="772"/>
                  </a:lnTo>
                  <a:lnTo>
                    <a:pt x="2217" y="774"/>
                  </a:lnTo>
                  <a:lnTo>
                    <a:pt x="2215" y="775"/>
                  </a:lnTo>
                  <a:lnTo>
                    <a:pt x="2209" y="775"/>
                  </a:lnTo>
                  <a:lnTo>
                    <a:pt x="2202" y="774"/>
                  </a:lnTo>
                  <a:lnTo>
                    <a:pt x="2201" y="771"/>
                  </a:lnTo>
                  <a:lnTo>
                    <a:pt x="2199" y="774"/>
                  </a:lnTo>
                  <a:lnTo>
                    <a:pt x="2197" y="772"/>
                  </a:lnTo>
                  <a:lnTo>
                    <a:pt x="2193" y="771"/>
                  </a:lnTo>
                  <a:lnTo>
                    <a:pt x="2192" y="770"/>
                  </a:lnTo>
                  <a:lnTo>
                    <a:pt x="2189" y="768"/>
                  </a:lnTo>
                  <a:lnTo>
                    <a:pt x="2186" y="768"/>
                  </a:lnTo>
                  <a:lnTo>
                    <a:pt x="2184" y="770"/>
                  </a:lnTo>
                  <a:lnTo>
                    <a:pt x="2182" y="769"/>
                  </a:lnTo>
                  <a:lnTo>
                    <a:pt x="2180" y="766"/>
                  </a:lnTo>
                  <a:lnTo>
                    <a:pt x="2180" y="763"/>
                  </a:lnTo>
                  <a:lnTo>
                    <a:pt x="2176" y="763"/>
                  </a:lnTo>
                  <a:lnTo>
                    <a:pt x="2176" y="762"/>
                  </a:lnTo>
                  <a:lnTo>
                    <a:pt x="2171" y="763"/>
                  </a:lnTo>
                  <a:lnTo>
                    <a:pt x="2168" y="762"/>
                  </a:lnTo>
                  <a:lnTo>
                    <a:pt x="2166" y="760"/>
                  </a:lnTo>
                  <a:lnTo>
                    <a:pt x="2165" y="757"/>
                  </a:lnTo>
                  <a:lnTo>
                    <a:pt x="2164" y="757"/>
                  </a:lnTo>
                  <a:lnTo>
                    <a:pt x="2161" y="758"/>
                  </a:lnTo>
                  <a:lnTo>
                    <a:pt x="2158" y="759"/>
                  </a:lnTo>
                  <a:lnTo>
                    <a:pt x="2141" y="758"/>
                  </a:lnTo>
                  <a:lnTo>
                    <a:pt x="2135" y="759"/>
                  </a:lnTo>
                  <a:lnTo>
                    <a:pt x="2126" y="762"/>
                  </a:lnTo>
                  <a:lnTo>
                    <a:pt x="2123" y="765"/>
                  </a:lnTo>
                  <a:lnTo>
                    <a:pt x="2115" y="769"/>
                  </a:lnTo>
                  <a:lnTo>
                    <a:pt x="2114" y="772"/>
                  </a:lnTo>
                  <a:lnTo>
                    <a:pt x="2107" y="772"/>
                  </a:lnTo>
                  <a:lnTo>
                    <a:pt x="2100" y="770"/>
                  </a:lnTo>
                  <a:lnTo>
                    <a:pt x="2098" y="771"/>
                  </a:lnTo>
                  <a:lnTo>
                    <a:pt x="2093" y="771"/>
                  </a:lnTo>
                  <a:lnTo>
                    <a:pt x="2084" y="770"/>
                  </a:lnTo>
                  <a:lnTo>
                    <a:pt x="2082" y="772"/>
                  </a:lnTo>
                  <a:lnTo>
                    <a:pt x="2083" y="775"/>
                  </a:lnTo>
                  <a:lnTo>
                    <a:pt x="2087" y="777"/>
                  </a:lnTo>
                  <a:lnTo>
                    <a:pt x="2088" y="777"/>
                  </a:lnTo>
                  <a:lnTo>
                    <a:pt x="2090" y="777"/>
                  </a:lnTo>
                  <a:lnTo>
                    <a:pt x="2092" y="778"/>
                  </a:lnTo>
                  <a:lnTo>
                    <a:pt x="2083" y="779"/>
                  </a:lnTo>
                  <a:lnTo>
                    <a:pt x="2080" y="780"/>
                  </a:lnTo>
                  <a:lnTo>
                    <a:pt x="2081" y="783"/>
                  </a:lnTo>
                  <a:lnTo>
                    <a:pt x="2084" y="783"/>
                  </a:lnTo>
                  <a:lnTo>
                    <a:pt x="2080" y="784"/>
                  </a:lnTo>
                  <a:lnTo>
                    <a:pt x="2071" y="784"/>
                  </a:lnTo>
                  <a:lnTo>
                    <a:pt x="2067" y="784"/>
                  </a:lnTo>
                  <a:lnTo>
                    <a:pt x="2066" y="782"/>
                  </a:lnTo>
                  <a:lnTo>
                    <a:pt x="2064" y="783"/>
                  </a:lnTo>
                  <a:lnTo>
                    <a:pt x="2064" y="785"/>
                  </a:lnTo>
                  <a:lnTo>
                    <a:pt x="2062" y="785"/>
                  </a:lnTo>
                  <a:lnTo>
                    <a:pt x="2057" y="783"/>
                  </a:lnTo>
                  <a:lnTo>
                    <a:pt x="2054" y="784"/>
                  </a:lnTo>
                  <a:lnTo>
                    <a:pt x="2052" y="784"/>
                  </a:lnTo>
                  <a:lnTo>
                    <a:pt x="2046" y="787"/>
                  </a:lnTo>
                  <a:lnTo>
                    <a:pt x="2045" y="791"/>
                  </a:lnTo>
                  <a:lnTo>
                    <a:pt x="2043" y="791"/>
                  </a:lnTo>
                  <a:lnTo>
                    <a:pt x="2043" y="796"/>
                  </a:lnTo>
                  <a:lnTo>
                    <a:pt x="2041" y="799"/>
                  </a:lnTo>
                  <a:lnTo>
                    <a:pt x="2043" y="799"/>
                  </a:lnTo>
                  <a:lnTo>
                    <a:pt x="2050" y="797"/>
                  </a:lnTo>
                  <a:lnTo>
                    <a:pt x="2054" y="797"/>
                  </a:lnTo>
                  <a:lnTo>
                    <a:pt x="2052" y="800"/>
                  </a:lnTo>
                  <a:lnTo>
                    <a:pt x="2049" y="802"/>
                  </a:lnTo>
                  <a:lnTo>
                    <a:pt x="2053" y="804"/>
                  </a:lnTo>
                  <a:lnTo>
                    <a:pt x="2052" y="806"/>
                  </a:lnTo>
                  <a:lnTo>
                    <a:pt x="2055" y="808"/>
                  </a:lnTo>
                  <a:lnTo>
                    <a:pt x="2054" y="810"/>
                  </a:lnTo>
                  <a:lnTo>
                    <a:pt x="2050" y="810"/>
                  </a:lnTo>
                  <a:lnTo>
                    <a:pt x="2053" y="814"/>
                  </a:lnTo>
                  <a:lnTo>
                    <a:pt x="2056" y="814"/>
                  </a:lnTo>
                  <a:lnTo>
                    <a:pt x="2055" y="816"/>
                  </a:lnTo>
                  <a:lnTo>
                    <a:pt x="2050" y="818"/>
                  </a:lnTo>
                  <a:lnTo>
                    <a:pt x="2049" y="817"/>
                  </a:lnTo>
                  <a:lnTo>
                    <a:pt x="2049" y="814"/>
                  </a:lnTo>
                  <a:lnTo>
                    <a:pt x="2047" y="811"/>
                  </a:lnTo>
                  <a:lnTo>
                    <a:pt x="2046" y="811"/>
                  </a:lnTo>
                  <a:lnTo>
                    <a:pt x="2046" y="813"/>
                  </a:lnTo>
                  <a:lnTo>
                    <a:pt x="2047" y="816"/>
                  </a:lnTo>
                  <a:lnTo>
                    <a:pt x="2047" y="817"/>
                  </a:lnTo>
                  <a:lnTo>
                    <a:pt x="2044" y="818"/>
                  </a:lnTo>
                  <a:lnTo>
                    <a:pt x="2049" y="820"/>
                  </a:lnTo>
                  <a:lnTo>
                    <a:pt x="2050" y="819"/>
                  </a:lnTo>
                  <a:lnTo>
                    <a:pt x="2054" y="821"/>
                  </a:lnTo>
                  <a:lnTo>
                    <a:pt x="2058" y="822"/>
                  </a:lnTo>
                  <a:lnTo>
                    <a:pt x="2057" y="827"/>
                  </a:lnTo>
                  <a:lnTo>
                    <a:pt x="2055" y="827"/>
                  </a:lnTo>
                  <a:lnTo>
                    <a:pt x="2054" y="828"/>
                  </a:lnTo>
                  <a:lnTo>
                    <a:pt x="2057" y="829"/>
                  </a:lnTo>
                  <a:lnTo>
                    <a:pt x="2057" y="833"/>
                  </a:lnTo>
                  <a:lnTo>
                    <a:pt x="2060" y="833"/>
                  </a:lnTo>
                  <a:lnTo>
                    <a:pt x="2062" y="834"/>
                  </a:lnTo>
                  <a:lnTo>
                    <a:pt x="2063" y="834"/>
                  </a:lnTo>
                  <a:lnTo>
                    <a:pt x="2061" y="837"/>
                  </a:lnTo>
                  <a:lnTo>
                    <a:pt x="2058" y="836"/>
                  </a:lnTo>
                  <a:lnTo>
                    <a:pt x="2058" y="838"/>
                  </a:lnTo>
                  <a:lnTo>
                    <a:pt x="2069" y="837"/>
                  </a:lnTo>
                  <a:lnTo>
                    <a:pt x="2071" y="839"/>
                  </a:lnTo>
                  <a:lnTo>
                    <a:pt x="2069" y="842"/>
                  </a:lnTo>
                  <a:lnTo>
                    <a:pt x="2065" y="840"/>
                  </a:lnTo>
                  <a:lnTo>
                    <a:pt x="2062" y="842"/>
                  </a:lnTo>
                  <a:lnTo>
                    <a:pt x="2060" y="843"/>
                  </a:lnTo>
                  <a:lnTo>
                    <a:pt x="2060" y="843"/>
                  </a:lnTo>
                  <a:lnTo>
                    <a:pt x="2060" y="844"/>
                  </a:lnTo>
                  <a:lnTo>
                    <a:pt x="2064" y="844"/>
                  </a:lnTo>
                  <a:lnTo>
                    <a:pt x="2065" y="842"/>
                  </a:lnTo>
                  <a:lnTo>
                    <a:pt x="2067" y="842"/>
                  </a:lnTo>
                  <a:lnTo>
                    <a:pt x="2070" y="842"/>
                  </a:lnTo>
                  <a:lnTo>
                    <a:pt x="2069" y="844"/>
                  </a:lnTo>
                  <a:lnTo>
                    <a:pt x="2067" y="845"/>
                  </a:lnTo>
                  <a:lnTo>
                    <a:pt x="2069" y="845"/>
                  </a:lnTo>
                  <a:lnTo>
                    <a:pt x="2072" y="843"/>
                  </a:lnTo>
                  <a:lnTo>
                    <a:pt x="2074" y="840"/>
                  </a:lnTo>
                  <a:lnTo>
                    <a:pt x="2077" y="840"/>
                  </a:lnTo>
                  <a:lnTo>
                    <a:pt x="2077" y="843"/>
                  </a:lnTo>
                  <a:lnTo>
                    <a:pt x="2078" y="843"/>
                  </a:lnTo>
                  <a:lnTo>
                    <a:pt x="2078" y="843"/>
                  </a:lnTo>
                  <a:lnTo>
                    <a:pt x="2079" y="843"/>
                  </a:lnTo>
                  <a:lnTo>
                    <a:pt x="2081" y="843"/>
                  </a:lnTo>
                  <a:lnTo>
                    <a:pt x="2082" y="845"/>
                  </a:lnTo>
                  <a:lnTo>
                    <a:pt x="2083" y="847"/>
                  </a:lnTo>
                  <a:lnTo>
                    <a:pt x="2084" y="848"/>
                  </a:lnTo>
                  <a:lnTo>
                    <a:pt x="2088" y="849"/>
                  </a:lnTo>
                  <a:lnTo>
                    <a:pt x="2092" y="851"/>
                  </a:lnTo>
                  <a:lnTo>
                    <a:pt x="2098" y="849"/>
                  </a:lnTo>
                  <a:lnTo>
                    <a:pt x="2101" y="851"/>
                  </a:lnTo>
                  <a:lnTo>
                    <a:pt x="2104" y="845"/>
                  </a:lnTo>
                  <a:lnTo>
                    <a:pt x="2104" y="843"/>
                  </a:lnTo>
                  <a:lnTo>
                    <a:pt x="2106" y="840"/>
                  </a:lnTo>
                  <a:lnTo>
                    <a:pt x="2110" y="840"/>
                  </a:lnTo>
                  <a:lnTo>
                    <a:pt x="2113" y="840"/>
                  </a:lnTo>
                  <a:lnTo>
                    <a:pt x="2118" y="844"/>
                  </a:lnTo>
                  <a:lnTo>
                    <a:pt x="2123" y="845"/>
                  </a:lnTo>
                  <a:lnTo>
                    <a:pt x="2125" y="847"/>
                  </a:lnTo>
                  <a:lnTo>
                    <a:pt x="2127" y="851"/>
                  </a:lnTo>
                  <a:lnTo>
                    <a:pt x="2131" y="853"/>
                  </a:lnTo>
                  <a:lnTo>
                    <a:pt x="2134" y="853"/>
                  </a:lnTo>
                  <a:lnTo>
                    <a:pt x="2137" y="852"/>
                  </a:lnTo>
                  <a:lnTo>
                    <a:pt x="2146" y="851"/>
                  </a:lnTo>
                  <a:lnTo>
                    <a:pt x="2148" y="849"/>
                  </a:lnTo>
                  <a:lnTo>
                    <a:pt x="2151" y="849"/>
                  </a:lnTo>
                  <a:lnTo>
                    <a:pt x="2152" y="847"/>
                  </a:lnTo>
                  <a:lnTo>
                    <a:pt x="2155" y="844"/>
                  </a:lnTo>
                  <a:lnTo>
                    <a:pt x="2159" y="840"/>
                  </a:lnTo>
                  <a:lnTo>
                    <a:pt x="2163" y="842"/>
                  </a:lnTo>
                  <a:lnTo>
                    <a:pt x="2163" y="843"/>
                  </a:lnTo>
                  <a:lnTo>
                    <a:pt x="2164" y="843"/>
                  </a:lnTo>
                  <a:lnTo>
                    <a:pt x="2167" y="844"/>
                  </a:lnTo>
                  <a:lnTo>
                    <a:pt x="2169" y="845"/>
                  </a:lnTo>
                  <a:lnTo>
                    <a:pt x="2172" y="845"/>
                  </a:lnTo>
                  <a:lnTo>
                    <a:pt x="2172" y="843"/>
                  </a:lnTo>
                  <a:lnTo>
                    <a:pt x="2174" y="842"/>
                  </a:lnTo>
                  <a:lnTo>
                    <a:pt x="2176" y="840"/>
                  </a:lnTo>
                  <a:lnTo>
                    <a:pt x="2180" y="840"/>
                  </a:lnTo>
                  <a:lnTo>
                    <a:pt x="2181" y="843"/>
                  </a:lnTo>
                  <a:lnTo>
                    <a:pt x="2178" y="845"/>
                  </a:lnTo>
                  <a:lnTo>
                    <a:pt x="2176" y="847"/>
                  </a:lnTo>
                  <a:lnTo>
                    <a:pt x="2175" y="851"/>
                  </a:lnTo>
                  <a:lnTo>
                    <a:pt x="2177" y="854"/>
                  </a:lnTo>
                  <a:lnTo>
                    <a:pt x="2175" y="857"/>
                  </a:lnTo>
                  <a:lnTo>
                    <a:pt x="2175" y="860"/>
                  </a:lnTo>
                  <a:lnTo>
                    <a:pt x="2176" y="862"/>
                  </a:lnTo>
                  <a:lnTo>
                    <a:pt x="2176" y="866"/>
                  </a:lnTo>
                  <a:lnTo>
                    <a:pt x="2176" y="870"/>
                  </a:lnTo>
                  <a:lnTo>
                    <a:pt x="2177" y="874"/>
                  </a:lnTo>
                  <a:lnTo>
                    <a:pt x="2177" y="877"/>
                  </a:lnTo>
                  <a:lnTo>
                    <a:pt x="2175" y="879"/>
                  </a:lnTo>
                  <a:lnTo>
                    <a:pt x="2173" y="880"/>
                  </a:lnTo>
                  <a:lnTo>
                    <a:pt x="2172" y="886"/>
                  </a:lnTo>
                  <a:lnTo>
                    <a:pt x="2171" y="887"/>
                  </a:lnTo>
                  <a:lnTo>
                    <a:pt x="2169" y="891"/>
                  </a:lnTo>
                  <a:lnTo>
                    <a:pt x="2167" y="896"/>
                  </a:lnTo>
                  <a:lnTo>
                    <a:pt x="2167" y="897"/>
                  </a:lnTo>
                  <a:lnTo>
                    <a:pt x="2165" y="898"/>
                  </a:lnTo>
                  <a:lnTo>
                    <a:pt x="2165" y="902"/>
                  </a:lnTo>
                  <a:lnTo>
                    <a:pt x="2164" y="903"/>
                  </a:lnTo>
                  <a:lnTo>
                    <a:pt x="2163" y="905"/>
                  </a:lnTo>
                  <a:lnTo>
                    <a:pt x="2161" y="911"/>
                  </a:lnTo>
                  <a:lnTo>
                    <a:pt x="2159" y="917"/>
                  </a:lnTo>
                  <a:lnTo>
                    <a:pt x="2157" y="921"/>
                  </a:lnTo>
                  <a:lnTo>
                    <a:pt x="2154" y="925"/>
                  </a:lnTo>
                  <a:lnTo>
                    <a:pt x="2151" y="926"/>
                  </a:lnTo>
                  <a:lnTo>
                    <a:pt x="2148" y="928"/>
                  </a:lnTo>
                  <a:lnTo>
                    <a:pt x="2144" y="929"/>
                  </a:lnTo>
                  <a:lnTo>
                    <a:pt x="2142" y="928"/>
                  </a:lnTo>
                  <a:lnTo>
                    <a:pt x="2141" y="929"/>
                  </a:lnTo>
                  <a:lnTo>
                    <a:pt x="2139" y="930"/>
                  </a:lnTo>
                  <a:lnTo>
                    <a:pt x="2137" y="929"/>
                  </a:lnTo>
                  <a:lnTo>
                    <a:pt x="2137" y="930"/>
                  </a:lnTo>
                  <a:lnTo>
                    <a:pt x="2135" y="929"/>
                  </a:lnTo>
                  <a:lnTo>
                    <a:pt x="2133" y="930"/>
                  </a:lnTo>
                  <a:lnTo>
                    <a:pt x="2135" y="929"/>
                  </a:lnTo>
                  <a:lnTo>
                    <a:pt x="2131" y="930"/>
                  </a:lnTo>
                  <a:lnTo>
                    <a:pt x="2129" y="928"/>
                  </a:lnTo>
                  <a:lnTo>
                    <a:pt x="2127" y="926"/>
                  </a:lnTo>
                  <a:lnTo>
                    <a:pt x="2126" y="929"/>
                  </a:lnTo>
                  <a:lnTo>
                    <a:pt x="2125" y="929"/>
                  </a:lnTo>
                  <a:lnTo>
                    <a:pt x="2124" y="929"/>
                  </a:lnTo>
                  <a:lnTo>
                    <a:pt x="2124" y="930"/>
                  </a:lnTo>
                  <a:lnTo>
                    <a:pt x="2123" y="929"/>
                  </a:lnTo>
                  <a:lnTo>
                    <a:pt x="2123" y="928"/>
                  </a:lnTo>
                  <a:lnTo>
                    <a:pt x="2120" y="926"/>
                  </a:lnTo>
                  <a:lnTo>
                    <a:pt x="2122" y="924"/>
                  </a:lnTo>
                  <a:lnTo>
                    <a:pt x="2124" y="925"/>
                  </a:lnTo>
                  <a:lnTo>
                    <a:pt x="2122" y="922"/>
                  </a:lnTo>
                  <a:lnTo>
                    <a:pt x="2121" y="922"/>
                  </a:lnTo>
                  <a:lnTo>
                    <a:pt x="2117" y="923"/>
                  </a:lnTo>
                  <a:lnTo>
                    <a:pt x="2112" y="922"/>
                  </a:lnTo>
                  <a:lnTo>
                    <a:pt x="2109" y="922"/>
                  </a:lnTo>
                  <a:lnTo>
                    <a:pt x="2110" y="922"/>
                  </a:lnTo>
                  <a:lnTo>
                    <a:pt x="2108" y="924"/>
                  </a:lnTo>
                  <a:lnTo>
                    <a:pt x="2106" y="923"/>
                  </a:lnTo>
                  <a:lnTo>
                    <a:pt x="2104" y="924"/>
                  </a:lnTo>
                  <a:lnTo>
                    <a:pt x="2106" y="922"/>
                  </a:lnTo>
                  <a:lnTo>
                    <a:pt x="2104" y="923"/>
                  </a:lnTo>
                  <a:lnTo>
                    <a:pt x="2101" y="923"/>
                  </a:lnTo>
                  <a:lnTo>
                    <a:pt x="2098" y="926"/>
                  </a:lnTo>
                  <a:lnTo>
                    <a:pt x="2099" y="926"/>
                  </a:lnTo>
                  <a:lnTo>
                    <a:pt x="2098" y="926"/>
                  </a:lnTo>
                  <a:lnTo>
                    <a:pt x="2097" y="925"/>
                  </a:lnTo>
                  <a:lnTo>
                    <a:pt x="2090" y="930"/>
                  </a:lnTo>
                  <a:lnTo>
                    <a:pt x="2084" y="932"/>
                  </a:lnTo>
                  <a:lnTo>
                    <a:pt x="2082" y="933"/>
                  </a:lnTo>
                  <a:lnTo>
                    <a:pt x="2080" y="931"/>
                  </a:lnTo>
                  <a:lnTo>
                    <a:pt x="2074" y="929"/>
                  </a:lnTo>
                  <a:lnTo>
                    <a:pt x="2069" y="929"/>
                  </a:lnTo>
                  <a:lnTo>
                    <a:pt x="2066" y="926"/>
                  </a:lnTo>
                  <a:lnTo>
                    <a:pt x="2063" y="928"/>
                  </a:lnTo>
                  <a:lnTo>
                    <a:pt x="2061" y="926"/>
                  </a:lnTo>
                  <a:lnTo>
                    <a:pt x="2058" y="924"/>
                  </a:lnTo>
                  <a:lnTo>
                    <a:pt x="2041" y="921"/>
                  </a:lnTo>
                  <a:lnTo>
                    <a:pt x="2039" y="921"/>
                  </a:lnTo>
                  <a:lnTo>
                    <a:pt x="2033" y="923"/>
                  </a:lnTo>
                  <a:lnTo>
                    <a:pt x="2030" y="923"/>
                  </a:lnTo>
                  <a:lnTo>
                    <a:pt x="2029" y="922"/>
                  </a:lnTo>
                  <a:lnTo>
                    <a:pt x="2029" y="921"/>
                  </a:lnTo>
                  <a:lnTo>
                    <a:pt x="2027" y="916"/>
                  </a:lnTo>
                  <a:lnTo>
                    <a:pt x="2024" y="915"/>
                  </a:lnTo>
                  <a:lnTo>
                    <a:pt x="2016" y="915"/>
                  </a:lnTo>
                  <a:lnTo>
                    <a:pt x="2013" y="914"/>
                  </a:lnTo>
                  <a:lnTo>
                    <a:pt x="2011" y="913"/>
                  </a:lnTo>
                  <a:lnTo>
                    <a:pt x="2003" y="912"/>
                  </a:lnTo>
                  <a:lnTo>
                    <a:pt x="2001" y="910"/>
                  </a:lnTo>
                  <a:lnTo>
                    <a:pt x="2001" y="906"/>
                  </a:lnTo>
                  <a:lnTo>
                    <a:pt x="1998" y="905"/>
                  </a:lnTo>
                  <a:lnTo>
                    <a:pt x="1993" y="903"/>
                  </a:lnTo>
                  <a:lnTo>
                    <a:pt x="1989" y="902"/>
                  </a:lnTo>
                  <a:lnTo>
                    <a:pt x="1986" y="902"/>
                  </a:lnTo>
                  <a:lnTo>
                    <a:pt x="1982" y="902"/>
                  </a:lnTo>
                  <a:lnTo>
                    <a:pt x="1980" y="902"/>
                  </a:lnTo>
                  <a:lnTo>
                    <a:pt x="1977" y="904"/>
                  </a:lnTo>
                  <a:lnTo>
                    <a:pt x="1972" y="904"/>
                  </a:lnTo>
                  <a:lnTo>
                    <a:pt x="1969" y="905"/>
                  </a:lnTo>
                  <a:lnTo>
                    <a:pt x="1967" y="906"/>
                  </a:lnTo>
                  <a:lnTo>
                    <a:pt x="1961" y="911"/>
                  </a:lnTo>
                  <a:lnTo>
                    <a:pt x="1959" y="914"/>
                  </a:lnTo>
                  <a:lnTo>
                    <a:pt x="1958" y="917"/>
                  </a:lnTo>
                  <a:lnTo>
                    <a:pt x="1958" y="921"/>
                  </a:lnTo>
                  <a:lnTo>
                    <a:pt x="1959" y="923"/>
                  </a:lnTo>
                  <a:lnTo>
                    <a:pt x="1961" y="928"/>
                  </a:lnTo>
                  <a:lnTo>
                    <a:pt x="1960" y="930"/>
                  </a:lnTo>
                  <a:lnTo>
                    <a:pt x="1959" y="933"/>
                  </a:lnTo>
                  <a:lnTo>
                    <a:pt x="1954" y="939"/>
                  </a:lnTo>
                  <a:lnTo>
                    <a:pt x="1949" y="941"/>
                  </a:lnTo>
                  <a:lnTo>
                    <a:pt x="1945" y="941"/>
                  </a:lnTo>
                  <a:lnTo>
                    <a:pt x="1939" y="938"/>
                  </a:lnTo>
                  <a:lnTo>
                    <a:pt x="1933" y="933"/>
                  </a:lnTo>
                  <a:lnTo>
                    <a:pt x="1921" y="929"/>
                  </a:lnTo>
                  <a:lnTo>
                    <a:pt x="1913" y="926"/>
                  </a:lnTo>
                  <a:lnTo>
                    <a:pt x="1910" y="928"/>
                  </a:lnTo>
                  <a:lnTo>
                    <a:pt x="1905" y="926"/>
                  </a:lnTo>
                  <a:lnTo>
                    <a:pt x="1900" y="924"/>
                  </a:lnTo>
                  <a:lnTo>
                    <a:pt x="1898" y="922"/>
                  </a:lnTo>
                  <a:lnTo>
                    <a:pt x="1896" y="920"/>
                  </a:lnTo>
                  <a:lnTo>
                    <a:pt x="1895" y="916"/>
                  </a:lnTo>
                  <a:lnTo>
                    <a:pt x="1894" y="911"/>
                  </a:lnTo>
                  <a:lnTo>
                    <a:pt x="1892" y="910"/>
                  </a:lnTo>
                  <a:lnTo>
                    <a:pt x="1887" y="908"/>
                  </a:lnTo>
                  <a:lnTo>
                    <a:pt x="1883" y="907"/>
                  </a:lnTo>
                  <a:lnTo>
                    <a:pt x="1879" y="905"/>
                  </a:lnTo>
                  <a:lnTo>
                    <a:pt x="1875" y="904"/>
                  </a:lnTo>
                  <a:lnTo>
                    <a:pt x="1870" y="903"/>
                  </a:lnTo>
                  <a:lnTo>
                    <a:pt x="1867" y="902"/>
                  </a:lnTo>
                  <a:lnTo>
                    <a:pt x="1859" y="903"/>
                  </a:lnTo>
                  <a:lnTo>
                    <a:pt x="1853" y="903"/>
                  </a:lnTo>
                  <a:lnTo>
                    <a:pt x="1847" y="899"/>
                  </a:lnTo>
                  <a:lnTo>
                    <a:pt x="1844" y="898"/>
                  </a:lnTo>
                  <a:lnTo>
                    <a:pt x="1840" y="896"/>
                  </a:lnTo>
                  <a:lnTo>
                    <a:pt x="1838" y="896"/>
                  </a:lnTo>
                  <a:lnTo>
                    <a:pt x="1836" y="893"/>
                  </a:lnTo>
                  <a:lnTo>
                    <a:pt x="1835" y="890"/>
                  </a:lnTo>
                  <a:lnTo>
                    <a:pt x="1834" y="890"/>
                  </a:lnTo>
                  <a:lnTo>
                    <a:pt x="1832" y="893"/>
                  </a:lnTo>
                  <a:lnTo>
                    <a:pt x="1832" y="890"/>
                  </a:lnTo>
                  <a:lnTo>
                    <a:pt x="1828" y="890"/>
                  </a:lnTo>
                  <a:lnTo>
                    <a:pt x="1825" y="888"/>
                  </a:lnTo>
                  <a:lnTo>
                    <a:pt x="1823" y="886"/>
                  </a:lnTo>
                  <a:lnTo>
                    <a:pt x="1822" y="883"/>
                  </a:lnTo>
                  <a:lnTo>
                    <a:pt x="1822" y="882"/>
                  </a:lnTo>
                  <a:lnTo>
                    <a:pt x="1824" y="879"/>
                  </a:lnTo>
                  <a:lnTo>
                    <a:pt x="1830" y="877"/>
                  </a:lnTo>
                  <a:lnTo>
                    <a:pt x="1834" y="871"/>
                  </a:lnTo>
                  <a:lnTo>
                    <a:pt x="1836" y="865"/>
                  </a:lnTo>
                  <a:lnTo>
                    <a:pt x="1835" y="861"/>
                  </a:lnTo>
                  <a:lnTo>
                    <a:pt x="1833" y="857"/>
                  </a:lnTo>
                  <a:lnTo>
                    <a:pt x="1831" y="857"/>
                  </a:lnTo>
                  <a:lnTo>
                    <a:pt x="1828" y="854"/>
                  </a:lnTo>
                  <a:lnTo>
                    <a:pt x="1827" y="851"/>
                  </a:lnTo>
                  <a:lnTo>
                    <a:pt x="1828" y="848"/>
                  </a:lnTo>
                  <a:lnTo>
                    <a:pt x="1832" y="846"/>
                  </a:lnTo>
                  <a:lnTo>
                    <a:pt x="1835" y="842"/>
                  </a:lnTo>
                  <a:lnTo>
                    <a:pt x="1836" y="838"/>
                  </a:lnTo>
                  <a:lnTo>
                    <a:pt x="1834" y="838"/>
                  </a:lnTo>
                  <a:lnTo>
                    <a:pt x="1827" y="843"/>
                  </a:lnTo>
                  <a:lnTo>
                    <a:pt x="1825" y="842"/>
                  </a:lnTo>
                  <a:lnTo>
                    <a:pt x="1825" y="840"/>
                  </a:lnTo>
                  <a:lnTo>
                    <a:pt x="1825" y="842"/>
                  </a:lnTo>
                  <a:lnTo>
                    <a:pt x="1826" y="839"/>
                  </a:lnTo>
                  <a:lnTo>
                    <a:pt x="1825" y="839"/>
                  </a:lnTo>
                  <a:lnTo>
                    <a:pt x="1824" y="836"/>
                  </a:lnTo>
                  <a:lnTo>
                    <a:pt x="1824" y="836"/>
                  </a:lnTo>
                  <a:lnTo>
                    <a:pt x="1822" y="834"/>
                  </a:lnTo>
                  <a:lnTo>
                    <a:pt x="1819" y="834"/>
                  </a:lnTo>
                  <a:lnTo>
                    <a:pt x="1819" y="834"/>
                  </a:lnTo>
                  <a:lnTo>
                    <a:pt x="1817" y="833"/>
                  </a:lnTo>
                  <a:lnTo>
                    <a:pt x="1809" y="836"/>
                  </a:lnTo>
                  <a:lnTo>
                    <a:pt x="1807" y="837"/>
                  </a:lnTo>
                  <a:lnTo>
                    <a:pt x="1802" y="839"/>
                  </a:lnTo>
                  <a:lnTo>
                    <a:pt x="1800" y="839"/>
                  </a:lnTo>
                  <a:lnTo>
                    <a:pt x="1797" y="838"/>
                  </a:lnTo>
                  <a:lnTo>
                    <a:pt x="1794" y="840"/>
                  </a:lnTo>
                  <a:lnTo>
                    <a:pt x="1792" y="840"/>
                  </a:lnTo>
                  <a:lnTo>
                    <a:pt x="1785" y="837"/>
                  </a:lnTo>
                  <a:lnTo>
                    <a:pt x="1784" y="837"/>
                  </a:lnTo>
                  <a:lnTo>
                    <a:pt x="1781" y="839"/>
                  </a:lnTo>
                  <a:lnTo>
                    <a:pt x="1779" y="839"/>
                  </a:lnTo>
                  <a:lnTo>
                    <a:pt x="1776" y="838"/>
                  </a:lnTo>
                  <a:lnTo>
                    <a:pt x="1773" y="836"/>
                  </a:lnTo>
                  <a:lnTo>
                    <a:pt x="1771" y="837"/>
                  </a:lnTo>
                  <a:lnTo>
                    <a:pt x="1771" y="839"/>
                  </a:lnTo>
                  <a:lnTo>
                    <a:pt x="1767" y="840"/>
                  </a:lnTo>
                  <a:lnTo>
                    <a:pt x="1763" y="842"/>
                  </a:lnTo>
                  <a:lnTo>
                    <a:pt x="1759" y="844"/>
                  </a:lnTo>
                  <a:lnTo>
                    <a:pt x="1756" y="844"/>
                  </a:lnTo>
                  <a:lnTo>
                    <a:pt x="1754" y="843"/>
                  </a:lnTo>
                  <a:lnTo>
                    <a:pt x="1754" y="840"/>
                  </a:lnTo>
                  <a:lnTo>
                    <a:pt x="1750" y="839"/>
                  </a:lnTo>
                  <a:lnTo>
                    <a:pt x="1737" y="839"/>
                  </a:lnTo>
                  <a:lnTo>
                    <a:pt x="1732" y="842"/>
                  </a:lnTo>
                  <a:lnTo>
                    <a:pt x="1729" y="840"/>
                  </a:lnTo>
                  <a:lnTo>
                    <a:pt x="1728" y="842"/>
                  </a:lnTo>
                  <a:lnTo>
                    <a:pt x="1725" y="840"/>
                  </a:lnTo>
                  <a:lnTo>
                    <a:pt x="1720" y="845"/>
                  </a:lnTo>
                  <a:lnTo>
                    <a:pt x="1717" y="844"/>
                  </a:lnTo>
                  <a:lnTo>
                    <a:pt x="1700" y="846"/>
                  </a:lnTo>
                  <a:lnTo>
                    <a:pt x="1689" y="851"/>
                  </a:lnTo>
                  <a:lnTo>
                    <a:pt x="1687" y="853"/>
                  </a:lnTo>
                  <a:lnTo>
                    <a:pt x="1685" y="856"/>
                  </a:lnTo>
                  <a:lnTo>
                    <a:pt x="1683" y="857"/>
                  </a:lnTo>
                  <a:lnTo>
                    <a:pt x="1680" y="855"/>
                  </a:lnTo>
                  <a:lnTo>
                    <a:pt x="1676" y="857"/>
                  </a:lnTo>
                  <a:lnTo>
                    <a:pt x="1672" y="857"/>
                  </a:lnTo>
                  <a:lnTo>
                    <a:pt x="1670" y="860"/>
                  </a:lnTo>
                  <a:lnTo>
                    <a:pt x="1668" y="862"/>
                  </a:lnTo>
                  <a:lnTo>
                    <a:pt x="1666" y="864"/>
                  </a:lnTo>
                  <a:lnTo>
                    <a:pt x="1663" y="865"/>
                  </a:lnTo>
                  <a:lnTo>
                    <a:pt x="1661" y="868"/>
                  </a:lnTo>
                  <a:lnTo>
                    <a:pt x="1656" y="868"/>
                  </a:lnTo>
                  <a:lnTo>
                    <a:pt x="1654" y="868"/>
                  </a:lnTo>
                  <a:lnTo>
                    <a:pt x="1653" y="868"/>
                  </a:lnTo>
                  <a:lnTo>
                    <a:pt x="1649" y="868"/>
                  </a:lnTo>
                  <a:lnTo>
                    <a:pt x="1647" y="868"/>
                  </a:lnTo>
                  <a:lnTo>
                    <a:pt x="1645" y="865"/>
                  </a:lnTo>
                  <a:lnTo>
                    <a:pt x="1645" y="864"/>
                  </a:lnTo>
                  <a:lnTo>
                    <a:pt x="1639" y="866"/>
                  </a:lnTo>
                  <a:lnTo>
                    <a:pt x="1634" y="865"/>
                  </a:lnTo>
                  <a:lnTo>
                    <a:pt x="1632" y="866"/>
                  </a:lnTo>
                  <a:lnTo>
                    <a:pt x="1630" y="865"/>
                  </a:lnTo>
                  <a:lnTo>
                    <a:pt x="1625" y="866"/>
                  </a:lnTo>
                  <a:lnTo>
                    <a:pt x="1620" y="866"/>
                  </a:lnTo>
                  <a:lnTo>
                    <a:pt x="1618" y="864"/>
                  </a:lnTo>
                  <a:lnTo>
                    <a:pt x="1612" y="860"/>
                  </a:lnTo>
                  <a:lnTo>
                    <a:pt x="1611" y="856"/>
                  </a:lnTo>
                  <a:lnTo>
                    <a:pt x="1612" y="855"/>
                  </a:lnTo>
                  <a:lnTo>
                    <a:pt x="1611" y="855"/>
                  </a:lnTo>
                  <a:lnTo>
                    <a:pt x="1606" y="856"/>
                  </a:lnTo>
                  <a:lnTo>
                    <a:pt x="1604" y="856"/>
                  </a:lnTo>
                  <a:lnTo>
                    <a:pt x="1603" y="860"/>
                  </a:lnTo>
                  <a:lnTo>
                    <a:pt x="1598" y="872"/>
                  </a:lnTo>
                  <a:lnTo>
                    <a:pt x="1592" y="883"/>
                  </a:lnTo>
                  <a:lnTo>
                    <a:pt x="1588" y="887"/>
                  </a:lnTo>
                  <a:lnTo>
                    <a:pt x="1584" y="889"/>
                  </a:lnTo>
                  <a:lnTo>
                    <a:pt x="1568" y="896"/>
                  </a:lnTo>
                  <a:lnTo>
                    <a:pt x="1563" y="902"/>
                  </a:lnTo>
                  <a:lnTo>
                    <a:pt x="1558" y="906"/>
                  </a:lnTo>
                  <a:lnTo>
                    <a:pt x="1558" y="912"/>
                  </a:lnTo>
                  <a:lnTo>
                    <a:pt x="1557" y="914"/>
                  </a:lnTo>
                  <a:lnTo>
                    <a:pt x="1553" y="919"/>
                  </a:lnTo>
                  <a:lnTo>
                    <a:pt x="1550" y="924"/>
                  </a:lnTo>
                  <a:lnTo>
                    <a:pt x="1550" y="932"/>
                  </a:lnTo>
                  <a:lnTo>
                    <a:pt x="1550" y="934"/>
                  </a:lnTo>
                  <a:lnTo>
                    <a:pt x="1552" y="938"/>
                  </a:lnTo>
                  <a:lnTo>
                    <a:pt x="1553" y="940"/>
                  </a:lnTo>
                  <a:lnTo>
                    <a:pt x="1553" y="942"/>
                  </a:lnTo>
                  <a:lnTo>
                    <a:pt x="1551" y="948"/>
                  </a:lnTo>
                  <a:lnTo>
                    <a:pt x="1548" y="950"/>
                  </a:lnTo>
                  <a:lnTo>
                    <a:pt x="1544" y="956"/>
                  </a:lnTo>
                  <a:lnTo>
                    <a:pt x="1542" y="958"/>
                  </a:lnTo>
                  <a:lnTo>
                    <a:pt x="1540" y="960"/>
                  </a:lnTo>
                  <a:lnTo>
                    <a:pt x="1534" y="964"/>
                  </a:lnTo>
                  <a:lnTo>
                    <a:pt x="1529" y="967"/>
                  </a:lnTo>
                  <a:lnTo>
                    <a:pt x="1527" y="971"/>
                  </a:lnTo>
                  <a:lnTo>
                    <a:pt x="1519" y="974"/>
                  </a:lnTo>
                  <a:lnTo>
                    <a:pt x="1509" y="975"/>
                  </a:lnTo>
                  <a:lnTo>
                    <a:pt x="1507" y="979"/>
                  </a:lnTo>
                  <a:lnTo>
                    <a:pt x="1504" y="980"/>
                  </a:lnTo>
                  <a:lnTo>
                    <a:pt x="1503" y="983"/>
                  </a:lnTo>
                  <a:lnTo>
                    <a:pt x="1501" y="987"/>
                  </a:lnTo>
                  <a:lnTo>
                    <a:pt x="1501" y="990"/>
                  </a:lnTo>
                  <a:lnTo>
                    <a:pt x="1500" y="992"/>
                  </a:lnTo>
                  <a:lnTo>
                    <a:pt x="1498" y="994"/>
                  </a:lnTo>
                  <a:lnTo>
                    <a:pt x="1487" y="1001"/>
                  </a:lnTo>
                  <a:lnTo>
                    <a:pt x="1486" y="1005"/>
                  </a:lnTo>
                  <a:lnTo>
                    <a:pt x="1482" y="1013"/>
                  </a:lnTo>
                  <a:lnTo>
                    <a:pt x="1481" y="1022"/>
                  </a:lnTo>
                  <a:lnTo>
                    <a:pt x="1480" y="1025"/>
                  </a:lnTo>
                  <a:lnTo>
                    <a:pt x="1476" y="1027"/>
                  </a:lnTo>
                  <a:lnTo>
                    <a:pt x="1472" y="1032"/>
                  </a:lnTo>
                  <a:lnTo>
                    <a:pt x="1467" y="1036"/>
                  </a:lnTo>
                  <a:lnTo>
                    <a:pt x="1466" y="1039"/>
                  </a:lnTo>
                  <a:lnTo>
                    <a:pt x="1468" y="1036"/>
                  </a:lnTo>
                  <a:lnTo>
                    <a:pt x="1467" y="1039"/>
                  </a:lnTo>
                  <a:lnTo>
                    <a:pt x="1463" y="1047"/>
                  </a:lnTo>
                  <a:lnTo>
                    <a:pt x="1463" y="1049"/>
                  </a:lnTo>
                  <a:lnTo>
                    <a:pt x="1461" y="1052"/>
                  </a:lnTo>
                  <a:lnTo>
                    <a:pt x="1460" y="1054"/>
                  </a:lnTo>
                  <a:lnTo>
                    <a:pt x="1459" y="1058"/>
                  </a:lnTo>
                  <a:lnTo>
                    <a:pt x="1457" y="1058"/>
                  </a:lnTo>
                  <a:lnTo>
                    <a:pt x="1455" y="1061"/>
                  </a:lnTo>
                  <a:lnTo>
                    <a:pt x="1454" y="1064"/>
                  </a:lnTo>
                  <a:lnTo>
                    <a:pt x="1450" y="1077"/>
                  </a:lnTo>
                  <a:lnTo>
                    <a:pt x="1451" y="1081"/>
                  </a:lnTo>
                  <a:lnTo>
                    <a:pt x="1452" y="1077"/>
                  </a:lnTo>
                  <a:lnTo>
                    <a:pt x="1452" y="1075"/>
                  </a:lnTo>
                  <a:lnTo>
                    <a:pt x="1454" y="1076"/>
                  </a:lnTo>
                  <a:lnTo>
                    <a:pt x="1457" y="1082"/>
                  </a:lnTo>
                  <a:lnTo>
                    <a:pt x="1459" y="1081"/>
                  </a:lnTo>
                  <a:lnTo>
                    <a:pt x="1463" y="1088"/>
                  </a:lnTo>
                  <a:lnTo>
                    <a:pt x="1463" y="1094"/>
                  </a:lnTo>
                  <a:lnTo>
                    <a:pt x="1459" y="1100"/>
                  </a:lnTo>
                  <a:lnTo>
                    <a:pt x="1459" y="1102"/>
                  </a:lnTo>
                  <a:lnTo>
                    <a:pt x="1461" y="1103"/>
                  </a:lnTo>
                  <a:lnTo>
                    <a:pt x="1465" y="1113"/>
                  </a:lnTo>
                  <a:lnTo>
                    <a:pt x="1465" y="1119"/>
                  </a:lnTo>
                  <a:lnTo>
                    <a:pt x="1465" y="1124"/>
                  </a:lnTo>
                  <a:lnTo>
                    <a:pt x="1465" y="1127"/>
                  </a:lnTo>
                  <a:lnTo>
                    <a:pt x="1459" y="1141"/>
                  </a:lnTo>
                  <a:lnTo>
                    <a:pt x="1458" y="1145"/>
                  </a:lnTo>
                  <a:lnTo>
                    <a:pt x="1458" y="1151"/>
                  </a:lnTo>
                  <a:lnTo>
                    <a:pt x="1454" y="1158"/>
                  </a:lnTo>
                  <a:lnTo>
                    <a:pt x="1451" y="1162"/>
                  </a:lnTo>
                  <a:lnTo>
                    <a:pt x="1449" y="1163"/>
                  </a:lnTo>
                  <a:lnTo>
                    <a:pt x="1447" y="1164"/>
                  </a:lnTo>
                  <a:lnTo>
                    <a:pt x="1448" y="1165"/>
                  </a:lnTo>
                  <a:lnTo>
                    <a:pt x="1450" y="1167"/>
                  </a:lnTo>
                  <a:lnTo>
                    <a:pt x="1452" y="1170"/>
                  </a:lnTo>
                  <a:lnTo>
                    <a:pt x="1455" y="1174"/>
                  </a:lnTo>
                  <a:lnTo>
                    <a:pt x="1455" y="1177"/>
                  </a:lnTo>
                  <a:lnTo>
                    <a:pt x="1459" y="1173"/>
                  </a:lnTo>
                  <a:lnTo>
                    <a:pt x="1459" y="1173"/>
                  </a:lnTo>
                  <a:lnTo>
                    <a:pt x="1460" y="1173"/>
                  </a:lnTo>
                  <a:lnTo>
                    <a:pt x="1459" y="1173"/>
                  </a:lnTo>
                  <a:lnTo>
                    <a:pt x="1456" y="1179"/>
                  </a:lnTo>
                  <a:lnTo>
                    <a:pt x="1458" y="1178"/>
                  </a:lnTo>
                  <a:lnTo>
                    <a:pt x="1459" y="1176"/>
                  </a:lnTo>
                  <a:lnTo>
                    <a:pt x="1459" y="1179"/>
                  </a:lnTo>
                  <a:lnTo>
                    <a:pt x="1458" y="1181"/>
                  </a:lnTo>
                  <a:lnTo>
                    <a:pt x="1458" y="1182"/>
                  </a:lnTo>
                  <a:lnTo>
                    <a:pt x="1460" y="1185"/>
                  </a:lnTo>
                  <a:lnTo>
                    <a:pt x="1464" y="1184"/>
                  </a:lnTo>
                  <a:lnTo>
                    <a:pt x="1468" y="1184"/>
                  </a:lnTo>
                  <a:lnTo>
                    <a:pt x="1472" y="1182"/>
                  </a:lnTo>
                  <a:lnTo>
                    <a:pt x="1473" y="1182"/>
                  </a:lnTo>
                  <a:lnTo>
                    <a:pt x="1475" y="1182"/>
                  </a:lnTo>
                  <a:lnTo>
                    <a:pt x="1474" y="1184"/>
                  </a:lnTo>
                  <a:lnTo>
                    <a:pt x="1473" y="1182"/>
                  </a:lnTo>
                  <a:lnTo>
                    <a:pt x="1472" y="1182"/>
                  </a:lnTo>
                  <a:lnTo>
                    <a:pt x="1469" y="1184"/>
                  </a:lnTo>
                  <a:lnTo>
                    <a:pt x="1464" y="1184"/>
                  </a:lnTo>
                  <a:lnTo>
                    <a:pt x="1464" y="1186"/>
                  </a:lnTo>
                  <a:lnTo>
                    <a:pt x="1458" y="1186"/>
                  </a:lnTo>
                  <a:lnTo>
                    <a:pt x="1457" y="1184"/>
                  </a:lnTo>
                  <a:lnTo>
                    <a:pt x="1455" y="1185"/>
                  </a:lnTo>
                  <a:lnTo>
                    <a:pt x="1455" y="1187"/>
                  </a:lnTo>
                  <a:lnTo>
                    <a:pt x="1456" y="1189"/>
                  </a:lnTo>
                  <a:lnTo>
                    <a:pt x="1455" y="1191"/>
                  </a:lnTo>
                  <a:lnTo>
                    <a:pt x="1456" y="1193"/>
                  </a:lnTo>
                  <a:lnTo>
                    <a:pt x="1458" y="1193"/>
                  </a:lnTo>
                  <a:lnTo>
                    <a:pt x="1459" y="1195"/>
                  </a:lnTo>
                  <a:lnTo>
                    <a:pt x="1457" y="1195"/>
                  </a:lnTo>
                  <a:lnTo>
                    <a:pt x="1455" y="1198"/>
                  </a:lnTo>
                  <a:lnTo>
                    <a:pt x="1456" y="1199"/>
                  </a:lnTo>
                  <a:lnTo>
                    <a:pt x="1460" y="1201"/>
                  </a:lnTo>
                  <a:lnTo>
                    <a:pt x="1461" y="1199"/>
                  </a:lnTo>
                  <a:lnTo>
                    <a:pt x="1465" y="1198"/>
                  </a:lnTo>
                  <a:lnTo>
                    <a:pt x="1461" y="1201"/>
                  </a:lnTo>
                  <a:lnTo>
                    <a:pt x="1461" y="1204"/>
                  </a:lnTo>
                  <a:lnTo>
                    <a:pt x="1464" y="1205"/>
                  </a:lnTo>
                  <a:lnTo>
                    <a:pt x="1466" y="1204"/>
                  </a:lnTo>
                  <a:lnTo>
                    <a:pt x="1469" y="1204"/>
                  </a:lnTo>
                  <a:lnTo>
                    <a:pt x="1467" y="1204"/>
                  </a:lnTo>
                  <a:lnTo>
                    <a:pt x="1467" y="1207"/>
                  </a:lnTo>
                  <a:lnTo>
                    <a:pt x="1470" y="1206"/>
                  </a:lnTo>
                  <a:lnTo>
                    <a:pt x="1472" y="1205"/>
                  </a:lnTo>
                  <a:lnTo>
                    <a:pt x="1480" y="1204"/>
                  </a:lnTo>
                  <a:lnTo>
                    <a:pt x="1480" y="1206"/>
                  </a:lnTo>
                  <a:lnTo>
                    <a:pt x="1481" y="1206"/>
                  </a:lnTo>
                  <a:lnTo>
                    <a:pt x="1480" y="1206"/>
                  </a:lnTo>
                  <a:lnTo>
                    <a:pt x="1476" y="1206"/>
                  </a:lnTo>
                  <a:lnTo>
                    <a:pt x="1474" y="1206"/>
                  </a:lnTo>
                  <a:lnTo>
                    <a:pt x="1473" y="1208"/>
                  </a:lnTo>
                  <a:lnTo>
                    <a:pt x="1477" y="1207"/>
                  </a:lnTo>
                  <a:lnTo>
                    <a:pt x="1475" y="1210"/>
                  </a:lnTo>
                  <a:lnTo>
                    <a:pt x="1473" y="1212"/>
                  </a:lnTo>
                  <a:lnTo>
                    <a:pt x="1475" y="1212"/>
                  </a:lnTo>
                  <a:lnTo>
                    <a:pt x="1475" y="1214"/>
                  </a:lnTo>
                  <a:lnTo>
                    <a:pt x="1476" y="1216"/>
                  </a:lnTo>
                  <a:lnTo>
                    <a:pt x="1480" y="1215"/>
                  </a:lnTo>
                  <a:lnTo>
                    <a:pt x="1480" y="1218"/>
                  </a:lnTo>
                  <a:lnTo>
                    <a:pt x="1484" y="1218"/>
                  </a:lnTo>
                  <a:lnTo>
                    <a:pt x="1482" y="1220"/>
                  </a:lnTo>
                  <a:lnTo>
                    <a:pt x="1484" y="1222"/>
                  </a:lnTo>
                  <a:lnTo>
                    <a:pt x="1484" y="1222"/>
                  </a:lnTo>
                  <a:lnTo>
                    <a:pt x="1486" y="1227"/>
                  </a:lnTo>
                  <a:lnTo>
                    <a:pt x="1490" y="1229"/>
                  </a:lnTo>
                  <a:lnTo>
                    <a:pt x="1492" y="1229"/>
                  </a:lnTo>
                  <a:lnTo>
                    <a:pt x="1492" y="1231"/>
                  </a:lnTo>
                  <a:lnTo>
                    <a:pt x="1495" y="1233"/>
                  </a:lnTo>
                  <a:lnTo>
                    <a:pt x="1497" y="1232"/>
                  </a:lnTo>
                  <a:lnTo>
                    <a:pt x="1498" y="1232"/>
                  </a:lnTo>
                  <a:lnTo>
                    <a:pt x="1497" y="1235"/>
                  </a:lnTo>
                  <a:lnTo>
                    <a:pt x="1498" y="1233"/>
                  </a:lnTo>
                  <a:lnTo>
                    <a:pt x="1498" y="1237"/>
                  </a:lnTo>
                  <a:lnTo>
                    <a:pt x="1500" y="1237"/>
                  </a:lnTo>
                  <a:lnTo>
                    <a:pt x="1502" y="1242"/>
                  </a:lnTo>
                  <a:lnTo>
                    <a:pt x="1502" y="1245"/>
                  </a:lnTo>
                  <a:lnTo>
                    <a:pt x="1506" y="1246"/>
                  </a:lnTo>
                  <a:lnTo>
                    <a:pt x="1507" y="1247"/>
                  </a:lnTo>
                  <a:lnTo>
                    <a:pt x="1504" y="1247"/>
                  </a:lnTo>
                  <a:lnTo>
                    <a:pt x="1503" y="1249"/>
                  </a:lnTo>
                  <a:lnTo>
                    <a:pt x="1506" y="1249"/>
                  </a:lnTo>
                  <a:lnTo>
                    <a:pt x="1506" y="1250"/>
                  </a:lnTo>
                  <a:lnTo>
                    <a:pt x="1509" y="1252"/>
                  </a:lnTo>
                  <a:lnTo>
                    <a:pt x="1506" y="1253"/>
                  </a:lnTo>
                  <a:lnTo>
                    <a:pt x="1506" y="1253"/>
                  </a:lnTo>
                  <a:lnTo>
                    <a:pt x="1506" y="1254"/>
                  </a:lnTo>
                  <a:lnTo>
                    <a:pt x="1503" y="1253"/>
                  </a:lnTo>
                  <a:lnTo>
                    <a:pt x="1504" y="1255"/>
                  </a:lnTo>
                  <a:lnTo>
                    <a:pt x="1507" y="1255"/>
                  </a:lnTo>
                  <a:lnTo>
                    <a:pt x="1508" y="1258"/>
                  </a:lnTo>
                  <a:lnTo>
                    <a:pt x="1507" y="1261"/>
                  </a:lnTo>
                  <a:lnTo>
                    <a:pt x="1512" y="1263"/>
                  </a:lnTo>
                  <a:lnTo>
                    <a:pt x="1514" y="1263"/>
                  </a:lnTo>
                  <a:lnTo>
                    <a:pt x="1516" y="1265"/>
                  </a:lnTo>
                  <a:lnTo>
                    <a:pt x="1518" y="1264"/>
                  </a:lnTo>
                  <a:lnTo>
                    <a:pt x="1515" y="1265"/>
                  </a:lnTo>
                  <a:lnTo>
                    <a:pt x="1516" y="1267"/>
                  </a:lnTo>
                  <a:lnTo>
                    <a:pt x="1518" y="1268"/>
                  </a:lnTo>
                  <a:lnTo>
                    <a:pt x="1526" y="1273"/>
                  </a:lnTo>
                  <a:lnTo>
                    <a:pt x="1526" y="1273"/>
                  </a:lnTo>
                  <a:lnTo>
                    <a:pt x="1528" y="1274"/>
                  </a:lnTo>
                  <a:lnTo>
                    <a:pt x="1529" y="1276"/>
                  </a:lnTo>
                  <a:lnTo>
                    <a:pt x="1533" y="1279"/>
                  </a:lnTo>
                  <a:lnTo>
                    <a:pt x="1536" y="1281"/>
                  </a:lnTo>
                  <a:lnTo>
                    <a:pt x="1537" y="1281"/>
                  </a:lnTo>
                  <a:lnTo>
                    <a:pt x="1536" y="1282"/>
                  </a:lnTo>
                  <a:lnTo>
                    <a:pt x="1540" y="1283"/>
                  </a:lnTo>
                  <a:lnTo>
                    <a:pt x="1543" y="1284"/>
                  </a:lnTo>
                  <a:lnTo>
                    <a:pt x="1546" y="1288"/>
                  </a:lnTo>
                  <a:lnTo>
                    <a:pt x="1548" y="1289"/>
                  </a:lnTo>
                  <a:lnTo>
                    <a:pt x="1553" y="1293"/>
                  </a:lnTo>
                  <a:lnTo>
                    <a:pt x="1555" y="1297"/>
                  </a:lnTo>
                  <a:lnTo>
                    <a:pt x="1561" y="1300"/>
                  </a:lnTo>
                  <a:lnTo>
                    <a:pt x="1579" y="1309"/>
                  </a:lnTo>
                  <a:lnTo>
                    <a:pt x="1582" y="1309"/>
                  </a:lnTo>
                  <a:lnTo>
                    <a:pt x="1582" y="1309"/>
                  </a:lnTo>
                  <a:lnTo>
                    <a:pt x="1584" y="1308"/>
                  </a:lnTo>
                  <a:lnTo>
                    <a:pt x="1586" y="1307"/>
                  </a:lnTo>
                  <a:lnTo>
                    <a:pt x="1604" y="1300"/>
                  </a:lnTo>
                  <a:lnTo>
                    <a:pt x="1610" y="1299"/>
                  </a:lnTo>
                  <a:lnTo>
                    <a:pt x="1617" y="1298"/>
                  </a:lnTo>
                  <a:lnTo>
                    <a:pt x="1613" y="1297"/>
                  </a:lnTo>
                  <a:lnTo>
                    <a:pt x="1611" y="1298"/>
                  </a:lnTo>
                  <a:lnTo>
                    <a:pt x="1612" y="1297"/>
                  </a:lnTo>
                  <a:lnTo>
                    <a:pt x="1617" y="1297"/>
                  </a:lnTo>
                  <a:lnTo>
                    <a:pt x="1617" y="1298"/>
                  </a:lnTo>
                  <a:lnTo>
                    <a:pt x="1619" y="1298"/>
                  </a:lnTo>
                  <a:lnTo>
                    <a:pt x="1630" y="1297"/>
                  </a:lnTo>
                  <a:lnTo>
                    <a:pt x="1629" y="1297"/>
                  </a:lnTo>
                  <a:lnTo>
                    <a:pt x="1623" y="1297"/>
                  </a:lnTo>
                  <a:lnTo>
                    <a:pt x="1621" y="1297"/>
                  </a:lnTo>
                  <a:lnTo>
                    <a:pt x="1619" y="1298"/>
                  </a:lnTo>
                  <a:lnTo>
                    <a:pt x="1619" y="1297"/>
                  </a:lnTo>
                  <a:lnTo>
                    <a:pt x="1626" y="1296"/>
                  </a:lnTo>
                  <a:lnTo>
                    <a:pt x="1629" y="1297"/>
                  </a:lnTo>
                  <a:lnTo>
                    <a:pt x="1630" y="1297"/>
                  </a:lnTo>
                  <a:lnTo>
                    <a:pt x="1630" y="1296"/>
                  </a:lnTo>
                  <a:lnTo>
                    <a:pt x="1632" y="1297"/>
                  </a:lnTo>
                  <a:lnTo>
                    <a:pt x="1632" y="1297"/>
                  </a:lnTo>
                  <a:lnTo>
                    <a:pt x="1630" y="1297"/>
                  </a:lnTo>
                  <a:lnTo>
                    <a:pt x="1634" y="1298"/>
                  </a:lnTo>
                  <a:lnTo>
                    <a:pt x="1634" y="1297"/>
                  </a:lnTo>
                  <a:lnTo>
                    <a:pt x="1636" y="1298"/>
                  </a:lnTo>
                  <a:lnTo>
                    <a:pt x="1639" y="1298"/>
                  </a:lnTo>
                  <a:lnTo>
                    <a:pt x="1640" y="1296"/>
                  </a:lnTo>
                  <a:lnTo>
                    <a:pt x="1640" y="1296"/>
                  </a:lnTo>
                  <a:lnTo>
                    <a:pt x="1642" y="1298"/>
                  </a:lnTo>
                  <a:lnTo>
                    <a:pt x="1645" y="1299"/>
                  </a:lnTo>
                  <a:lnTo>
                    <a:pt x="1643" y="1299"/>
                  </a:lnTo>
                  <a:lnTo>
                    <a:pt x="1653" y="1301"/>
                  </a:lnTo>
                  <a:lnTo>
                    <a:pt x="1656" y="1304"/>
                  </a:lnTo>
                  <a:lnTo>
                    <a:pt x="1662" y="1301"/>
                  </a:lnTo>
                  <a:lnTo>
                    <a:pt x="1662" y="1300"/>
                  </a:lnTo>
                  <a:lnTo>
                    <a:pt x="1671" y="1297"/>
                  </a:lnTo>
                  <a:lnTo>
                    <a:pt x="1674" y="1297"/>
                  </a:lnTo>
                  <a:lnTo>
                    <a:pt x="1680" y="1293"/>
                  </a:lnTo>
                  <a:lnTo>
                    <a:pt x="1685" y="1292"/>
                  </a:lnTo>
                  <a:lnTo>
                    <a:pt x="1687" y="1290"/>
                  </a:lnTo>
                  <a:lnTo>
                    <a:pt x="1693" y="1290"/>
                  </a:lnTo>
                  <a:lnTo>
                    <a:pt x="1694" y="1289"/>
                  </a:lnTo>
                  <a:lnTo>
                    <a:pt x="1691" y="1285"/>
                  </a:lnTo>
                  <a:lnTo>
                    <a:pt x="1689" y="1285"/>
                  </a:lnTo>
                  <a:lnTo>
                    <a:pt x="1688" y="1285"/>
                  </a:lnTo>
                  <a:lnTo>
                    <a:pt x="1691" y="1285"/>
                  </a:lnTo>
                  <a:lnTo>
                    <a:pt x="1693" y="1287"/>
                  </a:lnTo>
                  <a:lnTo>
                    <a:pt x="1694" y="1289"/>
                  </a:lnTo>
                  <a:lnTo>
                    <a:pt x="1697" y="1290"/>
                  </a:lnTo>
                  <a:lnTo>
                    <a:pt x="1699" y="1287"/>
                  </a:lnTo>
                  <a:lnTo>
                    <a:pt x="1702" y="1285"/>
                  </a:lnTo>
                  <a:lnTo>
                    <a:pt x="1704" y="1284"/>
                  </a:lnTo>
                  <a:lnTo>
                    <a:pt x="1707" y="1283"/>
                  </a:lnTo>
                  <a:lnTo>
                    <a:pt x="1711" y="1282"/>
                  </a:lnTo>
                  <a:lnTo>
                    <a:pt x="1719" y="1282"/>
                  </a:lnTo>
                  <a:lnTo>
                    <a:pt x="1730" y="1281"/>
                  </a:lnTo>
                  <a:lnTo>
                    <a:pt x="1731" y="1280"/>
                  </a:lnTo>
                  <a:lnTo>
                    <a:pt x="1736" y="1278"/>
                  </a:lnTo>
                  <a:lnTo>
                    <a:pt x="1733" y="1280"/>
                  </a:lnTo>
                  <a:lnTo>
                    <a:pt x="1731" y="1280"/>
                  </a:lnTo>
                  <a:lnTo>
                    <a:pt x="1733" y="1281"/>
                  </a:lnTo>
                  <a:lnTo>
                    <a:pt x="1737" y="1280"/>
                  </a:lnTo>
                  <a:lnTo>
                    <a:pt x="1743" y="1281"/>
                  </a:lnTo>
                  <a:lnTo>
                    <a:pt x="1749" y="1284"/>
                  </a:lnTo>
                  <a:lnTo>
                    <a:pt x="1754" y="1289"/>
                  </a:lnTo>
                  <a:lnTo>
                    <a:pt x="1755" y="1289"/>
                  </a:lnTo>
                  <a:lnTo>
                    <a:pt x="1757" y="1288"/>
                  </a:lnTo>
                  <a:lnTo>
                    <a:pt x="1755" y="1289"/>
                  </a:lnTo>
                  <a:lnTo>
                    <a:pt x="1755" y="1292"/>
                  </a:lnTo>
                  <a:lnTo>
                    <a:pt x="1758" y="1290"/>
                  </a:lnTo>
                  <a:lnTo>
                    <a:pt x="1757" y="1291"/>
                  </a:lnTo>
                  <a:lnTo>
                    <a:pt x="1760" y="1292"/>
                  </a:lnTo>
                  <a:lnTo>
                    <a:pt x="1757" y="1292"/>
                  </a:lnTo>
                  <a:lnTo>
                    <a:pt x="1758" y="1295"/>
                  </a:lnTo>
                  <a:lnTo>
                    <a:pt x="1762" y="1293"/>
                  </a:lnTo>
                  <a:lnTo>
                    <a:pt x="1762" y="1295"/>
                  </a:lnTo>
                  <a:lnTo>
                    <a:pt x="1759" y="1296"/>
                  </a:lnTo>
                  <a:lnTo>
                    <a:pt x="1759" y="1301"/>
                  </a:lnTo>
                  <a:lnTo>
                    <a:pt x="1763" y="1307"/>
                  </a:lnTo>
                  <a:lnTo>
                    <a:pt x="1766" y="1308"/>
                  </a:lnTo>
                  <a:lnTo>
                    <a:pt x="1767" y="1308"/>
                  </a:lnTo>
                  <a:lnTo>
                    <a:pt x="1768" y="1310"/>
                  </a:lnTo>
                  <a:lnTo>
                    <a:pt x="1771" y="1307"/>
                  </a:lnTo>
                  <a:lnTo>
                    <a:pt x="1771" y="1310"/>
                  </a:lnTo>
                  <a:lnTo>
                    <a:pt x="1773" y="1309"/>
                  </a:lnTo>
                  <a:lnTo>
                    <a:pt x="1774" y="1307"/>
                  </a:lnTo>
                  <a:lnTo>
                    <a:pt x="1776" y="1306"/>
                  </a:lnTo>
                  <a:lnTo>
                    <a:pt x="1776" y="1306"/>
                  </a:lnTo>
                  <a:lnTo>
                    <a:pt x="1776" y="1308"/>
                  </a:lnTo>
                  <a:lnTo>
                    <a:pt x="1777" y="1309"/>
                  </a:lnTo>
                  <a:lnTo>
                    <a:pt x="1777" y="1302"/>
                  </a:lnTo>
                  <a:lnTo>
                    <a:pt x="1779" y="1308"/>
                  </a:lnTo>
                  <a:lnTo>
                    <a:pt x="1780" y="1307"/>
                  </a:lnTo>
                  <a:lnTo>
                    <a:pt x="1780" y="1305"/>
                  </a:lnTo>
                  <a:lnTo>
                    <a:pt x="1781" y="1305"/>
                  </a:lnTo>
                  <a:lnTo>
                    <a:pt x="1781" y="1307"/>
                  </a:lnTo>
                  <a:lnTo>
                    <a:pt x="1782" y="1305"/>
                  </a:lnTo>
                  <a:lnTo>
                    <a:pt x="1784" y="1306"/>
                  </a:lnTo>
                  <a:lnTo>
                    <a:pt x="1785" y="1306"/>
                  </a:lnTo>
                  <a:lnTo>
                    <a:pt x="1788" y="1306"/>
                  </a:lnTo>
                  <a:lnTo>
                    <a:pt x="1788" y="1304"/>
                  </a:lnTo>
                  <a:lnTo>
                    <a:pt x="1789" y="1306"/>
                  </a:lnTo>
                  <a:lnTo>
                    <a:pt x="1791" y="1307"/>
                  </a:lnTo>
                  <a:lnTo>
                    <a:pt x="1797" y="1306"/>
                  </a:lnTo>
                  <a:lnTo>
                    <a:pt x="1799" y="1306"/>
                  </a:lnTo>
                  <a:lnTo>
                    <a:pt x="1797" y="1300"/>
                  </a:lnTo>
                  <a:lnTo>
                    <a:pt x="1799" y="1302"/>
                  </a:lnTo>
                  <a:lnTo>
                    <a:pt x="1800" y="1302"/>
                  </a:lnTo>
                  <a:lnTo>
                    <a:pt x="1802" y="1302"/>
                  </a:lnTo>
                  <a:lnTo>
                    <a:pt x="1801" y="1306"/>
                  </a:lnTo>
                  <a:lnTo>
                    <a:pt x="1804" y="1307"/>
                  </a:lnTo>
                  <a:lnTo>
                    <a:pt x="1804" y="1305"/>
                  </a:lnTo>
                  <a:lnTo>
                    <a:pt x="1806" y="1306"/>
                  </a:lnTo>
                  <a:lnTo>
                    <a:pt x="1806" y="1305"/>
                  </a:lnTo>
                  <a:lnTo>
                    <a:pt x="1807" y="1310"/>
                  </a:lnTo>
                  <a:lnTo>
                    <a:pt x="1809" y="1314"/>
                  </a:lnTo>
                  <a:lnTo>
                    <a:pt x="1813" y="1314"/>
                  </a:lnTo>
                  <a:lnTo>
                    <a:pt x="1813" y="1315"/>
                  </a:lnTo>
                  <a:lnTo>
                    <a:pt x="1814" y="1314"/>
                  </a:lnTo>
                  <a:lnTo>
                    <a:pt x="1815" y="1314"/>
                  </a:lnTo>
                  <a:lnTo>
                    <a:pt x="1815" y="1314"/>
                  </a:lnTo>
                  <a:lnTo>
                    <a:pt x="1814" y="1313"/>
                  </a:lnTo>
                  <a:lnTo>
                    <a:pt x="1817" y="1313"/>
                  </a:lnTo>
                  <a:lnTo>
                    <a:pt x="1817" y="1313"/>
                  </a:lnTo>
                  <a:lnTo>
                    <a:pt x="1817" y="1313"/>
                  </a:lnTo>
                  <a:lnTo>
                    <a:pt x="1818" y="1316"/>
                  </a:lnTo>
                  <a:lnTo>
                    <a:pt x="1817" y="1316"/>
                  </a:lnTo>
                  <a:lnTo>
                    <a:pt x="1817" y="1319"/>
                  </a:lnTo>
                  <a:lnTo>
                    <a:pt x="1819" y="1319"/>
                  </a:lnTo>
                  <a:lnTo>
                    <a:pt x="1818" y="1322"/>
                  </a:lnTo>
                  <a:lnTo>
                    <a:pt x="1821" y="1324"/>
                  </a:lnTo>
                  <a:lnTo>
                    <a:pt x="1822" y="1326"/>
                  </a:lnTo>
                  <a:lnTo>
                    <a:pt x="1819" y="1330"/>
                  </a:lnTo>
                  <a:lnTo>
                    <a:pt x="1818" y="1340"/>
                  </a:lnTo>
                  <a:lnTo>
                    <a:pt x="1819" y="1342"/>
                  </a:lnTo>
                  <a:lnTo>
                    <a:pt x="1817" y="1347"/>
                  </a:lnTo>
                  <a:lnTo>
                    <a:pt x="1818" y="1347"/>
                  </a:lnTo>
                  <a:lnTo>
                    <a:pt x="1816" y="1347"/>
                  </a:lnTo>
                  <a:lnTo>
                    <a:pt x="1814" y="1350"/>
                  </a:lnTo>
                  <a:lnTo>
                    <a:pt x="1813" y="1352"/>
                  </a:lnTo>
                  <a:lnTo>
                    <a:pt x="1816" y="1353"/>
                  </a:lnTo>
                  <a:lnTo>
                    <a:pt x="1818" y="1353"/>
                  </a:lnTo>
                  <a:lnTo>
                    <a:pt x="1819" y="1355"/>
                  </a:lnTo>
                  <a:lnTo>
                    <a:pt x="1816" y="1355"/>
                  </a:lnTo>
                  <a:lnTo>
                    <a:pt x="1816" y="1360"/>
                  </a:lnTo>
                  <a:lnTo>
                    <a:pt x="1814" y="1359"/>
                  </a:lnTo>
                  <a:lnTo>
                    <a:pt x="1814" y="1362"/>
                  </a:lnTo>
                  <a:lnTo>
                    <a:pt x="1816" y="1365"/>
                  </a:lnTo>
                  <a:lnTo>
                    <a:pt x="1819" y="1366"/>
                  </a:lnTo>
                  <a:lnTo>
                    <a:pt x="1822" y="1366"/>
                  </a:lnTo>
                  <a:lnTo>
                    <a:pt x="1816" y="1367"/>
                  </a:lnTo>
                  <a:lnTo>
                    <a:pt x="1814" y="1366"/>
                  </a:lnTo>
                  <a:lnTo>
                    <a:pt x="1813" y="1373"/>
                  </a:lnTo>
                  <a:lnTo>
                    <a:pt x="1809" y="1378"/>
                  </a:lnTo>
                  <a:lnTo>
                    <a:pt x="1808" y="1381"/>
                  </a:lnTo>
                  <a:lnTo>
                    <a:pt x="1807" y="1378"/>
                  </a:lnTo>
                  <a:lnTo>
                    <a:pt x="1807" y="1378"/>
                  </a:lnTo>
                  <a:lnTo>
                    <a:pt x="1806" y="1378"/>
                  </a:lnTo>
                  <a:lnTo>
                    <a:pt x="1806" y="1381"/>
                  </a:lnTo>
                  <a:lnTo>
                    <a:pt x="1807" y="1382"/>
                  </a:lnTo>
                  <a:lnTo>
                    <a:pt x="1807" y="1383"/>
                  </a:lnTo>
                  <a:lnTo>
                    <a:pt x="1808" y="1386"/>
                  </a:lnTo>
                  <a:lnTo>
                    <a:pt x="1810" y="1387"/>
                  </a:lnTo>
                  <a:lnTo>
                    <a:pt x="1813" y="1390"/>
                  </a:lnTo>
                  <a:lnTo>
                    <a:pt x="1816" y="1391"/>
                  </a:lnTo>
                  <a:lnTo>
                    <a:pt x="1813" y="1391"/>
                  </a:lnTo>
                  <a:lnTo>
                    <a:pt x="1810" y="1389"/>
                  </a:lnTo>
                  <a:lnTo>
                    <a:pt x="1808" y="1386"/>
                  </a:lnTo>
                  <a:lnTo>
                    <a:pt x="1811" y="1392"/>
                  </a:lnTo>
                  <a:lnTo>
                    <a:pt x="1813" y="1394"/>
                  </a:lnTo>
                  <a:lnTo>
                    <a:pt x="1815" y="1395"/>
                  </a:lnTo>
                  <a:lnTo>
                    <a:pt x="1815" y="1395"/>
                  </a:lnTo>
                  <a:lnTo>
                    <a:pt x="1816" y="1401"/>
                  </a:lnTo>
                  <a:lnTo>
                    <a:pt x="1819" y="1402"/>
                  </a:lnTo>
                  <a:lnTo>
                    <a:pt x="1822" y="1403"/>
                  </a:lnTo>
                  <a:lnTo>
                    <a:pt x="1822" y="1404"/>
                  </a:lnTo>
                  <a:lnTo>
                    <a:pt x="1819" y="1403"/>
                  </a:lnTo>
                  <a:lnTo>
                    <a:pt x="1821" y="1406"/>
                  </a:lnTo>
                  <a:lnTo>
                    <a:pt x="1831" y="1413"/>
                  </a:lnTo>
                  <a:lnTo>
                    <a:pt x="1831" y="1415"/>
                  </a:lnTo>
                  <a:lnTo>
                    <a:pt x="1838" y="1422"/>
                  </a:lnTo>
                  <a:lnTo>
                    <a:pt x="1844" y="1429"/>
                  </a:lnTo>
                  <a:lnTo>
                    <a:pt x="1845" y="1433"/>
                  </a:lnTo>
                  <a:lnTo>
                    <a:pt x="1849" y="1437"/>
                  </a:lnTo>
                  <a:lnTo>
                    <a:pt x="1851" y="1437"/>
                  </a:lnTo>
                  <a:lnTo>
                    <a:pt x="1850" y="1439"/>
                  </a:lnTo>
                  <a:lnTo>
                    <a:pt x="1851" y="1442"/>
                  </a:lnTo>
                  <a:lnTo>
                    <a:pt x="1851" y="1445"/>
                  </a:lnTo>
                  <a:lnTo>
                    <a:pt x="1852" y="1447"/>
                  </a:lnTo>
                  <a:lnTo>
                    <a:pt x="1853" y="1450"/>
                  </a:lnTo>
                  <a:lnTo>
                    <a:pt x="1856" y="1451"/>
                  </a:lnTo>
                  <a:lnTo>
                    <a:pt x="1858" y="1451"/>
                  </a:lnTo>
                  <a:lnTo>
                    <a:pt x="1861" y="1449"/>
                  </a:lnTo>
                  <a:lnTo>
                    <a:pt x="1865" y="1449"/>
                  </a:lnTo>
                  <a:lnTo>
                    <a:pt x="1864" y="1450"/>
                  </a:lnTo>
                  <a:lnTo>
                    <a:pt x="1861" y="1451"/>
                  </a:lnTo>
                  <a:lnTo>
                    <a:pt x="1858" y="1451"/>
                  </a:lnTo>
                  <a:lnTo>
                    <a:pt x="1853" y="1453"/>
                  </a:lnTo>
                  <a:lnTo>
                    <a:pt x="1854" y="1455"/>
                  </a:lnTo>
                  <a:lnTo>
                    <a:pt x="1858" y="1461"/>
                  </a:lnTo>
                  <a:lnTo>
                    <a:pt x="1860" y="1463"/>
                  </a:lnTo>
                  <a:lnTo>
                    <a:pt x="1860" y="1466"/>
                  </a:lnTo>
                  <a:lnTo>
                    <a:pt x="1860" y="1467"/>
                  </a:lnTo>
                  <a:lnTo>
                    <a:pt x="1862" y="1472"/>
                  </a:lnTo>
                  <a:lnTo>
                    <a:pt x="1868" y="1483"/>
                  </a:lnTo>
                  <a:lnTo>
                    <a:pt x="1868" y="1486"/>
                  </a:lnTo>
                  <a:lnTo>
                    <a:pt x="1867" y="1489"/>
                  </a:lnTo>
                  <a:lnTo>
                    <a:pt x="1862" y="1493"/>
                  </a:lnTo>
                  <a:lnTo>
                    <a:pt x="1864" y="1495"/>
                  </a:lnTo>
                  <a:lnTo>
                    <a:pt x="1865" y="1497"/>
                  </a:lnTo>
                  <a:lnTo>
                    <a:pt x="1866" y="1500"/>
                  </a:lnTo>
                  <a:lnTo>
                    <a:pt x="1866" y="1502"/>
                  </a:lnTo>
                  <a:lnTo>
                    <a:pt x="1870" y="1512"/>
                  </a:lnTo>
                  <a:lnTo>
                    <a:pt x="1873" y="1515"/>
                  </a:lnTo>
                  <a:lnTo>
                    <a:pt x="1875" y="1521"/>
                  </a:lnTo>
                  <a:lnTo>
                    <a:pt x="1873" y="1532"/>
                  </a:lnTo>
                  <a:lnTo>
                    <a:pt x="1870" y="1538"/>
                  </a:lnTo>
                  <a:lnTo>
                    <a:pt x="1869" y="1540"/>
                  </a:lnTo>
                  <a:lnTo>
                    <a:pt x="1867" y="1541"/>
                  </a:lnTo>
                  <a:lnTo>
                    <a:pt x="1864" y="1544"/>
                  </a:lnTo>
                  <a:lnTo>
                    <a:pt x="1860" y="1549"/>
                  </a:lnTo>
                  <a:lnTo>
                    <a:pt x="1858" y="1552"/>
                  </a:lnTo>
                  <a:lnTo>
                    <a:pt x="1856" y="1554"/>
                  </a:lnTo>
                  <a:lnTo>
                    <a:pt x="1856" y="1558"/>
                  </a:lnTo>
                  <a:lnTo>
                    <a:pt x="1854" y="1561"/>
                  </a:lnTo>
                  <a:lnTo>
                    <a:pt x="1853" y="1572"/>
                  </a:lnTo>
                  <a:lnTo>
                    <a:pt x="1850" y="1579"/>
                  </a:lnTo>
                  <a:lnTo>
                    <a:pt x="1850" y="1581"/>
                  </a:lnTo>
                  <a:lnTo>
                    <a:pt x="1850" y="1583"/>
                  </a:lnTo>
                  <a:lnTo>
                    <a:pt x="1845" y="1588"/>
                  </a:lnTo>
                  <a:lnTo>
                    <a:pt x="1847" y="1599"/>
                  </a:lnTo>
                  <a:lnTo>
                    <a:pt x="1845" y="1610"/>
                  </a:lnTo>
                  <a:lnTo>
                    <a:pt x="1845" y="1615"/>
                  </a:lnTo>
                  <a:lnTo>
                    <a:pt x="1845" y="1618"/>
                  </a:lnTo>
                  <a:lnTo>
                    <a:pt x="1848" y="1621"/>
                  </a:lnTo>
                  <a:lnTo>
                    <a:pt x="1849" y="1623"/>
                  </a:lnTo>
                  <a:lnTo>
                    <a:pt x="1853" y="1629"/>
                  </a:lnTo>
                  <a:lnTo>
                    <a:pt x="1857" y="1633"/>
                  </a:lnTo>
                  <a:lnTo>
                    <a:pt x="1864" y="1646"/>
                  </a:lnTo>
                  <a:lnTo>
                    <a:pt x="1865" y="1649"/>
                  </a:lnTo>
                  <a:lnTo>
                    <a:pt x="1868" y="1657"/>
                  </a:lnTo>
                  <a:lnTo>
                    <a:pt x="1870" y="1663"/>
                  </a:lnTo>
                  <a:lnTo>
                    <a:pt x="1873" y="1666"/>
                  </a:lnTo>
                  <a:lnTo>
                    <a:pt x="1877" y="1673"/>
                  </a:lnTo>
                  <a:lnTo>
                    <a:pt x="1879" y="1676"/>
                  </a:lnTo>
                  <a:lnTo>
                    <a:pt x="1883" y="1682"/>
                  </a:lnTo>
                  <a:lnTo>
                    <a:pt x="1884" y="1684"/>
                  </a:lnTo>
                  <a:lnTo>
                    <a:pt x="1884" y="1687"/>
                  </a:lnTo>
                  <a:lnTo>
                    <a:pt x="1882" y="1690"/>
                  </a:lnTo>
                  <a:lnTo>
                    <a:pt x="1883" y="1694"/>
                  </a:lnTo>
                  <a:lnTo>
                    <a:pt x="1883" y="1697"/>
                  </a:lnTo>
                  <a:lnTo>
                    <a:pt x="1884" y="1702"/>
                  </a:lnTo>
                  <a:lnTo>
                    <a:pt x="1883" y="1704"/>
                  </a:lnTo>
                  <a:lnTo>
                    <a:pt x="1885" y="1710"/>
                  </a:lnTo>
                  <a:lnTo>
                    <a:pt x="1885" y="1712"/>
                  </a:lnTo>
                  <a:lnTo>
                    <a:pt x="1887" y="1716"/>
                  </a:lnTo>
                  <a:lnTo>
                    <a:pt x="1887" y="1718"/>
                  </a:lnTo>
                  <a:lnTo>
                    <a:pt x="1887" y="1724"/>
                  </a:lnTo>
                  <a:lnTo>
                    <a:pt x="1888" y="1726"/>
                  </a:lnTo>
                  <a:lnTo>
                    <a:pt x="1887" y="1728"/>
                  </a:lnTo>
                  <a:lnTo>
                    <a:pt x="1890" y="1734"/>
                  </a:lnTo>
                  <a:lnTo>
                    <a:pt x="1890" y="1737"/>
                  </a:lnTo>
                  <a:lnTo>
                    <a:pt x="1892" y="1738"/>
                  </a:lnTo>
                  <a:lnTo>
                    <a:pt x="1892" y="1742"/>
                  </a:lnTo>
                  <a:lnTo>
                    <a:pt x="1892" y="1744"/>
                  </a:lnTo>
                  <a:lnTo>
                    <a:pt x="1893" y="1746"/>
                  </a:lnTo>
                  <a:lnTo>
                    <a:pt x="1894" y="1752"/>
                  </a:lnTo>
                  <a:lnTo>
                    <a:pt x="1899" y="1760"/>
                  </a:lnTo>
                  <a:lnTo>
                    <a:pt x="1901" y="1763"/>
                  </a:lnTo>
                  <a:lnTo>
                    <a:pt x="1910" y="1771"/>
                  </a:lnTo>
                  <a:lnTo>
                    <a:pt x="1910" y="1771"/>
                  </a:lnTo>
                  <a:lnTo>
                    <a:pt x="1911" y="1774"/>
                  </a:lnTo>
                  <a:lnTo>
                    <a:pt x="1915" y="1779"/>
                  </a:lnTo>
                  <a:lnTo>
                    <a:pt x="1918" y="1787"/>
                  </a:lnTo>
                  <a:lnTo>
                    <a:pt x="1919" y="1789"/>
                  </a:lnTo>
                  <a:lnTo>
                    <a:pt x="1921" y="1797"/>
                  </a:lnTo>
                  <a:lnTo>
                    <a:pt x="1926" y="1805"/>
                  </a:lnTo>
                  <a:lnTo>
                    <a:pt x="1929" y="1812"/>
                  </a:lnTo>
                  <a:lnTo>
                    <a:pt x="1934" y="1818"/>
                  </a:lnTo>
                  <a:lnTo>
                    <a:pt x="1935" y="1820"/>
                  </a:lnTo>
                  <a:lnTo>
                    <a:pt x="1936" y="1827"/>
                  </a:lnTo>
                  <a:lnTo>
                    <a:pt x="1936" y="1829"/>
                  </a:lnTo>
                  <a:lnTo>
                    <a:pt x="1935" y="1832"/>
                  </a:lnTo>
                  <a:lnTo>
                    <a:pt x="1933" y="1834"/>
                  </a:lnTo>
                  <a:lnTo>
                    <a:pt x="1930" y="1834"/>
                  </a:lnTo>
                  <a:lnTo>
                    <a:pt x="1929" y="1836"/>
                  </a:lnTo>
                  <a:lnTo>
                    <a:pt x="1932" y="1837"/>
                  </a:lnTo>
                  <a:lnTo>
                    <a:pt x="1933" y="1840"/>
                  </a:lnTo>
                  <a:lnTo>
                    <a:pt x="1933" y="1841"/>
                  </a:lnTo>
                  <a:lnTo>
                    <a:pt x="1935" y="1844"/>
                  </a:lnTo>
                  <a:lnTo>
                    <a:pt x="1937" y="1848"/>
                  </a:lnTo>
                  <a:lnTo>
                    <a:pt x="1936" y="1853"/>
                  </a:lnTo>
                  <a:lnTo>
                    <a:pt x="1936" y="1856"/>
                  </a:lnTo>
                  <a:lnTo>
                    <a:pt x="1938" y="1858"/>
                  </a:lnTo>
                  <a:lnTo>
                    <a:pt x="1937" y="1855"/>
                  </a:lnTo>
                  <a:lnTo>
                    <a:pt x="1938" y="1854"/>
                  </a:lnTo>
                  <a:lnTo>
                    <a:pt x="1941" y="1854"/>
                  </a:lnTo>
                  <a:lnTo>
                    <a:pt x="1943" y="1854"/>
                  </a:lnTo>
                  <a:lnTo>
                    <a:pt x="1943" y="1856"/>
                  </a:lnTo>
                  <a:lnTo>
                    <a:pt x="1944" y="1858"/>
                  </a:lnTo>
                  <a:lnTo>
                    <a:pt x="1946" y="1858"/>
                  </a:lnTo>
                  <a:lnTo>
                    <a:pt x="1949" y="1860"/>
                  </a:lnTo>
                  <a:lnTo>
                    <a:pt x="1950" y="1862"/>
                  </a:lnTo>
                  <a:lnTo>
                    <a:pt x="1951" y="1862"/>
                  </a:lnTo>
                  <a:lnTo>
                    <a:pt x="1953" y="1864"/>
                  </a:lnTo>
                  <a:lnTo>
                    <a:pt x="1955" y="1864"/>
                  </a:lnTo>
                  <a:lnTo>
                    <a:pt x="1959" y="1865"/>
                  </a:lnTo>
                  <a:lnTo>
                    <a:pt x="1967" y="1860"/>
                  </a:lnTo>
                  <a:lnTo>
                    <a:pt x="1970" y="1860"/>
                  </a:lnTo>
                  <a:lnTo>
                    <a:pt x="1970" y="1858"/>
                  </a:lnTo>
                  <a:lnTo>
                    <a:pt x="1972" y="1858"/>
                  </a:lnTo>
                  <a:lnTo>
                    <a:pt x="1976" y="1860"/>
                  </a:lnTo>
                  <a:lnTo>
                    <a:pt x="1984" y="1858"/>
                  </a:lnTo>
                  <a:lnTo>
                    <a:pt x="1989" y="1854"/>
                  </a:lnTo>
                  <a:lnTo>
                    <a:pt x="1992" y="1854"/>
                  </a:lnTo>
                  <a:lnTo>
                    <a:pt x="1993" y="1854"/>
                  </a:lnTo>
                  <a:lnTo>
                    <a:pt x="1995" y="1853"/>
                  </a:lnTo>
                  <a:lnTo>
                    <a:pt x="1996" y="1853"/>
                  </a:lnTo>
                  <a:lnTo>
                    <a:pt x="1996" y="1853"/>
                  </a:lnTo>
                  <a:lnTo>
                    <a:pt x="1997" y="1853"/>
                  </a:lnTo>
                  <a:lnTo>
                    <a:pt x="1999" y="1854"/>
                  </a:lnTo>
                  <a:lnTo>
                    <a:pt x="2001" y="1854"/>
                  </a:lnTo>
                  <a:lnTo>
                    <a:pt x="2003" y="1854"/>
                  </a:lnTo>
                  <a:lnTo>
                    <a:pt x="2005" y="1853"/>
                  </a:lnTo>
                  <a:lnTo>
                    <a:pt x="2009" y="1853"/>
                  </a:lnTo>
                  <a:lnTo>
                    <a:pt x="2024" y="1855"/>
                  </a:lnTo>
                  <a:lnTo>
                    <a:pt x="2026" y="1853"/>
                  </a:lnTo>
                  <a:lnTo>
                    <a:pt x="2027" y="1852"/>
                  </a:lnTo>
                  <a:lnTo>
                    <a:pt x="2030" y="1852"/>
                  </a:lnTo>
                  <a:lnTo>
                    <a:pt x="2032" y="1853"/>
                  </a:lnTo>
                  <a:lnTo>
                    <a:pt x="2036" y="1854"/>
                  </a:lnTo>
                  <a:lnTo>
                    <a:pt x="2037" y="1853"/>
                  </a:lnTo>
                  <a:lnTo>
                    <a:pt x="2036" y="1851"/>
                  </a:lnTo>
                  <a:lnTo>
                    <a:pt x="2038" y="1848"/>
                  </a:lnTo>
                  <a:lnTo>
                    <a:pt x="2041" y="1848"/>
                  </a:lnTo>
                  <a:lnTo>
                    <a:pt x="2047" y="1849"/>
                  </a:lnTo>
                  <a:lnTo>
                    <a:pt x="2055" y="1846"/>
                  </a:lnTo>
                  <a:lnTo>
                    <a:pt x="2066" y="1838"/>
                  </a:lnTo>
                  <a:lnTo>
                    <a:pt x="2069" y="1836"/>
                  </a:lnTo>
                  <a:lnTo>
                    <a:pt x="2070" y="1835"/>
                  </a:lnTo>
                  <a:lnTo>
                    <a:pt x="2073" y="1832"/>
                  </a:lnTo>
                  <a:lnTo>
                    <a:pt x="2079" y="1828"/>
                  </a:lnTo>
                  <a:lnTo>
                    <a:pt x="2089" y="1817"/>
                  </a:lnTo>
                  <a:lnTo>
                    <a:pt x="2096" y="1811"/>
                  </a:lnTo>
                  <a:lnTo>
                    <a:pt x="2100" y="1805"/>
                  </a:lnTo>
                  <a:lnTo>
                    <a:pt x="2104" y="1800"/>
                  </a:lnTo>
                  <a:lnTo>
                    <a:pt x="2106" y="1795"/>
                  </a:lnTo>
                  <a:lnTo>
                    <a:pt x="2110" y="1791"/>
                  </a:lnTo>
                  <a:lnTo>
                    <a:pt x="2110" y="1788"/>
                  </a:lnTo>
                  <a:lnTo>
                    <a:pt x="2114" y="1783"/>
                  </a:lnTo>
                  <a:lnTo>
                    <a:pt x="2120" y="1776"/>
                  </a:lnTo>
                  <a:lnTo>
                    <a:pt x="2121" y="1776"/>
                  </a:lnTo>
                  <a:lnTo>
                    <a:pt x="2123" y="1775"/>
                  </a:lnTo>
                  <a:lnTo>
                    <a:pt x="2123" y="1774"/>
                  </a:lnTo>
                  <a:lnTo>
                    <a:pt x="2125" y="1772"/>
                  </a:lnTo>
                  <a:lnTo>
                    <a:pt x="2127" y="1770"/>
                  </a:lnTo>
                  <a:lnTo>
                    <a:pt x="2129" y="1768"/>
                  </a:lnTo>
                  <a:lnTo>
                    <a:pt x="2130" y="1767"/>
                  </a:lnTo>
                  <a:lnTo>
                    <a:pt x="2131" y="1763"/>
                  </a:lnTo>
                  <a:lnTo>
                    <a:pt x="2132" y="1758"/>
                  </a:lnTo>
                  <a:lnTo>
                    <a:pt x="2134" y="1748"/>
                  </a:lnTo>
                  <a:lnTo>
                    <a:pt x="2137" y="1734"/>
                  </a:lnTo>
                  <a:lnTo>
                    <a:pt x="2134" y="1737"/>
                  </a:lnTo>
                  <a:lnTo>
                    <a:pt x="2132" y="1735"/>
                  </a:lnTo>
                  <a:lnTo>
                    <a:pt x="2131" y="1733"/>
                  </a:lnTo>
                  <a:lnTo>
                    <a:pt x="2130" y="1733"/>
                  </a:lnTo>
                  <a:lnTo>
                    <a:pt x="2132" y="1732"/>
                  </a:lnTo>
                  <a:lnTo>
                    <a:pt x="2134" y="1727"/>
                  </a:lnTo>
                  <a:lnTo>
                    <a:pt x="2137" y="1725"/>
                  </a:lnTo>
                  <a:lnTo>
                    <a:pt x="2139" y="1724"/>
                  </a:lnTo>
                  <a:lnTo>
                    <a:pt x="2140" y="1723"/>
                  </a:lnTo>
                  <a:lnTo>
                    <a:pt x="2159" y="1715"/>
                  </a:lnTo>
                  <a:lnTo>
                    <a:pt x="2165" y="1712"/>
                  </a:lnTo>
                  <a:lnTo>
                    <a:pt x="2169" y="1707"/>
                  </a:lnTo>
                  <a:lnTo>
                    <a:pt x="2172" y="1702"/>
                  </a:lnTo>
                  <a:lnTo>
                    <a:pt x="2168" y="1703"/>
                  </a:lnTo>
                  <a:lnTo>
                    <a:pt x="2171" y="1692"/>
                  </a:lnTo>
                  <a:lnTo>
                    <a:pt x="2172" y="1690"/>
                  </a:lnTo>
                  <a:lnTo>
                    <a:pt x="2173" y="1689"/>
                  </a:lnTo>
                  <a:lnTo>
                    <a:pt x="2171" y="1685"/>
                  </a:lnTo>
                  <a:lnTo>
                    <a:pt x="2172" y="1678"/>
                  </a:lnTo>
                  <a:lnTo>
                    <a:pt x="2171" y="1676"/>
                  </a:lnTo>
                  <a:lnTo>
                    <a:pt x="2169" y="1678"/>
                  </a:lnTo>
                  <a:lnTo>
                    <a:pt x="2169" y="1682"/>
                  </a:lnTo>
                  <a:lnTo>
                    <a:pt x="2168" y="1678"/>
                  </a:lnTo>
                  <a:lnTo>
                    <a:pt x="2168" y="1676"/>
                  </a:lnTo>
                  <a:lnTo>
                    <a:pt x="2167" y="1669"/>
                  </a:lnTo>
                  <a:lnTo>
                    <a:pt x="2166" y="1666"/>
                  </a:lnTo>
                  <a:lnTo>
                    <a:pt x="2165" y="1661"/>
                  </a:lnTo>
                  <a:lnTo>
                    <a:pt x="2166" y="1660"/>
                  </a:lnTo>
                  <a:lnTo>
                    <a:pt x="2164" y="1657"/>
                  </a:lnTo>
                  <a:lnTo>
                    <a:pt x="2159" y="1651"/>
                  </a:lnTo>
                  <a:lnTo>
                    <a:pt x="2160" y="1646"/>
                  </a:lnTo>
                  <a:lnTo>
                    <a:pt x="2160" y="1644"/>
                  </a:lnTo>
                  <a:lnTo>
                    <a:pt x="2159" y="1642"/>
                  </a:lnTo>
                  <a:lnTo>
                    <a:pt x="2158" y="1641"/>
                  </a:lnTo>
                  <a:lnTo>
                    <a:pt x="2160" y="1642"/>
                  </a:lnTo>
                  <a:lnTo>
                    <a:pt x="2161" y="1644"/>
                  </a:lnTo>
                  <a:lnTo>
                    <a:pt x="2164" y="1643"/>
                  </a:lnTo>
                  <a:lnTo>
                    <a:pt x="2169" y="1639"/>
                  </a:lnTo>
                  <a:lnTo>
                    <a:pt x="2174" y="1633"/>
                  </a:lnTo>
                  <a:lnTo>
                    <a:pt x="2176" y="1632"/>
                  </a:lnTo>
                  <a:lnTo>
                    <a:pt x="2180" y="1629"/>
                  </a:lnTo>
                  <a:lnTo>
                    <a:pt x="2181" y="1630"/>
                  </a:lnTo>
                  <a:lnTo>
                    <a:pt x="2181" y="1627"/>
                  </a:lnTo>
                  <a:lnTo>
                    <a:pt x="2184" y="1627"/>
                  </a:lnTo>
                  <a:lnTo>
                    <a:pt x="2184" y="1625"/>
                  </a:lnTo>
                  <a:lnTo>
                    <a:pt x="2189" y="1621"/>
                  </a:lnTo>
                  <a:lnTo>
                    <a:pt x="2190" y="1617"/>
                  </a:lnTo>
                  <a:lnTo>
                    <a:pt x="2189" y="1616"/>
                  </a:lnTo>
                  <a:lnTo>
                    <a:pt x="2192" y="1617"/>
                  </a:lnTo>
                  <a:lnTo>
                    <a:pt x="2194" y="1614"/>
                  </a:lnTo>
                  <a:lnTo>
                    <a:pt x="2198" y="1612"/>
                  </a:lnTo>
                  <a:lnTo>
                    <a:pt x="2199" y="1610"/>
                  </a:lnTo>
                  <a:lnTo>
                    <a:pt x="2210" y="1606"/>
                  </a:lnTo>
                  <a:lnTo>
                    <a:pt x="2212" y="1606"/>
                  </a:lnTo>
                  <a:lnTo>
                    <a:pt x="2215" y="1604"/>
                  </a:lnTo>
                  <a:lnTo>
                    <a:pt x="2217" y="1604"/>
                  </a:lnTo>
                  <a:lnTo>
                    <a:pt x="2219" y="1604"/>
                  </a:lnTo>
                  <a:lnTo>
                    <a:pt x="2224" y="1600"/>
                  </a:lnTo>
                  <a:lnTo>
                    <a:pt x="2228" y="1597"/>
                  </a:lnTo>
                  <a:lnTo>
                    <a:pt x="2229" y="1593"/>
                  </a:lnTo>
                  <a:lnTo>
                    <a:pt x="2233" y="1592"/>
                  </a:lnTo>
                  <a:lnTo>
                    <a:pt x="2238" y="1584"/>
                  </a:lnTo>
                  <a:lnTo>
                    <a:pt x="2241" y="1581"/>
                  </a:lnTo>
                  <a:lnTo>
                    <a:pt x="2242" y="1579"/>
                  </a:lnTo>
                  <a:lnTo>
                    <a:pt x="2241" y="1577"/>
                  </a:lnTo>
                  <a:lnTo>
                    <a:pt x="2244" y="1571"/>
                  </a:lnTo>
                  <a:lnTo>
                    <a:pt x="2244" y="1569"/>
                  </a:lnTo>
                  <a:lnTo>
                    <a:pt x="2242" y="1569"/>
                  </a:lnTo>
                  <a:lnTo>
                    <a:pt x="2241" y="1566"/>
                  </a:lnTo>
                  <a:lnTo>
                    <a:pt x="2240" y="1564"/>
                  </a:lnTo>
                  <a:lnTo>
                    <a:pt x="2241" y="1561"/>
                  </a:lnTo>
                  <a:lnTo>
                    <a:pt x="2241" y="1558"/>
                  </a:lnTo>
                  <a:lnTo>
                    <a:pt x="2241" y="1555"/>
                  </a:lnTo>
                  <a:lnTo>
                    <a:pt x="2240" y="1555"/>
                  </a:lnTo>
                  <a:lnTo>
                    <a:pt x="2241" y="1549"/>
                  </a:lnTo>
                  <a:lnTo>
                    <a:pt x="2238" y="1547"/>
                  </a:lnTo>
                  <a:lnTo>
                    <a:pt x="2241" y="1545"/>
                  </a:lnTo>
                  <a:lnTo>
                    <a:pt x="2240" y="1541"/>
                  </a:lnTo>
                  <a:lnTo>
                    <a:pt x="2241" y="1539"/>
                  </a:lnTo>
                  <a:lnTo>
                    <a:pt x="2240" y="1537"/>
                  </a:lnTo>
                  <a:lnTo>
                    <a:pt x="2240" y="1531"/>
                  </a:lnTo>
                  <a:lnTo>
                    <a:pt x="2238" y="1529"/>
                  </a:lnTo>
                  <a:lnTo>
                    <a:pt x="2238" y="1527"/>
                  </a:lnTo>
                  <a:lnTo>
                    <a:pt x="2237" y="1524"/>
                  </a:lnTo>
                  <a:lnTo>
                    <a:pt x="2240" y="1522"/>
                  </a:lnTo>
                  <a:lnTo>
                    <a:pt x="2240" y="1514"/>
                  </a:lnTo>
                  <a:lnTo>
                    <a:pt x="2238" y="1513"/>
                  </a:lnTo>
                  <a:lnTo>
                    <a:pt x="2236" y="1510"/>
                  </a:lnTo>
                  <a:lnTo>
                    <a:pt x="2233" y="1507"/>
                  </a:lnTo>
                  <a:lnTo>
                    <a:pt x="2232" y="1509"/>
                  </a:lnTo>
                  <a:lnTo>
                    <a:pt x="2231" y="1506"/>
                  </a:lnTo>
                  <a:lnTo>
                    <a:pt x="2228" y="1506"/>
                  </a:lnTo>
                  <a:lnTo>
                    <a:pt x="2229" y="1503"/>
                  </a:lnTo>
                  <a:lnTo>
                    <a:pt x="2228" y="1498"/>
                  </a:lnTo>
                  <a:lnTo>
                    <a:pt x="2227" y="1496"/>
                  </a:lnTo>
                  <a:lnTo>
                    <a:pt x="2224" y="1490"/>
                  </a:lnTo>
                  <a:lnTo>
                    <a:pt x="2223" y="1485"/>
                  </a:lnTo>
                  <a:lnTo>
                    <a:pt x="2223" y="1483"/>
                  </a:lnTo>
                  <a:lnTo>
                    <a:pt x="2225" y="1479"/>
                  </a:lnTo>
                  <a:lnTo>
                    <a:pt x="2225" y="1478"/>
                  </a:lnTo>
                  <a:lnTo>
                    <a:pt x="2224" y="1476"/>
                  </a:lnTo>
                  <a:lnTo>
                    <a:pt x="2223" y="1476"/>
                  </a:lnTo>
                  <a:lnTo>
                    <a:pt x="2223" y="1471"/>
                  </a:lnTo>
                  <a:lnTo>
                    <a:pt x="2224" y="1469"/>
                  </a:lnTo>
                  <a:lnTo>
                    <a:pt x="2226" y="1466"/>
                  </a:lnTo>
                  <a:lnTo>
                    <a:pt x="2226" y="1464"/>
                  </a:lnTo>
                  <a:lnTo>
                    <a:pt x="2224" y="1462"/>
                  </a:lnTo>
                  <a:lnTo>
                    <a:pt x="2223" y="1462"/>
                  </a:lnTo>
                  <a:lnTo>
                    <a:pt x="2221" y="1460"/>
                  </a:lnTo>
                  <a:lnTo>
                    <a:pt x="2217" y="1455"/>
                  </a:lnTo>
                  <a:lnTo>
                    <a:pt x="2217" y="1453"/>
                  </a:lnTo>
                  <a:lnTo>
                    <a:pt x="2216" y="1451"/>
                  </a:lnTo>
                  <a:lnTo>
                    <a:pt x="2217" y="1446"/>
                  </a:lnTo>
                  <a:lnTo>
                    <a:pt x="2219" y="1441"/>
                  </a:lnTo>
                  <a:lnTo>
                    <a:pt x="2220" y="1437"/>
                  </a:lnTo>
                  <a:lnTo>
                    <a:pt x="2221" y="1435"/>
                  </a:lnTo>
                  <a:lnTo>
                    <a:pt x="2221" y="1433"/>
                  </a:lnTo>
                  <a:lnTo>
                    <a:pt x="2225" y="1432"/>
                  </a:lnTo>
                  <a:lnTo>
                    <a:pt x="2226" y="1428"/>
                  </a:lnTo>
                  <a:lnTo>
                    <a:pt x="2227" y="1426"/>
                  </a:lnTo>
                  <a:lnTo>
                    <a:pt x="2227" y="1424"/>
                  </a:lnTo>
                  <a:lnTo>
                    <a:pt x="2228" y="1424"/>
                  </a:lnTo>
                  <a:lnTo>
                    <a:pt x="2228" y="1422"/>
                  </a:lnTo>
                  <a:lnTo>
                    <a:pt x="2231" y="1420"/>
                  </a:lnTo>
                  <a:lnTo>
                    <a:pt x="2231" y="1418"/>
                  </a:lnTo>
                  <a:lnTo>
                    <a:pt x="2232" y="1416"/>
                  </a:lnTo>
                  <a:lnTo>
                    <a:pt x="2233" y="1415"/>
                  </a:lnTo>
                  <a:lnTo>
                    <a:pt x="2234" y="1412"/>
                  </a:lnTo>
                  <a:lnTo>
                    <a:pt x="2234" y="1411"/>
                  </a:lnTo>
                  <a:lnTo>
                    <a:pt x="2235" y="1409"/>
                  </a:lnTo>
                  <a:lnTo>
                    <a:pt x="2235" y="1407"/>
                  </a:lnTo>
                  <a:lnTo>
                    <a:pt x="2237" y="1403"/>
                  </a:lnTo>
                  <a:lnTo>
                    <a:pt x="2240" y="1403"/>
                  </a:lnTo>
                  <a:lnTo>
                    <a:pt x="2242" y="1402"/>
                  </a:lnTo>
                  <a:lnTo>
                    <a:pt x="2244" y="1400"/>
                  </a:lnTo>
                  <a:lnTo>
                    <a:pt x="2244" y="1399"/>
                  </a:lnTo>
                  <a:lnTo>
                    <a:pt x="2246" y="1394"/>
                  </a:lnTo>
                  <a:lnTo>
                    <a:pt x="2249" y="1395"/>
                  </a:lnTo>
                  <a:lnTo>
                    <a:pt x="2252" y="1394"/>
                  </a:lnTo>
                  <a:lnTo>
                    <a:pt x="2254" y="1392"/>
                  </a:lnTo>
                  <a:lnTo>
                    <a:pt x="2255" y="1389"/>
                  </a:lnTo>
                  <a:lnTo>
                    <a:pt x="2258" y="1386"/>
                  </a:lnTo>
                  <a:lnTo>
                    <a:pt x="2258" y="1385"/>
                  </a:lnTo>
                  <a:lnTo>
                    <a:pt x="2259" y="1382"/>
                  </a:lnTo>
                  <a:lnTo>
                    <a:pt x="2259" y="1381"/>
                  </a:lnTo>
                  <a:lnTo>
                    <a:pt x="2261" y="1381"/>
                  </a:lnTo>
                  <a:lnTo>
                    <a:pt x="2263" y="1378"/>
                  </a:lnTo>
                  <a:lnTo>
                    <a:pt x="2268" y="1373"/>
                  </a:lnTo>
                  <a:lnTo>
                    <a:pt x="2269" y="1372"/>
                  </a:lnTo>
                  <a:lnTo>
                    <a:pt x="2272" y="1368"/>
                  </a:lnTo>
                  <a:lnTo>
                    <a:pt x="2280" y="1360"/>
                  </a:lnTo>
                  <a:lnTo>
                    <a:pt x="2287" y="1353"/>
                  </a:lnTo>
                  <a:lnTo>
                    <a:pt x="2293" y="1349"/>
                  </a:lnTo>
                  <a:lnTo>
                    <a:pt x="2296" y="1347"/>
                  </a:lnTo>
                  <a:lnTo>
                    <a:pt x="2299" y="1345"/>
                  </a:lnTo>
                  <a:lnTo>
                    <a:pt x="2301" y="1343"/>
                  </a:lnTo>
                  <a:lnTo>
                    <a:pt x="2303" y="1342"/>
                  </a:lnTo>
                  <a:lnTo>
                    <a:pt x="2305" y="1341"/>
                  </a:lnTo>
                  <a:lnTo>
                    <a:pt x="2314" y="1335"/>
                  </a:lnTo>
                  <a:lnTo>
                    <a:pt x="2317" y="1333"/>
                  </a:lnTo>
                  <a:lnTo>
                    <a:pt x="2319" y="1332"/>
                  </a:lnTo>
                  <a:lnTo>
                    <a:pt x="2321" y="1329"/>
                  </a:lnTo>
                  <a:lnTo>
                    <a:pt x="2322" y="1329"/>
                  </a:lnTo>
                  <a:lnTo>
                    <a:pt x="2325" y="1325"/>
                  </a:lnTo>
                  <a:lnTo>
                    <a:pt x="2328" y="1322"/>
                  </a:lnTo>
                  <a:lnTo>
                    <a:pt x="2330" y="1321"/>
                  </a:lnTo>
                  <a:lnTo>
                    <a:pt x="2330" y="1319"/>
                  </a:lnTo>
                  <a:lnTo>
                    <a:pt x="2334" y="1316"/>
                  </a:lnTo>
                  <a:lnTo>
                    <a:pt x="2335" y="1315"/>
                  </a:lnTo>
                  <a:lnTo>
                    <a:pt x="2337" y="1313"/>
                  </a:lnTo>
                  <a:lnTo>
                    <a:pt x="2342" y="1308"/>
                  </a:lnTo>
                  <a:lnTo>
                    <a:pt x="2343" y="1305"/>
                  </a:lnTo>
                  <a:lnTo>
                    <a:pt x="2344" y="1302"/>
                  </a:lnTo>
                  <a:lnTo>
                    <a:pt x="2346" y="1300"/>
                  </a:lnTo>
                  <a:lnTo>
                    <a:pt x="2348" y="1297"/>
                  </a:lnTo>
                  <a:lnTo>
                    <a:pt x="2349" y="1295"/>
                  </a:lnTo>
                  <a:lnTo>
                    <a:pt x="2352" y="1292"/>
                  </a:lnTo>
                  <a:lnTo>
                    <a:pt x="2354" y="1289"/>
                  </a:lnTo>
                  <a:lnTo>
                    <a:pt x="2356" y="1284"/>
                  </a:lnTo>
                  <a:lnTo>
                    <a:pt x="2357" y="1279"/>
                  </a:lnTo>
                  <a:lnTo>
                    <a:pt x="2359" y="1275"/>
                  </a:lnTo>
                  <a:lnTo>
                    <a:pt x="2360" y="1273"/>
                  </a:lnTo>
                  <a:lnTo>
                    <a:pt x="2364" y="1267"/>
                  </a:lnTo>
                  <a:lnTo>
                    <a:pt x="2366" y="1264"/>
                  </a:lnTo>
                  <a:lnTo>
                    <a:pt x="2368" y="1262"/>
                  </a:lnTo>
                  <a:lnTo>
                    <a:pt x="2366" y="1261"/>
                  </a:lnTo>
                  <a:lnTo>
                    <a:pt x="2368" y="1259"/>
                  </a:lnTo>
                  <a:lnTo>
                    <a:pt x="2370" y="1257"/>
                  </a:lnTo>
                  <a:lnTo>
                    <a:pt x="2371" y="1254"/>
                  </a:lnTo>
                  <a:lnTo>
                    <a:pt x="2372" y="1254"/>
                  </a:lnTo>
                  <a:lnTo>
                    <a:pt x="2373" y="1252"/>
                  </a:lnTo>
                  <a:lnTo>
                    <a:pt x="2374" y="1249"/>
                  </a:lnTo>
                  <a:lnTo>
                    <a:pt x="2376" y="1246"/>
                  </a:lnTo>
                  <a:lnTo>
                    <a:pt x="2378" y="1244"/>
                  </a:lnTo>
                  <a:lnTo>
                    <a:pt x="2379" y="1241"/>
                  </a:lnTo>
                  <a:lnTo>
                    <a:pt x="2381" y="1239"/>
                  </a:lnTo>
                  <a:lnTo>
                    <a:pt x="2380" y="1237"/>
                  </a:lnTo>
                  <a:lnTo>
                    <a:pt x="2381" y="1231"/>
                  </a:lnTo>
                  <a:lnTo>
                    <a:pt x="2381" y="1229"/>
                  </a:lnTo>
                  <a:lnTo>
                    <a:pt x="2382" y="1227"/>
                  </a:lnTo>
                  <a:lnTo>
                    <a:pt x="2386" y="1225"/>
                  </a:lnTo>
                  <a:lnTo>
                    <a:pt x="2388" y="1227"/>
                  </a:lnTo>
                  <a:lnTo>
                    <a:pt x="2386" y="1225"/>
                  </a:lnTo>
                  <a:lnTo>
                    <a:pt x="2383" y="1225"/>
                  </a:lnTo>
                  <a:lnTo>
                    <a:pt x="2385" y="1223"/>
                  </a:lnTo>
                  <a:lnTo>
                    <a:pt x="2385" y="1220"/>
                  </a:lnTo>
                  <a:lnTo>
                    <a:pt x="2385" y="1218"/>
                  </a:lnTo>
                  <a:lnTo>
                    <a:pt x="2385" y="1214"/>
                  </a:lnTo>
                  <a:lnTo>
                    <a:pt x="2385" y="1212"/>
                  </a:lnTo>
                  <a:lnTo>
                    <a:pt x="2387" y="1206"/>
                  </a:lnTo>
                  <a:lnTo>
                    <a:pt x="2383" y="1205"/>
                  </a:lnTo>
                  <a:lnTo>
                    <a:pt x="2381" y="1204"/>
                  </a:lnTo>
                  <a:lnTo>
                    <a:pt x="2378" y="1204"/>
                  </a:lnTo>
                  <a:lnTo>
                    <a:pt x="2376" y="1207"/>
                  </a:lnTo>
                  <a:lnTo>
                    <a:pt x="2371" y="1211"/>
                  </a:lnTo>
                  <a:lnTo>
                    <a:pt x="2369" y="1211"/>
                  </a:lnTo>
                  <a:lnTo>
                    <a:pt x="2368" y="1211"/>
                  </a:lnTo>
                  <a:lnTo>
                    <a:pt x="2365" y="1211"/>
                  </a:lnTo>
                  <a:lnTo>
                    <a:pt x="2355" y="1214"/>
                  </a:lnTo>
                  <a:lnTo>
                    <a:pt x="2354" y="1214"/>
                  </a:lnTo>
                  <a:lnTo>
                    <a:pt x="2352" y="1213"/>
                  </a:lnTo>
                  <a:lnTo>
                    <a:pt x="2348" y="1213"/>
                  </a:lnTo>
                  <a:lnTo>
                    <a:pt x="2344" y="1215"/>
                  </a:lnTo>
                  <a:lnTo>
                    <a:pt x="2340" y="1215"/>
                  </a:lnTo>
                  <a:lnTo>
                    <a:pt x="2338" y="1216"/>
                  </a:lnTo>
                  <a:lnTo>
                    <a:pt x="2335" y="1215"/>
                  </a:lnTo>
                  <a:lnTo>
                    <a:pt x="2333" y="1215"/>
                  </a:lnTo>
                  <a:lnTo>
                    <a:pt x="2328" y="1218"/>
                  </a:lnTo>
                  <a:lnTo>
                    <a:pt x="2327" y="1219"/>
                  </a:lnTo>
                  <a:lnTo>
                    <a:pt x="2325" y="1221"/>
                  </a:lnTo>
                  <a:lnTo>
                    <a:pt x="2321" y="1221"/>
                  </a:lnTo>
                  <a:lnTo>
                    <a:pt x="2319" y="1221"/>
                  </a:lnTo>
                  <a:lnTo>
                    <a:pt x="2313" y="1220"/>
                  </a:lnTo>
                  <a:lnTo>
                    <a:pt x="2310" y="1220"/>
                  </a:lnTo>
                  <a:lnTo>
                    <a:pt x="2308" y="1222"/>
                  </a:lnTo>
                  <a:lnTo>
                    <a:pt x="2304" y="1223"/>
                  </a:lnTo>
                  <a:lnTo>
                    <a:pt x="2302" y="1224"/>
                  </a:lnTo>
                  <a:lnTo>
                    <a:pt x="2301" y="1225"/>
                  </a:lnTo>
                  <a:lnTo>
                    <a:pt x="2299" y="1225"/>
                  </a:lnTo>
                  <a:lnTo>
                    <a:pt x="2295" y="1225"/>
                  </a:lnTo>
                  <a:lnTo>
                    <a:pt x="2292" y="1225"/>
                  </a:lnTo>
                  <a:lnTo>
                    <a:pt x="2291" y="1224"/>
                  </a:lnTo>
                  <a:lnTo>
                    <a:pt x="2289" y="1224"/>
                  </a:lnTo>
                  <a:lnTo>
                    <a:pt x="2288" y="1223"/>
                  </a:lnTo>
                  <a:lnTo>
                    <a:pt x="2283" y="1219"/>
                  </a:lnTo>
                  <a:lnTo>
                    <a:pt x="2279" y="1213"/>
                  </a:lnTo>
                  <a:lnTo>
                    <a:pt x="2275" y="1210"/>
                  </a:lnTo>
                  <a:lnTo>
                    <a:pt x="2271" y="1210"/>
                  </a:lnTo>
                  <a:lnTo>
                    <a:pt x="2270" y="1210"/>
                  </a:lnTo>
                  <a:lnTo>
                    <a:pt x="2268" y="1210"/>
                  </a:lnTo>
                  <a:lnTo>
                    <a:pt x="2270" y="1207"/>
                  </a:lnTo>
                  <a:lnTo>
                    <a:pt x="2274" y="1206"/>
                  </a:lnTo>
                  <a:lnTo>
                    <a:pt x="2275" y="1206"/>
                  </a:lnTo>
                  <a:lnTo>
                    <a:pt x="2276" y="1205"/>
                  </a:lnTo>
                  <a:lnTo>
                    <a:pt x="2279" y="1204"/>
                  </a:lnTo>
                  <a:lnTo>
                    <a:pt x="2279" y="1202"/>
                  </a:lnTo>
                  <a:lnTo>
                    <a:pt x="2278" y="1199"/>
                  </a:lnTo>
                  <a:lnTo>
                    <a:pt x="2277" y="1196"/>
                  </a:lnTo>
                  <a:lnTo>
                    <a:pt x="2275" y="1194"/>
                  </a:lnTo>
                  <a:lnTo>
                    <a:pt x="2271" y="1191"/>
                  </a:lnTo>
                  <a:lnTo>
                    <a:pt x="2270" y="1189"/>
                  </a:lnTo>
                  <a:lnTo>
                    <a:pt x="2265" y="1184"/>
                  </a:lnTo>
                  <a:lnTo>
                    <a:pt x="2263" y="1181"/>
                  </a:lnTo>
                  <a:lnTo>
                    <a:pt x="2262" y="1180"/>
                  </a:lnTo>
                  <a:lnTo>
                    <a:pt x="2260" y="1179"/>
                  </a:lnTo>
                  <a:lnTo>
                    <a:pt x="2258" y="1178"/>
                  </a:lnTo>
                  <a:lnTo>
                    <a:pt x="2254" y="1176"/>
                  </a:lnTo>
                  <a:lnTo>
                    <a:pt x="2251" y="1170"/>
                  </a:lnTo>
                  <a:lnTo>
                    <a:pt x="2250" y="1169"/>
                  </a:lnTo>
                  <a:lnTo>
                    <a:pt x="2250" y="1168"/>
                  </a:lnTo>
                  <a:lnTo>
                    <a:pt x="2246" y="1167"/>
                  </a:lnTo>
                  <a:lnTo>
                    <a:pt x="2244" y="1165"/>
                  </a:lnTo>
                  <a:lnTo>
                    <a:pt x="2242" y="1163"/>
                  </a:lnTo>
                  <a:lnTo>
                    <a:pt x="2240" y="1162"/>
                  </a:lnTo>
                  <a:lnTo>
                    <a:pt x="2238" y="1162"/>
                  </a:lnTo>
                  <a:lnTo>
                    <a:pt x="2236" y="1162"/>
                  </a:lnTo>
                  <a:lnTo>
                    <a:pt x="2234" y="1162"/>
                  </a:lnTo>
                  <a:lnTo>
                    <a:pt x="2233" y="1159"/>
                  </a:lnTo>
                  <a:lnTo>
                    <a:pt x="2233" y="1156"/>
                  </a:lnTo>
                  <a:lnTo>
                    <a:pt x="2229" y="1155"/>
                  </a:lnTo>
                  <a:lnTo>
                    <a:pt x="2229" y="1159"/>
                  </a:lnTo>
                  <a:lnTo>
                    <a:pt x="2229" y="1161"/>
                  </a:lnTo>
                  <a:lnTo>
                    <a:pt x="2228" y="1159"/>
                  </a:lnTo>
                  <a:lnTo>
                    <a:pt x="2227" y="1155"/>
                  </a:lnTo>
                  <a:lnTo>
                    <a:pt x="2225" y="1154"/>
                  </a:lnTo>
                  <a:lnTo>
                    <a:pt x="2225" y="1153"/>
                  </a:lnTo>
                  <a:lnTo>
                    <a:pt x="2225" y="1152"/>
                  </a:lnTo>
                  <a:lnTo>
                    <a:pt x="2224" y="1150"/>
                  </a:lnTo>
                  <a:lnTo>
                    <a:pt x="2223" y="1147"/>
                  </a:lnTo>
                  <a:lnTo>
                    <a:pt x="2221" y="1143"/>
                  </a:lnTo>
                  <a:lnTo>
                    <a:pt x="2221" y="1142"/>
                  </a:lnTo>
                  <a:lnTo>
                    <a:pt x="2220" y="1139"/>
                  </a:lnTo>
                  <a:lnTo>
                    <a:pt x="2220" y="1137"/>
                  </a:lnTo>
                  <a:lnTo>
                    <a:pt x="2218" y="1129"/>
                  </a:lnTo>
                  <a:lnTo>
                    <a:pt x="2217" y="1127"/>
                  </a:lnTo>
                  <a:lnTo>
                    <a:pt x="2216" y="1125"/>
                  </a:lnTo>
                  <a:lnTo>
                    <a:pt x="2215" y="1122"/>
                  </a:lnTo>
                  <a:lnTo>
                    <a:pt x="2214" y="1119"/>
                  </a:lnTo>
                  <a:lnTo>
                    <a:pt x="2212" y="1119"/>
                  </a:lnTo>
                  <a:lnTo>
                    <a:pt x="2209" y="1117"/>
                  </a:lnTo>
                  <a:lnTo>
                    <a:pt x="2207" y="1114"/>
                  </a:lnTo>
                  <a:lnTo>
                    <a:pt x="2203" y="1111"/>
                  </a:lnTo>
                  <a:lnTo>
                    <a:pt x="2201" y="1110"/>
                  </a:lnTo>
                  <a:lnTo>
                    <a:pt x="2199" y="1109"/>
                  </a:lnTo>
                  <a:lnTo>
                    <a:pt x="2198" y="1107"/>
                  </a:lnTo>
                  <a:lnTo>
                    <a:pt x="2195" y="1099"/>
                  </a:lnTo>
                  <a:lnTo>
                    <a:pt x="2195" y="1095"/>
                  </a:lnTo>
                  <a:lnTo>
                    <a:pt x="2193" y="1088"/>
                  </a:lnTo>
                  <a:lnTo>
                    <a:pt x="2193" y="1086"/>
                  </a:lnTo>
                  <a:lnTo>
                    <a:pt x="2194" y="1083"/>
                  </a:lnTo>
                  <a:lnTo>
                    <a:pt x="2193" y="1075"/>
                  </a:lnTo>
                  <a:lnTo>
                    <a:pt x="2195" y="1076"/>
                  </a:lnTo>
                  <a:lnTo>
                    <a:pt x="2193" y="1074"/>
                  </a:lnTo>
                  <a:lnTo>
                    <a:pt x="2191" y="1071"/>
                  </a:lnTo>
                  <a:lnTo>
                    <a:pt x="2190" y="1068"/>
                  </a:lnTo>
                  <a:lnTo>
                    <a:pt x="2190" y="1062"/>
                  </a:lnTo>
                  <a:lnTo>
                    <a:pt x="2189" y="1060"/>
                  </a:lnTo>
                  <a:lnTo>
                    <a:pt x="2183" y="1057"/>
                  </a:lnTo>
                  <a:lnTo>
                    <a:pt x="2181" y="1053"/>
                  </a:lnTo>
                  <a:lnTo>
                    <a:pt x="2178" y="1053"/>
                  </a:lnTo>
                  <a:lnTo>
                    <a:pt x="2175" y="1052"/>
                  </a:lnTo>
                  <a:lnTo>
                    <a:pt x="2174" y="1049"/>
                  </a:lnTo>
                  <a:lnTo>
                    <a:pt x="2173" y="1047"/>
                  </a:lnTo>
                  <a:lnTo>
                    <a:pt x="2172" y="1045"/>
                  </a:lnTo>
                  <a:lnTo>
                    <a:pt x="2172" y="1042"/>
                  </a:lnTo>
                  <a:lnTo>
                    <a:pt x="2172" y="1041"/>
                  </a:lnTo>
                  <a:lnTo>
                    <a:pt x="2171" y="1036"/>
                  </a:lnTo>
                  <a:lnTo>
                    <a:pt x="2172" y="1034"/>
                  </a:lnTo>
                  <a:lnTo>
                    <a:pt x="2174" y="1034"/>
                  </a:lnTo>
                  <a:lnTo>
                    <a:pt x="2172" y="1033"/>
                  </a:lnTo>
                  <a:lnTo>
                    <a:pt x="2169" y="1030"/>
                  </a:lnTo>
                  <a:lnTo>
                    <a:pt x="2167" y="1027"/>
                  </a:lnTo>
                  <a:lnTo>
                    <a:pt x="2166" y="1025"/>
                  </a:lnTo>
                  <a:lnTo>
                    <a:pt x="2164" y="1022"/>
                  </a:lnTo>
                  <a:lnTo>
                    <a:pt x="2163" y="1019"/>
                  </a:lnTo>
                  <a:lnTo>
                    <a:pt x="2161" y="1016"/>
                  </a:lnTo>
                  <a:lnTo>
                    <a:pt x="2160" y="1015"/>
                  </a:lnTo>
                  <a:lnTo>
                    <a:pt x="2159" y="1011"/>
                  </a:lnTo>
                  <a:lnTo>
                    <a:pt x="2158" y="1009"/>
                  </a:lnTo>
                  <a:lnTo>
                    <a:pt x="2156" y="1007"/>
                  </a:lnTo>
                  <a:lnTo>
                    <a:pt x="2155" y="1004"/>
                  </a:lnTo>
                  <a:lnTo>
                    <a:pt x="2154" y="1001"/>
                  </a:lnTo>
                  <a:lnTo>
                    <a:pt x="2150" y="996"/>
                  </a:lnTo>
                  <a:lnTo>
                    <a:pt x="2149" y="993"/>
                  </a:lnTo>
                  <a:lnTo>
                    <a:pt x="2149" y="990"/>
                  </a:lnTo>
                  <a:lnTo>
                    <a:pt x="2148" y="988"/>
                  </a:lnTo>
                  <a:lnTo>
                    <a:pt x="2144" y="982"/>
                  </a:lnTo>
                  <a:lnTo>
                    <a:pt x="2144" y="980"/>
                  </a:lnTo>
                  <a:lnTo>
                    <a:pt x="2144" y="976"/>
                  </a:lnTo>
                  <a:lnTo>
                    <a:pt x="2141" y="973"/>
                  </a:lnTo>
                  <a:lnTo>
                    <a:pt x="2141" y="973"/>
                  </a:lnTo>
                  <a:lnTo>
                    <a:pt x="2140" y="973"/>
                  </a:lnTo>
                  <a:lnTo>
                    <a:pt x="2140" y="973"/>
                  </a:lnTo>
                  <a:lnTo>
                    <a:pt x="2138" y="970"/>
                  </a:lnTo>
                  <a:lnTo>
                    <a:pt x="2138" y="970"/>
                  </a:lnTo>
                  <a:lnTo>
                    <a:pt x="2137" y="968"/>
                  </a:lnTo>
                  <a:lnTo>
                    <a:pt x="2137" y="968"/>
                  </a:lnTo>
                  <a:lnTo>
                    <a:pt x="2137" y="968"/>
                  </a:lnTo>
                  <a:lnTo>
                    <a:pt x="2137" y="968"/>
                  </a:lnTo>
                  <a:lnTo>
                    <a:pt x="2137" y="967"/>
                  </a:lnTo>
                  <a:lnTo>
                    <a:pt x="2135" y="966"/>
                  </a:lnTo>
                  <a:lnTo>
                    <a:pt x="2131" y="960"/>
                  </a:lnTo>
                  <a:lnTo>
                    <a:pt x="2132" y="958"/>
                  </a:lnTo>
                  <a:lnTo>
                    <a:pt x="2131" y="956"/>
                  </a:lnTo>
                  <a:lnTo>
                    <a:pt x="2129" y="954"/>
                  </a:lnTo>
                  <a:lnTo>
                    <a:pt x="2129" y="953"/>
                  </a:lnTo>
                  <a:lnTo>
                    <a:pt x="2127" y="950"/>
                  </a:lnTo>
                  <a:lnTo>
                    <a:pt x="2130" y="947"/>
                  </a:lnTo>
                  <a:lnTo>
                    <a:pt x="2131" y="946"/>
                  </a:lnTo>
                  <a:lnTo>
                    <a:pt x="2131" y="946"/>
                  </a:lnTo>
                  <a:lnTo>
                    <a:pt x="2131" y="947"/>
                  </a:lnTo>
                  <a:lnTo>
                    <a:pt x="2132" y="948"/>
                  </a:lnTo>
                  <a:lnTo>
                    <a:pt x="2132" y="948"/>
                  </a:lnTo>
                  <a:lnTo>
                    <a:pt x="2132" y="949"/>
                  </a:lnTo>
                  <a:lnTo>
                    <a:pt x="2132" y="949"/>
                  </a:lnTo>
                  <a:lnTo>
                    <a:pt x="2132" y="951"/>
                  </a:lnTo>
                  <a:lnTo>
                    <a:pt x="2134" y="956"/>
                  </a:lnTo>
                  <a:lnTo>
                    <a:pt x="2135" y="957"/>
                  </a:lnTo>
                  <a:lnTo>
                    <a:pt x="2138" y="959"/>
                  </a:lnTo>
                  <a:lnTo>
                    <a:pt x="2139" y="960"/>
                  </a:lnTo>
                  <a:lnTo>
                    <a:pt x="2139" y="963"/>
                  </a:lnTo>
                  <a:lnTo>
                    <a:pt x="2140" y="965"/>
                  </a:lnTo>
                  <a:lnTo>
                    <a:pt x="2140" y="966"/>
                  </a:lnTo>
                  <a:lnTo>
                    <a:pt x="2140" y="967"/>
                  </a:lnTo>
                  <a:lnTo>
                    <a:pt x="2143" y="970"/>
                  </a:lnTo>
                  <a:lnTo>
                    <a:pt x="2144" y="971"/>
                  </a:lnTo>
                  <a:lnTo>
                    <a:pt x="2146" y="973"/>
                  </a:lnTo>
                  <a:lnTo>
                    <a:pt x="2149" y="976"/>
                  </a:lnTo>
                  <a:lnTo>
                    <a:pt x="2151" y="979"/>
                  </a:lnTo>
                  <a:lnTo>
                    <a:pt x="2154" y="979"/>
                  </a:lnTo>
                  <a:lnTo>
                    <a:pt x="2154" y="980"/>
                  </a:lnTo>
                  <a:lnTo>
                    <a:pt x="2154" y="979"/>
                  </a:lnTo>
                  <a:lnTo>
                    <a:pt x="2155" y="977"/>
                  </a:lnTo>
                  <a:lnTo>
                    <a:pt x="2155" y="977"/>
                  </a:lnTo>
                  <a:lnTo>
                    <a:pt x="2156" y="974"/>
                  </a:lnTo>
                  <a:lnTo>
                    <a:pt x="2156" y="974"/>
                  </a:lnTo>
                  <a:lnTo>
                    <a:pt x="2156" y="972"/>
                  </a:lnTo>
                  <a:lnTo>
                    <a:pt x="2157" y="970"/>
                  </a:lnTo>
                  <a:lnTo>
                    <a:pt x="2158" y="964"/>
                  </a:lnTo>
                  <a:lnTo>
                    <a:pt x="2159" y="962"/>
                  </a:lnTo>
                  <a:lnTo>
                    <a:pt x="2159" y="959"/>
                  </a:lnTo>
                  <a:lnTo>
                    <a:pt x="2160" y="956"/>
                  </a:lnTo>
                  <a:lnTo>
                    <a:pt x="2160" y="956"/>
                  </a:lnTo>
                  <a:lnTo>
                    <a:pt x="2163" y="954"/>
                  </a:lnTo>
                  <a:lnTo>
                    <a:pt x="2163" y="953"/>
                  </a:lnTo>
                  <a:lnTo>
                    <a:pt x="2164" y="953"/>
                  </a:lnTo>
                  <a:lnTo>
                    <a:pt x="2164" y="953"/>
                  </a:lnTo>
                  <a:lnTo>
                    <a:pt x="2164" y="955"/>
                  </a:lnTo>
                  <a:lnTo>
                    <a:pt x="2163" y="958"/>
                  </a:lnTo>
                  <a:lnTo>
                    <a:pt x="2163" y="960"/>
                  </a:lnTo>
                  <a:lnTo>
                    <a:pt x="2163" y="960"/>
                  </a:lnTo>
                  <a:lnTo>
                    <a:pt x="2161" y="965"/>
                  </a:lnTo>
                  <a:lnTo>
                    <a:pt x="2161" y="966"/>
                  </a:lnTo>
                  <a:lnTo>
                    <a:pt x="2159" y="972"/>
                  </a:lnTo>
                  <a:lnTo>
                    <a:pt x="2158" y="974"/>
                  </a:lnTo>
                  <a:lnTo>
                    <a:pt x="2159" y="975"/>
                  </a:lnTo>
                  <a:lnTo>
                    <a:pt x="2164" y="974"/>
                  </a:lnTo>
                  <a:lnTo>
                    <a:pt x="2167" y="974"/>
                  </a:lnTo>
                  <a:lnTo>
                    <a:pt x="2167" y="975"/>
                  </a:lnTo>
                  <a:lnTo>
                    <a:pt x="2169" y="979"/>
                  </a:lnTo>
                  <a:lnTo>
                    <a:pt x="2172" y="984"/>
                  </a:lnTo>
                  <a:lnTo>
                    <a:pt x="2175" y="987"/>
                  </a:lnTo>
                  <a:lnTo>
                    <a:pt x="2176" y="990"/>
                  </a:lnTo>
                  <a:lnTo>
                    <a:pt x="2181" y="996"/>
                  </a:lnTo>
                  <a:lnTo>
                    <a:pt x="2183" y="999"/>
                  </a:lnTo>
                  <a:lnTo>
                    <a:pt x="2183" y="1000"/>
                  </a:lnTo>
                  <a:lnTo>
                    <a:pt x="2185" y="1004"/>
                  </a:lnTo>
                  <a:lnTo>
                    <a:pt x="2188" y="1006"/>
                  </a:lnTo>
                  <a:lnTo>
                    <a:pt x="2186" y="1006"/>
                  </a:lnTo>
                  <a:lnTo>
                    <a:pt x="2190" y="1009"/>
                  </a:lnTo>
                  <a:lnTo>
                    <a:pt x="2191" y="1011"/>
                  </a:lnTo>
                  <a:lnTo>
                    <a:pt x="2193" y="1015"/>
                  </a:lnTo>
                  <a:lnTo>
                    <a:pt x="2194" y="1017"/>
                  </a:lnTo>
                  <a:lnTo>
                    <a:pt x="2195" y="1019"/>
                  </a:lnTo>
                  <a:lnTo>
                    <a:pt x="2193" y="1022"/>
                  </a:lnTo>
                  <a:lnTo>
                    <a:pt x="2195" y="1025"/>
                  </a:lnTo>
                  <a:lnTo>
                    <a:pt x="2198" y="1028"/>
                  </a:lnTo>
                  <a:lnTo>
                    <a:pt x="2201" y="1030"/>
                  </a:lnTo>
                  <a:lnTo>
                    <a:pt x="2203" y="1032"/>
                  </a:lnTo>
                  <a:lnTo>
                    <a:pt x="2207" y="1034"/>
                  </a:lnTo>
                  <a:lnTo>
                    <a:pt x="2211" y="1036"/>
                  </a:lnTo>
                  <a:lnTo>
                    <a:pt x="2212" y="1040"/>
                  </a:lnTo>
                  <a:lnTo>
                    <a:pt x="2215" y="1042"/>
                  </a:lnTo>
                  <a:lnTo>
                    <a:pt x="2215" y="1045"/>
                  </a:lnTo>
                  <a:lnTo>
                    <a:pt x="2216" y="1048"/>
                  </a:lnTo>
                  <a:lnTo>
                    <a:pt x="2218" y="1050"/>
                  </a:lnTo>
                  <a:lnTo>
                    <a:pt x="2219" y="1053"/>
                  </a:lnTo>
                  <a:lnTo>
                    <a:pt x="2219" y="1054"/>
                  </a:lnTo>
                  <a:lnTo>
                    <a:pt x="2220" y="1058"/>
                  </a:lnTo>
                  <a:lnTo>
                    <a:pt x="2219" y="1060"/>
                  </a:lnTo>
                  <a:lnTo>
                    <a:pt x="2219" y="1062"/>
                  </a:lnTo>
                  <a:lnTo>
                    <a:pt x="2219" y="1066"/>
                  </a:lnTo>
                  <a:lnTo>
                    <a:pt x="2220" y="1068"/>
                  </a:lnTo>
                  <a:lnTo>
                    <a:pt x="2221" y="1071"/>
                  </a:lnTo>
                  <a:lnTo>
                    <a:pt x="2220" y="1074"/>
                  </a:lnTo>
                  <a:lnTo>
                    <a:pt x="2221" y="1076"/>
                  </a:lnTo>
                  <a:lnTo>
                    <a:pt x="2224" y="1079"/>
                  </a:lnTo>
                  <a:lnTo>
                    <a:pt x="2227" y="1084"/>
                  </a:lnTo>
                  <a:lnTo>
                    <a:pt x="2231" y="1086"/>
                  </a:lnTo>
                  <a:lnTo>
                    <a:pt x="2235" y="1088"/>
                  </a:lnTo>
                  <a:lnTo>
                    <a:pt x="2237" y="1091"/>
                  </a:lnTo>
                  <a:lnTo>
                    <a:pt x="2243" y="1096"/>
                  </a:lnTo>
                  <a:lnTo>
                    <a:pt x="2249" y="1104"/>
                  </a:lnTo>
                  <a:lnTo>
                    <a:pt x="2250" y="1110"/>
                  </a:lnTo>
                  <a:lnTo>
                    <a:pt x="2250" y="1111"/>
                  </a:lnTo>
                  <a:lnTo>
                    <a:pt x="2252" y="1113"/>
                  </a:lnTo>
                  <a:lnTo>
                    <a:pt x="2253" y="1117"/>
                  </a:lnTo>
                  <a:lnTo>
                    <a:pt x="2254" y="1118"/>
                  </a:lnTo>
                  <a:lnTo>
                    <a:pt x="2255" y="1120"/>
                  </a:lnTo>
                  <a:lnTo>
                    <a:pt x="2259" y="1122"/>
                  </a:lnTo>
                  <a:lnTo>
                    <a:pt x="2261" y="1125"/>
                  </a:lnTo>
                  <a:lnTo>
                    <a:pt x="2263" y="1127"/>
                  </a:lnTo>
                  <a:lnTo>
                    <a:pt x="2265" y="1133"/>
                  </a:lnTo>
                  <a:lnTo>
                    <a:pt x="2266" y="1133"/>
                  </a:lnTo>
                  <a:lnTo>
                    <a:pt x="2267" y="1136"/>
                  </a:lnTo>
                  <a:lnTo>
                    <a:pt x="2270" y="1138"/>
                  </a:lnTo>
                  <a:lnTo>
                    <a:pt x="2271" y="1147"/>
                  </a:lnTo>
                  <a:lnTo>
                    <a:pt x="2270" y="1150"/>
                  </a:lnTo>
                  <a:lnTo>
                    <a:pt x="2269" y="1153"/>
                  </a:lnTo>
                  <a:lnTo>
                    <a:pt x="2270" y="1155"/>
                  </a:lnTo>
                  <a:lnTo>
                    <a:pt x="2271" y="1159"/>
                  </a:lnTo>
                  <a:lnTo>
                    <a:pt x="2268" y="1159"/>
                  </a:lnTo>
                  <a:lnTo>
                    <a:pt x="2268" y="1159"/>
                  </a:lnTo>
                  <a:lnTo>
                    <a:pt x="2271" y="1160"/>
                  </a:lnTo>
                  <a:lnTo>
                    <a:pt x="2272" y="1162"/>
                  </a:lnTo>
                  <a:lnTo>
                    <a:pt x="2272" y="1164"/>
                  </a:lnTo>
                  <a:lnTo>
                    <a:pt x="2274" y="1167"/>
                  </a:lnTo>
                  <a:lnTo>
                    <a:pt x="2274" y="1170"/>
                  </a:lnTo>
                  <a:lnTo>
                    <a:pt x="2275" y="1172"/>
                  </a:lnTo>
                  <a:lnTo>
                    <a:pt x="2275" y="1176"/>
                  </a:lnTo>
                  <a:lnTo>
                    <a:pt x="2277" y="1178"/>
                  </a:lnTo>
                  <a:lnTo>
                    <a:pt x="2277" y="1180"/>
                  </a:lnTo>
                  <a:lnTo>
                    <a:pt x="2277" y="1181"/>
                  </a:lnTo>
                  <a:lnTo>
                    <a:pt x="2277" y="1184"/>
                  </a:lnTo>
                  <a:lnTo>
                    <a:pt x="2277" y="1187"/>
                  </a:lnTo>
                  <a:lnTo>
                    <a:pt x="2280" y="1193"/>
                  </a:lnTo>
                  <a:lnTo>
                    <a:pt x="2280" y="1194"/>
                  </a:lnTo>
                  <a:lnTo>
                    <a:pt x="2284" y="1194"/>
                  </a:lnTo>
                  <a:lnTo>
                    <a:pt x="2286" y="1195"/>
                  </a:lnTo>
                  <a:lnTo>
                    <a:pt x="2292" y="1195"/>
                  </a:lnTo>
                  <a:lnTo>
                    <a:pt x="2294" y="1193"/>
                  </a:lnTo>
                  <a:lnTo>
                    <a:pt x="2297" y="1193"/>
                  </a:lnTo>
                  <a:lnTo>
                    <a:pt x="2300" y="1194"/>
                  </a:lnTo>
                  <a:lnTo>
                    <a:pt x="2300" y="1193"/>
                  </a:lnTo>
                  <a:lnTo>
                    <a:pt x="2301" y="1193"/>
                  </a:lnTo>
                  <a:lnTo>
                    <a:pt x="2301" y="1191"/>
                  </a:lnTo>
                  <a:lnTo>
                    <a:pt x="2301" y="1193"/>
                  </a:lnTo>
                  <a:lnTo>
                    <a:pt x="2301" y="1193"/>
                  </a:lnTo>
                  <a:lnTo>
                    <a:pt x="2301" y="1193"/>
                  </a:lnTo>
                  <a:lnTo>
                    <a:pt x="2302" y="1190"/>
                  </a:lnTo>
                  <a:lnTo>
                    <a:pt x="2305" y="1189"/>
                  </a:lnTo>
                  <a:lnTo>
                    <a:pt x="2309" y="1187"/>
                  </a:lnTo>
                  <a:lnTo>
                    <a:pt x="2311" y="1185"/>
                  </a:lnTo>
                  <a:lnTo>
                    <a:pt x="2313" y="1185"/>
                  </a:lnTo>
                  <a:lnTo>
                    <a:pt x="2317" y="1185"/>
                  </a:lnTo>
                  <a:lnTo>
                    <a:pt x="2319" y="1184"/>
                  </a:lnTo>
                  <a:lnTo>
                    <a:pt x="2321" y="1184"/>
                  </a:lnTo>
                  <a:lnTo>
                    <a:pt x="2325" y="1184"/>
                  </a:lnTo>
                  <a:lnTo>
                    <a:pt x="2327" y="1182"/>
                  </a:lnTo>
                  <a:lnTo>
                    <a:pt x="2330" y="1181"/>
                  </a:lnTo>
                  <a:lnTo>
                    <a:pt x="2333" y="1181"/>
                  </a:lnTo>
                  <a:lnTo>
                    <a:pt x="2335" y="1180"/>
                  </a:lnTo>
                  <a:lnTo>
                    <a:pt x="2337" y="1178"/>
                  </a:lnTo>
                  <a:lnTo>
                    <a:pt x="2340" y="1177"/>
                  </a:lnTo>
                  <a:lnTo>
                    <a:pt x="2343" y="1176"/>
                  </a:lnTo>
                  <a:lnTo>
                    <a:pt x="2345" y="1176"/>
                  </a:lnTo>
                  <a:lnTo>
                    <a:pt x="2348" y="1176"/>
                  </a:lnTo>
                  <a:lnTo>
                    <a:pt x="2349" y="1176"/>
                  </a:lnTo>
                  <a:lnTo>
                    <a:pt x="2351" y="1176"/>
                  </a:lnTo>
                  <a:lnTo>
                    <a:pt x="2354" y="1173"/>
                  </a:lnTo>
                  <a:lnTo>
                    <a:pt x="2356" y="1170"/>
                  </a:lnTo>
                  <a:lnTo>
                    <a:pt x="2359" y="1168"/>
                  </a:lnTo>
                  <a:lnTo>
                    <a:pt x="2364" y="1165"/>
                  </a:lnTo>
                  <a:lnTo>
                    <a:pt x="2366" y="1164"/>
                  </a:lnTo>
                  <a:lnTo>
                    <a:pt x="2369" y="1164"/>
                  </a:lnTo>
                  <a:lnTo>
                    <a:pt x="2372" y="1164"/>
                  </a:lnTo>
                  <a:lnTo>
                    <a:pt x="2378" y="1161"/>
                  </a:lnTo>
                  <a:lnTo>
                    <a:pt x="2379" y="1161"/>
                  </a:lnTo>
                  <a:lnTo>
                    <a:pt x="2382" y="1160"/>
                  </a:lnTo>
                  <a:lnTo>
                    <a:pt x="2385" y="1160"/>
                  </a:lnTo>
                  <a:lnTo>
                    <a:pt x="2385" y="1160"/>
                  </a:lnTo>
                  <a:lnTo>
                    <a:pt x="2388" y="1159"/>
                  </a:lnTo>
                  <a:lnTo>
                    <a:pt x="2390" y="1158"/>
                  </a:lnTo>
                  <a:lnTo>
                    <a:pt x="2391" y="1156"/>
                  </a:lnTo>
                  <a:lnTo>
                    <a:pt x="2396" y="1154"/>
                  </a:lnTo>
                  <a:lnTo>
                    <a:pt x="2398" y="1154"/>
                  </a:lnTo>
                  <a:lnTo>
                    <a:pt x="2399" y="1152"/>
                  </a:lnTo>
                  <a:lnTo>
                    <a:pt x="2399" y="1148"/>
                  </a:lnTo>
                  <a:lnTo>
                    <a:pt x="2399" y="1146"/>
                  </a:lnTo>
                  <a:lnTo>
                    <a:pt x="2400" y="1145"/>
                  </a:lnTo>
                  <a:lnTo>
                    <a:pt x="2403" y="1142"/>
                  </a:lnTo>
                  <a:lnTo>
                    <a:pt x="2404" y="1142"/>
                  </a:lnTo>
                  <a:lnTo>
                    <a:pt x="2410" y="1139"/>
                  </a:lnTo>
                  <a:lnTo>
                    <a:pt x="2411" y="1139"/>
                  </a:lnTo>
                  <a:lnTo>
                    <a:pt x="2412" y="1139"/>
                  </a:lnTo>
                  <a:lnTo>
                    <a:pt x="2412" y="1138"/>
                  </a:lnTo>
                  <a:lnTo>
                    <a:pt x="2415" y="1137"/>
                  </a:lnTo>
                  <a:lnTo>
                    <a:pt x="2417" y="1137"/>
                  </a:lnTo>
                  <a:lnTo>
                    <a:pt x="2420" y="1136"/>
                  </a:lnTo>
                  <a:lnTo>
                    <a:pt x="2423" y="1135"/>
                  </a:lnTo>
                  <a:lnTo>
                    <a:pt x="2425" y="1134"/>
                  </a:lnTo>
                  <a:lnTo>
                    <a:pt x="2425" y="1134"/>
                  </a:lnTo>
                  <a:lnTo>
                    <a:pt x="2431" y="1133"/>
                  </a:lnTo>
                  <a:lnTo>
                    <a:pt x="2434" y="1134"/>
                  </a:lnTo>
                  <a:lnTo>
                    <a:pt x="2437" y="1134"/>
                  </a:lnTo>
                  <a:lnTo>
                    <a:pt x="2439" y="1133"/>
                  </a:lnTo>
                  <a:lnTo>
                    <a:pt x="2441" y="1131"/>
                  </a:lnTo>
                  <a:lnTo>
                    <a:pt x="2442" y="1128"/>
                  </a:lnTo>
                  <a:lnTo>
                    <a:pt x="2441" y="1126"/>
                  </a:lnTo>
                  <a:lnTo>
                    <a:pt x="2444" y="1124"/>
                  </a:lnTo>
                  <a:lnTo>
                    <a:pt x="2446" y="1121"/>
                  </a:lnTo>
                  <a:lnTo>
                    <a:pt x="2456" y="1120"/>
                  </a:lnTo>
                  <a:lnTo>
                    <a:pt x="2458" y="1118"/>
                  </a:lnTo>
                  <a:lnTo>
                    <a:pt x="2459" y="1116"/>
                  </a:lnTo>
                  <a:lnTo>
                    <a:pt x="2461" y="1112"/>
                  </a:lnTo>
                  <a:lnTo>
                    <a:pt x="2462" y="1110"/>
                  </a:lnTo>
                  <a:lnTo>
                    <a:pt x="2463" y="1109"/>
                  </a:lnTo>
                  <a:lnTo>
                    <a:pt x="2468" y="1107"/>
                  </a:lnTo>
                  <a:lnTo>
                    <a:pt x="2472" y="1107"/>
                  </a:lnTo>
                  <a:lnTo>
                    <a:pt x="2473" y="1107"/>
                  </a:lnTo>
                  <a:lnTo>
                    <a:pt x="2476" y="1105"/>
                  </a:lnTo>
                  <a:lnTo>
                    <a:pt x="2476" y="1103"/>
                  </a:lnTo>
                  <a:lnTo>
                    <a:pt x="2476" y="1101"/>
                  </a:lnTo>
                  <a:lnTo>
                    <a:pt x="2475" y="1097"/>
                  </a:lnTo>
                  <a:lnTo>
                    <a:pt x="2475" y="1096"/>
                  </a:lnTo>
                  <a:lnTo>
                    <a:pt x="2476" y="1093"/>
                  </a:lnTo>
                  <a:lnTo>
                    <a:pt x="2476" y="1091"/>
                  </a:lnTo>
                  <a:lnTo>
                    <a:pt x="2476" y="1088"/>
                  </a:lnTo>
                  <a:lnTo>
                    <a:pt x="2480" y="1083"/>
                  </a:lnTo>
                  <a:lnTo>
                    <a:pt x="2482" y="1086"/>
                  </a:lnTo>
                  <a:lnTo>
                    <a:pt x="2485" y="1086"/>
                  </a:lnTo>
                  <a:lnTo>
                    <a:pt x="2487" y="1083"/>
                  </a:lnTo>
                  <a:lnTo>
                    <a:pt x="2489" y="1081"/>
                  </a:lnTo>
                  <a:lnTo>
                    <a:pt x="2491" y="1075"/>
                  </a:lnTo>
                  <a:lnTo>
                    <a:pt x="2494" y="1073"/>
                  </a:lnTo>
                  <a:lnTo>
                    <a:pt x="2497" y="1071"/>
                  </a:lnTo>
                  <a:lnTo>
                    <a:pt x="2499" y="1068"/>
                  </a:lnTo>
                  <a:lnTo>
                    <a:pt x="2500" y="1066"/>
                  </a:lnTo>
                  <a:lnTo>
                    <a:pt x="2501" y="1062"/>
                  </a:lnTo>
                  <a:lnTo>
                    <a:pt x="2504" y="1060"/>
                  </a:lnTo>
                  <a:lnTo>
                    <a:pt x="2504" y="1059"/>
                  </a:lnTo>
                  <a:lnTo>
                    <a:pt x="2505" y="1057"/>
                  </a:lnTo>
                  <a:lnTo>
                    <a:pt x="2504" y="1054"/>
                  </a:lnTo>
                  <a:lnTo>
                    <a:pt x="2501" y="1054"/>
                  </a:lnTo>
                  <a:lnTo>
                    <a:pt x="2498" y="1053"/>
                  </a:lnTo>
                  <a:lnTo>
                    <a:pt x="2497" y="1050"/>
                  </a:lnTo>
                  <a:lnTo>
                    <a:pt x="2493" y="1048"/>
                  </a:lnTo>
                  <a:lnTo>
                    <a:pt x="2492" y="1045"/>
                  </a:lnTo>
                  <a:lnTo>
                    <a:pt x="2490" y="1042"/>
                  </a:lnTo>
                  <a:lnTo>
                    <a:pt x="2488" y="1040"/>
                  </a:lnTo>
                  <a:lnTo>
                    <a:pt x="2482" y="1039"/>
                  </a:lnTo>
                  <a:lnTo>
                    <a:pt x="2480" y="1037"/>
                  </a:lnTo>
                  <a:lnTo>
                    <a:pt x="2476" y="1037"/>
                  </a:lnTo>
                  <a:lnTo>
                    <a:pt x="2473" y="1036"/>
                  </a:lnTo>
                  <a:lnTo>
                    <a:pt x="2472" y="1036"/>
                  </a:lnTo>
                  <a:lnTo>
                    <a:pt x="2468" y="1035"/>
                  </a:lnTo>
                  <a:lnTo>
                    <a:pt x="2466" y="1034"/>
                  </a:lnTo>
                  <a:lnTo>
                    <a:pt x="2464" y="1031"/>
                  </a:lnTo>
                  <a:lnTo>
                    <a:pt x="2462" y="1028"/>
                  </a:lnTo>
                  <a:lnTo>
                    <a:pt x="2459" y="1026"/>
                  </a:lnTo>
                  <a:lnTo>
                    <a:pt x="2458" y="1023"/>
                  </a:lnTo>
                  <a:lnTo>
                    <a:pt x="2457" y="1020"/>
                  </a:lnTo>
                  <a:lnTo>
                    <a:pt x="2457" y="1019"/>
                  </a:lnTo>
                  <a:lnTo>
                    <a:pt x="2457" y="1019"/>
                  </a:lnTo>
                  <a:lnTo>
                    <a:pt x="2456" y="1018"/>
                  </a:lnTo>
                  <a:lnTo>
                    <a:pt x="2457" y="1015"/>
                  </a:lnTo>
                  <a:lnTo>
                    <a:pt x="2457" y="1015"/>
                  </a:lnTo>
                  <a:lnTo>
                    <a:pt x="2456" y="1010"/>
                  </a:lnTo>
                  <a:lnTo>
                    <a:pt x="2455" y="1010"/>
                  </a:lnTo>
                  <a:lnTo>
                    <a:pt x="2457" y="1005"/>
                  </a:lnTo>
                  <a:lnTo>
                    <a:pt x="2456" y="1001"/>
                  </a:lnTo>
                  <a:lnTo>
                    <a:pt x="2457" y="999"/>
                  </a:lnTo>
                  <a:lnTo>
                    <a:pt x="2456" y="999"/>
                  </a:lnTo>
                  <a:lnTo>
                    <a:pt x="2455" y="1001"/>
                  </a:lnTo>
                  <a:lnTo>
                    <a:pt x="2453" y="1004"/>
                  </a:lnTo>
                  <a:lnTo>
                    <a:pt x="2451" y="1006"/>
                  </a:lnTo>
                  <a:lnTo>
                    <a:pt x="2446" y="1011"/>
                  </a:lnTo>
                  <a:lnTo>
                    <a:pt x="2446" y="1010"/>
                  </a:lnTo>
                  <a:lnTo>
                    <a:pt x="2445" y="1011"/>
                  </a:lnTo>
                  <a:lnTo>
                    <a:pt x="2445" y="1011"/>
                  </a:lnTo>
                  <a:lnTo>
                    <a:pt x="2445" y="1013"/>
                  </a:lnTo>
                  <a:lnTo>
                    <a:pt x="2442" y="1015"/>
                  </a:lnTo>
                  <a:lnTo>
                    <a:pt x="2442" y="1015"/>
                  </a:lnTo>
                  <a:lnTo>
                    <a:pt x="2442" y="1016"/>
                  </a:lnTo>
                  <a:lnTo>
                    <a:pt x="2442" y="1016"/>
                  </a:lnTo>
                  <a:lnTo>
                    <a:pt x="2439" y="1018"/>
                  </a:lnTo>
                  <a:lnTo>
                    <a:pt x="2438" y="1019"/>
                  </a:lnTo>
                  <a:lnTo>
                    <a:pt x="2438" y="1019"/>
                  </a:lnTo>
                  <a:lnTo>
                    <a:pt x="2438" y="1019"/>
                  </a:lnTo>
                  <a:lnTo>
                    <a:pt x="2438" y="1019"/>
                  </a:lnTo>
                  <a:lnTo>
                    <a:pt x="2436" y="1022"/>
                  </a:lnTo>
                  <a:lnTo>
                    <a:pt x="2433" y="1024"/>
                  </a:lnTo>
                  <a:lnTo>
                    <a:pt x="2432" y="1026"/>
                  </a:lnTo>
                  <a:lnTo>
                    <a:pt x="2428" y="1031"/>
                  </a:lnTo>
                  <a:lnTo>
                    <a:pt x="2425" y="1030"/>
                  </a:lnTo>
                  <a:lnTo>
                    <a:pt x="2425" y="1030"/>
                  </a:lnTo>
                  <a:lnTo>
                    <a:pt x="2425" y="1030"/>
                  </a:lnTo>
                  <a:lnTo>
                    <a:pt x="2423" y="1033"/>
                  </a:lnTo>
                  <a:lnTo>
                    <a:pt x="2420" y="1033"/>
                  </a:lnTo>
                  <a:lnTo>
                    <a:pt x="2417" y="1032"/>
                  </a:lnTo>
                  <a:lnTo>
                    <a:pt x="2416" y="1032"/>
                  </a:lnTo>
                  <a:lnTo>
                    <a:pt x="2412" y="1032"/>
                  </a:lnTo>
                  <a:lnTo>
                    <a:pt x="2411" y="1032"/>
                  </a:lnTo>
                  <a:lnTo>
                    <a:pt x="2408" y="1032"/>
                  </a:lnTo>
                  <a:lnTo>
                    <a:pt x="2407" y="1032"/>
                  </a:lnTo>
                  <a:lnTo>
                    <a:pt x="2405" y="1031"/>
                  </a:lnTo>
                  <a:lnTo>
                    <a:pt x="2403" y="1033"/>
                  </a:lnTo>
                  <a:lnTo>
                    <a:pt x="2396" y="1034"/>
                  </a:lnTo>
                  <a:lnTo>
                    <a:pt x="2394" y="1033"/>
                  </a:lnTo>
                  <a:lnTo>
                    <a:pt x="2394" y="1031"/>
                  </a:lnTo>
                  <a:lnTo>
                    <a:pt x="2391" y="1028"/>
                  </a:lnTo>
                  <a:lnTo>
                    <a:pt x="2391" y="1030"/>
                  </a:lnTo>
                  <a:lnTo>
                    <a:pt x="2388" y="1030"/>
                  </a:lnTo>
                  <a:lnTo>
                    <a:pt x="2388" y="1030"/>
                  </a:lnTo>
                  <a:lnTo>
                    <a:pt x="2388" y="1027"/>
                  </a:lnTo>
                  <a:lnTo>
                    <a:pt x="2387" y="1026"/>
                  </a:lnTo>
                  <a:lnTo>
                    <a:pt x="2386" y="1025"/>
                  </a:lnTo>
                  <a:lnTo>
                    <a:pt x="2389" y="1024"/>
                  </a:lnTo>
                  <a:lnTo>
                    <a:pt x="2389" y="1023"/>
                  </a:lnTo>
                  <a:lnTo>
                    <a:pt x="2389" y="1023"/>
                  </a:lnTo>
                  <a:lnTo>
                    <a:pt x="2391" y="1019"/>
                  </a:lnTo>
                  <a:lnTo>
                    <a:pt x="2391" y="1018"/>
                  </a:lnTo>
                  <a:lnTo>
                    <a:pt x="2391" y="1018"/>
                  </a:lnTo>
                  <a:lnTo>
                    <a:pt x="2391" y="1017"/>
                  </a:lnTo>
                  <a:lnTo>
                    <a:pt x="2391" y="1016"/>
                  </a:lnTo>
                  <a:lnTo>
                    <a:pt x="2390" y="1014"/>
                  </a:lnTo>
                  <a:lnTo>
                    <a:pt x="2389" y="1011"/>
                  </a:lnTo>
                  <a:lnTo>
                    <a:pt x="2391" y="1009"/>
                  </a:lnTo>
                  <a:lnTo>
                    <a:pt x="2391" y="1006"/>
                  </a:lnTo>
                  <a:lnTo>
                    <a:pt x="2390" y="1006"/>
                  </a:lnTo>
                  <a:lnTo>
                    <a:pt x="2389" y="1006"/>
                  </a:lnTo>
                  <a:lnTo>
                    <a:pt x="2388" y="1004"/>
                  </a:lnTo>
                  <a:lnTo>
                    <a:pt x="2385" y="1004"/>
                  </a:lnTo>
                  <a:lnTo>
                    <a:pt x="2382" y="1006"/>
                  </a:lnTo>
                  <a:lnTo>
                    <a:pt x="2382" y="1007"/>
                  </a:lnTo>
                  <a:lnTo>
                    <a:pt x="2381" y="1009"/>
                  </a:lnTo>
                  <a:lnTo>
                    <a:pt x="2381" y="1011"/>
                  </a:lnTo>
                  <a:lnTo>
                    <a:pt x="2380" y="1011"/>
                  </a:lnTo>
                  <a:lnTo>
                    <a:pt x="2380" y="1011"/>
                  </a:lnTo>
                  <a:lnTo>
                    <a:pt x="2380" y="1017"/>
                  </a:lnTo>
                  <a:lnTo>
                    <a:pt x="2381" y="1022"/>
                  </a:lnTo>
                  <a:lnTo>
                    <a:pt x="2381" y="1023"/>
                  </a:lnTo>
                  <a:lnTo>
                    <a:pt x="2380" y="1023"/>
                  </a:lnTo>
                  <a:lnTo>
                    <a:pt x="2380" y="1023"/>
                  </a:lnTo>
                  <a:lnTo>
                    <a:pt x="2379" y="1019"/>
                  </a:lnTo>
                  <a:lnTo>
                    <a:pt x="2378" y="1019"/>
                  </a:lnTo>
                  <a:lnTo>
                    <a:pt x="2378" y="1019"/>
                  </a:lnTo>
                  <a:lnTo>
                    <a:pt x="2376" y="1014"/>
                  </a:lnTo>
                  <a:lnTo>
                    <a:pt x="2371" y="1008"/>
                  </a:lnTo>
                  <a:lnTo>
                    <a:pt x="2371" y="1006"/>
                  </a:lnTo>
                  <a:lnTo>
                    <a:pt x="2370" y="1005"/>
                  </a:lnTo>
                  <a:lnTo>
                    <a:pt x="2369" y="1005"/>
                  </a:lnTo>
                  <a:lnTo>
                    <a:pt x="2369" y="1005"/>
                  </a:lnTo>
                  <a:lnTo>
                    <a:pt x="2370" y="1004"/>
                  </a:lnTo>
                  <a:lnTo>
                    <a:pt x="2370" y="1002"/>
                  </a:lnTo>
                  <a:lnTo>
                    <a:pt x="2372" y="1002"/>
                  </a:lnTo>
                  <a:lnTo>
                    <a:pt x="2372" y="1001"/>
                  </a:lnTo>
                  <a:lnTo>
                    <a:pt x="2372" y="1001"/>
                  </a:lnTo>
                  <a:lnTo>
                    <a:pt x="2371" y="998"/>
                  </a:lnTo>
                  <a:lnTo>
                    <a:pt x="2370" y="997"/>
                  </a:lnTo>
                  <a:lnTo>
                    <a:pt x="2370" y="994"/>
                  </a:lnTo>
                  <a:lnTo>
                    <a:pt x="2369" y="994"/>
                  </a:lnTo>
                  <a:lnTo>
                    <a:pt x="2370" y="993"/>
                  </a:lnTo>
                  <a:lnTo>
                    <a:pt x="2370" y="994"/>
                  </a:lnTo>
                  <a:lnTo>
                    <a:pt x="2370" y="994"/>
                  </a:lnTo>
                  <a:lnTo>
                    <a:pt x="2370" y="994"/>
                  </a:lnTo>
                  <a:lnTo>
                    <a:pt x="2371" y="996"/>
                  </a:lnTo>
                  <a:lnTo>
                    <a:pt x="2370" y="993"/>
                  </a:lnTo>
                  <a:lnTo>
                    <a:pt x="2370" y="993"/>
                  </a:lnTo>
                  <a:lnTo>
                    <a:pt x="2370" y="993"/>
                  </a:lnTo>
                  <a:lnTo>
                    <a:pt x="2369" y="992"/>
                  </a:lnTo>
                  <a:lnTo>
                    <a:pt x="2369" y="992"/>
                  </a:lnTo>
                  <a:lnTo>
                    <a:pt x="2369" y="992"/>
                  </a:lnTo>
                  <a:lnTo>
                    <a:pt x="2369" y="992"/>
                  </a:lnTo>
                  <a:lnTo>
                    <a:pt x="2368" y="992"/>
                  </a:lnTo>
                  <a:lnTo>
                    <a:pt x="2364" y="990"/>
                  </a:lnTo>
                  <a:lnTo>
                    <a:pt x="2364" y="990"/>
                  </a:lnTo>
                  <a:lnTo>
                    <a:pt x="2364" y="990"/>
                  </a:lnTo>
                  <a:lnTo>
                    <a:pt x="2363" y="988"/>
                  </a:lnTo>
                  <a:lnTo>
                    <a:pt x="2363" y="988"/>
                  </a:lnTo>
                  <a:lnTo>
                    <a:pt x="2361" y="988"/>
                  </a:lnTo>
                  <a:lnTo>
                    <a:pt x="2361" y="987"/>
                  </a:lnTo>
                  <a:lnTo>
                    <a:pt x="2360" y="987"/>
                  </a:lnTo>
                  <a:lnTo>
                    <a:pt x="2357" y="983"/>
                  </a:lnTo>
                  <a:lnTo>
                    <a:pt x="2357" y="982"/>
                  </a:lnTo>
                  <a:lnTo>
                    <a:pt x="2356" y="982"/>
                  </a:lnTo>
                  <a:lnTo>
                    <a:pt x="2356" y="982"/>
                  </a:lnTo>
                  <a:lnTo>
                    <a:pt x="2356" y="981"/>
                  </a:lnTo>
                  <a:lnTo>
                    <a:pt x="2355" y="981"/>
                  </a:lnTo>
                  <a:lnTo>
                    <a:pt x="2354" y="981"/>
                  </a:lnTo>
                  <a:lnTo>
                    <a:pt x="2354" y="981"/>
                  </a:lnTo>
                  <a:lnTo>
                    <a:pt x="2353" y="981"/>
                  </a:lnTo>
                  <a:lnTo>
                    <a:pt x="2353" y="979"/>
                  </a:lnTo>
                  <a:lnTo>
                    <a:pt x="2354" y="979"/>
                  </a:lnTo>
                  <a:lnTo>
                    <a:pt x="2354" y="979"/>
                  </a:lnTo>
                  <a:lnTo>
                    <a:pt x="2354" y="979"/>
                  </a:lnTo>
                  <a:lnTo>
                    <a:pt x="2354" y="977"/>
                  </a:lnTo>
                  <a:lnTo>
                    <a:pt x="2353" y="976"/>
                  </a:lnTo>
                  <a:lnTo>
                    <a:pt x="2353" y="975"/>
                  </a:lnTo>
                  <a:lnTo>
                    <a:pt x="2352" y="975"/>
                  </a:lnTo>
                  <a:lnTo>
                    <a:pt x="2349" y="970"/>
                  </a:lnTo>
                  <a:lnTo>
                    <a:pt x="2347" y="967"/>
                  </a:lnTo>
                  <a:lnTo>
                    <a:pt x="2347" y="964"/>
                  </a:lnTo>
                  <a:lnTo>
                    <a:pt x="2344" y="959"/>
                  </a:lnTo>
                  <a:lnTo>
                    <a:pt x="2344" y="959"/>
                  </a:lnTo>
                  <a:lnTo>
                    <a:pt x="2344" y="958"/>
                  </a:lnTo>
                  <a:lnTo>
                    <a:pt x="2343" y="956"/>
                  </a:lnTo>
                  <a:lnTo>
                    <a:pt x="2340" y="955"/>
                  </a:lnTo>
                  <a:lnTo>
                    <a:pt x="2339" y="953"/>
                  </a:lnTo>
                  <a:lnTo>
                    <a:pt x="2343" y="951"/>
                  </a:lnTo>
                  <a:lnTo>
                    <a:pt x="2344" y="951"/>
                  </a:lnTo>
                  <a:lnTo>
                    <a:pt x="2342" y="948"/>
                  </a:lnTo>
                  <a:lnTo>
                    <a:pt x="2342" y="947"/>
                  </a:lnTo>
                  <a:lnTo>
                    <a:pt x="2342" y="946"/>
                  </a:lnTo>
                  <a:lnTo>
                    <a:pt x="2342" y="943"/>
                  </a:lnTo>
                  <a:lnTo>
                    <a:pt x="2348" y="947"/>
                  </a:lnTo>
                  <a:lnTo>
                    <a:pt x="2349" y="946"/>
                  </a:lnTo>
                  <a:lnTo>
                    <a:pt x="2349" y="946"/>
                  </a:lnTo>
                  <a:lnTo>
                    <a:pt x="2351" y="946"/>
                  </a:lnTo>
                  <a:lnTo>
                    <a:pt x="2351" y="946"/>
                  </a:lnTo>
                  <a:lnTo>
                    <a:pt x="2351" y="945"/>
                  </a:lnTo>
                  <a:lnTo>
                    <a:pt x="2352" y="945"/>
                  </a:lnTo>
                  <a:lnTo>
                    <a:pt x="2354" y="945"/>
                  </a:lnTo>
                  <a:lnTo>
                    <a:pt x="2355" y="942"/>
                  </a:lnTo>
                  <a:lnTo>
                    <a:pt x="2354" y="940"/>
                  </a:lnTo>
                  <a:lnTo>
                    <a:pt x="2355" y="938"/>
                  </a:lnTo>
                  <a:lnTo>
                    <a:pt x="2356" y="938"/>
                  </a:lnTo>
                  <a:lnTo>
                    <a:pt x="2357" y="938"/>
                  </a:lnTo>
                  <a:lnTo>
                    <a:pt x="2355" y="940"/>
                  </a:lnTo>
                  <a:lnTo>
                    <a:pt x="2359" y="941"/>
                  </a:lnTo>
                  <a:lnTo>
                    <a:pt x="2361" y="943"/>
                  </a:lnTo>
                  <a:lnTo>
                    <a:pt x="2363" y="943"/>
                  </a:lnTo>
                  <a:lnTo>
                    <a:pt x="2363" y="945"/>
                  </a:lnTo>
                  <a:lnTo>
                    <a:pt x="2365" y="945"/>
                  </a:lnTo>
                  <a:lnTo>
                    <a:pt x="2368" y="942"/>
                  </a:lnTo>
                  <a:lnTo>
                    <a:pt x="2370" y="942"/>
                  </a:lnTo>
                  <a:lnTo>
                    <a:pt x="2370" y="942"/>
                  </a:lnTo>
                  <a:lnTo>
                    <a:pt x="2371" y="945"/>
                  </a:lnTo>
                  <a:lnTo>
                    <a:pt x="2371" y="946"/>
                  </a:lnTo>
                  <a:lnTo>
                    <a:pt x="2373" y="948"/>
                  </a:lnTo>
                  <a:lnTo>
                    <a:pt x="2373" y="948"/>
                  </a:lnTo>
                  <a:lnTo>
                    <a:pt x="2376" y="950"/>
                  </a:lnTo>
                  <a:lnTo>
                    <a:pt x="2376" y="951"/>
                  </a:lnTo>
                  <a:lnTo>
                    <a:pt x="2376" y="951"/>
                  </a:lnTo>
                  <a:lnTo>
                    <a:pt x="2379" y="954"/>
                  </a:lnTo>
                  <a:lnTo>
                    <a:pt x="2379" y="957"/>
                  </a:lnTo>
                  <a:lnTo>
                    <a:pt x="2378" y="958"/>
                  </a:lnTo>
                  <a:lnTo>
                    <a:pt x="2380" y="958"/>
                  </a:lnTo>
                  <a:lnTo>
                    <a:pt x="2381" y="960"/>
                  </a:lnTo>
                  <a:lnTo>
                    <a:pt x="2383" y="964"/>
                  </a:lnTo>
                  <a:lnTo>
                    <a:pt x="2385" y="966"/>
                  </a:lnTo>
                  <a:lnTo>
                    <a:pt x="2385" y="967"/>
                  </a:lnTo>
                  <a:lnTo>
                    <a:pt x="2386" y="971"/>
                  </a:lnTo>
                  <a:lnTo>
                    <a:pt x="2387" y="973"/>
                  </a:lnTo>
                  <a:lnTo>
                    <a:pt x="2388" y="975"/>
                  </a:lnTo>
                  <a:lnTo>
                    <a:pt x="2391" y="977"/>
                  </a:lnTo>
                  <a:lnTo>
                    <a:pt x="2394" y="977"/>
                  </a:lnTo>
                  <a:lnTo>
                    <a:pt x="2397" y="977"/>
                  </a:lnTo>
                  <a:lnTo>
                    <a:pt x="2399" y="980"/>
                  </a:lnTo>
                  <a:lnTo>
                    <a:pt x="2402" y="981"/>
                  </a:lnTo>
                  <a:lnTo>
                    <a:pt x="2405" y="982"/>
                  </a:lnTo>
                  <a:lnTo>
                    <a:pt x="2406" y="985"/>
                  </a:lnTo>
                  <a:lnTo>
                    <a:pt x="2408" y="987"/>
                  </a:lnTo>
                  <a:lnTo>
                    <a:pt x="2411" y="989"/>
                  </a:lnTo>
                  <a:lnTo>
                    <a:pt x="2414" y="989"/>
                  </a:lnTo>
                  <a:lnTo>
                    <a:pt x="2416" y="990"/>
                  </a:lnTo>
                  <a:lnTo>
                    <a:pt x="2416" y="991"/>
                  </a:lnTo>
                  <a:lnTo>
                    <a:pt x="2419" y="993"/>
                  </a:lnTo>
                  <a:lnTo>
                    <a:pt x="2422" y="994"/>
                  </a:lnTo>
                  <a:lnTo>
                    <a:pt x="2424" y="993"/>
                  </a:lnTo>
                  <a:lnTo>
                    <a:pt x="2427" y="994"/>
                  </a:lnTo>
                  <a:lnTo>
                    <a:pt x="2430" y="996"/>
                  </a:lnTo>
                  <a:lnTo>
                    <a:pt x="2432" y="997"/>
                  </a:lnTo>
                  <a:lnTo>
                    <a:pt x="2436" y="997"/>
                  </a:lnTo>
                  <a:lnTo>
                    <a:pt x="2438" y="996"/>
                  </a:lnTo>
                  <a:lnTo>
                    <a:pt x="2439" y="996"/>
                  </a:lnTo>
                  <a:lnTo>
                    <a:pt x="2441" y="993"/>
                  </a:lnTo>
                  <a:lnTo>
                    <a:pt x="2444" y="993"/>
                  </a:lnTo>
                  <a:lnTo>
                    <a:pt x="2446" y="991"/>
                  </a:lnTo>
                  <a:lnTo>
                    <a:pt x="2446" y="991"/>
                  </a:lnTo>
                  <a:lnTo>
                    <a:pt x="2448" y="990"/>
                  </a:lnTo>
                  <a:lnTo>
                    <a:pt x="2449" y="990"/>
                  </a:lnTo>
                  <a:lnTo>
                    <a:pt x="2451" y="989"/>
                  </a:lnTo>
                  <a:lnTo>
                    <a:pt x="2454" y="988"/>
                  </a:lnTo>
                  <a:lnTo>
                    <a:pt x="2457" y="988"/>
                  </a:lnTo>
                  <a:lnTo>
                    <a:pt x="2459" y="988"/>
                  </a:lnTo>
                  <a:lnTo>
                    <a:pt x="2463" y="988"/>
                  </a:lnTo>
                  <a:lnTo>
                    <a:pt x="2463" y="989"/>
                  </a:lnTo>
                  <a:lnTo>
                    <a:pt x="2465" y="992"/>
                  </a:lnTo>
                  <a:lnTo>
                    <a:pt x="2466" y="994"/>
                  </a:lnTo>
                  <a:lnTo>
                    <a:pt x="2466" y="997"/>
                  </a:lnTo>
                  <a:lnTo>
                    <a:pt x="2467" y="1000"/>
                  </a:lnTo>
                  <a:lnTo>
                    <a:pt x="2467" y="1002"/>
                  </a:lnTo>
                  <a:lnTo>
                    <a:pt x="2468" y="1006"/>
                  </a:lnTo>
                  <a:lnTo>
                    <a:pt x="2471" y="1008"/>
                  </a:lnTo>
                  <a:lnTo>
                    <a:pt x="2473" y="1008"/>
                  </a:lnTo>
                  <a:lnTo>
                    <a:pt x="2476" y="1010"/>
                  </a:lnTo>
                  <a:lnTo>
                    <a:pt x="2477" y="1009"/>
                  </a:lnTo>
                  <a:lnTo>
                    <a:pt x="2480" y="1011"/>
                  </a:lnTo>
                  <a:lnTo>
                    <a:pt x="2483" y="1011"/>
                  </a:lnTo>
                  <a:lnTo>
                    <a:pt x="2485" y="1010"/>
                  </a:lnTo>
                  <a:lnTo>
                    <a:pt x="2488" y="1011"/>
                  </a:lnTo>
                  <a:lnTo>
                    <a:pt x="2491" y="1011"/>
                  </a:lnTo>
                  <a:lnTo>
                    <a:pt x="2493" y="1014"/>
                  </a:lnTo>
                  <a:lnTo>
                    <a:pt x="2496" y="1013"/>
                  </a:lnTo>
                  <a:lnTo>
                    <a:pt x="2498" y="1013"/>
                  </a:lnTo>
                  <a:lnTo>
                    <a:pt x="2501" y="1014"/>
                  </a:lnTo>
                  <a:lnTo>
                    <a:pt x="2504" y="1014"/>
                  </a:lnTo>
                  <a:lnTo>
                    <a:pt x="2506" y="1014"/>
                  </a:lnTo>
                  <a:lnTo>
                    <a:pt x="2509" y="1014"/>
                  </a:lnTo>
                  <a:lnTo>
                    <a:pt x="2513" y="1015"/>
                  </a:lnTo>
                  <a:lnTo>
                    <a:pt x="2514" y="1013"/>
                  </a:lnTo>
                  <a:lnTo>
                    <a:pt x="2516" y="1015"/>
                  </a:lnTo>
                  <a:lnTo>
                    <a:pt x="2518" y="1016"/>
                  </a:lnTo>
                  <a:lnTo>
                    <a:pt x="2522" y="1016"/>
                  </a:lnTo>
                  <a:lnTo>
                    <a:pt x="2524" y="1018"/>
                  </a:lnTo>
                  <a:lnTo>
                    <a:pt x="2527" y="1016"/>
                  </a:lnTo>
                  <a:lnTo>
                    <a:pt x="2528" y="1016"/>
                  </a:lnTo>
                  <a:lnTo>
                    <a:pt x="2530" y="1016"/>
                  </a:lnTo>
                  <a:lnTo>
                    <a:pt x="2530" y="1018"/>
                  </a:lnTo>
                  <a:lnTo>
                    <a:pt x="2533" y="1017"/>
                  </a:lnTo>
                  <a:lnTo>
                    <a:pt x="2535" y="1016"/>
                  </a:lnTo>
                  <a:lnTo>
                    <a:pt x="2538" y="1017"/>
                  </a:lnTo>
                  <a:lnTo>
                    <a:pt x="2541" y="1016"/>
                  </a:lnTo>
                  <a:lnTo>
                    <a:pt x="2543" y="1015"/>
                  </a:lnTo>
                  <a:lnTo>
                    <a:pt x="2545" y="1016"/>
                  </a:lnTo>
                  <a:lnTo>
                    <a:pt x="2549" y="1016"/>
                  </a:lnTo>
                  <a:lnTo>
                    <a:pt x="2555" y="1016"/>
                  </a:lnTo>
                  <a:lnTo>
                    <a:pt x="2555" y="1014"/>
                  </a:lnTo>
                  <a:lnTo>
                    <a:pt x="2558" y="1014"/>
                  </a:lnTo>
                  <a:lnTo>
                    <a:pt x="2560" y="1015"/>
                  </a:lnTo>
                  <a:lnTo>
                    <a:pt x="2562" y="1013"/>
                  </a:lnTo>
                  <a:lnTo>
                    <a:pt x="2566" y="1015"/>
                  </a:lnTo>
                  <a:lnTo>
                    <a:pt x="2568" y="1015"/>
                  </a:lnTo>
                  <a:lnTo>
                    <a:pt x="2572" y="1015"/>
                  </a:lnTo>
                  <a:lnTo>
                    <a:pt x="2577" y="1015"/>
                  </a:lnTo>
                  <a:lnTo>
                    <a:pt x="2581" y="1014"/>
                  </a:lnTo>
                  <a:lnTo>
                    <a:pt x="2584" y="1015"/>
                  </a:lnTo>
                  <a:lnTo>
                    <a:pt x="2590" y="1013"/>
                  </a:lnTo>
                  <a:lnTo>
                    <a:pt x="2592" y="1013"/>
                  </a:lnTo>
                  <a:lnTo>
                    <a:pt x="2594" y="1013"/>
                  </a:lnTo>
                  <a:lnTo>
                    <a:pt x="2592" y="1011"/>
                  </a:lnTo>
                  <a:lnTo>
                    <a:pt x="2594" y="1010"/>
                  </a:lnTo>
                  <a:lnTo>
                    <a:pt x="2599" y="1016"/>
                  </a:lnTo>
                  <a:lnTo>
                    <a:pt x="2598" y="1019"/>
                  </a:lnTo>
                  <a:lnTo>
                    <a:pt x="2598" y="1020"/>
                  </a:lnTo>
                  <a:lnTo>
                    <a:pt x="2601" y="1022"/>
                  </a:lnTo>
                  <a:lnTo>
                    <a:pt x="2603" y="1023"/>
                  </a:lnTo>
                  <a:lnTo>
                    <a:pt x="2604" y="1025"/>
                  </a:lnTo>
                  <a:lnTo>
                    <a:pt x="2605" y="1027"/>
                  </a:lnTo>
                  <a:lnTo>
                    <a:pt x="2607" y="1032"/>
                  </a:lnTo>
                  <a:lnTo>
                    <a:pt x="2610" y="1033"/>
                  </a:lnTo>
                  <a:lnTo>
                    <a:pt x="2609" y="1034"/>
                  </a:lnTo>
                  <a:lnTo>
                    <a:pt x="2610" y="1035"/>
                  </a:lnTo>
                  <a:lnTo>
                    <a:pt x="2611" y="1035"/>
                  </a:lnTo>
                  <a:lnTo>
                    <a:pt x="2611" y="1036"/>
                  </a:lnTo>
                  <a:lnTo>
                    <a:pt x="2613" y="1035"/>
                  </a:lnTo>
                  <a:lnTo>
                    <a:pt x="2615" y="1035"/>
                  </a:lnTo>
                  <a:lnTo>
                    <a:pt x="2615" y="1035"/>
                  </a:lnTo>
                  <a:lnTo>
                    <a:pt x="2616" y="1035"/>
                  </a:lnTo>
                  <a:lnTo>
                    <a:pt x="2619" y="1037"/>
                  </a:lnTo>
                  <a:lnTo>
                    <a:pt x="2619" y="1040"/>
                  </a:lnTo>
                  <a:lnTo>
                    <a:pt x="2622" y="1037"/>
                  </a:lnTo>
                  <a:lnTo>
                    <a:pt x="2625" y="1036"/>
                  </a:lnTo>
                  <a:lnTo>
                    <a:pt x="2627" y="1036"/>
                  </a:lnTo>
                  <a:lnTo>
                    <a:pt x="2624" y="1037"/>
                  </a:lnTo>
                  <a:lnTo>
                    <a:pt x="2621" y="1040"/>
                  </a:lnTo>
                  <a:lnTo>
                    <a:pt x="2622" y="1042"/>
                  </a:lnTo>
                  <a:lnTo>
                    <a:pt x="2624" y="1044"/>
                  </a:lnTo>
                  <a:lnTo>
                    <a:pt x="2625" y="1045"/>
                  </a:lnTo>
                  <a:lnTo>
                    <a:pt x="2627" y="1048"/>
                  </a:lnTo>
                  <a:lnTo>
                    <a:pt x="2629" y="1049"/>
                  </a:lnTo>
                  <a:lnTo>
                    <a:pt x="2633" y="1050"/>
                  </a:lnTo>
                  <a:lnTo>
                    <a:pt x="2635" y="1051"/>
                  </a:lnTo>
                  <a:lnTo>
                    <a:pt x="2637" y="1052"/>
                  </a:lnTo>
                  <a:lnTo>
                    <a:pt x="2641" y="1050"/>
                  </a:lnTo>
                  <a:lnTo>
                    <a:pt x="2643" y="1050"/>
                  </a:lnTo>
                  <a:lnTo>
                    <a:pt x="2646" y="1049"/>
                  </a:lnTo>
                  <a:lnTo>
                    <a:pt x="2649" y="1049"/>
                  </a:lnTo>
                  <a:lnTo>
                    <a:pt x="2650" y="1047"/>
                  </a:lnTo>
                  <a:lnTo>
                    <a:pt x="2650" y="1049"/>
                  </a:lnTo>
                  <a:lnTo>
                    <a:pt x="2650" y="1049"/>
                  </a:lnTo>
                  <a:lnTo>
                    <a:pt x="2647" y="1051"/>
                  </a:lnTo>
                  <a:lnTo>
                    <a:pt x="2646" y="1054"/>
                  </a:lnTo>
                  <a:lnTo>
                    <a:pt x="2643" y="1054"/>
                  </a:lnTo>
                  <a:lnTo>
                    <a:pt x="2641" y="1057"/>
                  </a:lnTo>
                  <a:lnTo>
                    <a:pt x="2638" y="1058"/>
                  </a:lnTo>
                  <a:lnTo>
                    <a:pt x="2635" y="1058"/>
                  </a:lnTo>
                  <a:lnTo>
                    <a:pt x="2633" y="1059"/>
                  </a:lnTo>
                  <a:lnTo>
                    <a:pt x="2630" y="1056"/>
                  </a:lnTo>
                  <a:lnTo>
                    <a:pt x="2629" y="1058"/>
                  </a:lnTo>
                  <a:lnTo>
                    <a:pt x="2630" y="1060"/>
                  </a:lnTo>
                  <a:lnTo>
                    <a:pt x="2633" y="1062"/>
                  </a:lnTo>
                  <a:lnTo>
                    <a:pt x="2635" y="1066"/>
                  </a:lnTo>
                  <a:lnTo>
                    <a:pt x="2637" y="1068"/>
                  </a:lnTo>
                  <a:lnTo>
                    <a:pt x="2638" y="1068"/>
                  </a:lnTo>
                  <a:lnTo>
                    <a:pt x="2641" y="1070"/>
                  </a:lnTo>
                  <a:lnTo>
                    <a:pt x="2641" y="1071"/>
                  </a:lnTo>
                  <a:lnTo>
                    <a:pt x="2643" y="1074"/>
                  </a:lnTo>
                  <a:lnTo>
                    <a:pt x="2646" y="1076"/>
                  </a:lnTo>
                  <a:lnTo>
                    <a:pt x="2649" y="1078"/>
                  </a:lnTo>
                  <a:lnTo>
                    <a:pt x="2651" y="1079"/>
                  </a:lnTo>
                  <a:lnTo>
                    <a:pt x="2653" y="1081"/>
                  </a:lnTo>
                  <a:lnTo>
                    <a:pt x="2656" y="1081"/>
                  </a:lnTo>
                  <a:lnTo>
                    <a:pt x="2659" y="1081"/>
                  </a:lnTo>
                  <a:lnTo>
                    <a:pt x="2662" y="1079"/>
                  </a:lnTo>
                  <a:lnTo>
                    <a:pt x="2664" y="1077"/>
                  </a:lnTo>
                  <a:lnTo>
                    <a:pt x="2667" y="1076"/>
                  </a:lnTo>
                  <a:lnTo>
                    <a:pt x="2670" y="1075"/>
                  </a:lnTo>
                  <a:lnTo>
                    <a:pt x="2670" y="1075"/>
                  </a:lnTo>
                  <a:lnTo>
                    <a:pt x="2672" y="1073"/>
                  </a:lnTo>
                  <a:lnTo>
                    <a:pt x="2672" y="1071"/>
                  </a:lnTo>
                  <a:lnTo>
                    <a:pt x="2675" y="1069"/>
                  </a:lnTo>
                  <a:lnTo>
                    <a:pt x="2673" y="1066"/>
                  </a:lnTo>
                  <a:lnTo>
                    <a:pt x="2671" y="1065"/>
                  </a:lnTo>
                  <a:lnTo>
                    <a:pt x="2672" y="1062"/>
                  </a:lnTo>
                  <a:lnTo>
                    <a:pt x="2675" y="1061"/>
                  </a:lnTo>
                  <a:lnTo>
                    <a:pt x="2673" y="1059"/>
                  </a:lnTo>
                  <a:lnTo>
                    <a:pt x="2673" y="1059"/>
                  </a:lnTo>
                  <a:lnTo>
                    <a:pt x="2676" y="1058"/>
                  </a:lnTo>
                  <a:lnTo>
                    <a:pt x="2678" y="1059"/>
                  </a:lnTo>
                  <a:lnTo>
                    <a:pt x="2680" y="1059"/>
                  </a:lnTo>
                  <a:lnTo>
                    <a:pt x="2684" y="1059"/>
                  </a:lnTo>
                  <a:lnTo>
                    <a:pt x="2684" y="1059"/>
                  </a:lnTo>
                  <a:lnTo>
                    <a:pt x="2680" y="1060"/>
                  </a:lnTo>
                  <a:lnTo>
                    <a:pt x="2678" y="1061"/>
                  </a:lnTo>
                  <a:lnTo>
                    <a:pt x="2678" y="1064"/>
                  </a:lnTo>
                  <a:lnTo>
                    <a:pt x="2680" y="1062"/>
                  </a:lnTo>
                  <a:lnTo>
                    <a:pt x="2678" y="1066"/>
                  </a:lnTo>
                  <a:lnTo>
                    <a:pt x="2679" y="1067"/>
                  </a:lnTo>
                  <a:lnTo>
                    <a:pt x="2681" y="1067"/>
                  </a:lnTo>
                  <a:lnTo>
                    <a:pt x="2685" y="1067"/>
                  </a:lnTo>
                  <a:lnTo>
                    <a:pt x="2685" y="1067"/>
                  </a:lnTo>
                  <a:lnTo>
                    <a:pt x="2683" y="1068"/>
                  </a:lnTo>
                  <a:lnTo>
                    <a:pt x="2680" y="1069"/>
                  </a:lnTo>
                  <a:lnTo>
                    <a:pt x="2679" y="1073"/>
                  </a:lnTo>
                  <a:lnTo>
                    <a:pt x="2680" y="1075"/>
                  </a:lnTo>
                  <a:lnTo>
                    <a:pt x="2680" y="1076"/>
                  </a:lnTo>
                  <a:lnTo>
                    <a:pt x="2681" y="1075"/>
                  </a:lnTo>
                  <a:lnTo>
                    <a:pt x="2683" y="1078"/>
                  </a:lnTo>
                  <a:lnTo>
                    <a:pt x="2684" y="1081"/>
                  </a:lnTo>
                  <a:lnTo>
                    <a:pt x="2683" y="1083"/>
                  </a:lnTo>
                  <a:lnTo>
                    <a:pt x="2681" y="1086"/>
                  </a:lnTo>
                  <a:lnTo>
                    <a:pt x="2681" y="1087"/>
                  </a:lnTo>
                  <a:lnTo>
                    <a:pt x="2680" y="1087"/>
                  </a:lnTo>
                  <a:lnTo>
                    <a:pt x="2680" y="1090"/>
                  </a:lnTo>
                  <a:lnTo>
                    <a:pt x="2680" y="1091"/>
                  </a:lnTo>
                  <a:lnTo>
                    <a:pt x="2680" y="1093"/>
                  </a:lnTo>
                  <a:lnTo>
                    <a:pt x="2680" y="1095"/>
                  </a:lnTo>
                  <a:lnTo>
                    <a:pt x="2683" y="1097"/>
                  </a:lnTo>
                  <a:lnTo>
                    <a:pt x="2681" y="1097"/>
                  </a:lnTo>
                  <a:lnTo>
                    <a:pt x="2683" y="1101"/>
                  </a:lnTo>
                  <a:lnTo>
                    <a:pt x="2683" y="1101"/>
                  </a:lnTo>
                  <a:lnTo>
                    <a:pt x="2685" y="1102"/>
                  </a:lnTo>
                  <a:lnTo>
                    <a:pt x="2685" y="1102"/>
                  </a:lnTo>
                  <a:lnTo>
                    <a:pt x="2685" y="1102"/>
                  </a:lnTo>
                  <a:lnTo>
                    <a:pt x="2683" y="1101"/>
                  </a:lnTo>
                  <a:lnTo>
                    <a:pt x="2683" y="1101"/>
                  </a:lnTo>
                  <a:lnTo>
                    <a:pt x="2681" y="1103"/>
                  </a:lnTo>
                  <a:lnTo>
                    <a:pt x="2683" y="1105"/>
                  </a:lnTo>
                  <a:lnTo>
                    <a:pt x="2684" y="1104"/>
                  </a:lnTo>
                  <a:lnTo>
                    <a:pt x="2685" y="1104"/>
                  </a:lnTo>
                  <a:lnTo>
                    <a:pt x="2685" y="1105"/>
                  </a:lnTo>
                  <a:lnTo>
                    <a:pt x="2683" y="1108"/>
                  </a:lnTo>
                  <a:lnTo>
                    <a:pt x="2683" y="1109"/>
                  </a:lnTo>
                  <a:lnTo>
                    <a:pt x="2684" y="1112"/>
                  </a:lnTo>
                  <a:lnTo>
                    <a:pt x="2684" y="1114"/>
                  </a:lnTo>
                  <a:lnTo>
                    <a:pt x="2684" y="1118"/>
                  </a:lnTo>
                  <a:lnTo>
                    <a:pt x="2685" y="1120"/>
                  </a:lnTo>
                  <a:lnTo>
                    <a:pt x="2686" y="1122"/>
                  </a:lnTo>
                  <a:lnTo>
                    <a:pt x="2687" y="1126"/>
                  </a:lnTo>
                  <a:lnTo>
                    <a:pt x="2687" y="1128"/>
                  </a:lnTo>
                  <a:lnTo>
                    <a:pt x="2687" y="1129"/>
                  </a:lnTo>
                  <a:lnTo>
                    <a:pt x="2688" y="1133"/>
                  </a:lnTo>
                  <a:lnTo>
                    <a:pt x="2688" y="1135"/>
                  </a:lnTo>
                  <a:lnTo>
                    <a:pt x="2688" y="1137"/>
                  </a:lnTo>
                  <a:lnTo>
                    <a:pt x="2689" y="1139"/>
                  </a:lnTo>
                  <a:lnTo>
                    <a:pt x="2689" y="1142"/>
                  </a:lnTo>
                  <a:lnTo>
                    <a:pt x="2690" y="1145"/>
                  </a:lnTo>
                  <a:lnTo>
                    <a:pt x="2690" y="1147"/>
                  </a:lnTo>
                  <a:lnTo>
                    <a:pt x="2693" y="1151"/>
                  </a:lnTo>
                  <a:lnTo>
                    <a:pt x="2694" y="1152"/>
                  </a:lnTo>
                  <a:lnTo>
                    <a:pt x="2694" y="1152"/>
                  </a:lnTo>
                  <a:lnTo>
                    <a:pt x="2696" y="1154"/>
                  </a:lnTo>
                  <a:lnTo>
                    <a:pt x="2695" y="1155"/>
                  </a:lnTo>
                  <a:lnTo>
                    <a:pt x="2697" y="1159"/>
                  </a:lnTo>
                  <a:lnTo>
                    <a:pt x="2697" y="1161"/>
                  </a:lnTo>
                  <a:lnTo>
                    <a:pt x="2700" y="1163"/>
                  </a:lnTo>
                  <a:lnTo>
                    <a:pt x="2700" y="1164"/>
                  </a:lnTo>
                  <a:lnTo>
                    <a:pt x="2700" y="1164"/>
                  </a:lnTo>
                  <a:lnTo>
                    <a:pt x="2701" y="1165"/>
                  </a:lnTo>
                  <a:lnTo>
                    <a:pt x="2702" y="1167"/>
                  </a:lnTo>
                  <a:lnTo>
                    <a:pt x="2703" y="1169"/>
                  </a:lnTo>
                  <a:lnTo>
                    <a:pt x="2704" y="1172"/>
                  </a:lnTo>
                  <a:lnTo>
                    <a:pt x="2705" y="1172"/>
                  </a:lnTo>
                  <a:lnTo>
                    <a:pt x="2704" y="1172"/>
                  </a:lnTo>
                  <a:lnTo>
                    <a:pt x="2704" y="1172"/>
                  </a:lnTo>
                  <a:lnTo>
                    <a:pt x="2705" y="1176"/>
                  </a:lnTo>
                  <a:lnTo>
                    <a:pt x="2706" y="1178"/>
                  </a:lnTo>
                  <a:lnTo>
                    <a:pt x="2707" y="1180"/>
                  </a:lnTo>
                  <a:lnTo>
                    <a:pt x="2707" y="1180"/>
                  </a:lnTo>
                  <a:lnTo>
                    <a:pt x="2707" y="1181"/>
                  </a:lnTo>
                  <a:lnTo>
                    <a:pt x="2707" y="1184"/>
                  </a:lnTo>
                  <a:lnTo>
                    <a:pt x="2709" y="1187"/>
                  </a:lnTo>
                  <a:lnTo>
                    <a:pt x="2709" y="1189"/>
                  </a:lnTo>
                  <a:lnTo>
                    <a:pt x="2710" y="1191"/>
                  </a:lnTo>
                  <a:lnTo>
                    <a:pt x="2710" y="1193"/>
                  </a:lnTo>
                  <a:lnTo>
                    <a:pt x="2710" y="1193"/>
                  </a:lnTo>
                  <a:lnTo>
                    <a:pt x="2710" y="1193"/>
                  </a:lnTo>
                  <a:lnTo>
                    <a:pt x="2711" y="1195"/>
                  </a:lnTo>
                  <a:lnTo>
                    <a:pt x="2712" y="1197"/>
                  </a:lnTo>
                  <a:lnTo>
                    <a:pt x="2712" y="1198"/>
                  </a:lnTo>
                  <a:lnTo>
                    <a:pt x="2713" y="1201"/>
                  </a:lnTo>
                  <a:lnTo>
                    <a:pt x="2715" y="1203"/>
                  </a:lnTo>
                  <a:lnTo>
                    <a:pt x="2715" y="1204"/>
                  </a:lnTo>
                  <a:lnTo>
                    <a:pt x="2717" y="1204"/>
                  </a:lnTo>
                  <a:lnTo>
                    <a:pt x="2717" y="1204"/>
                  </a:lnTo>
                  <a:lnTo>
                    <a:pt x="2717" y="1205"/>
                  </a:lnTo>
                  <a:lnTo>
                    <a:pt x="2718" y="1206"/>
                  </a:lnTo>
                  <a:lnTo>
                    <a:pt x="2720" y="1208"/>
                  </a:lnTo>
                  <a:lnTo>
                    <a:pt x="2720" y="1210"/>
                  </a:lnTo>
                  <a:lnTo>
                    <a:pt x="2720" y="1210"/>
                  </a:lnTo>
                  <a:lnTo>
                    <a:pt x="2722" y="1213"/>
                  </a:lnTo>
                  <a:lnTo>
                    <a:pt x="2722" y="1215"/>
                  </a:lnTo>
                  <a:lnTo>
                    <a:pt x="2723" y="1218"/>
                  </a:lnTo>
                  <a:lnTo>
                    <a:pt x="2724" y="1221"/>
                  </a:lnTo>
                  <a:lnTo>
                    <a:pt x="2726" y="1223"/>
                  </a:lnTo>
                  <a:lnTo>
                    <a:pt x="2727" y="1225"/>
                  </a:lnTo>
                  <a:lnTo>
                    <a:pt x="2728" y="1229"/>
                  </a:lnTo>
                  <a:lnTo>
                    <a:pt x="2728" y="1231"/>
                  </a:lnTo>
                  <a:lnTo>
                    <a:pt x="2729" y="1231"/>
                  </a:lnTo>
                  <a:lnTo>
                    <a:pt x="2729" y="1232"/>
                  </a:lnTo>
                  <a:lnTo>
                    <a:pt x="2730" y="1233"/>
                  </a:lnTo>
                  <a:lnTo>
                    <a:pt x="2730" y="1236"/>
                  </a:lnTo>
                  <a:lnTo>
                    <a:pt x="2729" y="1233"/>
                  </a:lnTo>
                  <a:lnTo>
                    <a:pt x="2729" y="1232"/>
                  </a:lnTo>
                  <a:lnTo>
                    <a:pt x="2729" y="1232"/>
                  </a:lnTo>
                  <a:lnTo>
                    <a:pt x="2729" y="1233"/>
                  </a:lnTo>
                  <a:lnTo>
                    <a:pt x="2729" y="1236"/>
                  </a:lnTo>
                  <a:lnTo>
                    <a:pt x="2729" y="1238"/>
                  </a:lnTo>
                  <a:lnTo>
                    <a:pt x="2730" y="1240"/>
                  </a:lnTo>
                  <a:lnTo>
                    <a:pt x="2731" y="1244"/>
                  </a:lnTo>
                  <a:lnTo>
                    <a:pt x="2732" y="1246"/>
                  </a:lnTo>
                  <a:lnTo>
                    <a:pt x="2732" y="1246"/>
                  </a:lnTo>
                  <a:lnTo>
                    <a:pt x="2733" y="1247"/>
                  </a:lnTo>
                  <a:lnTo>
                    <a:pt x="2733" y="1247"/>
                  </a:lnTo>
                  <a:lnTo>
                    <a:pt x="2736" y="1249"/>
                  </a:lnTo>
                  <a:lnTo>
                    <a:pt x="2738" y="1253"/>
                  </a:lnTo>
                  <a:lnTo>
                    <a:pt x="2740" y="1255"/>
                  </a:lnTo>
                  <a:lnTo>
                    <a:pt x="2741" y="1255"/>
                  </a:lnTo>
                  <a:lnTo>
                    <a:pt x="2744" y="1257"/>
                  </a:lnTo>
                  <a:lnTo>
                    <a:pt x="2746" y="1258"/>
                  </a:lnTo>
                  <a:lnTo>
                    <a:pt x="2749" y="1256"/>
                  </a:lnTo>
                  <a:lnTo>
                    <a:pt x="2752" y="1255"/>
                  </a:lnTo>
                  <a:lnTo>
                    <a:pt x="2754" y="1253"/>
                  </a:lnTo>
                  <a:lnTo>
                    <a:pt x="2754" y="1249"/>
                  </a:lnTo>
                  <a:lnTo>
                    <a:pt x="2755" y="1248"/>
                  </a:lnTo>
                  <a:lnTo>
                    <a:pt x="2756" y="1245"/>
                  </a:lnTo>
                  <a:lnTo>
                    <a:pt x="2760" y="1244"/>
                  </a:lnTo>
                  <a:lnTo>
                    <a:pt x="2764" y="1241"/>
                  </a:lnTo>
                  <a:lnTo>
                    <a:pt x="2767" y="1241"/>
                  </a:lnTo>
                  <a:lnTo>
                    <a:pt x="2770" y="1241"/>
                  </a:lnTo>
                  <a:lnTo>
                    <a:pt x="2772" y="1244"/>
                  </a:lnTo>
                  <a:lnTo>
                    <a:pt x="2773" y="1244"/>
                  </a:lnTo>
                  <a:lnTo>
                    <a:pt x="2771" y="1241"/>
                  </a:lnTo>
                  <a:lnTo>
                    <a:pt x="2769" y="1241"/>
                  </a:lnTo>
                  <a:lnTo>
                    <a:pt x="2765" y="1239"/>
                  </a:lnTo>
                  <a:lnTo>
                    <a:pt x="2766" y="1237"/>
                  </a:lnTo>
                  <a:lnTo>
                    <a:pt x="2767" y="1233"/>
                  </a:lnTo>
                  <a:lnTo>
                    <a:pt x="2770" y="1231"/>
                  </a:lnTo>
                  <a:lnTo>
                    <a:pt x="2770" y="1230"/>
                  </a:lnTo>
                  <a:lnTo>
                    <a:pt x="2771" y="1228"/>
                  </a:lnTo>
                  <a:lnTo>
                    <a:pt x="2773" y="1227"/>
                  </a:lnTo>
                  <a:lnTo>
                    <a:pt x="2775" y="1227"/>
                  </a:lnTo>
                  <a:lnTo>
                    <a:pt x="2779" y="1225"/>
                  </a:lnTo>
                  <a:lnTo>
                    <a:pt x="2778" y="1223"/>
                  </a:lnTo>
                  <a:lnTo>
                    <a:pt x="2778" y="1215"/>
                  </a:lnTo>
                  <a:lnTo>
                    <a:pt x="2775" y="1213"/>
                  </a:lnTo>
                  <a:lnTo>
                    <a:pt x="2777" y="1213"/>
                  </a:lnTo>
                  <a:lnTo>
                    <a:pt x="2777" y="1211"/>
                  </a:lnTo>
                  <a:lnTo>
                    <a:pt x="2777" y="1207"/>
                  </a:lnTo>
                  <a:lnTo>
                    <a:pt x="2778" y="1207"/>
                  </a:lnTo>
                  <a:lnTo>
                    <a:pt x="2778" y="1206"/>
                  </a:lnTo>
                  <a:lnTo>
                    <a:pt x="2778" y="1206"/>
                  </a:lnTo>
                  <a:lnTo>
                    <a:pt x="2778" y="1206"/>
                  </a:lnTo>
                  <a:lnTo>
                    <a:pt x="2778" y="1204"/>
                  </a:lnTo>
                  <a:lnTo>
                    <a:pt x="2779" y="1204"/>
                  </a:lnTo>
                  <a:lnTo>
                    <a:pt x="2779" y="1203"/>
                  </a:lnTo>
                  <a:lnTo>
                    <a:pt x="2780" y="1201"/>
                  </a:lnTo>
                  <a:lnTo>
                    <a:pt x="2780" y="1201"/>
                  </a:lnTo>
                  <a:lnTo>
                    <a:pt x="2782" y="1197"/>
                  </a:lnTo>
                  <a:lnTo>
                    <a:pt x="2782" y="1197"/>
                  </a:lnTo>
                  <a:lnTo>
                    <a:pt x="2783" y="1195"/>
                  </a:lnTo>
                  <a:lnTo>
                    <a:pt x="2783" y="1191"/>
                  </a:lnTo>
                  <a:lnTo>
                    <a:pt x="2784" y="1189"/>
                  </a:lnTo>
                  <a:lnTo>
                    <a:pt x="2784" y="1186"/>
                  </a:lnTo>
                  <a:lnTo>
                    <a:pt x="2784" y="1184"/>
                  </a:lnTo>
                  <a:lnTo>
                    <a:pt x="2783" y="1184"/>
                  </a:lnTo>
                  <a:lnTo>
                    <a:pt x="2782" y="1182"/>
                  </a:lnTo>
                  <a:lnTo>
                    <a:pt x="2781" y="1182"/>
                  </a:lnTo>
                  <a:lnTo>
                    <a:pt x="2782" y="1181"/>
                  </a:lnTo>
                  <a:lnTo>
                    <a:pt x="2784" y="1182"/>
                  </a:lnTo>
                  <a:lnTo>
                    <a:pt x="2784" y="1182"/>
                  </a:lnTo>
                  <a:lnTo>
                    <a:pt x="2783" y="1180"/>
                  </a:lnTo>
                  <a:lnTo>
                    <a:pt x="2783" y="1177"/>
                  </a:lnTo>
                  <a:lnTo>
                    <a:pt x="2782" y="1174"/>
                  </a:lnTo>
                  <a:lnTo>
                    <a:pt x="2782" y="1171"/>
                  </a:lnTo>
                  <a:lnTo>
                    <a:pt x="2782" y="1169"/>
                  </a:lnTo>
                  <a:lnTo>
                    <a:pt x="2782" y="1168"/>
                  </a:lnTo>
                  <a:lnTo>
                    <a:pt x="2782" y="1167"/>
                  </a:lnTo>
                  <a:lnTo>
                    <a:pt x="2781" y="1164"/>
                  </a:lnTo>
                  <a:lnTo>
                    <a:pt x="2781" y="1162"/>
                  </a:lnTo>
                  <a:lnTo>
                    <a:pt x="2781" y="1159"/>
                  </a:lnTo>
                  <a:lnTo>
                    <a:pt x="2782" y="1156"/>
                  </a:lnTo>
                  <a:lnTo>
                    <a:pt x="2783" y="1154"/>
                  </a:lnTo>
                  <a:lnTo>
                    <a:pt x="2786" y="1151"/>
                  </a:lnTo>
                  <a:lnTo>
                    <a:pt x="2788" y="1150"/>
                  </a:lnTo>
                  <a:lnTo>
                    <a:pt x="2791" y="1150"/>
                  </a:lnTo>
                  <a:lnTo>
                    <a:pt x="2792" y="1147"/>
                  </a:lnTo>
                  <a:lnTo>
                    <a:pt x="2794" y="1150"/>
                  </a:lnTo>
                  <a:lnTo>
                    <a:pt x="2794" y="1151"/>
                  </a:lnTo>
                  <a:lnTo>
                    <a:pt x="2796" y="1148"/>
                  </a:lnTo>
                  <a:lnTo>
                    <a:pt x="2797" y="1145"/>
                  </a:lnTo>
                  <a:lnTo>
                    <a:pt x="2798" y="1143"/>
                  </a:lnTo>
                  <a:lnTo>
                    <a:pt x="2800" y="1143"/>
                  </a:lnTo>
                  <a:lnTo>
                    <a:pt x="2804" y="1143"/>
                  </a:lnTo>
                  <a:lnTo>
                    <a:pt x="2804" y="1143"/>
                  </a:lnTo>
                  <a:lnTo>
                    <a:pt x="2806" y="1143"/>
                  </a:lnTo>
                  <a:lnTo>
                    <a:pt x="2807" y="1142"/>
                  </a:lnTo>
                  <a:lnTo>
                    <a:pt x="2809" y="1141"/>
                  </a:lnTo>
                  <a:lnTo>
                    <a:pt x="2812" y="1139"/>
                  </a:lnTo>
                  <a:lnTo>
                    <a:pt x="2813" y="1136"/>
                  </a:lnTo>
                  <a:lnTo>
                    <a:pt x="2813" y="1133"/>
                  </a:lnTo>
                  <a:lnTo>
                    <a:pt x="2814" y="1131"/>
                  </a:lnTo>
                  <a:lnTo>
                    <a:pt x="2816" y="1129"/>
                  </a:lnTo>
                  <a:lnTo>
                    <a:pt x="2820" y="1128"/>
                  </a:lnTo>
                  <a:lnTo>
                    <a:pt x="2822" y="1127"/>
                  </a:lnTo>
                  <a:lnTo>
                    <a:pt x="2825" y="1125"/>
                  </a:lnTo>
                  <a:lnTo>
                    <a:pt x="2824" y="1124"/>
                  </a:lnTo>
                  <a:lnTo>
                    <a:pt x="2825" y="1124"/>
                  </a:lnTo>
                  <a:lnTo>
                    <a:pt x="2828" y="1121"/>
                  </a:lnTo>
                  <a:lnTo>
                    <a:pt x="2830" y="1119"/>
                  </a:lnTo>
                  <a:lnTo>
                    <a:pt x="2832" y="1118"/>
                  </a:lnTo>
                  <a:lnTo>
                    <a:pt x="2834" y="1117"/>
                  </a:lnTo>
                  <a:lnTo>
                    <a:pt x="2837" y="1114"/>
                  </a:lnTo>
                  <a:lnTo>
                    <a:pt x="2839" y="1112"/>
                  </a:lnTo>
                  <a:lnTo>
                    <a:pt x="2841" y="1110"/>
                  </a:lnTo>
                  <a:lnTo>
                    <a:pt x="2843" y="1107"/>
                  </a:lnTo>
                  <a:lnTo>
                    <a:pt x="2846" y="1104"/>
                  </a:lnTo>
                  <a:lnTo>
                    <a:pt x="2846" y="1104"/>
                  </a:lnTo>
                  <a:lnTo>
                    <a:pt x="2848" y="1101"/>
                  </a:lnTo>
                  <a:lnTo>
                    <a:pt x="2851" y="1099"/>
                  </a:lnTo>
                  <a:lnTo>
                    <a:pt x="2854" y="1097"/>
                  </a:lnTo>
                  <a:lnTo>
                    <a:pt x="2854" y="1096"/>
                  </a:lnTo>
                  <a:lnTo>
                    <a:pt x="2854" y="1096"/>
                  </a:lnTo>
                  <a:lnTo>
                    <a:pt x="2854" y="1096"/>
                  </a:lnTo>
                  <a:lnTo>
                    <a:pt x="2852" y="1096"/>
                  </a:lnTo>
                  <a:lnTo>
                    <a:pt x="2850" y="1099"/>
                  </a:lnTo>
                  <a:lnTo>
                    <a:pt x="2851" y="1095"/>
                  </a:lnTo>
                  <a:lnTo>
                    <a:pt x="2855" y="1093"/>
                  </a:lnTo>
                  <a:lnTo>
                    <a:pt x="2856" y="1095"/>
                  </a:lnTo>
                  <a:lnTo>
                    <a:pt x="2855" y="1095"/>
                  </a:lnTo>
                  <a:lnTo>
                    <a:pt x="2858" y="1095"/>
                  </a:lnTo>
                  <a:lnTo>
                    <a:pt x="2866" y="1093"/>
                  </a:lnTo>
                  <a:lnTo>
                    <a:pt x="2866" y="1091"/>
                  </a:lnTo>
                  <a:lnTo>
                    <a:pt x="2865" y="1090"/>
                  </a:lnTo>
                  <a:lnTo>
                    <a:pt x="2867" y="1091"/>
                  </a:lnTo>
                  <a:lnTo>
                    <a:pt x="2867" y="1091"/>
                  </a:lnTo>
                  <a:lnTo>
                    <a:pt x="2869" y="1088"/>
                  </a:lnTo>
                  <a:lnTo>
                    <a:pt x="2872" y="1087"/>
                  </a:lnTo>
                  <a:lnTo>
                    <a:pt x="2872" y="1087"/>
                  </a:lnTo>
                  <a:lnTo>
                    <a:pt x="2873" y="1084"/>
                  </a:lnTo>
                  <a:lnTo>
                    <a:pt x="2875" y="1083"/>
                  </a:lnTo>
                  <a:lnTo>
                    <a:pt x="2876" y="1082"/>
                  </a:lnTo>
                  <a:lnTo>
                    <a:pt x="2875" y="1082"/>
                  </a:lnTo>
                  <a:lnTo>
                    <a:pt x="2874" y="1081"/>
                  </a:lnTo>
                  <a:lnTo>
                    <a:pt x="2875" y="1077"/>
                  </a:lnTo>
                  <a:lnTo>
                    <a:pt x="2874" y="1075"/>
                  </a:lnTo>
                  <a:lnTo>
                    <a:pt x="2875" y="1073"/>
                  </a:lnTo>
                  <a:lnTo>
                    <a:pt x="2877" y="1069"/>
                  </a:lnTo>
                  <a:lnTo>
                    <a:pt x="2881" y="1069"/>
                  </a:lnTo>
                  <a:lnTo>
                    <a:pt x="2881" y="1069"/>
                  </a:lnTo>
                  <a:lnTo>
                    <a:pt x="2883" y="1068"/>
                  </a:lnTo>
                  <a:lnTo>
                    <a:pt x="2885" y="1068"/>
                  </a:lnTo>
                  <a:lnTo>
                    <a:pt x="2888" y="1066"/>
                  </a:lnTo>
                  <a:lnTo>
                    <a:pt x="2890" y="1064"/>
                  </a:lnTo>
                  <a:lnTo>
                    <a:pt x="2892" y="1061"/>
                  </a:lnTo>
                  <a:lnTo>
                    <a:pt x="2893" y="1062"/>
                  </a:lnTo>
                  <a:lnTo>
                    <a:pt x="2892" y="1065"/>
                  </a:lnTo>
                  <a:lnTo>
                    <a:pt x="2892" y="1067"/>
                  </a:lnTo>
                  <a:lnTo>
                    <a:pt x="2893" y="1068"/>
                  </a:lnTo>
                  <a:lnTo>
                    <a:pt x="2893" y="1068"/>
                  </a:lnTo>
                  <a:lnTo>
                    <a:pt x="2893" y="1069"/>
                  </a:lnTo>
                  <a:lnTo>
                    <a:pt x="2893" y="1068"/>
                  </a:lnTo>
                  <a:lnTo>
                    <a:pt x="2894" y="1067"/>
                  </a:lnTo>
                  <a:lnTo>
                    <a:pt x="2895" y="1067"/>
                  </a:lnTo>
                  <a:lnTo>
                    <a:pt x="2895" y="1068"/>
                  </a:lnTo>
                  <a:lnTo>
                    <a:pt x="2897" y="1066"/>
                  </a:lnTo>
                  <a:lnTo>
                    <a:pt x="2897" y="1065"/>
                  </a:lnTo>
                  <a:lnTo>
                    <a:pt x="2897" y="1067"/>
                  </a:lnTo>
                  <a:lnTo>
                    <a:pt x="2897" y="1068"/>
                  </a:lnTo>
                  <a:lnTo>
                    <a:pt x="2897" y="1068"/>
                  </a:lnTo>
                  <a:lnTo>
                    <a:pt x="2898" y="1069"/>
                  </a:lnTo>
                  <a:lnTo>
                    <a:pt x="2898" y="1069"/>
                  </a:lnTo>
                  <a:lnTo>
                    <a:pt x="2898" y="1068"/>
                  </a:lnTo>
                  <a:lnTo>
                    <a:pt x="2898" y="1066"/>
                  </a:lnTo>
                  <a:lnTo>
                    <a:pt x="2898" y="1064"/>
                  </a:lnTo>
                  <a:lnTo>
                    <a:pt x="2898" y="1061"/>
                  </a:lnTo>
                  <a:lnTo>
                    <a:pt x="2899" y="1060"/>
                  </a:lnTo>
                  <a:lnTo>
                    <a:pt x="2899" y="1060"/>
                  </a:lnTo>
                  <a:lnTo>
                    <a:pt x="2899" y="1062"/>
                  </a:lnTo>
                  <a:lnTo>
                    <a:pt x="2900" y="1061"/>
                  </a:lnTo>
                  <a:lnTo>
                    <a:pt x="2900" y="1062"/>
                  </a:lnTo>
                  <a:lnTo>
                    <a:pt x="2899" y="1065"/>
                  </a:lnTo>
                  <a:lnTo>
                    <a:pt x="2899" y="1067"/>
                  </a:lnTo>
                  <a:lnTo>
                    <a:pt x="2900" y="1068"/>
                  </a:lnTo>
                  <a:lnTo>
                    <a:pt x="2901" y="1067"/>
                  </a:lnTo>
                  <a:lnTo>
                    <a:pt x="2901" y="1067"/>
                  </a:lnTo>
                  <a:lnTo>
                    <a:pt x="2901" y="1066"/>
                  </a:lnTo>
                  <a:lnTo>
                    <a:pt x="2902" y="1068"/>
                  </a:lnTo>
                  <a:lnTo>
                    <a:pt x="2903" y="1065"/>
                  </a:lnTo>
                  <a:lnTo>
                    <a:pt x="2903" y="1065"/>
                  </a:lnTo>
                  <a:lnTo>
                    <a:pt x="2902" y="1064"/>
                  </a:lnTo>
                  <a:lnTo>
                    <a:pt x="2902" y="1062"/>
                  </a:lnTo>
                  <a:lnTo>
                    <a:pt x="2902" y="1062"/>
                  </a:lnTo>
                  <a:lnTo>
                    <a:pt x="2905" y="1060"/>
                  </a:lnTo>
                  <a:lnTo>
                    <a:pt x="2905" y="1061"/>
                  </a:lnTo>
                  <a:lnTo>
                    <a:pt x="2905" y="1064"/>
                  </a:lnTo>
                  <a:lnTo>
                    <a:pt x="2906" y="1066"/>
                  </a:lnTo>
                  <a:lnTo>
                    <a:pt x="2907" y="1066"/>
                  </a:lnTo>
                  <a:lnTo>
                    <a:pt x="2908" y="1064"/>
                  </a:lnTo>
                  <a:lnTo>
                    <a:pt x="2908" y="1062"/>
                  </a:lnTo>
                  <a:lnTo>
                    <a:pt x="2908" y="1066"/>
                  </a:lnTo>
                  <a:lnTo>
                    <a:pt x="2910" y="1065"/>
                  </a:lnTo>
                  <a:lnTo>
                    <a:pt x="2910" y="1061"/>
                  </a:lnTo>
                  <a:lnTo>
                    <a:pt x="2910" y="1059"/>
                  </a:lnTo>
                  <a:lnTo>
                    <a:pt x="2910" y="1058"/>
                  </a:lnTo>
                  <a:lnTo>
                    <a:pt x="2910" y="1061"/>
                  </a:lnTo>
                  <a:lnTo>
                    <a:pt x="2911" y="1062"/>
                  </a:lnTo>
                  <a:lnTo>
                    <a:pt x="2911" y="1060"/>
                  </a:lnTo>
                  <a:lnTo>
                    <a:pt x="2911" y="1058"/>
                  </a:lnTo>
                  <a:lnTo>
                    <a:pt x="2911" y="1060"/>
                  </a:lnTo>
                  <a:lnTo>
                    <a:pt x="2911" y="1064"/>
                  </a:lnTo>
                  <a:lnTo>
                    <a:pt x="2911" y="1064"/>
                  </a:lnTo>
                  <a:lnTo>
                    <a:pt x="2911" y="1065"/>
                  </a:lnTo>
                  <a:lnTo>
                    <a:pt x="2911" y="1066"/>
                  </a:lnTo>
                  <a:lnTo>
                    <a:pt x="2912" y="1064"/>
                  </a:lnTo>
                  <a:lnTo>
                    <a:pt x="2912" y="1064"/>
                  </a:lnTo>
                  <a:lnTo>
                    <a:pt x="2915" y="1065"/>
                  </a:lnTo>
                  <a:lnTo>
                    <a:pt x="2915" y="1061"/>
                  </a:lnTo>
                  <a:lnTo>
                    <a:pt x="2915" y="1059"/>
                  </a:lnTo>
                  <a:lnTo>
                    <a:pt x="2915" y="1057"/>
                  </a:lnTo>
                  <a:lnTo>
                    <a:pt x="2917" y="1056"/>
                  </a:lnTo>
                  <a:lnTo>
                    <a:pt x="2917" y="1056"/>
                  </a:lnTo>
                  <a:lnTo>
                    <a:pt x="2916" y="1058"/>
                  </a:lnTo>
                  <a:lnTo>
                    <a:pt x="2916" y="1060"/>
                  </a:lnTo>
                  <a:lnTo>
                    <a:pt x="2916" y="1062"/>
                  </a:lnTo>
                  <a:lnTo>
                    <a:pt x="2917" y="1062"/>
                  </a:lnTo>
                  <a:lnTo>
                    <a:pt x="2918" y="1060"/>
                  </a:lnTo>
                  <a:lnTo>
                    <a:pt x="2917" y="1062"/>
                  </a:lnTo>
                  <a:lnTo>
                    <a:pt x="2917" y="1062"/>
                  </a:lnTo>
                  <a:lnTo>
                    <a:pt x="2919" y="1061"/>
                  </a:lnTo>
                  <a:lnTo>
                    <a:pt x="2918" y="1062"/>
                  </a:lnTo>
                  <a:lnTo>
                    <a:pt x="2919" y="1064"/>
                  </a:lnTo>
                  <a:lnTo>
                    <a:pt x="2920" y="1065"/>
                  </a:lnTo>
                  <a:lnTo>
                    <a:pt x="2922" y="1062"/>
                  </a:lnTo>
                  <a:lnTo>
                    <a:pt x="2922" y="1062"/>
                  </a:lnTo>
                  <a:lnTo>
                    <a:pt x="2923" y="1061"/>
                  </a:lnTo>
                  <a:lnTo>
                    <a:pt x="2923" y="1059"/>
                  </a:lnTo>
                  <a:lnTo>
                    <a:pt x="2923" y="1061"/>
                  </a:lnTo>
                  <a:lnTo>
                    <a:pt x="2925" y="1059"/>
                  </a:lnTo>
                  <a:lnTo>
                    <a:pt x="2925" y="1057"/>
                  </a:lnTo>
                  <a:lnTo>
                    <a:pt x="2924" y="1056"/>
                  </a:lnTo>
                  <a:lnTo>
                    <a:pt x="2924" y="1053"/>
                  </a:lnTo>
                  <a:lnTo>
                    <a:pt x="2923" y="1052"/>
                  </a:lnTo>
                  <a:lnTo>
                    <a:pt x="2923" y="1052"/>
                  </a:lnTo>
                  <a:lnTo>
                    <a:pt x="2923" y="1051"/>
                  </a:lnTo>
                  <a:lnTo>
                    <a:pt x="2924" y="1049"/>
                  </a:lnTo>
                  <a:lnTo>
                    <a:pt x="2924" y="1048"/>
                  </a:lnTo>
                  <a:lnTo>
                    <a:pt x="2924" y="1048"/>
                  </a:lnTo>
                  <a:lnTo>
                    <a:pt x="2924" y="1048"/>
                  </a:lnTo>
                  <a:lnTo>
                    <a:pt x="2925" y="1044"/>
                  </a:lnTo>
                  <a:lnTo>
                    <a:pt x="2924" y="1044"/>
                  </a:lnTo>
                  <a:lnTo>
                    <a:pt x="2922" y="1042"/>
                  </a:lnTo>
                  <a:lnTo>
                    <a:pt x="2920" y="1042"/>
                  </a:lnTo>
                  <a:lnTo>
                    <a:pt x="2920" y="1042"/>
                  </a:lnTo>
                  <a:lnTo>
                    <a:pt x="2920" y="1042"/>
                  </a:lnTo>
                  <a:lnTo>
                    <a:pt x="2924" y="1042"/>
                  </a:lnTo>
                  <a:lnTo>
                    <a:pt x="2924" y="1040"/>
                  </a:lnTo>
                  <a:lnTo>
                    <a:pt x="2924" y="1040"/>
                  </a:lnTo>
                  <a:lnTo>
                    <a:pt x="2926" y="1040"/>
                  </a:lnTo>
                  <a:lnTo>
                    <a:pt x="2926" y="1041"/>
                  </a:lnTo>
                  <a:lnTo>
                    <a:pt x="2927" y="1041"/>
                  </a:lnTo>
                  <a:lnTo>
                    <a:pt x="2927" y="1041"/>
                  </a:lnTo>
                  <a:lnTo>
                    <a:pt x="2926" y="1043"/>
                  </a:lnTo>
                  <a:lnTo>
                    <a:pt x="2926" y="1045"/>
                  </a:lnTo>
                  <a:lnTo>
                    <a:pt x="2926" y="1048"/>
                  </a:lnTo>
                  <a:lnTo>
                    <a:pt x="2926" y="1048"/>
                  </a:lnTo>
                  <a:lnTo>
                    <a:pt x="2927" y="1049"/>
                  </a:lnTo>
                  <a:lnTo>
                    <a:pt x="2928" y="1051"/>
                  </a:lnTo>
                  <a:lnTo>
                    <a:pt x="2929" y="1054"/>
                  </a:lnTo>
                  <a:lnTo>
                    <a:pt x="2931" y="1054"/>
                  </a:lnTo>
                  <a:lnTo>
                    <a:pt x="2933" y="1051"/>
                  </a:lnTo>
                  <a:lnTo>
                    <a:pt x="2936" y="1051"/>
                  </a:lnTo>
                  <a:lnTo>
                    <a:pt x="2937" y="1050"/>
                  </a:lnTo>
                  <a:lnTo>
                    <a:pt x="2937" y="1052"/>
                  </a:lnTo>
                  <a:lnTo>
                    <a:pt x="2940" y="1054"/>
                  </a:lnTo>
                  <a:lnTo>
                    <a:pt x="2941" y="1058"/>
                  </a:lnTo>
                  <a:lnTo>
                    <a:pt x="2942" y="1058"/>
                  </a:lnTo>
                  <a:lnTo>
                    <a:pt x="2943" y="1058"/>
                  </a:lnTo>
                  <a:lnTo>
                    <a:pt x="2943" y="1058"/>
                  </a:lnTo>
                  <a:lnTo>
                    <a:pt x="2942" y="1058"/>
                  </a:lnTo>
                  <a:lnTo>
                    <a:pt x="2942" y="1061"/>
                  </a:lnTo>
                  <a:lnTo>
                    <a:pt x="2943" y="1062"/>
                  </a:lnTo>
                  <a:lnTo>
                    <a:pt x="2943" y="1064"/>
                  </a:lnTo>
                  <a:lnTo>
                    <a:pt x="2944" y="1067"/>
                  </a:lnTo>
                  <a:lnTo>
                    <a:pt x="2944" y="1069"/>
                  </a:lnTo>
                  <a:lnTo>
                    <a:pt x="2945" y="1071"/>
                  </a:lnTo>
                  <a:lnTo>
                    <a:pt x="2945" y="1075"/>
                  </a:lnTo>
                  <a:lnTo>
                    <a:pt x="2948" y="1077"/>
                  </a:lnTo>
                  <a:lnTo>
                    <a:pt x="2948" y="1078"/>
                  </a:lnTo>
                  <a:lnTo>
                    <a:pt x="2948" y="1076"/>
                  </a:lnTo>
                  <a:lnTo>
                    <a:pt x="2949" y="1079"/>
                  </a:lnTo>
                  <a:lnTo>
                    <a:pt x="2950" y="1082"/>
                  </a:lnTo>
                  <a:lnTo>
                    <a:pt x="2952" y="1084"/>
                  </a:lnTo>
                  <a:lnTo>
                    <a:pt x="2954" y="1087"/>
                  </a:lnTo>
                  <a:lnTo>
                    <a:pt x="2954" y="1084"/>
                  </a:lnTo>
                  <a:lnTo>
                    <a:pt x="2954" y="1083"/>
                  </a:lnTo>
                  <a:lnTo>
                    <a:pt x="2956" y="1085"/>
                  </a:lnTo>
                  <a:lnTo>
                    <a:pt x="2957" y="1086"/>
                  </a:lnTo>
                  <a:lnTo>
                    <a:pt x="2956" y="1087"/>
                  </a:lnTo>
                  <a:lnTo>
                    <a:pt x="2957" y="1088"/>
                  </a:lnTo>
                  <a:lnTo>
                    <a:pt x="2959" y="1086"/>
                  </a:lnTo>
                  <a:lnTo>
                    <a:pt x="2959" y="1084"/>
                  </a:lnTo>
                  <a:lnTo>
                    <a:pt x="2959" y="1084"/>
                  </a:lnTo>
                  <a:lnTo>
                    <a:pt x="2959" y="1084"/>
                  </a:lnTo>
                  <a:lnTo>
                    <a:pt x="2959" y="1084"/>
                  </a:lnTo>
                  <a:lnTo>
                    <a:pt x="2959" y="1086"/>
                  </a:lnTo>
                  <a:lnTo>
                    <a:pt x="2959" y="1086"/>
                  </a:lnTo>
                  <a:lnTo>
                    <a:pt x="2960" y="1086"/>
                  </a:lnTo>
                  <a:lnTo>
                    <a:pt x="2958" y="1088"/>
                  </a:lnTo>
                  <a:lnTo>
                    <a:pt x="2960" y="1088"/>
                  </a:lnTo>
                  <a:lnTo>
                    <a:pt x="2960" y="1088"/>
                  </a:lnTo>
                  <a:lnTo>
                    <a:pt x="2959" y="1091"/>
                  </a:lnTo>
                  <a:lnTo>
                    <a:pt x="2960" y="1094"/>
                  </a:lnTo>
                  <a:lnTo>
                    <a:pt x="2960" y="1091"/>
                  </a:lnTo>
                  <a:lnTo>
                    <a:pt x="2960" y="1091"/>
                  </a:lnTo>
                  <a:lnTo>
                    <a:pt x="2961" y="1091"/>
                  </a:lnTo>
                  <a:lnTo>
                    <a:pt x="2962" y="1091"/>
                  </a:lnTo>
                  <a:lnTo>
                    <a:pt x="2962" y="1090"/>
                  </a:lnTo>
                  <a:lnTo>
                    <a:pt x="2961" y="1087"/>
                  </a:lnTo>
                  <a:lnTo>
                    <a:pt x="2963" y="1090"/>
                  </a:lnTo>
                  <a:lnTo>
                    <a:pt x="2963" y="1090"/>
                  </a:lnTo>
                  <a:lnTo>
                    <a:pt x="2962" y="1090"/>
                  </a:lnTo>
                  <a:lnTo>
                    <a:pt x="2970" y="1102"/>
                  </a:lnTo>
                  <a:lnTo>
                    <a:pt x="2970" y="1102"/>
                  </a:lnTo>
                  <a:lnTo>
                    <a:pt x="2970" y="1102"/>
                  </a:lnTo>
                  <a:lnTo>
                    <a:pt x="2972" y="1101"/>
                  </a:lnTo>
                  <a:lnTo>
                    <a:pt x="2972" y="1101"/>
                  </a:lnTo>
                  <a:lnTo>
                    <a:pt x="2972" y="1103"/>
                  </a:lnTo>
                  <a:lnTo>
                    <a:pt x="2972" y="1105"/>
                  </a:lnTo>
                  <a:lnTo>
                    <a:pt x="2975" y="1109"/>
                  </a:lnTo>
                  <a:lnTo>
                    <a:pt x="2975" y="1110"/>
                  </a:lnTo>
                  <a:lnTo>
                    <a:pt x="2976" y="1113"/>
                  </a:lnTo>
                  <a:lnTo>
                    <a:pt x="2977" y="1116"/>
                  </a:lnTo>
                  <a:lnTo>
                    <a:pt x="2978" y="1117"/>
                  </a:lnTo>
                  <a:lnTo>
                    <a:pt x="2978" y="1119"/>
                  </a:lnTo>
                  <a:lnTo>
                    <a:pt x="2978" y="1122"/>
                  </a:lnTo>
                  <a:lnTo>
                    <a:pt x="2980" y="1125"/>
                  </a:lnTo>
                  <a:lnTo>
                    <a:pt x="2979" y="1127"/>
                  </a:lnTo>
                  <a:lnTo>
                    <a:pt x="2979" y="1130"/>
                  </a:lnTo>
                  <a:lnTo>
                    <a:pt x="2978" y="1131"/>
                  </a:lnTo>
                  <a:lnTo>
                    <a:pt x="2978" y="1134"/>
                  </a:lnTo>
                  <a:lnTo>
                    <a:pt x="2977" y="1136"/>
                  </a:lnTo>
                  <a:lnTo>
                    <a:pt x="2976" y="1139"/>
                  </a:lnTo>
                  <a:lnTo>
                    <a:pt x="2976" y="1142"/>
                  </a:lnTo>
                  <a:lnTo>
                    <a:pt x="2975" y="1145"/>
                  </a:lnTo>
                  <a:lnTo>
                    <a:pt x="2975" y="1147"/>
                  </a:lnTo>
                  <a:lnTo>
                    <a:pt x="2977" y="1147"/>
                  </a:lnTo>
                  <a:lnTo>
                    <a:pt x="2979" y="1144"/>
                  </a:lnTo>
                  <a:lnTo>
                    <a:pt x="2982" y="1142"/>
                  </a:lnTo>
                  <a:lnTo>
                    <a:pt x="2982" y="1141"/>
                  </a:lnTo>
                  <a:lnTo>
                    <a:pt x="2982" y="1141"/>
                  </a:lnTo>
                  <a:lnTo>
                    <a:pt x="2982" y="1141"/>
                  </a:lnTo>
                  <a:lnTo>
                    <a:pt x="2982" y="1143"/>
                  </a:lnTo>
                  <a:lnTo>
                    <a:pt x="2982" y="1145"/>
                  </a:lnTo>
                  <a:lnTo>
                    <a:pt x="2980" y="1147"/>
                  </a:lnTo>
                  <a:lnTo>
                    <a:pt x="2983" y="1145"/>
                  </a:lnTo>
                  <a:lnTo>
                    <a:pt x="2982" y="1148"/>
                  </a:lnTo>
                  <a:lnTo>
                    <a:pt x="2984" y="1145"/>
                  </a:lnTo>
                  <a:lnTo>
                    <a:pt x="2985" y="1144"/>
                  </a:lnTo>
                  <a:lnTo>
                    <a:pt x="2984" y="1147"/>
                  </a:lnTo>
                  <a:lnTo>
                    <a:pt x="2985" y="1147"/>
                  </a:lnTo>
                  <a:lnTo>
                    <a:pt x="2984" y="1150"/>
                  </a:lnTo>
                  <a:lnTo>
                    <a:pt x="2985" y="1151"/>
                  </a:lnTo>
                  <a:lnTo>
                    <a:pt x="2986" y="1148"/>
                  </a:lnTo>
                  <a:lnTo>
                    <a:pt x="2987" y="1145"/>
                  </a:lnTo>
                  <a:lnTo>
                    <a:pt x="2988" y="1146"/>
                  </a:lnTo>
                  <a:lnTo>
                    <a:pt x="2988" y="1146"/>
                  </a:lnTo>
                  <a:lnTo>
                    <a:pt x="2987" y="1147"/>
                  </a:lnTo>
                  <a:lnTo>
                    <a:pt x="2987" y="1150"/>
                  </a:lnTo>
                  <a:lnTo>
                    <a:pt x="2989" y="1147"/>
                  </a:lnTo>
                  <a:lnTo>
                    <a:pt x="2989" y="1146"/>
                  </a:lnTo>
                  <a:lnTo>
                    <a:pt x="2989" y="1146"/>
                  </a:lnTo>
                  <a:lnTo>
                    <a:pt x="2991" y="1145"/>
                  </a:lnTo>
                  <a:lnTo>
                    <a:pt x="2991" y="1148"/>
                  </a:lnTo>
                  <a:lnTo>
                    <a:pt x="2989" y="1151"/>
                  </a:lnTo>
                  <a:lnTo>
                    <a:pt x="2992" y="1151"/>
                  </a:lnTo>
                  <a:lnTo>
                    <a:pt x="2994" y="1148"/>
                  </a:lnTo>
                  <a:lnTo>
                    <a:pt x="2995" y="1146"/>
                  </a:lnTo>
                  <a:lnTo>
                    <a:pt x="2995" y="1145"/>
                  </a:lnTo>
                  <a:lnTo>
                    <a:pt x="2997" y="1144"/>
                  </a:lnTo>
                  <a:lnTo>
                    <a:pt x="3000" y="1143"/>
                  </a:lnTo>
                  <a:lnTo>
                    <a:pt x="3002" y="1143"/>
                  </a:lnTo>
                  <a:lnTo>
                    <a:pt x="3003" y="1141"/>
                  </a:lnTo>
                  <a:lnTo>
                    <a:pt x="3003" y="1139"/>
                  </a:lnTo>
                  <a:lnTo>
                    <a:pt x="3002" y="1137"/>
                  </a:lnTo>
                  <a:lnTo>
                    <a:pt x="3002" y="1137"/>
                  </a:lnTo>
                  <a:lnTo>
                    <a:pt x="3002" y="1137"/>
                  </a:lnTo>
                  <a:lnTo>
                    <a:pt x="3003" y="1136"/>
                  </a:lnTo>
                  <a:lnTo>
                    <a:pt x="3003" y="1136"/>
                  </a:lnTo>
                  <a:lnTo>
                    <a:pt x="3003" y="1138"/>
                  </a:lnTo>
                  <a:lnTo>
                    <a:pt x="3005" y="1141"/>
                  </a:lnTo>
                  <a:lnTo>
                    <a:pt x="3008" y="1139"/>
                  </a:lnTo>
                  <a:lnTo>
                    <a:pt x="3011" y="1137"/>
                  </a:lnTo>
                  <a:lnTo>
                    <a:pt x="3011" y="1135"/>
                  </a:lnTo>
                  <a:lnTo>
                    <a:pt x="3011" y="1133"/>
                  </a:lnTo>
                  <a:lnTo>
                    <a:pt x="3011" y="1131"/>
                  </a:lnTo>
                  <a:lnTo>
                    <a:pt x="3012" y="1129"/>
                  </a:lnTo>
                  <a:lnTo>
                    <a:pt x="3011" y="1127"/>
                  </a:lnTo>
                  <a:lnTo>
                    <a:pt x="3013" y="1130"/>
                  </a:lnTo>
                  <a:lnTo>
                    <a:pt x="3016" y="1131"/>
                  </a:lnTo>
                  <a:lnTo>
                    <a:pt x="3016" y="1135"/>
                  </a:lnTo>
                  <a:lnTo>
                    <a:pt x="3017" y="1136"/>
                  </a:lnTo>
                  <a:lnTo>
                    <a:pt x="3018" y="1139"/>
                  </a:lnTo>
                  <a:lnTo>
                    <a:pt x="3020" y="1141"/>
                  </a:lnTo>
                  <a:lnTo>
                    <a:pt x="3021" y="1141"/>
                  </a:lnTo>
                  <a:lnTo>
                    <a:pt x="3022" y="1139"/>
                  </a:lnTo>
                  <a:lnTo>
                    <a:pt x="3023" y="1139"/>
                  </a:lnTo>
                  <a:lnTo>
                    <a:pt x="3022" y="1141"/>
                  </a:lnTo>
                  <a:lnTo>
                    <a:pt x="3021" y="1142"/>
                  </a:lnTo>
                  <a:lnTo>
                    <a:pt x="3021" y="1145"/>
                  </a:lnTo>
                  <a:lnTo>
                    <a:pt x="3021" y="1146"/>
                  </a:lnTo>
                  <a:lnTo>
                    <a:pt x="3022" y="1150"/>
                  </a:lnTo>
                  <a:lnTo>
                    <a:pt x="3023" y="1152"/>
                  </a:lnTo>
                  <a:lnTo>
                    <a:pt x="3023" y="1153"/>
                  </a:lnTo>
                  <a:lnTo>
                    <a:pt x="3023" y="1155"/>
                  </a:lnTo>
                  <a:lnTo>
                    <a:pt x="3023" y="1159"/>
                  </a:lnTo>
                  <a:lnTo>
                    <a:pt x="3023" y="1161"/>
                  </a:lnTo>
                  <a:lnTo>
                    <a:pt x="3025" y="1162"/>
                  </a:lnTo>
                  <a:lnTo>
                    <a:pt x="3023" y="1163"/>
                  </a:lnTo>
                  <a:lnTo>
                    <a:pt x="3027" y="1165"/>
                  </a:lnTo>
                  <a:lnTo>
                    <a:pt x="3026" y="1168"/>
                  </a:lnTo>
                  <a:lnTo>
                    <a:pt x="3027" y="1171"/>
                  </a:lnTo>
                  <a:lnTo>
                    <a:pt x="3027" y="1172"/>
                  </a:lnTo>
                  <a:lnTo>
                    <a:pt x="3028" y="1176"/>
                  </a:lnTo>
                  <a:lnTo>
                    <a:pt x="3028" y="1178"/>
                  </a:lnTo>
                  <a:lnTo>
                    <a:pt x="3029" y="1180"/>
                  </a:lnTo>
                  <a:lnTo>
                    <a:pt x="3029" y="1178"/>
                  </a:lnTo>
                  <a:lnTo>
                    <a:pt x="3029" y="1176"/>
                  </a:lnTo>
                  <a:lnTo>
                    <a:pt x="3029" y="1174"/>
                  </a:lnTo>
                  <a:lnTo>
                    <a:pt x="3029" y="1176"/>
                  </a:lnTo>
                  <a:lnTo>
                    <a:pt x="3030" y="1178"/>
                  </a:lnTo>
                  <a:lnTo>
                    <a:pt x="3031" y="1180"/>
                  </a:lnTo>
                  <a:lnTo>
                    <a:pt x="3033" y="1184"/>
                  </a:lnTo>
                  <a:lnTo>
                    <a:pt x="3034" y="1186"/>
                  </a:lnTo>
                  <a:lnTo>
                    <a:pt x="3035" y="1188"/>
                  </a:lnTo>
                  <a:lnTo>
                    <a:pt x="3035" y="1191"/>
                  </a:lnTo>
                  <a:lnTo>
                    <a:pt x="3036" y="1194"/>
                  </a:lnTo>
                  <a:lnTo>
                    <a:pt x="3036" y="1194"/>
                  </a:lnTo>
                  <a:lnTo>
                    <a:pt x="3036" y="1195"/>
                  </a:lnTo>
                  <a:lnTo>
                    <a:pt x="3035" y="1197"/>
                  </a:lnTo>
                  <a:lnTo>
                    <a:pt x="3036" y="1198"/>
                  </a:lnTo>
                  <a:lnTo>
                    <a:pt x="3036" y="1199"/>
                  </a:lnTo>
                  <a:lnTo>
                    <a:pt x="3037" y="1201"/>
                  </a:lnTo>
                  <a:lnTo>
                    <a:pt x="3036" y="1202"/>
                  </a:lnTo>
                  <a:lnTo>
                    <a:pt x="3036" y="1205"/>
                  </a:lnTo>
                  <a:lnTo>
                    <a:pt x="3035" y="1207"/>
                  </a:lnTo>
                  <a:lnTo>
                    <a:pt x="3038" y="1206"/>
                  </a:lnTo>
                  <a:lnTo>
                    <a:pt x="3037" y="1208"/>
                  </a:lnTo>
                  <a:lnTo>
                    <a:pt x="3037" y="1211"/>
                  </a:lnTo>
                  <a:lnTo>
                    <a:pt x="3037" y="1214"/>
                  </a:lnTo>
                  <a:lnTo>
                    <a:pt x="3037" y="1216"/>
                  </a:lnTo>
                  <a:lnTo>
                    <a:pt x="3035" y="1219"/>
                  </a:lnTo>
                  <a:lnTo>
                    <a:pt x="3033" y="1221"/>
                  </a:lnTo>
                  <a:lnTo>
                    <a:pt x="3034" y="1224"/>
                  </a:lnTo>
                  <a:lnTo>
                    <a:pt x="3034" y="1225"/>
                  </a:lnTo>
                  <a:lnTo>
                    <a:pt x="3034" y="1229"/>
                  </a:lnTo>
                  <a:lnTo>
                    <a:pt x="3034" y="1231"/>
                  </a:lnTo>
                  <a:lnTo>
                    <a:pt x="3034" y="1231"/>
                  </a:lnTo>
                  <a:lnTo>
                    <a:pt x="3035" y="1231"/>
                  </a:lnTo>
                  <a:lnTo>
                    <a:pt x="3036" y="1229"/>
                  </a:lnTo>
                  <a:lnTo>
                    <a:pt x="3037" y="1227"/>
                  </a:lnTo>
                  <a:lnTo>
                    <a:pt x="3037" y="1227"/>
                  </a:lnTo>
                  <a:lnTo>
                    <a:pt x="3037" y="1227"/>
                  </a:lnTo>
                  <a:lnTo>
                    <a:pt x="3036" y="1229"/>
                  </a:lnTo>
                  <a:lnTo>
                    <a:pt x="3036" y="1230"/>
                  </a:lnTo>
                  <a:lnTo>
                    <a:pt x="3035" y="1231"/>
                  </a:lnTo>
                  <a:lnTo>
                    <a:pt x="3035" y="1231"/>
                  </a:lnTo>
                  <a:lnTo>
                    <a:pt x="3035" y="1231"/>
                  </a:lnTo>
                  <a:lnTo>
                    <a:pt x="3035" y="1231"/>
                  </a:lnTo>
                  <a:lnTo>
                    <a:pt x="3035" y="1232"/>
                  </a:lnTo>
                  <a:lnTo>
                    <a:pt x="3035" y="1233"/>
                  </a:lnTo>
                  <a:lnTo>
                    <a:pt x="3035" y="1235"/>
                  </a:lnTo>
                  <a:lnTo>
                    <a:pt x="3033" y="1238"/>
                  </a:lnTo>
                  <a:lnTo>
                    <a:pt x="3033" y="1238"/>
                  </a:lnTo>
                  <a:lnTo>
                    <a:pt x="3033" y="1238"/>
                  </a:lnTo>
                  <a:lnTo>
                    <a:pt x="3031" y="1241"/>
                  </a:lnTo>
                  <a:lnTo>
                    <a:pt x="3031" y="1244"/>
                  </a:lnTo>
                  <a:lnTo>
                    <a:pt x="3031" y="1244"/>
                  </a:lnTo>
                  <a:lnTo>
                    <a:pt x="3030" y="1247"/>
                  </a:lnTo>
                  <a:lnTo>
                    <a:pt x="3030" y="1248"/>
                  </a:lnTo>
                  <a:lnTo>
                    <a:pt x="3030" y="1249"/>
                  </a:lnTo>
                  <a:lnTo>
                    <a:pt x="3029" y="1250"/>
                  </a:lnTo>
                  <a:lnTo>
                    <a:pt x="3029" y="1253"/>
                  </a:lnTo>
                  <a:lnTo>
                    <a:pt x="3030" y="1255"/>
                  </a:lnTo>
                  <a:lnTo>
                    <a:pt x="3036" y="1254"/>
                  </a:lnTo>
                  <a:lnTo>
                    <a:pt x="3036" y="1256"/>
                  </a:lnTo>
                  <a:lnTo>
                    <a:pt x="3042" y="1261"/>
                  </a:lnTo>
                  <a:lnTo>
                    <a:pt x="3042" y="1263"/>
                  </a:lnTo>
                  <a:lnTo>
                    <a:pt x="3044" y="1264"/>
                  </a:lnTo>
                  <a:lnTo>
                    <a:pt x="3045" y="1266"/>
                  </a:lnTo>
                  <a:lnTo>
                    <a:pt x="3048" y="1268"/>
                  </a:lnTo>
                  <a:lnTo>
                    <a:pt x="3050" y="1271"/>
                  </a:lnTo>
                  <a:lnTo>
                    <a:pt x="3051" y="1271"/>
                  </a:lnTo>
                  <a:lnTo>
                    <a:pt x="3050" y="1273"/>
                  </a:lnTo>
                  <a:lnTo>
                    <a:pt x="3055" y="1281"/>
                  </a:lnTo>
                  <a:lnTo>
                    <a:pt x="3055" y="1281"/>
                  </a:lnTo>
                  <a:lnTo>
                    <a:pt x="3055" y="1281"/>
                  </a:lnTo>
                  <a:lnTo>
                    <a:pt x="3055" y="1281"/>
                  </a:lnTo>
                  <a:lnTo>
                    <a:pt x="3056" y="1283"/>
                  </a:lnTo>
                  <a:lnTo>
                    <a:pt x="3057" y="1284"/>
                  </a:lnTo>
                  <a:lnTo>
                    <a:pt x="3059" y="1287"/>
                  </a:lnTo>
                  <a:lnTo>
                    <a:pt x="3060" y="1290"/>
                  </a:lnTo>
                  <a:lnTo>
                    <a:pt x="3059" y="1292"/>
                  </a:lnTo>
                  <a:lnTo>
                    <a:pt x="3060" y="1293"/>
                  </a:lnTo>
                  <a:lnTo>
                    <a:pt x="3060" y="1296"/>
                  </a:lnTo>
                  <a:lnTo>
                    <a:pt x="3060" y="1298"/>
                  </a:lnTo>
                  <a:lnTo>
                    <a:pt x="3060" y="1301"/>
                  </a:lnTo>
                  <a:lnTo>
                    <a:pt x="3062" y="1304"/>
                  </a:lnTo>
                  <a:lnTo>
                    <a:pt x="3063" y="1306"/>
                  </a:lnTo>
                  <a:lnTo>
                    <a:pt x="3062" y="1309"/>
                  </a:lnTo>
                  <a:lnTo>
                    <a:pt x="3063" y="1312"/>
                  </a:lnTo>
                  <a:lnTo>
                    <a:pt x="3067" y="1314"/>
                  </a:lnTo>
                  <a:lnTo>
                    <a:pt x="3065" y="1316"/>
                  </a:lnTo>
                  <a:lnTo>
                    <a:pt x="3065" y="1317"/>
                  </a:lnTo>
                  <a:lnTo>
                    <a:pt x="3068" y="1319"/>
                  </a:lnTo>
                  <a:lnTo>
                    <a:pt x="3070" y="1322"/>
                  </a:lnTo>
                  <a:lnTo>
                    <a:pt x="3072" y="1324"/>
                  </a:lnTo>
                  <a:lnTo>
                    <a:pt x="3073" y="1327"/>
                  </a:lnTo>
                  <a:lnTo>
                    <a:pt x="3072" y="1330"/>
                  </a:lnTo>
                  <a:lnTo>
                    <a:pt x="3074" y="1332"/>
                  </a:lnTo>
                  <a:lnTo>
                    <a:pt x="3077" y="1333"/>
                  </a:lnTo>
                  <a:lnTo>
                    <a:pt x="3078" y="1333"/>
                  </a:lnTo>
                  <a:lnTo>
                    <a:pt x="3079" y="1333"/>
                  </a:lnTo>
                  <a:lnTo>
                    <a:pt x="3081" y="1336"/>
                  </a:lnTo>
                  <a:lnTo>
                    <a:pt x="3084" y="1339"/>
                  </a:lnTo>
                  <a:lnTo>
                    <a:pt x="3087" y="1340"/>
                  </a:lnTo>
                  <a:lnTo>
                    <a:pt x="3088" y="1340"/>
                  </a:lnTo>
                  <a:lnTo>
                    <a:pt x="3089" y="1341"/>
                  </a:lnTo>
                  <a:lnTo>
                    <a:pt x="3091" y="1343"/>
                  </a:lnTo>
                  <a:lnTo>
                    <a:pt x="3094" y="1344"/>
                  </a:lnTo>
                  <a:lnTo>
                    <a:pt x="3096" y="1345"/>
                  </a:lnTo>
                  <a:lnTo>
                    <a:pt x="3099" y="1347"/>
                  </a:lnTo>
                  <a:lnTo>
                    <a:pt x="3102" y="1350"/>
                  </a:lnTo>
                  <a:lnTo>
                    <a:pt x="3104" y="1350"/>
                  </a:lnTo>
                  <a:lnTo>
                    <a:pt x="3105" y="1349"/>
                  </a:lnTo>
                  <a:lnTo>
                    <a:pt x="3108" y="1349"/>
                  </a:lnTo>
                  <a:lnTo>
                    <a:pt x="3108" y="1347"/>
                  </a:lnTo>
                  <a:lnTo>
                    <a:pt x="3108" y="1345"/>
                  </a:lnTo>
                  <a:lnTo>
                    <a:pt x="3110" y="1349"/>
                  </a:lnTo>
                  <a:lnTo>
                    <a:pt x="3113" y="1350"/>
                  </a:lnTo>
                  <a:lnTo>
                    <a:pt x="3112" y="1347"/>
                  </a:lnTo>
                  <a:lnTo>
                    <a:pt x="3112" y="1344"/>
                  </a:lnTo>
                  <a:lnTo>
                    <a:pt x="3111" y="1341"/>
                  </a:lnTo>
                  <a:lnTo>
                    <a:pt x="3108" y="1339"/>
                  </a:lnTo>
                  <a:lnTo>
                    <a:pt x="3107" y="1336"/>
                  </a:lnTo>
                  <a:lnTo>
                    <a:pt x="3107" y="1335"/>
                  </a:lnTo>
                  <a:lnTo>
                    <a:pt x="3106" y="1333"/>
                  </a:lnTo>
                  <a:lnTo>
                    <a:pt x="3104" y="1332"/>
                  </a:lnTo>
                  <a:lnTo>
                    <a:pt x="3103" y="1332"/>
                  </a:lnTo>
                  <a:lnTo>
                    <a:pt x="3102" y="1329"/>
                  </a:lnTo>
                  <a:lnTo>
                    <a:pt x="3102" y="1324"/>
                  </a:lnTo>
                  <a:lnTo>
                    <a:pt x="3102" y="1321"/>
                  </a:lnTo>
                  <a:lnTo>
                    <a:pt x="3100" y="1319"/>
                  </a:lnTo>
                  <a:lnTo>
                    <a:pt x="3100" y="1317"/>
                  </a:lnTo>
                  <a:lnTo>
                    <a:pt x="3102" y="1314"/>
                  </a:lnTo>
                  <a:lnTo>
                    <a:pt x="3102" y="1312"/>
                  </a:lnTo>
                  <a:lnTo>
                    <a:pt x="3102" y="1312"/>
                  </a:lnTo>
                  <a:lnTo>
                    <a:pt x="3102" y="1309"/>
                  </a:lnTo>
                  <a:lnTo>
                    <a:pt x="3102" y="1306"/>
                  </a:lnTo>
                  <a:lnTo>
                    <a:pt x="3102" y="1304"/>
                  </a:lnTo>
                  <a:lnTo>
                    <a:pt x="3099" y="1300"/>
                  </a:lnTo>
                  <a:lnTo>
                    <a:pt x="3098" y="1298"/>
                  </a:lnTo>
                  <a:lnTo>
                    <a:pt x="3097" y="1296"/>
                  </a:lnTo>
                  <a:lnTo>
                    <a:pt x="3097" y="1296"/>
                  </a:lnTo>
                  <a:lnTo>
                    <a:pt x="3094" y="1292"/>
                  </a:lnTo>
                  <a:lnTo>
                    <a:pt x="3091" y="1291"/>
                  </a:lnTo>
                  <a:lnTo>
                    <a:pt x="3089" y="1289"/>
                  </a:lnTo>
                  <a:lnTo>
                    <a:pt x="3087" y="1285"/>
                  </a:lnTo>
                  <a:lnTo>
                    <a:pt x="3085" y="1283"/>
                  </a:lnTo>
                  <a:lnTo>
                    <a:pt x="3082" y="1283"/>
                  </a:lnTo>
                  <a:lnTo>
                    <a:pt x="3080" y="1281"/>
                  </a:lnTo>
                  <a:lnTo>
                    <a:pt x="3078" y="1279"/>
                  </a:lnTo>
                  <a:lnTo>
                    <a:pt x="3076" y="1275"/>
                  </a:lnTo>
                  <a:lnTo>
                    <a:pt x="3073" y="1274"/>
                  </a:lnTo>
                  <a:lnTo>
                    <a:pt x="3072" y="1274"/>
                  </a:lnTo>
                  <a:lnTo>
                    <a:pt x="3069" y="1274"/>
                  </a:lnTo>
                  <a:lnTo>
                    <a:pt x="3067" y="1273"/>
                  </a:lnTo>
                  <a:lnTo>
                    <a:pt x="3063" y="1272"/>
                  </a:lnTo>
                  <a:lnTo>
                    <a:pt x="3061" y="1271"/>
                  </a:lnTo>
                  <a:lnTo>
                    <a:pt x="3060" y="1268"/>
                  </a:lnTo>
                  <a:lnTo>
                    <a:pt x="3056" y="1266"/>
                  </a:lnTo>
                  <a:lnTo>
                    <a:pt x="3056" y="1263"/>
                  </a:lnTo>
                  <a:lnTo>
                    <a:pt x="3056" y="1262"/>
                  </a:lnTo>
                  <a:lnTo>
                    <a:pt x="3057" y="1265"/>
                  </a:lnTo>
                  <a:lnTo>
                    <a:pt x="3060" y="1267"/>
                  </a:lnTo>
                  <a:lnTo>
                    <a:pt x="3060" y="1267"/>
                  </a:lnTo>
                  <a:lnTo>
                    <a:pt x="3060" y="1267"/>
                  </a:lnTo>
                  <a:lnTo>
                    <a:pt x="3060" y="1265"/>
                  </a:lnTo>
                  <a:lnTo>
                    <a:pt x="3060" y="1262"/>
                  </a:lnTo>
                  <a:lnTo>
                    <a:pt x="3059" y="1261"/>
                  </a:lnTo>
                  <a:lnTo>
                    <a:pt x="3057" y="1256"/>
                  </a:lnTo>
                  <a:lnTo>
                    <a:pt x="3057" y="1254"/>
                  </a:lnTo>
                  <a:lnTo>
                    <a:pt x="3056" y="1252"/>
                  </a:lnTo>
                  <a:lnTo>
                    <a:pt x="3056" y="1253"/>
                  </a:lnTo>
                  <a:lnTo>
                    <a:pt x="3056" y="1252"/>
                  </a:lnTo>
                  <a:lnTo>
                    <a:pt x="3056" y="1254"/>
                  </a:lnTo>
                  <a:lnTo>
                    <a:pt x="3054" y="1252"/>
                  </a:lnTo>
                  <a:lnTo>
                    <a:pt x="3054" y="1250"/>
                  </a:lnTo>
                  <a:lnTo>
                    <a:pt x="3053" y="1247"/>
                  </a:lnTo>
                  <a:lnTo>
                    <a:pt x="3053" y="1246"/>
                  </a:lnTo>
                  <a:lnTo>
                    <a:pt x="3053" y="1244"/>
                  </a:lnTo>
                  <a:lnTo>
                    <a:pt x="3051" y="1241"/>
                  </a:lnTo>
                  <a:lnTo>
                    <a:pt x="3048" y="1241"/>
                  </a:lnTo>
                  <a:lnTo>
                    <a:pt x="3046" y="1242"/>
                  </a:lnTo>
                  <a:lnTo>
                    <a:pt x="3045" y="1240"/>
                  </a:lnTo>
                  <a:lnTo>
                    <a:pt x="3044" y="1239"/>
                  </a:lnTo>
                  <a:lnTo>
                    <a:pt x="3044" y="1237"/>
                  </a:lnTo>
                  <a:lnTo>
                    <a:pt x="3043" y="1235"/>
                  </a:lnTo>
                  <a:lnTo>
                    <a:pt x="3043" y="1231"/>
                  </a:lnTo>
                  <a:lnTo>
                    <a:pt x="3043" y="1231"/>
                  </a:lnTo>
                  <a:lnTo>
                    <a:pt x="3043" y="1229"/>
                  </a:lnTo>
                  <a:lnTo>
                    <a:pt x="3044" y="1227"/>
                  </a:lnTo>
                  <a:lnTo>
                    <a:pt x="3044" y="1225"/>
                  </a:lnTo>
                  <a:lnTo>
                    <a:pt x="3044" y="1223"/>
                  </a:lnTo>
                  <a:lnTo>
                    <a:pt x="3046" y="1221"/>
                  </a:lnTo>
                  <a:lnTo>
                    <a:pt x="3046" y="1221"/>
                  </a:lnTo>
                  <a:lnTo>
                    <a:pt x="3046" y="1221"/>
                  </a:lnTo>
                  <a:lnTo>
                    <a:pt x="3047" y="1218"/>
                  </a:lnTo>
                  <a:lnTo>
                    <a:pt x="3047" y="1218"/>
                  </a:lnTo>
                  <a:lnTo>
                    <a:pt x="3047" y="1216"/>
                  </a:lnTo>
                  <a:lnTo>
                    <a:pt x="3048" y="1213"/>
                  </a:lnTo>
                  <a:lnTo>
                    <a:pt x="3048" y="1212"/>
                  </a:lnTo>
                  <a:lnTo>
                    <a:pt x="3050" y="1210"/>
                  </a:lnTo>
                  <a:lnTo>
                    <a:pt x="3052" y="1207"/>
                  </a:lnTo>
                  <a:lnTo>
                    <a:pt x="3052" y="1206"/>
                  </a:lnTo>
                  <a:lnTo>
                    <a:pt x="3052" y="1206"/>
                  </a:lnTo>
                  <a:lnTo>
                    <a:pt x="3052" y="1204"/>
                  </a:lnTo>
                  <a:lnTo>
                    <a:pt x="3054" y="1202"/>
                  </a:lnTo>
                  <a:lnTo>
                    <a:pt x="3054" y="1202"/>
                  </a:lnTo>
                  <a:lnTo>
                    <a:pt x="3054" y="1202"/>
                  </a:lnTo>
                  <a:lnTo>
                    <a:pt x="3054" y="1198"/>
                  </a:lnTo>
                  <a:lnTo>
                    <a:pt x="3054" y="1195"/>
                  </a:lnTo>
                  <a:lnTo>
                    <a:pt x="3054" y="1195"/>
                  </a:lnTo>
                  <a:lnTo>
                    <a:pt x="3054" y="1194"/>
                  </a:lnTo>
                  <a:lnTo>
                    <a:pt x="3055" y="1189"/>
                  </a:lnTo>
                  <a:lnTo>
                    <a:pt x="3055" y="1189"/>
                  </a:lnTo>
                  <a:lnTo>
                    <a:pt x="3055" y="1189"/>
                  </a:lnTo>
                  <a:lnTo>
                    <a:pt x="3054" y="1187"/>
                  </a:lnTo>
                  <a:lnTo>
                    <a:pt x="3054" y="1186"/>
                  </a:lnTo>
                  <a:lnTo>
                    <a:pt x="3055" y="1184"/>
                  </a:lnTo>
                  <a:lnTo>
                    <a:pt x="3057" y="1182"/>
                  </a:lnTo>
                  <a:lnTo>
                    <a:pt x="3061" y="1184"/>
                  </a:lnTo>
                  <a:lnTo>
                    <a:pt x="3062" y="1181"/>
                  </a:lnTo>
                  <a:lnTo>
                    <a:pt x="3065" y="1184"/>
                  </a:lnTo>
                  <a:lnTo>
                    <a:pt x="3068" y="1184"/>
                  </a:lnTo>
                  <a:lnTo>
                    <a:pt x="3068" y="1184"/>
                  </a:lnTo>
                  <a:lnTo>
                    <a:pt x="3067" y="1185"/>
                  </a:lnTo>
                  <a:lnTo>
                    <a:pt x="3067" y="1186"/>
                  </a:lnTo>
                  <a:lnTo>
                    <a:pt x="3067" y="1189"/>
                  </a:lnTo>
                  <a:lnTo>
                    <a:pt x="3067" y="1190"/>
                  </a:lnTo>
                  <a:lnTo>
                    <a:pt x="3067" y="1191"/>
                  </a:lnTo>
                  <a:lnTo>
                    <a:pt x="3067" y="1193"/>
                  </a:lnTo>
                  <a:lnTo>
                    <a:pt x="3068" y="1195"/>
                  </a:lnTo>
                  <a:lnTo>
                    <a:pt x="3070" y="1195"/>
                  </a:lnTo>
                  <a:lnTo>
                    <a:pt x="3071" y="1195"/>
                  </a:lnTo>
                  <a:lnTo>
                    <a:pt x="3073" y="1195"/>
                  </a:lnTo>
                  <a:lnTo>
                    <a:pt x="3079" y="1194"/>
                  </a:lnTo>
                  <a:lnTo>
                    <a:pt x="3081" y="1196"/>
                  </a:lnTo>
                  <a:lnTo>
                    <a:pt x="3082" y="1197"/>
                  </a:lnTo>
                  <a:lnTo>
                    <a:pt x="3082" y="1197"/>
                  </a:lnTo>
                  <a:lnTo>
                    <a:pt x="3085" y="1199"/>
                  </a:lnTo>
                  <a:lnTo>
                    <a:pt x="3086" y="1198"/>
                  </a:lnTo>
                  <a:lnTo>
                    <a:pt x="3087" y="1202"/>
                  </a:lnTo>
                  <a:lnTo>
                    <a:pt x="3089" y="1201"/>
                  </a:lnTo>
                  <a:lnTo>
                    <a:pt x="3091" y="1203"/>
                  </a:lnTo>
                  <a:lnTo>
                    <a:pt x="3091" y="1203"/>
                  </a:lnTo>
                  <a:lnTo>
                    <a:pt x="3091" y="1204"/>
                  </a:lnTo>
                  <a:lnTo>
                    <a:pt x="3094" y="1206"/>
                  </a:lnTo>
                  <a:lnTo>
                    <a:pt x="3094" y="1206"/>
                  </a:lnTo>
                  <a:lnTo>
                    <a:pt x="3094" y="1207"/>
                  </a:lnTo>
                  <a:lnTo>
                    <a:pt x="3094" y="1208"/>
                  </a:lnTo>
                  <a:lnTo>
                    <a:pt x="3094" y="1206"/>
                  </a:lnTo>
                  <a:lnTo>
                    <a:pt x="3094" y="1206"/>
                  </a:lnTo>
                  <a:lnTo>
                    <a:pt x="3094" y="1208"/>
                  </a:lnTo>
                  <a:lnTo>
                    <a:pt x="3094" y="1206"/>
                  </a:lnTo>
                  <a:lnTo>
                    <a:pt x="3095" y="1208"/>
                  </a:lnTo>
                  <a:lnTo>
                    <a:pt x="3096" y="1208"/>
                  </a:lnTo>
                  <a:lnTo>
                    <a:pt x="3095" y="1210"/>
                  </a:lnTo>
                  <a:lnTo>
                    <a:pt x="3095" y="1210"/>
                  </a:lnTo>
                  <a:lnTo>
                    <a:pt x="3095" y="1210"/>
                  </a:lnTo>
                  <a:lnTo>
                    <a:pt x="3096" y="1210"/>
                  </a:lnTo>
                  <a:lnTo>
                    <a:pt x="3097" y="1211"/>
                  </a:lnTo>
                  <a:lnTo>
                    <a:pt x="3097" y="1215"/>
                  </a:lnTo>
                  <a:lnTo>
                    <a:pt x="3097" y="1216"/>
                  </a:lnTo>
                  <a:lnTo>
                    <a:pt x="3097" y="1218"/>
                  </a:lnTo>
                  <a:lnTo>
                    <a:pt x="3097" y="1219"/>
                  </a:lnTo>
                  <a:lnTo>
                    <a:pt x="3097" y="1220"/>
                  </a:lnTo>
                  <a:lnTo>
                    <a:pt x="3100" y="1220"/>
                  </a:lnTo>
                  <a:lnTo>
                    <a:pt x="3100" y="1219"/>
                  </a:lnTo>
                  <a:lnTo>
                    <a:pt x="3100" y="1219"/>
                  </a:lnTo>
                  <a:lnTo>
                    <a:pt x="3102" y="1216"/>
                  </a:lnTo>
                  <a:lnTo>
                    <a:pt x="3103" y="1215"/>
                  </a:lnTo>
                  <a:lnTo>
                    <a:pt x="3105" y="1218"/>
                  </a:lnTo>
                  <a:lnTo>
                    <a:pt x="3105" y="1219"/>
                  </a:lnTo>
                  <a:lnTo>
                    <a:pt x="3104" y="1221"/>
                  </a:lnTo>
                  <a:lnTo>
                    <a:pt x="3105" y="1221"/>
                  </a:lnTo>
                  <a:lnTo>
                    <a:pt x="3105" y="1221"/>
                  </a:lnTo>
                  <a:lnTo>
                    <a:pt x="3103" y="1222"/>
                  </a:lnTo>
                  <a:lnTo>
                    <a:pt x="3103" y="1222"/>
                  </a:lnTo>
                  <a:lnTo>
                    <a:pt x="3103" y="1222"/>
                  </a:lnTo>
                  <a:lnTo>
                    <a:pt x="3103" y="1223"/>
                  </a:lnTo>
                  <a:lnTo>
                    <a:pt x="3105" y="1224"/>
                  </a:lnTo>
                  <a:lnTo>
                    <a:pt x="3107" y="1223"/>
                  </a:lnTo>
                  <a:lnTo>
                    <a:pt x="3113" y="1225"/>
                  </a:lnTo>
                  <a:lnTo>
                    <a:pt x="3114" y="1224"/>
                  </a:lnTo>
                  <a:lnTo>
                    <a:pt x="3115" y="1227"/>
                  </a:lnTo>
                  <a:lnTo>
                    <a:pt x="3116" y="1225"/>
                  </a:lnTo>
                  <a:lnTo>
                    <a:pt x="3115" y="1227"/>
                  </a:lnTo>
                  <a:lnTo>
                    <a:pt x="3115" y="1227"/>
                  </a:lnTo>
                  <a:lnTo>
                    <a:pt x="3115" y="1227"/>
                  </a:lnTo>
                  <a:lnTo>
                    <a:pt x="3117" y="1229"/>
                  </a:lnTo>
                  <a:lnTo>
                    <a:pt x="3120" y="1229"/>
                  </a:lnTo>
                  <a:lnTo>
                    <a:pt x="3123" y="1231"/>
                  </a:lnTo>
                  <a:lnTo>
                    <a:pt x="3124" y="1233"/>
                  </a:lnTo>
                  <a:lnTo>
                    <a:pt x="3121" y="1233"/>
                  </a:lnTo>
                  <a:lnTo>
                    <a:pt x="3121" y="1233"/>
                  </a:lnTo>
                  <a:lnTo>
                    <a:pt x="3121" y="1233"/>
                  </a:lnTo>
                  <a:lnTo>
                    <a:pt x="3121" y="1237"/>
                  </a:lnTo>
                  <a:lnTo>
                    <a:pt x="3120" y="1238"/>
                  </a:lnTo>
                  <a:lnTo>
                    <a:pt x="3120" y="1238"/>
                  </a:lnTo>
                  <a:lnTo>
                    <a:pt x="3120" y="1238"/>
                  </a:lnTo>
                  <a:lnTo>
                    <a:pt x="3120" y="1240"/>
                  </a:lnTo>
                  <a:lnTo>
                    <a:pt x="3120" y="1248"/>
                  </a:lnTo>
                  <a:lnTo>
                    <a:pt x="3122" y="1248"/>
                  </a:lnTo>
                  <a:lnTo>
                    <a:pt x="3122" y="1249"/>
                  </a:lnTo>
                  <a:lnTo>
                    <a:pt x="3120" y="1250"/>
                  </a:lnTo>
                  <a:lnTo>
                    <a:pt x="3120" y="1250"/>
                  </a:lnTo>
                  <a:lnTo>
                    <a:pt x="3120" y="1250"/>
                  </a:lnTo>
                  <a:lnTo>
                    <a:pt x="3122" y="1252"/>
                  </a:lnTo>
                  <a:lnTo>
                    <a:pt x="3124" y="1249"/>
                  </a:lnTo>
                  <a:lnTo>
                    <a:pt x="3125" y="1249"/>
                  </a:lnTo>
                  <a:lnTo>
                    <a:pt x="3125" y="1249"/>
                  </a:lnTo>
                  <a:lnTo>
                    <a:pt x="3127" y="1248"/>
                  </a:lnTo>
                  <a:lnTo>
                    <a:pt x="3128" y="1246"/>
                  </a:lnTo>
                  <a:lnTo>
                    <a:pt x="3128" y="1246"/>
                  </a:lnTo>
                  <a:lnTo>
                    <a:pt x="3128" y="1246"/>
                  </a:lnTo>
                  <a:lnTo>
                    <a:pt x="3128" y="1245"/>
                  </a:lnTo>
                  <a:lnTo>
                    <a:pt x="3131" y="1244"/>
                  </a:lnTo>
                  <a:lnTo>
                    <a:pt x="3137" y="1241"/>
                  </a:lnTo>
                  <a:lnTo>
                    <a:pt x="3138" y="1240"/>
                  </a:lnTo>
                  <a:lnTo>
                    <a:pt x="3138" y="1239"/>
                  </a:lnTo>
                  <a:lnTo>
                    <a:pt x="3138" y="1239"/>
                  </a:lnTo>
                  <a:lnTo>
                    <a:pt x="3138" y="1237"/>
                  </a:lnTo>
                  <a:lnTo>
                    <a:pt x="3137" y="1235"/>
                  </a:lnTo>
                  <a:lnTo>
                    <a:pt x="3134" y="1232"/>
                  </a:lnTo>
                  <a:lnTo>
                    <a:pt x="3134" y="1232"/>
                  </a:lnTo>
                  <a:lnTo>
                    <a:pt x="3136" y="1233"/>
                  </a:lnTo>
                  <a:lnTo>
                    <a:pt x="3138" y="1236"/>
                  </a:lnTo>
                  <a:lnTo>
                    <a:pt x="3141" y="1238"/>
                  </a:lnTo>
                  <a:lnTo>
                    <a:pt x="3144" y="1237"/>
                  </a:lnTo>
                  <a:lnTo>
                    <a:pt x="3144" y="1237"/>
                  </a:lnTo>
                  <a:lnTo>
                    <a:pt x="3144" y="1237"/>
                  </a:lnTo>
                  <a:lnTo>
                    <a:pt x="3144" y="1235"/>
                  </a:lnTo>
                  <a:lnTo>
                    <a:pt x="3141" y="1231"/>
                  </a:lnTo>
                  <a:lnTo>
                    <a:pt x="3140" y="1231"/>
                  </a:lnTo>
                  <a:lnTo>
                    <a:pt x="3139" y="1230"/>
                  </a:lnTo>
                  <a:lnTo>
                    <a:pt x="3138" y="1229"/>
                  </a:lnTo>
                  <a:lnTo>
                    <a:pt x="3140" y="1230"/>
                  </a:lnTo>
                  <a:lnTo>
                    <a:pt x="3140" y="1231"/>
                  </a:lnTo>
                  <a:lnTo>
                    <a:pt x="3141" y="1231"/>
                  </a:lnTo>
                  <a:lnTo>
                    <a:pt x="3144" y="1233"/>
                  </a:lnTo>
                  <a:lnTo>
                    <a:pt x="3144" y="1233"/>
                  </a:lnTo>
                  <a:lnTo>
                    <a:pt x="3144" y="1233"/>
                  </a:lnTo>
                  <a:lnTo>
                    <a:pt x="3144" y="1231"/>
                  </a:lnTo>
                  <a:lnTo>
                    <a:pt x="3142" y="1231"/>
                  </a:lnTo>
                  <a:lnTo>
                    <a:pt x="3144" y="1231"/>
                  </a:lnTo>
                  <a:lnTo>
                    <a:pt x="3145" y="1231"/>
                  </a:lnTo>
                  <a:lnTo>
                    <a:pt x="3146" y="1230"/>
                  </a:lnTo>
                  <a:lnTo>
                    <a:pt x="3146" y="1230"/>
                  </a:lnTo>
                  <a:lnTo>
                    <a:pt x="3144" y="1228"/>
                  </a:lnTo>
                  <a:lnTo>
                    <a:pt x="3142" y="1228"/>
                  </a:lnTo>
                  <a:lnTo>
                    <a:pt x="3142" y="1228"/>
                  </a:lnTo>
                  <a:lnTo>
                    <a:pt x="3145" y="1228"/>
                  </a:lnTo>
                  <a:lnTo>
                    <a:pt x="3145" y="1228"/>
                  </a:lnTo>
                  <a:lnTo>
                    <a:pt x="3145" y="1228"/>
                  </a:lnTo>
                  <a:lnTo>
                    <a:pt x="3145" y="1224"/>
                  </a:lnTo>
                  <a:lnTo>
                    <a:pt x="3145" y="1224"/>
                  </a:lnTo>
                  <a:lnTo>
                    <a:pt x="3147" y="1222"/>
                  </a:lnTo>
                  <a:lnTo>
                    <a:pt x="3147" y="1222"/>
                  </a:lnTo>
                  <a:lnTo>
                    <a:pt x="3148" y="1222"/>
                  </a:lnTo>
                  <a:lnTo>
                    <a:pt x="3149" y="1222"/>
                  </a:lnTo>
                  <a:lnTo>
                    <a:pt x="3150" y="1224"/>
                  </a:lnTo>
                  <a:lnTo>
                    <a:pt x="3154" y="1225"/>
                  </a:lnTo>
                  <a:lnTo>
                    <a:pt x="3157" y="1224"/>
                  </a:lnTo>
                  <a:lnTo>
                    <a:pt x="3161" y="1222"/>
                  </a:lnTo>
                  <a:lnTo>
                    <a:pt x="3163" y="1222"/>
                  </a:lnTo>
                  <a:lnTo>
                    <a:pt x="3165" y="1220"/>
                  </a:lnTo>
                  <a:lnTo>
                    <a:pt x="3166" y="1219"/>
                  </a:lnTo>
                  <a:lnTo>
                    <a:pt x="3168" y="1218"/>
                  </a:lnTo>
                  <a:lnTo>
                    <a:pt x="3171" y="1215"/>
                  </a:lnTo>
                  <a:lnTo>
                    <a:pt x="3175" y="1213"/>
                  </a:lnTo>
                  <a:lnTo>
                    <a:pt x="3178" y="1211"/>
                  </a:lnTo>
                  <a:lnTo>
                    <a:pt x="3178" y="1211"/>
                  </a:lnTo>
                  <a:lnTo>
                    <a:pt x="3178" y="1211"/>
                  </a:lnTo>
                  <a:lnTo>
                    <a:pt x="3178" y="1210"/>
                  </a:lnTo>
                  <a:lnTo>
                    <a:pt x="3180" y="1207"/>
                  </a:lnTo>
                  <a:lnTo>
                    <a:pt x="3180" y="1207"/>
                  </a:lnTo>
                  <a:lnTo>
                    <a:pt x="3181" y="1207"/>
                  </a:lnTo>
                  <a:lnTo>
                    <a:pt x="3179" y="1206"/>
                  </a:lnTo>
                  <a:lnTo>
                    <a:pt x="3180" y="1204"/>
                  </a:lnTo>
                  <a:lnTo>
                    <a:pt x="3180" y="1204"/>
                  </a:lnTo>
                  <a:lnTo>
                    <a:pt x="3180" y="1204"/>
                  </a:lnTo>
                  <a:lnTo>
                    <a:pt x="3180" y="1203"/>
                  </a:lnTo>
                  <a:lnTo>
                    <a:pt x="3181" y="1201"/>
                  </a:lnTo>
                  <a:lnTo>
                    <a:pt x="3180" y="1201"/>
                  </a:lnTo>
                  <a:lnTo>
                    <a:pt x="3180" y="1201"/>
                  </a:lnTo>
                  <a:lnTo>
                    <a:pt x="3180" y="1201"/>
                  </a:lnTo>
                  <a:lnTo>
                    <a:pt x="3180" y="1199"/>
                  </a:lnTo>
                  <a:lnTo>
                    <a:pt x="3180" y="1199"/>
                  </a:lnTo>
                  <a:lnTo>
                    <a:pt x="3180" y="1197"/>
                  </a:lnTo>
                  <a:lnTo>
                    <a:pt x="3181" y="1197"/>
                  </a:lnTo>
                  <a:lnTo>
                    <a:pt x="3181" y="1197"/>
                  </a:lnTo>
                  <a:lnTo>
                    <a:pt x="3181" y="1197"/>
                  </a:lnTo>
                  <a:lnTo>
                    <a:pt x="3181" y="1195"/>
                  </a:lnTo>
                  <a:lnTo>
                    <a:pt x="3183" y="1195"/>
                  </a:lnTo>
                  <a:lnTo>
                    <a:pt x="3183" y="1195"/>
                  </a:lnTo>
                  <a:lnTo>
                    <a:pt x="3183" y="1195"/>
                  </a:lnTo>
                  <a:lnTo>
                    <a:pt x="3183" y="1191"/>
                  </a:lnTo>
                  <a:lnTo>
                    <a:pt x="3183" y="1191"/>
                  </a:lnTo>
                  <a:lnTo>
                    <a:pt x="3183" y="1191"/>
                  </a:lnTo>
                  <a:lnTo>
                    <a:pt x="3183" y="1191"/>
                  </a:lnTo>
                  <a:lnTo>
                    <a:pt x="3182" y="1189"/>
                  </a:lnTo>
                  <a:lnTo>
                    <a:pt x="3182" y="1189"/>
                  </a:lnTo>
                  <a:lnTo>
                    <a:pt x="3182" y="1186"/>
                  </a:lnTo>
                  <a:lnTo>
                    <a:pt x="3181" y="1184"/>
                  </a:lnTo>
                  <a:lnTo>
                    <a:pt x="3181" y="1177"/>
                  </a:lnTo>
                  <a:lnTo>
                    <a:pt x="3181" y="1174"/>
                  </a:lnTo>
                  <a:lnTo>
                    <a:pt x="3180" y="1172"/>
                  </a:lnTo>
                  <a:lnTo>
                    <a:pt x="3179" y="1169"/>
                  </a:lnTo>
                  <a:lnTo>
                    <a:pt x="3179" y="1167"/>
                  </a:lnTo>
                  <a:lnTo>
                    <a:pt x="3178" y="1164"/>
                  </a:lnTo>
                  <a:lnTo>
                    <a:pt x="3176" y="1162"/>
                  </a:lnTo>
                  <a:lnTo>
                    <a:pt x="3175" y="1160"/>
                  </a:lnTo>
                  <a:lnTo>
                    <a:pt x="3175" y="1158"/>
                  </a:lnTo>
                  <a:lnTo>
                    <a:pt x="3174" y="1158"/>
                  </a:lnTo>
                  <a:lnTo>
                    <a:pt x="3174" y="1156"/>
                  </a:lnTo>
                  <a:lnTo>
                    <a:pt x="3172" y="1155"/>
                  </a:lnTo>
                  <a:lnTo>
                    <a:pt x="3171" y="1153"/>
                  </a:lnTo>
                  <a:lnTo>
                    <a:pt x="3170" y="1150"/>
                  </a:lnTo>
                  <a:lnTo>
                    <a:pt x="3168" y="1150"/>
                  </a:lnTo>
                  <a:lnTo>
                    <a:pt x="3167" y="1147"/>
                  </a:lnTo>
                  <a:lnTo>
                    <a:pt x="3167" y="1147"/>
                  </a:lnTo>
                  <a:lnTo>
                    <a:pt x="3167" y="1147"/>
                  </a:lnTo>
                  <a:lnTo>
                    <a:pt x="3167" y="1147"/>
                  </a:lnTo>
                  <a:lnTo>
                    <a:pt x="3166" y="1146"/>
                  </a:lnTo>
                  <a:lnTo>
                    <a:pt x="3167" y="1147"/>
                  </a:lnTo>
                  <a:lnTo>
                    <a:pt x="3166" y="1147"/>
                  </a:lnTo>
                  <a:lnTo>
                    <a:pt x="3166" y="1147"/>
                  </a:lnTo>
                  <a:lnTo>
                    <a:pt x="3166" y="1147"/>
                  </a:lnTo>
                  <a:lnTo>
                    <a:pt x="3166" y="1147"/>
                  </a:lnTo>
                  <a:lnTo>
                    <a:pt x="3167" y="1147"/>
                  </a:lnTo>
                  <a:lnTo>
                    <a:pt x="3167" y="1147"/>
                  </a:lnTo>
                  <a:lnTo>
                    <a:pt x="3166" y="1145"/>
                  </a:lnTo>
                  <a:lnTo>
                    <a:pt x="3165" y="1145"/>
                  </a:lnTo>
                  <a:lnTo>
                    <a:pt x="3162" y="1144"/>
                  </a:lnTo>
                  <a:lnTo>
                    <a:pt x="3161" y="1141"/>
                  </a:lnTo>
                  <a:lnTo>
                    <a:pt x="3159" y="1141"/>
                  </a:lnTo>
                  <a:lnTo>
                    <a:pt x="3158" y="1141"/>
                  </a:lnTo>
                  <a:lnTo>
                    <a:pt x="3156" y="1138"/>
                  </a:lnTo>
                  <a:lnTo>
                    <a:pt x="3156" y="1139"/>
                  </a:lnTo>
                  <a:lnTo>
                    <a:pt x="3156" y="1139"/>
                  </a:lnTo>
                  <a:lnTo>
                    <a:pt x="3156" y="1138"/>
                  </a:lnTo>
                  <a:lnTo>
                    <a:pt x="3154" y="1136"/>
                  </a:lnTo>
                  <a:lnTo>
                    <a:pt x="3151" y="1136"/>
                  </a:lnTo>
                  <a:lnTo>
                    <a:pt x="3151" y="1133"/>
                  </a:lnTo>
                  <a:lnTo>
                    <a:pt x="3147" y="1129"/>
                  </a:lnTo>
                  <a:lnTo>
                    <a:pt x="3145" y="1127"/>
                  </a:lnTo>
                  <a:lnTo>
                    <a:pt x="3144" y="1125"/>
                  </a:lnTo>
                  <a:lnTo>
                    <a:pt x="3142" y="1124"/>
                  </a:lnTo>
                  <a:lnTo>
                    <a:pt x="3142" y="1124"/>
                  </a:lnTo>
                  <a:lnTo>
                    <a:pt x="3141" y="1124"/>
                  </a:lnTo>
                  <a:lnTo>
                    <a:pt x="3141" y="1124"/>
                  </a:lnTo>
                  <a:lnTo>
                    <a:pt x="3142" y="1124"/>
                  </a:lnTo>
                  <a:lnTo>
                    <a:pt x="3142" y="1121"/>
                  </a:lnTo>
                  <a:lnTo>
                    <a:pt x="3144" y="1120"/>
                  </a:lnTo>
                  <a:lnTo>
                    <a:pt x="3138" y="1117"/>
                  </a:lnTo>
                  <a:lnTo>
                    <a:pt x="3134" y="1113"/>
                  </a:lnTo>
                  <a:lnTo>
                    <a:pt x="3133" y="1110"/>
                  </a:lnTo>
                  <a:lnTo>
                    <a:pt x="3132" y="1110"/>
                  </a:lnTo>
                  <a:lnTo>
                    <a:pt x="3131" y="1105"/>
                  </a:lnTo>
                  <a:lnTo>
                    <a:pt x="3133" y="1102"/>
                  </a:lnTo>
                  <a:lnTo>
                    <a:pt x="3133" y="1096"/>
                  </a:lnTo>
                  <a:lnTo>
                    <a:pt x="3134" y="1095"/>
                  </a:lnTo>
                  <a:lnTo>
                    <a:pt x="3136" y="1092"/>
                  </a:lnTo>
                  <a:lnTo>
                    <a:pt x="3138" y="1092"/>
                  </a:lnTo>
                  <a:lnTo>
                    <a:pt x="3139" y="1092"/>
                  </a:lnTo>
                  <a:lnTo>
                    <a:pt x="3144" y="1087"/>
                  </a:lnTo>
                  <a:lnTo>
                    <a:pt x="3144" y="1087"/>
                  </a:lnTo>
                  <a:lnTo>
                    <a:pt x="3144" y="1087"/>
                  </a:lnTo>
                  <a:lnTo>
                    <a:pt x="3142" y="1087"/>
                  </a:lnTo>
                  <a:lnTo>
                    <a:pt x="3145" y="1084"/>
                  </a:lnTo>
                  <a:lnTo>
                    <a:pt x="3145" y="1082"/>
                  </a:lnTo>
                  <a:lnTo>
                    <a:pt x="3145" y="1082"/>
                  </a:lnTo>
                  <a:lnTo>
                    <a:pt x="3146" y="1082"/>
                  </a:lnTo>
                  <a:lnTo>
                    <a:pt x="3146" y="1082"/>
                  </a:lnTo>
                  <a:lnTo>
                    <a:pt x="3146" y="1082"/>
                  </a:lnTo>
                  <a:lnTo>
                    <a:pt x="3146" y="1079"/>
                  </a:lnTo>
                  <a:lnTo>
                    <a:pt x="3146" y="1079"/>
                  </a:lnTo>
                  <a:lnTo>
                    <a:pt x="3147" y="1078"/>
                  </a:lnTo>
                  <a:lnTo>
                    <a:pt x="3147" y="1078"/>
                  </a:lnTo>
                  <a:lnTo>
                    <a:pt x="3147" y="1078"/>
                  </a:lnTo>
                  <a:lnTo>
                    <a:pt x="3146" y="1077"/>
                  </a:lnTo>
                  <a:lnTo>
                    <a:pt x="3146" y="1077"/>
                  </a:lnTo>
                  <a:lnTo>
                    <a:pt x="3148" y="1078"/>
                  </a:lnTo>
                  <a:lnTo>
                    <a:pt x="3150" y="1077"/>
                  </a:lnTo>
                  <a:lnTo>
                    <a:pt x="3150" y="1078"/>
                  </a:lnTo>
                  <a:lnTo>
                    <a:pt x="3154" y="1077"/>
                  </a:lnTo>
                  <a:lnTo>
                    <a:pt x="3154" y="1077"/>
                  </a:lnTo>
                  <a:lnTo>
                    <a:pt x="3154" y="1077"/>
                  </a:lnTo>
                  <a:lnTo>
                    <a:pt x="3155" y="1075"/>
                  </a:lnTo>
                  <a:lnTo>
                    <a:pt x="3155" y="1074"/>
                  </a:lnTo>
                  <a:lnTo>
                    <a:pt x="3156" y="1074"/>
                  </a:lnTo>
                  <a:lnTo>
                    <a:pt x="3156" y="1074"/>
                  </a:lnTo>
                  <a:lnTo>
                    <a:pt x="3156" y="1074"/>
                  </a:lnTo>
                  <a:lnTo>
                    <a:pt x="3156" y="1074"/>
                  </a:lnTo>
                  <a:lnTo>
                    <a:pt x="3157" y="1073"/>
                  </a:lnTo>
                  <a:lnTo>
                    <a:pt x="3161" y="1071"/>
                  </a:lnTo>
                  <a:lnTo>
                    <a:pt x="3164" y="1070"/>
                  </a:lnTo>
                  <a:lnTo>
                    <a:pt x="3164" y="1070"/>
                  </a:lnTo>
                  <a:lnTo>
                    <a:pt x="3164" y="1070"/>
                  </a:lnTo>
                  <a:lnTo>
                    <a:pt x="3164" y="1070"/>
                  </a:lnTo>
                  <a:lnTo>
                    <a:pt x="3164" y="1069"/>
                  </a:lnTo>
                  <a:lnTo>
                    <a:pt x="3166" y="1069"/>
                  </a:lnTo>
                  <a:lnTo>
                    <a:pt x="3168" y="1067"/>
                  </a:lnTo>
                  <a:lnTo>
                    <a:pt x="3171" y="1069"/>
                  </a:lnTo>
                  <a:lnTo>
                    <a:pt x="3171" y="1066"/>
                  </a:lnTo>
                  <a:lnTo>
                    <a:pt x="3170" y="1065"/>
                  </a:lnTo>
                  <a:lnTo>
                    <a:pt x="3170" y="1064"/>
                  </a:lnTo>
                  <a:lnTo>
                    <a:pt x="3170" y="1065"/>
                  </a:lnTo>
                  <a:lnTo>
                    <a:pt x="3172" y="1065"/>
                  </a:lnTo>
                  <a:lnTo>
                    <a:pt x="3173" y="1067"/>
                  </a:lnTo>
                  <a:lnTo>
                    <a:pt x="3173" y="1068"/>
                  </a:lnTo>
                  <a:lnTo>
                    <a:pt x="3176" y="1066"/>
                  </a:lnTo>
                  <a:lnTo>
                    <a:pt x="3179" y="1068"/>
                  </a:lnTo>
                  <a:lnTo>
                    <a:pt x="3178" y="1070"/>
                  </a:lnTo>
                  <a:lnTo>
                    <a:pt x="3181" y="1070"/>
                  </a:lnTo>
                  <a:lnTo>
                    <a:pt x="3181" y="1070"/>
                  </a:lnTo>
                  <a:lnTo>
                    <a:pt x="3183" y="1070"/>
                  </a:lnTo>
                  <a:lnTo>
                    <a:pt x="3183" y="1067"/>
                  </a:lnTo>
                  <a:lnTo>
                    <a:pt x="3187" y="1068"/>
                  </a:lnTo>
                  <a:lnTo>
                    <a:pt x="3188" y="1070"/>
                  </a:lnTo>
                  <a:lnTo>
                    <a:pt x="3188" y="1068"/>
                  </a:lnTo>
                  <a:lnTo>
                    <a:pt x="3190" y="1070"/>
                  </a:lnTo>
                  <a:lnTo>
                    <a:pt x="3190" y="1071"/>
                  </a:lnTo>
                  <a:lnTo>
                    <a:pt x="3188" y="1074"/>
                  </a:lnTo>
                  <a:lnTo>
                    <a:pt x="3187" y="1076"/>
                  </a:lnTo>
                  <a:lnTo>
                    <a:pt x="3187" y="1077"/>
                  </a:lnTo>
                  <a:lnTo>
                    <a:pt x="3189" y="1083"/>
                  </a:lnTo>
                  <a:lnTo>
                    <a:pt x="3191" y="1085"/>
                  </a:lnTo>
                  <a:lnTo>
                    <a:pt x="3191" y="1087"/>
                  </a:lnTo>
                  <a:lnTo>
                    <a:pt x="3195" y="1087"/>
                  </a:lnTo>
                  <a:lnTo>
                    <a:pt x="3197" y="1086"/>
                  </a:lnTo>
                  <a:lnTo>
                    <a:pt x="3198" y="1084"/>
                  </a:lnTo>
                  <a:lnTo>
                    <a:pt x="3196" y="1081"/>
                  </a:lnTo>
                  <a:lnTo>
                    <a:pt x="3197" y="1081"/>
                  </a:lnTo>
                  <a:lnTo>
                    <a:pt x="3197" y="1079"/>
                  </a:lnTo>
                  <a:lnTo>
                    <a:pt x="3193" y="1079"/>
                  </a:lnTo>
                  <a:lnTo>
                    <a:pt x="3193" y="1076"/>
                  </a:lnTo>
                  <a:lnTo>
                    <a:pt x="3195" y="1075"/>
                  </a:lnTo>
                  <a:lnTo>
                    <a:pt x="3197" y="1074"/>
                  </a:lnTo>
                  <a:lnTo>
                    <a:pt x="3196" y="1071"/>
                  </a:lnTo>
                  <a:lnTo>
                    <a:pt x="3197" y="1074"/>
                  </a:lnTo>
                  <a:lnTo>
                    <a:pt x="3199" y="1074"/>
                  </a:lnTo>
                  <a:lnTo>
                    <a:pt x="3200" y="1071"/>
                  </a:lnTo>
                  <a:lnTo>
                    <a:pt x="3201" y="1070"/>
                  </a:lnTo>
                  <a:lnTo>
                    <a:pt x="3200" y="1071"/>
                  </a:lnTo>
                  <a:lnTo>
                    <a:pt x="3204" y="1071"/>
                  </a:lnTo>
                  <a:lnTo>
                    <a:pt x="3207" y="1070"/>
                  </a:lnTo>
                  <a:lnTo>
                    <a:pt x="3207" y="1070"/>
                  </a:lnTo>
                  <a:lnTo>
                    <a:pt x="3208" y="1070"/>
                  </a:lnTo>
                  <a:lnTo>
                    <a:pt x="3210" y="1069"/>
                  </a:lnTo>
                  <a:lnTo>
                    <a:pt x="3210" y="1069"/>
                  </a:lnTo>
                  <a:lnTo>
                    <a:pt x="3213" y="1069"/>
                  </a:lnTo>
                  <a:lnTo>
                    <a:pt x="3215" y="1067"/>
                  </a:lnTo>
                  <a:lnTo>
                    <a:pt x="3217" y="1067"/>
                  </a:lnTo>
                  <a:lnTo>
                    <a:pt x="3217" y="1066"/>
                  </a:lnTo>
                  <a:lnTo>
                    <a:pt x="3217" y="1065"/>
                  </a:lnTo>
                  <a:lnTo>
                    <a:pt x="3217" y="1065"/>
                  </a:lnTo>
                  <a:lnTo>
                    <a:pt x="3218" y="1065"/>
                  </a:lnTo>
                  <a:lnTo>
                    <a:pt x="3218" y="1065"/>
                  </a:lnTo>
                  <a:lnTo>
                    <a:pt x="3218" y="1065"/>
                  </a:lnTo>
                  <a:lnTo>
                    <a:pt x="3218" y="1065"/>
                  </a:lnTo>
                  <a:lnTo>
                    <a:pt x="3221" y="1067"/>
                  </a:lnTo>
                  <a:lnTo>
                    <a:pt x="3223" y="1067"/>
                  </a:lnTo>
                  <a:lnTo>
                    <a:pt x="3224" y="1065"/>
                  </a:lnTo>
                  <a:lnTo>
                    <a:pt x="3224" y="1064"/>
                  </a:lnTo>
                  <a:lnTo>
                    <a:pt x="3224" y="1065"/>
                  </a:lnTo>
                  <a:lnTo>
                    <a:pt x="3226" y="1066"/>
                  </a:lnTo>
                  <a:lnTo>
                    <a:pt x="3230" y="1064"/>
                  </a:lnTo>
                  <a:lnTo>
                    <a:pt x="3232" y="1064"/>
                  </a:lnTo>
                  <a:lnTo>
                    <a:pt x="3232" y="1061"/>
                  </a:lnTo>
                  <a:lnTo>
                    <a:pt x="3233" y="1059"/>
                  </a:lnTo>
                  <a:lnTo>
                    <a:pt x="3236" y="1060"/>
                  </a:lnTo>
                  <a:lnTo>
                    <a:pt x="3235" y="1058"/>
                  </a:lnTo>
                  <a:lnTo>
                    <a:pt x="3234" y="1054"/>
                  </a:lnTo>
                  <a:lnTo>
                    <a:pt x="3235" y="1057"/>
                  </a:lnTo>
                  <a:lnTo>
                    <a:pt x="3238" y="1059"/>
                  </a:lnTo>
                  <a:lnTo>
                    <a:pt x="3238" y="1060"/>
                  </a:lnTo>
                  <a:lnTo>
                    <a:pt x="3240" y="1060"/>
                  </a:lnTo>
                  <a:lnTo>
                    <a:pt x="3240" y="1054"/>
                  </a:lnTo>
                  <a:lnTo>
                    <a:pt x="3238" y="1052"/>
                  </a:lnTo>
                  <a:lnTo>
                    <a:pt x="3238" y="1052"/>
                  </a:lnTo>
                  <a:lnTo>
                    <a:pt x="3238" y="1052"/>
                  </a:lnTo>
                  <a:lnTo>
                    <a:pt x="3239" y="1051"/>
                  </a:lnTo>
                  <a:lnTo>
                    <a:pt x="3236" y="1050"/>
                  </a:lnTo>
                  <a:lnTo>
                    <a:pt x="3235" y="1050"/>
                  </a:lnTo>
                  <a:lnTo>
                    <a:pt x="3236" y="1050"/>
                  </a:lnTo>
                  <a:lnTo>
                    <a:pt x="3238" y="1049"/>
                  </a:lnTo>
                  <a:lnTo>
                    <a:pt x="3238" y="1048"/>
                  </a:lnTo>
                  <a:lnTo>
                    <a:pt x="3238" y="1047"/>
                  </a:lnTo>
                  <a:lnTo>
                    <a:pt x="3239" y="1048"/>
                  </a:lnTo>
                  <a:lnTo>
                    <a:pt x="3241" y="1047"/>
                  </a:lnTo>
                  <a:lnTo>
                    <a:pt x="3242" y="1047"/>
                  </a:lnTo>
                  <a:lnTo>
                    <a:pt x="3241" y="1047"/>
                  </a:lnTo>
                  <a:lnTo>
                    <a:pt x="3239" y="1048"/>
                  </a:lnTo>
                  <a:lnTo>
                    <a:pt x="3240" y="1048"/>
                  </a:lnTo>
                  <a:lnTo>
                    <a:pt x="3241" y="1048"/>
                  </a:lnTo>
                  <a:lnTo>
                    <a:pt x="3241" y="1049"/>
                  </a:lnTo>
                  <a:lnTo>
                    <a:pt x="3241" y="1052"/>
                  </a:lnTo>
                  <a:lnTo>
                    <a:pt x="3242" y="1052"/>
                  </a:lnTo>
                  <a:lnTo>
                    <a:pt x="3244" y="1056"/>
                  </a:lnTo>
                  <a:lnTo>
                    <a:pt x="3247" y="1056"/>
                  </a:lnTo>
                  <a:lnTo>
                    <a:pt x="3248" y="1058"/>
                  </a:lnTo>
                  <a:lnTo>
                    <a:pt x="3248" y="1058"/>
                  </a:lnTo>
                  <a:lnTo>
                    <a:pt x="3249" y="1058"/>
                  </a:lnTo>
                  <a:lnTo>
                    <a:pt x="3250" y="1059"/>
                  </a:lnTo>
                  <a:lnTo>
                    <a:pt x="3250" y="1056"/>
                  </a:lnTo>
                  <a:lnTo>
                    <a:pt x="3249" y="1054"/>
                  </a:lnTo>
                  <a:lnTo>
                    <a:pt x="3251" y="1054"/>
                  </a:lnTo>
                  <a:lnTo>
                    <a:pt x="3252" y="1054"/>
                  </a:lnTo>
                  <a:lnTo>
                    <a:pt x="3252" y="1056"/>
                  </a:lnTo>
                  <a:lnTo>
                    <a:pt x="3253" y="1053"/>
                  </a:lnTo>
                  <a:lnTo>
                    <a:pt x="3252" y="1053"/>
                  </a:lnTo>
                  <a:lnTo>
                    <a:pt x="3256" y="1051"/>
                  </a:lnTo>
                  <a:lnTo>
                    <a:pt x="3256" y="1053"/>
                  </a:lnTo>
                  <a:lnTo>
                    <a:pt x="3256" y="1054"/>
                  </a:lnTo>
                  <a:lnTo>
                    <a:pt x="3259" y="1053"/>
                  </a:lnTo>
                  <a:lnTo>
                    <a:pt x="3262" y="1051"/>
                  </a:lnTo>
                  <a:lnTo>
                    <a:pt x="3264" y="1051"/>
                  </a:lnTo>
                  <a:lnTo>
                    <a:pt x="3265" y="1052"/>
                  </a:lnTo>
                  <a:lnTo>
                    <a:pt x="3267" y="1053"/>
                  </a:lnTo>
                  <a:lnTo>
                    <a:pt x="3267" y="1053"/>
                  </a:lnTo>
                  <a:lnTo>
                    <a:pt x="3268" y="1050"/>
                  </a:lnTo>
                  <a:lnTo>
                    <a:pt x="3270" y="1051"/>
                  </a:lnTo>
                  <a:lnTo>
                    <a:pt x="3273" y="1050"/>
                  </a:lnTo>
                  <a:lnTo>
                    <a:pt x="3274" y="1050"/>
                  </a:lnTo>
                  <a:lnTo>
                    <a:pt x="3274" y="1049"/>
                  </a:lnTo>
                  <a:lnTo>
                    <a:pt x="3274" y="1050"/>
                  </a:lnTo>
                  <a:lnTo>
                    <a:pt x="3275" y="1050"/>
                  </a:lnTo>
                  <a:lnTo>
                    <a:pt x="3278" y="1049"/>
                  </a:lnTo>
                  <a:lnTo>
                    <a:pt x="3281" y="1049"/>
                  </a:lnTo>
                  <a:lnTo>
                    <a:pt x="3281" y="1047"/>
                  </a:lnTo>
                  <a:lnTo>
                    <a:pt x="3281" y="1045"/>
                  </a:lnTo>
                  <a:lnTo>
                    <a:pt x="3281" y="1045"/>
                  </a:lnTo>
                  <a:lnTo>
                    <a:pt x="3282" y="1045"/>
                  </a:lnTo>
                  <a:lnTo>
                    <a:pt x="3282" y="1043"/>
                  </a:lnTo>
                  <a:lnTo>
                    <a:pt x="3284" y="1042"/>
                  </a:lnTo>
                  <a:lnTo>
                    <a:pt x="3285" y="1042"/>
                  </a:lnTo>
                  <a:lnTo>
                    <a:pt x="3285" y="1039"/>
                  </a:lnTo>
                  <a:lnTo>
                    <a:pt x="3289" y="1040"/>
                  </a:lnTo>
                  <a:lnTo>
                    <a:pt x="3292" y="1036"/>
                  </a:lnTo>
                  <a:lnTo>
                    <a:pt x="3292" y="1036"/>
                  </a:lnTo>
                  <a:lnTo>
                    <a:pt x="3295" y="1035"/>
                  </a:lnTo>
                  <a:lnTo>
                    <a:pt x="3296" y="1033"/>
                  </a:lnTo>
                  <a:lnTo>
                    <a:pt x="3296" y="1033"/>
                  </a:lnTo>
                  <a:lnTo>
                    <a:pt x="3299" y="1033"/>
                  </a:lnTo>
                  <a:lnTo>
                    <a:pt x="3301" y="1031"/>
                  </a:lnTo>
                  <a:lnTo>
                    <a:pt x="3301" y="1027"/>
                  </a:lnTo>
                  <a:lnTo>
                    <a:pt x="3299" y="1027"/>
                  </a:lnTo>
                  <a:lnTo>
                    <a:pt x="3298" y="1027"/>
                  </a:lnTo>
                  <a:lnTo>
                    <a:pt x="3300" y="1027"/>
                  </a:lnTo>
                  <a:lnTo>
                    <a:pt x="3302" y="1026"/>
                  </a:lnTo>
                  <a:lnTo>
                    <a:pt x="3303" y="1025"/>
                  </a:lnTo>
                  <a:lnTo>
                    <a:pt x="3306" y="1025"/>
                  </a:lnTo>
                  <a:lnTo>
                    <a:pt x="3308" y="1025"/>
                  </a:lnTo>
                  <a:lnTo>
                    <a:pt x="3310" y="1025"/>
                  </a:lnTo>
                  <a:lnTo>
                    <a:pt x="3309" y="1023"/>
                  </a:lnTo>
                  <a:lnTo>
                    <a:pt x="3311" y="1020"/>
                  </a:lnTo>
                  <a:lnTo>
                    <a:pt x="3315" y="1019"/>
                  </a:lnTo>
                  <a:lnTo>
                    <a:pt x="3313" y="1017"/>
                  </a:lnTo>
                  <a:lnTo>
                    <a:pt x="3316" y="1017"/>
                  </a:lnTo>
                  <a:lnTo>
                    <a:pt x="3318" y="1017"/>
                  </a:lnTo>
                  <a:lnTo>
                    <a:pt x="3317" y="1014"/>
                  </a:lnTo>
                  <a:lnTo>
                    <a:pt x="3317" y="1013"/>
                  </a:lnTo>
                  <a:lnTo>
                    <a:pt x="3320" y="1011"/>
                  </a:lnTo>
                  <a:lnTo>
                    <a:pt x="3320" y="1014"/>
                  </a:lnTo>
                  <a:lnTo>
                    <a:pt x="3323" y="1011"/>
                  </a:lnTo>
                  <a:lnTo>
                    <a:pt x="3320" y="1010"/>
                  </a:lnTo>
                  <a:lnTo>
                    <a:pt x="3321" y="1009"/>
                  </a:lnTo>
                  <a:lnTo>
                    <a:pt x="3323" y="1006"/>
                  </a:lnTo>
                  <a:lnTo>
                    <a:pt x="3320" y="1005"/>
                  </a:lnTo>
                  <a:lnTo>
                    <a:pt x="3320" y="1005"/>
                  </a:lnTo>
                  <a:lnTo>
                    <a:pt x="3319" y="1006"/>
                  </a:lnTo>
                  <a:lnTo>
                    <a:pt x="3318" y="1005"/>
                  </a:lnTo>
                  <a:lnTo>
                    <a:pt x="3316" y="1002"/>
                  </a:lnTo>
                  <a:lnTo>
                    <a:pt x="3320" y="1005"/>
                  </a:lnTo>
                  <a:lnTo>
                    <a:pt x="3321" y="1002"/>
                  </a:lnTo>
                  <a:lnTo>
                    <a:pt x="3325" y="1000"/>
                  </a:lnTo>
                  <a:lnTo>
                    <a:pt x="3327" y="999"/>
                  </a:lnTo>
                  <a:lnTo>
                    <a:pt x="3325" y="999"/>
                  </a:lnTo>
                  <a:lnTo>
                    <a:pt x="3325" y="997"/>
                  </a:lnTo>
                  <a:lnTo>
                    <a:pt x="3325" y="997"/>
                  </a:lnTo>
                  <a:lnTo>
                    <a:pt x="3323" y="996"/>
                  </a:lnTo>
                  <a:lnTo>
                    <a:pt x="3321" y="993"/>
                  </a:lnTo>
                  <a:lnTo>
                    <a:pt x="3328" y="993"/>
                  </a:lnTo>
                  <a:lnTo>
                    <a:pt x="3328" y="994"/>
                  </a:lnTo>
                  <a:lnTo>
                    <a:pt x="3326" y="997"/>
                  </a:lnTo>
                  <a:lnTo>
                    <a:pt x="3328" y="996"/>
                  </a:lnTo>
                  <a:lnTo>
                    <a:pt x="3329" y="993"/>
                  </a:lnTo>
                  <a:lnTo>
                    <a:pt x="3332" y="989"/>
                  </a:lnTo>
                  <a:lnTo>
                    <a:pt x="3334" y="988"/>
                  </a:lnTo>
                  <a:lnTo>
                    <a:pt x="3330" y="987"/>
                  </a:lnTo>
                  <a:lnTo>
                    <a:pt x="3334" y="988"/>
                  </a:lnTo>
                  <a:lnTo>
                    <a:pt x="3335" y="984"/>
                  </a:lnTo>
                  <a:lnTo>
                    <a:pt x="3336" y="981"/>
                  </a:lnTo>
                  <a:lnTo>
                    <a:pt x="3337" y="981"/>
                  </a:lnTo>
                  <a:lnTo>
                    <a:pt x="3338" y="979"/>
                  </a:lnTo>
                  <a:lnTo>
                    <a:pt x="3337" y="975"/>
                  </a:lnTo>
                  <a:lnTo>
                    <a:pt x="3336" y="974"/>
                  </a:lnTo>
                  <a:lnTo>
                    <a:pt x="3338" y="975"/>
                  </a:lnTo>
                  <a:lnTo>
                    <a:pt x="3341" y="975"/>
                  </a:lnTo>
                  <a:lnTo>
                    <a:pt x="3343" y="973"/>
                  </a:lnTo>
                  <a:lnTo>
                    <a:pt x="3343" y="971"/>
                  </a:lnTo>
                  <a:lnTo>
                    <a:pt x="3344" y="970"/>
                  </a:lnTo>
                  <a:lnTo>
                    <a:pt x="3345" y="972"/>
                  </a:lnTo>
                  <a:lnTo>
                    <a:pt x="3347" y="971"/>
                  </a:lnTo>
                  <a:lnTo>
                    <a:pt x="3349" y="967"/>
                  </a:lnTo>
                  <a:lnTo>
                    <a:pt x="3349" y="965"/>
                  </a:lnTo>
                  <a:lnTo>
                    <a:pt x="3345" y="965"/>
                  </a:lnTo>
                  <a:lnTo>
                    <a:pt x="3344" y="963"/>
                  </a:lnTo>
                  <a:lnTo>
                    <a:pt x="3346" y="965"/>
                  </a:lnTo>
                  <a:lnTo>
                    <a:pt x="3347" y="965"/>
                  </a:lnTo>
                  <a:lnTo>
                    <a:pt x="3351" y="964"/>
                  </a:lnTo>
                  <a:lnTo>
                    <a:pt x="3350" y="959"/>
                  </a:lnTo>
                  <a:lnTo>
                    <a:pt x="3347" y="958"/>
                  </a:lnTo>
                  <a:lnTo>
                    <a:pt x="3350" y="956"/>
                  </a:lnTo>
                  <a:lnTo>
                    <a:pt x="3352" y="957"/>
                  </a:lnTo>
                  <a:lnTo>
                    <a:pt x="3353" y="958"/>
                  </a:lnTo>
                  <a:lnTo>
                    <a:pt x="3354" y="955"/>
                  </a:lnTo>
                  <a:lnTo>
                    <a:pt x="3354" y="953"/>
                  </a:lnTo>
                  <a:lnTo>
                    <a:pt x="3351" y="953"/>
                  </a:lnTo>
                  <a:lnTo>
                    <a:pt x="3349" y="954"/>
                  </a:lnTo>
                  <a:lnTo>
                    <a:pt x="3347" y="954"/>
                  </a:lnTo>
                  <a:lnTo>
                    <a:pt x="3351" y="953"/>
                  </a:lnTo>
                  <a:lnTo>
                    <a:pt x="3352" y="951"/>
                  </a:lnTo>
                  <a:lnTo>
                    <a:pt x="3353" y="949"/>
                  </a:lnTo>
                  <a:lnTo>
                    <a:pt x="3355" y="948"/>
                  </a:lnTo>
                  <a:lnTo>
                    <a:pt x="3353" y="946"/>
                  </a:lnTo>
                  <a:lnTo>
                    <a:pt x="3351" y="946"/>
                  </a:lnTo>
                  <a:lnTo>
                    <a:pt x="3350" y="945"/>
                  </a:lnTo>
                  <a:lnTo>
                    <a:pt x="3350" y="945"/>
                  </a:lnTo>
                  <a:lnTo>
                    <a:pt x="3347" y="942"/>
                  </a:lnTo>
                  <a:lnTo>
                    <a:pt x="3345" y="941"/>
                  </a:lnTo>
                  <a:lnTo>
                    <a:pt x="3343" y="941"/>
                  </a:lnTo>
                  <a:lnTo>
                    <a:pt x="3342" y="942"/>
                  </a:lnTo>
                  <a:lnTo>
                    <a:pt x="3337" y="943"/>
                  </a:lnTo>
                  <a:lnTo>
                    <a:pt x="3338" y="945"/>
                  </a:lnTo>
                  <a:lnTo>
                    <a:pt x="3337" y="943"/>
                  </a:lnTo>
                  <a:lnTo>
                    <a:pt x="3336" y="940"/>
                  </a:lnTo>
                  <a:lnTo>
                    <a:pt x="3334" y="941"/>
                  </a:lnTo>
                  <a:lnTo>
                    <a:pt x="3332" y="941"/>
                  </a:lnTo>
                  <a:lnTo>
                    <a:pt x="3333" y="940"/>
                  </a:lnTo>
                  <a:lnTo>
                    <a:pt x="3336" y="939"/>
                  </a:lnTo>
                  <a:lnTo>
                    <a:pt x="3338" y="940"/>
                  </a:lnTo>
                  <a:lnTo>
                    <a:pt x="3340" y="940"/>
                  </a:lnTo>
                  <a:lnTo>
                    <a:pt x="3341" y="938"/>
                  </a:lnTo>
                  <a:lnTo>
                    <a:pt x="3345" y="936"/>
                  </a:lnTo>
                  <a:lnTo>
                    <a:pt x="3349" y="933"/>
                  </a:lnTo>
                  <a:lnTo>
                    <a:pt x="3353" y="932"/>
                  </a:lnTo>
                  <a:lnTo>
                    <a:pt x="3353" y="930"/>
                  </a:lnTo>
                  <a:lnTo>
                    <a:pt x="3352" y="928"/>
                  </a:lnTo>
                  <a:lnTo>
                    <a:pt x="3350" y="925"/>
                  </a:lnTo>
                  <a:lnTo>
                    <a:pt x="3349" y="924"/>
                  </a:lnTo>
                  <a:lnTo>
                    <a:pt x="3346" y="923"/>
                  </a:lnTo>
                  <a:lnTo>
                    <a:pt x="3343" y="920"/>
                  </a:lnTo>
                  <a:lnTo>
                    <a:pt x="3338" y="919"/>
                  </a:lnTo>
                  <a:lnTo>
                    <a:pt x="3337" y="915"/>
                  </a:lnTo>
                  <a:lnTo>
                    <a:pt x="3335" y="915"/>
                  </a:lnTo>
                  <a:lnTo>
                    <a:pt x="3332" y="916"/>
                  </a:lnTo>
                  <a:lnTo>
                    <a:pt x="3328" y="916"/>
                  </a:lnTo>
                  <a:lnTo>
                    <a:pt x="3328" y="916"/>
                  </a:lnTo>
                  <a:lnTo>
                    <a:pt x="3326" y="914"/>
                  </a:lnTo>
                  <a:lnTo>
                    <a:pt x="3324" y="912"/>
                  </a:lnTo>
                  <a:lnTo>
                    <a:pt x="3323" y="913"/>
                  </a:lnTo>
                  <a:lnTo>
                    <a:pt x="3324" y="911"/>
                  </a:lnTo>
                  <a:lnTo>
                    <a:pt x="3323" y="910"/>
                  </a:lnTo>
                  <a:lnTo>
                    <a:pt x="3325" y="911"/>
                  </a:lnTo>
                  <a:lnTo>
                    <a:pt x="3327" y="913"/>
                  </a:lnTo>
                  <a:lnTo>
                    <a:pt x="3328" y="915"/>
                  </a:lnTo>
                  <a:lnTo>
                    <a:pt x="3330" y="916"/>
                  </a:lnTo>
                  <a:lnTo>
                    <a:pt x="3330" y="916"/>
                  </a:lnTo>
                  <a:lnTo>
                    <a:pt x="3334" y="914"/>
                  </a:lnTo>
                  <a:lnTo>
                    <a:pt x="3334" y="914"/>
                  </a:lnTo>
                  <a:lnTo>
                    <a:pt x="3337" y="914"/>
                  </a:lnTo>
                  <a:lnTo>
                    <a:pt x="3340" y="915"/>
                  </a:lnTo>
                  <a:lnTo>
                    <a:pt x="3341" y="917"/>
                  </a:lnTo>
                  <a:lnTo>
                    <a:pt x="3343" y="917"/>
                  </a:lnTo>
                  <a:lnTo>
                    <a:pt x="3346" y="917"/>
                  </a:lnTo>
                  <a:lnTo>
                    <a:pt x="3349" y="917"/>
                  </a:lnTo>
                  <a:lnTo>
                    <a:pt x="3351" y="919"/>
                  </a:lnTo>
                  <a:lnTo>
                    <a:pt x="3353" y="920"/>
                  </a:lnTo>
                  <a:lnTo>
                    <a:pt x="3353" y="917"/>
                  </a:lnTo>
                  <a:lnTo>
                    <a:pt x="3351" y="914"/>
                  </a:lnTo>
                  <a:lnTo>
                    <a:pt x="3351" y="914"/>
                  </a:lnTo>
                  <a:lnTo>
                    <a:pt x="3347" y="913"/>
                  </a:lnTo>
                  <a:lnTo>
                    <a:pt x="3347" y="910"/>
                  </a:lnTo>
                  <a:lnTo>
                    <a:pt x="3344" y="908"/>
                  </a:lnTo>
                  <a:lnTo>
                    <a:pt x="3342" y="906"/>
                  </a:lnTo>
                  <a:lnTo>
                    <a:pt x="3340" y="906"/>
                  </a:lnTo>
                  <a:lnTo>
                    <a:pt x="3340" y="903"/>
                  </a:lnTo>
                  <a:lnTo>
                    <a:pt x="3341" y="900"/>
                  </a:lnTo>
                  <a:lnTo>
                    <a:pt x="3338" y="898"/>
                  </a:lnTo>
                  <a:lnTo>
                    <a:pt x="3337" y="895"/>
                  </a:lnTo>
                  <a:lnTo>
                    <a:pt x="3336" y="893"/>
                  </a:lnTo>
                  <a:lnTo>
                    <a:pt x="3335" y="890"/>
                  </a:lnTo>
                  <a:lnTo>
                    <a:pt x="3333" y="885"/>
                  </a:lnTo>
                  <a:lnTo>
                    <a:pt x="3333" y="883"/>
                  </a:lnTo>
                  <a:lnTo>
                    <a:pt x="3332" y="880"/>
                  </a:lnTo>
                  <a:lnTo>
                    <a:pt x="3328" y="878"/>
                  </a:lnTo>
                  <a:lnTo>
                    <a:pt x="3325" y="878"/>
                  </a:lnTo>
                  <a:lnTo>
                    <a:pt x="3325" y="877"/>
                  </a:lnTo>
                  <a:lnTo>
                    <a:pt x="3323" y="876"/>
                  </a:lnTo>
                  <a:lnTo>
                    <a:pt x="3319" y="873"/>
                  </a:lnTo>
                  <a:lnTo>
                    <a:pt x="3317" y="873"/>
                  </a:lnTo>
                  <a:lnTo>
                    <a:pt x="3317" y="871"/>
                  </a:lnTo>
                  <a:lnTo>
                    <a:pt x="3317" y="869"/>
                  </a:lnTo>
                  <a:lnTo>
                    <a:pt x="3318" y="868"/>
                  </a:lnTo>
                  <a:lnTo>
                    <a:pt x="3319" y="866"/>
                  </a:lnTo>
                  <a:lnTo>
                    <a:pt x="3321" y="863"/>
                  </a:lnTo>
                  <a:lnTo>
                    <a:pt x="3324" y="860"/>
                  </a:lnTo>
                  <a:lnTo>
                    <a:pt x="3326" y="860"/>
                  </a:lnTo>
                  <a:lnTo>
                    <a:pt x="3328" y="857"/>
                  </a:lnTo>
                  <a:lnTo>
                    <a:pt x="3329" y="855"/>
                  </a:lnTo>
                  <a:lnTo>
                    <a:pt x="3330" y="855"/>
                  </a:lnTo>
                  <a:lnTo>
                    <a:pt x="3330" y="853"/>
                  </a:lnTo>
                  <a:lnTo>
                    <a:pt x="3329" y="852"/>
                  </a:lnTo>
                  <a:lnTo>
                    <a:pt x="3329" y="851"/>
                  </a:lnTo>
                  <a:lnTo>
                    <a:pt x="3333" y="849"/>
                  </a:lnTo>
                  <a:lnTo>
                    <a:pt x="3333" y="852"/>
                  </a:lnTo>
                  <a:lnTo>
                    <a:pt x="3335" y="853"/>
                  </a:lnTo>
                  <a:lnTo>
                    <a:pt x="3337" y="852"/>
                  </a:lnTo>
                  <a:lnTo>
                    <a:pt x="3337" y="848"/>
                  </a:lnTo>
                  <a:lnTo>
                    <a:pt x="3340" y="847"/>
                  </a:lnTo>
                  <a:lnTo>
                    <a:pt x="3340" y="844"/>
                  </a:lnTo>
                  <a:lnTo>
                    <a:pt x="3338" y="845"/>
                  </a:lnTo>
                  <a:lnTo>
                    <a:pt x="3340" y="844"/>
                  </a:lnTo>
                  <a:lnTo>
                    <a:pt x="3341" y="845"/>
                  </a:lnTo>
                  <a:lnTo>
                    <a:pt x="3346" y="843"/>
                  </a:lnTo>
                  <a:lnTo>
                    <a:pt x="3349" y="842"/>
                  </a:lnTo>
                  <a:lnTo>
                    <a:pt x="3351" y="840"/>
                  </a:lnTo>
                  <a:lnTo>
                    <a:pt x="3353" y="839"/>
                  </a:lnTo>
                  <a:lnTo>
                    <a:pt x="3355" y="839"/>
                  </a:lnTo>
                  <a:lnTo>
                    <a:pt x="3358" y="838"/>
                  </a:lnTo>
                  <a:lnTo>
                    <a:pt x="3358" y="840"/>
                  </a:lnTo>
                  <a:lnTo>
                    <a:pt x="3361" y="840"/>
                  </a:lnTo>
                  <a:lnTo>
                    <a:pt x="3362" y="838"/>
                  </a:lnTo>
                  <a:lnTo>
                    <a:pt x="3363" y="836"/>
                  </a:lnTo>
                  <a:lnTo>
                    <a:pt x="3363" y="833"/>
                  </a:lnTo>
                  <a:lnTo>
                    <a:pt x="3360" y="831"/>
                  </a:lnTo>
                  <a:lnTo>
                    <a:pt x="3360" y="831"/>
                  </a:lnTo>
                  <a:lnTo>
                    <a:pt x="3356" y="829"/>
                  </a:lnTo>
                  <a:lnTo>
                    <a:pt x="3355" y="831"/>
                  </a:lnTo>
                  <a:lnTo>
                    <a:pt x="3354" y="830"/>
                  </a:lnTo>
                  <a:lnTo>
                    <a:pt x="3349" y="831"/>
                  </a:lnTo>
                  <a:lnTo>
                    <a:pt x="3346" y="828"/>
                  </a:lnTo>
                  <a:lnTo>
                    <a:pt x="3344" y="829"/>
                  </a:lnTo>
                  <a:lnTo>
                    <a:pt x="3342" y="826"/>
                  </a:lnTo>
                  <a:lnTo>
                    <a:pt x="3338" y="825"/>
                  </a:lnTo>
                  <a:lnTo>
                    <a:pt x="3336" y="826"/>
                  </a:lnTo>
                  <a:lnTo>
                    <a:pt x="3333" y="827"/>
                  </a:lnTo>
                  <a:lnTo>
                    <a:pt x="3330" y="830"/>
                  </a:lnTo>
                  <a:lnTo>
                    <a:pt x="3328" y="831"/>
                  </a:lnTo>
                  <a:lnTo>
                    <a:pt x="3326" y="834"/>
                  </a:lnTo>
                  <a:lnTo>
                    <a:pt x="3324" y="836"/>
                  </a:lnTo>
                  <a:lnTo>
                    <a:pt x="3323" y="836"/>
                  </a:lnTo>
                  <a:lnTo>
                    <a:pt x="3319" y="836"/>
                  </a:lnTo>
                  <a:lnTo>
                    <a:pt x="3317" y="836"/>
                  </a:lnTo>
                  <a:lnTo>
                    <a:pt x="3313" y="834"/>
                  </a:lnTo>
                  <a:lnTo>
                    <a:pt x="3313" y="833"/>
                  </a:lnTo>
                  <a:lnTo>
                    <a:pt x="3313" y="830"/>
                  </a:lnTo>
                  <a:lnTo>
                    <a:pt x="3315" y="827"/>
                  </a:lnTo>
                  <a:lnTo>
                    <a:pt x="3316" y="825"/>
                  </a:lnTo>
                  <a:lnTo>
                    <a:pt x="3313" y="822"/>
                  </a:lnTo>
                  <a:lnTo>
                    <a:pt x="3311" y="819"/>
                  </a:lnTo>
                  <a:lnTo>
                    <a:pt x="3310" y="820"/>
                  </a:lnTo>
                  <a:lnTo>
                    <a:pt x="3309" y="822"/>
                  </a:lnTo>
                  <a:lnTo>
                    <a:pt x="3306" y="820"/>
                  </a:lnTo>
                  <a:lnTo>
                    <a:pt x="3303" y="820"/>
                  </a:lnTo>
                  <a:lnTo>
                    <a:pt x="3301" y="820"/>
                  </a:lnTo>
                  <a:lnTo>
                    <a:pt x="3299" y="818"/>
                  </a:lnTo>
                  <a:lnTo>
                    <a:pt x="3299" y="818"/>
                  </a:lnTo>
                  <a:lnTo>
                    <a:pt x="3295" y="816"/>
                  </a:lnTo>
                  <a:lnTo>
                    <a:pt x="3294" y="812"/>
                  </a:lnTo>
                  <a:lnTo>
                    <a:pt x="3294" y="810"/>
                  </a:lnTo>
                  <a:lnTo>
                    <a:pt x="3296" y="808"/>
                  </a:lnTo>
                  <a:lnTo>
                    <a:pt x="3296" y="806"/>
                  </a:lnTo>
                  <a:lnTo>
                    <a:pt x="3298" y="804"/>
                  </a:lnTo>
                  <a:lnTo>
                    <a:pt x="3301" y="803"/>
                  </a:lnTo>
                  <a:lnTo>
                    <a:pt x="3307" y="805"/>
                  </a:lnTo>
                  <a:lnTo>
                    <a:pt x="3309" y="803"/>
                  </a:lnTo>
                  <a:lnTo>
                    <a:pt x="3311" y="804"/>
                  </a:lnTo>
                  <a:lnTo>
                    <a:pt x="3315" y="803"/>
                  </a:lnTo>
                  <a:lnTo>
                    <a:pt x="3318" y="800"/>
                  </a:lnTo>
                  <a:lnTo>
                    <a:pt x="3318" y="797"/>
                  </a:lnTo>
                  <a:lnTo>
                    <a:pt x="3319" y="794"/>
                  </a:lnTo>
                  <a:lnTo>
                    <a:pt x="3323" y="792"/>
                  </a:lnTo>
                  <a:lnTo>
                    <a:pt x="3325" y="791"/>
                  </a:lnTo>
                  <a:lnTo>
                    <a:pt x="3326" y="791"/>
                  </a:lnTo>
                  <a:lnTo>
                    <a:pt x="3327" y="791"/>
                  </a:lnTo>
                  <a:lnTo>
                    <a:pt x="3328" y="789"/>
                  </a:lnTo>
                  <a:lnTo>
                    <a:pt x="3332" y="787"/>
                  </a:lnTo>
                  <a:lnTo>
                    <a:pt x="3336" y="785"/>
                  </a:lnTo>
                  <a:lnTo>
                    <a:pt x="3337" y="782"/>
                  </a:lnTo>
                  <a:lnTo>
                    <a:pt x="3340" y="779"/>
                  </a:lnTo>
                  <a:lnTo>
                    <a:pt x="3342" y="779"/>
                  </a:lnTo>
                  <a:lnTo>
                    <a:pt x="3343" y="776"/>
                  </a:lnTo>
                  <a:lnTo>
                    <a:pt x="3344" y="775"/>
                  </a:lnTo>
                  <a:lnTo>
                    <a:pt x="3346" y="775"/>
                  </a:lnTo>
                  <a:lnTo>
                    <a:pt x="3350" y="777"/>
                  </a:lnTo>
                  <a:lnTo>
                    <a:pt x="3351" y="777"/>
                  </a:lnTo>
                  <a:lnTo>
                    <a:pt x="3353" y="774"/>
                  </a:lnTo>
                  <a:lnTo>
                    <a:pt x="3353" y="775"/>
                  </a:lnTo>
                  <a:lnTo>
                    <a:pt x="3355" y="778"/>
                  </a:lnTo>
                  <a:lnTo>
                    <a:pt x="3358" y="779"/>
                  </a:lnTo>
                  <a:lnTo>
                    <a:pt x="3358" y="780"/>
                  </a:lnTo>
                  <a:lnTo>
                    <a:pt x="3359" y="783"/>
                  </a:lnTo>
                  <a:lnTo>
                    <a:pt x="3356" y="785"/>
                  </a:lnTo>
                  <a:lnTo>
                    <a:pt x="3355" y="788"/>
                  </a:lnTo>
                  <a:lnTo>
                    <a:pt x="3354" y="791"/>
                  </a:lnTo>
                  <a:lnTo>
                    <a:pt x="3353" y="791"/>
                  </a:lnTo>
                  <a:lnTo>
                    <a:pt x="3351" y="792"/>
                  </a:lnTo>
                  <a:lnTo>
                    <a:pt x="3349" y="794"/>
                  </a:lnTo>
                  <a:lnTo>
                    <a:pt x="3349" y="796"/>
                  </a:lnTo>
                  <a:lnTo>
                    <a:pt x="3347" y="796"/>
                  </a:lnTo>
                  <a:lnTo>
                    <a:pt x="3345" y="797"/>
                  </a:lnTo>
                  <a:lnTo>
                    <a:pt x="3347" y="797"/>
                  </a:lnTo>
                  <a:lnTo>
                    <a:pt x="3349" y="801"/>
                  </a:lnTo>
                  <a:lnTo>
                    <a:pt x="3354" y="800"/>
                  </a:lnTo>
                  <a:lnTo>
                    <a:pt x="3353" y="801"/>
                  </a:lnTo>
                  <a:lnTo>
                    <a:pt x="3350" y="803"/>
                  </a:lnTo>
                  <a:lnTo>
                    <a:pt x="3349" y="805"/>
                  </a:lnTo>
                  <a:lnTo>
                    <a:pt x="3346" y="806"/>
                  </a:lnTo>
                  <a:lnTo>
                    <a:pt x="3344" y="808"/>
                  </a:lnTo>
                  <a:lnTo>
                    <a:pt x="3344" y="811"/>
                  </a:lnTo>
                  <a:lnTo>
                    <a:pt x="3347" y="810"/>
                  </a:lnTo>
                  <a:lnTo>
                    <a:pt x="3350" y="808"/>
                  </a:lnTo>
                  <a:lnTo>
                    <a:pt x="3355" y="805"/>
                  </a:lnTo>
                  <a:lnTo>
                    <a:pt x="3358" y="803"/>
                  </a:lnTo>
                  <a:lnTo>
                    <a:pt x="3360" y="801"/>
                  </a:lnTo>
                  <a:lnTo>
                    <a:pt x="3362" y="799"/>
                  </a:lnTo>
                  <a:lnTo>
                    <a:pt x="3366" y="797"/>
                  </a:lnTo>
                  <a:lnTo>
                    <a:pt x="3371" y="795"/>
                  </a:lnTo>
                  <a:lnTo>
                    <a:pt x="3373" y="794"/>
                  </a:lnTo>
                  <a:lnTo>
                    <a:pt x="3376" y="793"/>
                  </a:lnTo>
                  <a:lnTo>
                    <a:pt x="3377" y="793"/>
                  </a:lnTo>
                  <a:lnTo>
                    <a:pt x="3379" y="793"/>
                  </a:lnTo>
                  <a:lnTo>
                    <a:pt x="3385" y="793"/>
                  </a:lnTo>
                  <a:lnTo>
                    <a:pt x="3387" y="791"/>
                  </a:lnTo>
                  <a:lnTo>
                    <a:pt x="3387" y="791"/>
                  </a:lnTo>
                  <a:lnTo>
                    <a:pt x="3388" y="788"/>
                  </a:lnTo>
                  <a:lnTo>
                    <a:pt x="3389" y="789"/>
                  </a:lnTo>
                  <a:lnTo>
                    <a:pt x="3389" y="789"/>
                  </a:lnTo>
                  <a:lnTo>
                    <a:pt x="3389" y="789"/>
                  </a:lnTo>
                  <a:lnTo>
                    <a:pt x="3388" y="791"/>
                  </a:lnTo>
                  <a:lnTo>
                    <a:pt x="3388" y="791"/>
                  </a:lnTo>
                  <a:lnTo>
                    <a:pt x="3388" y="793"/>
                  </a:lnTo>
                  <a:lnTo>
                    <a:pt x="3390" y="795"/>
                  </a:lnTo>
                  <a:lnTo>
                    <a:pt x="3394" y="794"/>
                  </a:lnTo>
                  <a:lnTo>
                    <a:pt x="3396" y="796"/>
                  </a:lnTo>
                  <a:lnTo>
                    <a:pt x="3397" y="796"/>
                  </a:lnTo>
                  <a:lnTo>
                    <a:pt x="3400" y="797"/>
                  </a:lnTo>
                  <a:lnTo>
                    <a:pt x="3403" y="797"/>
                  </a:lnTo>
                  <a:lnTo>
                    <a:pt x="3402" y="800"/>
                  </a:lnTo>
                  <a:lnTo>
                    <a:pt x="3402" y="802"/>
                  </a:lnTo>
                  <a:lnTo>
                    <a:pt x="3401" y="804"/>
                  </a:lnTo>
                  <a:lnTo>
                    <a:pt x="3398" y="808"/>
                  </a:lnTo>
                  <a:lnTo>
                    <a:pt x="3400" y="810"/>
                  </a:lnTo>
                  <a:lnTo>
                    <a:pt x="3400" y="811"/>
                  </a:lnTo>
                  <a:lnTo>
                    <a:pt x="3403" y="810"/>
                  </a:lnTo>
                  <a:lnTo>
                    <a:pt x="3405" y="812"/>
                  </a:lnTo>
                  <a:lnTo>
                    <a:pt x="3405" y="812"/>
                  </a:lnTo>
                  <a:lnTo>
                    <a:pt x="3404" y="812"/>
                  </a:lnTo>
                  <a:lnTo>
                    <a:pt x="3402" y="811"/>
                  </a:lnTo>
                  <a:lnTo>
                    <a:pt x="3400" y="811"/>
                  </a:lnTo>
                  <a:lnTo>
                    <a:pt x="3396" y="813"/>
                  </a:lnTo>
                  <a:lnTo>
                    <a:pt x="3396" y="814"/>
                  </a:lnTo>
                  <a:lnTo>
                    <a:pt x="3395" y="816"/>
                  </a:lnTo>
                  <a:lnTo>
                    <a:pt x="3395" y="818"/>
                  </a:lnTo>
                  <a:lnTo>
                    <a:pt x="3394" y="820"/>
                  </a:lnTo>
                  <a:lnTo>
                    <a:pt x="3396" y="821"/>
                  </a:lnTo>
                  <a:lnTo>
                    <a:pt x="3400" y="821"/>
                  </a:lnTo>
                  <a:lnTo>
                    <a:pt x="3396" y="822"/>
                  </a:lnTo>
                  <a:lnTo>
                    <a:pt x="3396" y="823"/>
                  </a:lnTo>
                  <a:lnTo>
                    <a:pt x="3398" y="825"/>
                  </a:lnTo>
                  <a:lnTo>
                    <a:pt x="3401" y="826"/>
                  </a:lnTo>
                  <a:lnTo>
                    <a:pt x="3403" y="823"/>
                  </a:lnTo>
                  <a:lnTo>
                    <a:pt x="3403" y="827"/>
                  </a:lnTo>
                  <a:lnTo>
                    <a:pt x="3405" y="825"/>
                  </a:lnTo>
                  <a:lnTo>
                    <a:pt x="3405" y="822"/>
                  </a:lnTo>
                  <a:lnTo>
                    <a:pt x="3407" y="822"/>
                  </a:lnTo>
                  <a:lnTo>
                    <a:pt x="3410" y="825"/>
                  </a:lnTo>
                  <a:lnTo>
                    <a:pt x="3413" y="825"/>
                  </a:lnTo>
                  <a:lnTo>
                    <a:pt x="3415" y="823"/>
                  </a:lnTo>
                  <a:lnTo>
                    <a:pt x="3419" y="826"/>
                  </a:lnTo>
                  <a:lnTo>
                    <a:pt x="3420" y="825"/>
                  </a:lnTo>
                  <a:lnTo>
                    <a:pt x="3420" y="825"/>
                  </a:lnTo>
                  <a:lnTo>
                    <a:pt x="3420" y="827"/>
                  </a:lnTo>
                  <a:lnTo>
                    <a:pt x="3418" y="826"/>
                  </a:lnTo>
                  <a:lnTo>
                    <a:pt x="3418" y="827"/>
                  </a:lnTo>
                  <a:lnTo>
                    <a:pt x="3419" y="829"/>
                  </a:lnTo>
                  <a:lnTo>
                    <a:pt x="3420" y="831"/>
                  </a:lnTo>
                  <a:lnTo>
                    <a:pt x="3420" y="831"/>
                  </a:lnTo>
                  <a:lnTo>
                    <a:pt x="3421" y="835"/>
                  </a:lnTo>
                  <a:lnTo>
                    <a:pt x="3420" y="836"/>
                  </a:lnTo>
                  <a:lnTo>
                    <a:pt x="3422" y="836"/>
                  </a:lnTo>
                  <a:lnTo>
                    <a:pt x="3424" y="839"/>
                  </a:lnTo>
                  <a:lnTo>
                    <a:pt x="3422" y="842"/>
                  </a:lnTo>
                  <a:lnTo>
                    <a:pt x="3421" y="838"/>
                  </a:lnTo>
                  <a:lnTo>
                    <a:pt x="3418" y="839"/>
                  </a:lnTo>
                  <a:lnTo>
                    <a:pt x="3415" y="840"/>
                  </a:lnTo>
                  <a:lnTo>
                    <a:pt x="3413" y="840"/>
                  </a:lnTo>
                  <a:lnTo>
                    <a:pt x="3413" y="843"/>
                  </a:lnTo>
                  <a:lnTo>
                    <a:pt x="3414" y="843"/>
                  </a:lnTo>
                  <a:lnTo>
                    <a:pt x="3417" y="844"/>
                  </a:lnTo>
                  <a:lnTo>
                    <a:pt x="3419" y="846"/>
                  </a:lnTo>
                  <a:lnTo>
                    <a:pt x="3418" y="849"/>
                  </a:lnTo>
                  <a:lnTo>
                    <a:pt x="3418" y="852"/>
                  </a:lnTo>
                  <a:lnTo>
                    <a:pt x="3420" y="853"/>
                  </a:lnTo>
                  <a:lnTo>
                    <a:pt x="3419" y="854"/>
                  </a:lnTo>
                  <a:lnTo>
                    <a:pt x="3421" y="856"/>
                  </a:lnTo>
                  <a:lnTo>
                    <a:pt x="3418" y="859"/>
                  </a:lnTo>
                  <a:lnTo>
                    <a:pt x="3420" y="861"/>
                  </a:lnTo>
                  <a:lnTo>
                    <a:pt x="3417" y="862"/>
                  </a:lnTo>
                  <a:lnTo>
                    <a:pt x="3417" y="862"/>
                  </a:lnTo>
                  <a:lnTo>
                    <a:pt x="3415" y="865"/>
                  </a:lnTo>
                  <a:lnTo>
                    <a:pt x="3417" y="868"/>
                  </a:lnTo>
                  <a:lnTo>
                    <a:pt x="3413" y="866"/>
                  </a:lnTo>
                  <a:lnTo>
                    <a:pt x="3414" y="869"/>
                  </a:lnTo>
                  <a:lnTo>
                    <a:pt x="3415" y="871"/>
                  </a:lnTo>
                  <a:lnTo>
                    <a:pt x="3417" y="872"/>
                  </a:lnTo>
                  <a:lnTo>
                    <a:pt x="3419" y="872"/>
                  </a:lnTo>
                  <a:lnTo>
                    <a:pt x="3417" y="873"/>
                  </a:lnTo>
                  <a:lnTo>
                    <a:pt x="3417" y="876"/>
                  </a:lnTo>
                  <a:lnTo>
                    <a:pt x="3414" y="874"/>
                  </a:lnTo>
                  <a:lnTo>
                    <a:pt x="3417" y="877"/>
                  </a:lnTo>
                  <a:lnTo>
                    <a:pt x="3417" y="879"/>
                  </a:lnTo>
                  <a:lnTo>
                    <a:pt x="3419" y="879"/>
                  </a:lnTo>
                  <a:lnTo>
                    <a:pt x="3420" y="877"/>
                  </a:lnTo>
                  <a:lnTo>
                    <a:pt x="3423" y="877"/>
                  </a:lnTo>
                  <a:lnTo>
                    <a:pt x="3426" y="874"/>
                  </a:lnTo>
                  <a:lnTo>
                    <a:pt x="3428" y="873"/>
                  </a:lnTo>
                  <a:lnTo>
                    <a:pt x="3427" y="876"/>
                  </a:lnTo>
                  <a:lnTo>
                    <a:pt x="3429" y="878"/>
                  </a:lnTo>
                  <a:lnTo>
                    <a:pt x="3429" y="877"/>
                  </a:lnTo>
                  <a:lnTo>
                    <a:pt x="3430" y="876"/>
                  </a:lnTo>
                  <a:lnTo>
                    <a:pt x="3430" y="876"/>
                  </a:lnTo>
                  <a:lnTo>
                    <a:pt x="3429" y="872"/>
                  </a:lnTo>
                  <a:lnTo>
                    <a:pt x="3430" y="871"/>
                  </a:lnTo>
                  <a:lnTo>
                    <a:pt x="3431" y="874"/>
                  </a:lnTo>
                  <a:lnTo>
                    <a:pt x="3434" y="873"/>
                  </a:lnTo>
                  <a:lnTo>
                    <a:pt x="3431" y="871"/>
                  </a:lnTo>
                  <a:lnTo>
                    <a:pt x="3435" y="870"/>
                  </a:lnTo>
                  <a:lnTo>
                    <a:pt x="3436" y="870"/>
                  </a:lnTo>
                  <a:lnTo>
                    <a:pt x="3438" y="868"/>
                  </a:lnTo>
                  <a:lnTo>
                    <a:pt x="3439" y="871"/>
                  </a:lnTo>
                  <a:lnTo>
                    <a:pt x="3441" y="871"/>
                  </a:lnTo>
                  <a:lnTo>
                    <a:pt x="3443" y="872"/>
                  </a:lnTo>
                  <a:lnTo>
                    <a:pt x="3444" y="871"/>
                  </a:lnTo>
                  <a:lnTo>
                    <a:pt x="3444" y="869"/>
                  </a:lnTo>
                  <a:lnTo>
                    <a:pt x="3446" y="866"/>
                  </a:lnTo>
                  <a:lnTo>
                    <a:pt x="3448" y="868"/>
                  </a:lnTo>
                  <a:lnTo>
                    <a:pt x="3451" y="868"/>
                  </a:lnTo>
                  <a:lnTo>
                    <a:pt x="3451" y="866"/>
                  </a:lnTo>
                  <a:lnTo>
                    <a:pt x="3454" y="866"/>
                  </a:lnTo>
                  <a:lnTo>
                    <a:pt x="3455" y="866"/>
                  </a:lnTo>
                  <a:lnTo>
                    <a:pt x="3456" y="863"/>
                  </a:lnTo>
                  <a:lnTo>
                    <a:pt x="3456" y="861"/>
                  </a:lnTo>
                  <a:lnTo>
                    <a:pt x="3457" y="859"/>
                  </a:lnTo>
                  <a:lnTo>
                    <a:pt x="3458" y="856"/>
                  </a:lnTo>
                  <a:lnTo>
                    <a:pt x="3460" y="854"/>
                  </a:lnTo>
                  <a:lnTo>
                    <a:pt x="3457" y="854"/>
                  </a:lnTo>
                  <a:lnTo>
                    <a:pt x="3456" y="851"/>
                  </a:lnTo>
                  <a:lnTo>
                    <a:pt x="3456" y="848"/>
                  </a:lnTo>
                  <a:lnTo>
                    <a:pt x="3457" y="845"/>
                  </a:lnTo>
                  <a:lnTo>
                    <a:pt x="3457" y="843"/>
                  </a:lnTo>
                  <a:lnTo>
                    <a:pt x="3457" y="840"/>
                  </a:lnTo>
                  <a:lnTo>
                    <a:pt x="3457" y="837"/>
                  </a:lnTo>
                  <a:lnTo>
                    <a:pt x="3456" y="836"/>
                  </a:lnTo>
                  <a:lnTo>
                    <a:pt x="3455" y="833"/>
                  </a:lnTo>
                  <a:lnTo>
                    <a:pt x="3454" y="831"/>
                  </a:lnTo>
                  <a:lnTo>
                    <a:pt x="3451" y="826"/>
                  </a:lnTo>
                  <a:lnTo>
                    <a:pt x="3448" y="823"/>
                  </a:lnTo>
                  <a:lnTo>
                    <a:pt x="3447" y="820"/>
                  </a:lnTo>
                  <a:lnTo>
                    <a:pt x="3445" y="818"/>
                  </a:lnTo>
                  <a:lnTo>
                    <a:pt x="3445" y="817"/>
                  </a:lnTo>
                  <a:lnTo>
                    <a:pt x="3444" y="814"/>
                  </a:lnTo>
                  <a:lnTo>
                    <a:pt x="3443" y="812"/>
                  </a:lnTo>
                  <a:lnTo>
                    <a:pt x="3440" y="810"/>
                  </a:lnTo>
                  <a:lnTo>
                    <a:pt x="3437" y="808"/>
                  </a:lnTo>
                  <a:lnTo>
                    <a:pt x="3435" y="805"/>
                  </a:lnTo>
                  <a:lnTo>
                    <a:pt x="3432" y="804"/>
                  </a:lnTo>
                  <a:lnTo>
                    <a:pt x="3430" y="803"/>
                  </a:lnTo>
                  <a:lnTo>
                    <a:pt x="3429" y="802"/>
                  </a:lnTo>
                  <a:lnTo>
                    <a:pt x="3430" y="800"/>
                  </a:lnTo>
                  <a:lnTo>
                    <a:pt x="3430" y="800"/>
                  </a:lnTo>
                  <a:lnTo>
                    <a:pt x="3431" y="796"/>
                  </a:lnTo>
                  <a:lnTo>
                    <a:pt x="3431" y="794"/>
                  </a:lnTo>
                  <a:lnTo>
                    <a:pt x="3434" y="793"/>
                  </a:lnTo>
                  <a:lnTo>
                    <a:pt x="3437" y="791"/>
                  </a:lnTo>
                  <a:lnTo>
                    <a:pt x="3437" y="791"/>
                  </a:lnTo>
                  <a:lnTo>
                    <a:pt x="3439" y="789"/>
                  </a:lnTo>
                  <a:lnTo>
                    <a:pt x="3443" y="789"/>
                  </a:lnTo>
                  <a:lnTo>
                    <a:pt x="3445" y="787"/>
                  </a:lnTo>
                  <a:lnTo>
                    <a:pt x="3447" y="785"/>
                  </a:lnTo>
                  <a:lnTo>
                    <a:pt x="3451" y="784"/>
                  </a:lnTo>
                  <a:lnTo>
                    <a:pt x="3453" y="783"/>
                  </a:lnTo>
                  <a:lnTo>
                    <a:pt x="3454" y="780"/>
                  </a:lnTo>
                  <a:lnTo>
                    <a:pt x="3456" y="778"/>
                  </a:lnTo>
                  <a:lnTo>
                    <a:pt x="3458" y="777"/>
                  </a:lnTo>
                  <a:lnTo>
                    <a:pt x="3462" y="776"/>
                  </a:lnTo>
                  <a:lnTo>
                    <a:pt x="3461" y="772"/>
                  </a:lnTo>
                  <a:lnTo>
                    <a:pt x="3462" y="770"/>
                  </a:lnTo>
                  <a:lnTo>
                    <a:pt x="3462" y="769"/>
                  </a:lnTo>
                  <a:lnTo>
                    <a:pt x="3462" y="768"/>
                  </a:lnTo>
                  <a:lnTo>
                    <a:pt x="3461" y="765"/>
                  </a:lnTo>
                  <a:lnTo>
                    <a:pt x="3462" y="762"/>
                  </a:lnTo>
                  <a:lnTo>
                    <a:pt x="3463" y="759"/>
                  </a:lnTo>
                  <a:lnTo>
                    <a:pt x="3465" y="758"/>
                  </a:lnTo>
                  <a:lnTo>
                    <a:pt x="3465" y="758"/>
                  </a:lnTo>
                  <a:lnTo>
                    <a:pt x="3468" y="756"/>
                  </a:lnTo>
                  <a:lnTo>
                    <a:pt x="3470" y="753"/>
                  </a:lnTo>
                  <a:lnTo>
                    <a:pt x="3473" y="753"/>
                  </a:lnTo>
                  <a:lnTo>
                    <a:pt x="3474" y="753"/>
                  </a:lnTo>
                  <a:lnTo>
                    <a:pt x="3475" y="750"/>
                  </a:lnTo>
                  <a:lnTo>
                    <a:pt x="3474" y="748"/>
                  </a:lnTo>
                  <a:lnTo>
                    <a:pt x="3480" y="746"/>
                  </a:lnTo>
                  <a:lnTo>
                    <a:pt x="3483" y="744"/>
                  </a:lnTo>
                  <a:lnTo>
                    <a:pt x="3484" y="742"/>
                  </a:lnTo>
                  <a:lnTo>
                    <a:pt x="3487" y="740"/>
                  </a:lnTo>
                  <a:lnTo>
                    <a:pt x="3488" y="737"/>
                  </a:lnTo>
                  <a:lnTo>
                    <a:pt x="3489" y="736"/>
                  </a:lnTo>
                  <a:lnTo>
                    <a:pt x="3492" y="736"/>
                  </a:lnTo>
                  <a:lnTo>
                    <a:pt x="3490" y="739"/>
                  </a:lnTo>
                  <a:lnTo>
                    <a:pt x="3494" y="739"/>
                  </a:lnTo>
                  <a:lnTo>
                    <a:pt x="3496" y="736"/>
                  </a:lnTo>
                  <a:lnTo>
                    <a:pt x="3497" y="740"/>
                  </a:lnTo>
                  <a:lnTo>
                    <a:pt x="3496" y="742"/>
                  </a:lnTo>
                  <a:lnTo>
                    <a:pt x="3501" y="743"/>
                  </a:lnTo>
                  <a:lnTo>
                    <a:pt x="3506" y="744"/>
                  </a:lnTo>
                  <a:lnTo>
                    <a:pt x="3508" y="746"/>
                  </a:lnTo>
                  <a:lnTo>
                    <a:pt x="3514" y="744"/>
                  </a:lnTo>
                  <a:lnTo>
                    <a:pt x="3516" y="743"/>
                  </a:lnTo>
                  <a:lnTo>
                    <a:pt x="3518" y="743"/>
                  </a:lnTo>
                  <a:lnTo>
                    <a:pt x="3522" y="741"/>
                  </a:lnTo>
                  <a:lnTo>
                    <a:pt x="3524" y="740"/>
                  </a:lnTo>
                  <a:lnTo>
                    <a:pt x="3526" y="737"/>
                  </a:lnTo>
                  <a:lnTo>
                    <a:pt x="3528" y="737"/>
                  </a:lnTo>
                  <a:lnTo>
                    <a:pt x="3530" y="736"/>
                  </a:lnTo>
                  <a:lnTo>
                    <a:pt x="3531" y="735"/>
                  </a:lnTo>
                  <a:lnTo>
                    <a:pt x="3535" y="733"/>
                  </a:lnTo>
                  <a:lnTo>
                    <a:pt x="3537" y="729"/>
                  </a:lnTo>
                  <a:lnTo>
                    <a:pt x="3539" y="728"/>
                  </a:lnTo>
                  <a:lnTo>
                    <a:pt x="3539" y="728"/>
                  </a:lnTo>
                  <a:lnTo>
                    <a:pt x="3540" y="725"/>
                  </a:lnTo>
                  <a:lnTo>
                    <a:pt x="3542" y="723"/>
                  </a:lnTo>
                  <a:lnTo>
                    <a:pt x="3547" y="717"/>
                  </a:lnTo>
                  <a:lnTo>
                    <a:pt x="3549" y="716"/>
                  </a:lnTo>
                  <a:lnTo>
                    <a:pt x="3550" y="714"/>
                  </a:lnTo>
                  <a:lnTo>
                    <a:pt x="3552" y="711"/>
                  </a:lnTo>
                  <a:lnTo>
                    <a:pt x="3555" y="709"/>
                  </a:lnTo>
                  <a:lnTo>
                    <a:pt x="3556" y="708"/>
                  </a:lnTo>
                  <a:lnTo>
                    <a:pt x="3558" y="705"/>
                  </a:lnTo>
                  <a:lnTo>
                    <a:pt x="3564" y="700"/>
                  </a:lnTo>
                  <a:lnTo>
                    <a:pt x="3568" y="695"/>
                  </a:lnTo>
                  <a:lnTo>
                    <a:pt x="3575" y="688"/>
                  </a:lnTo>
                  <a:lnTo>
                    <a:pt x="3577" y="683"/>
                  </a:lnTo>
                  <a:lnTo>
                    <a:pt x="3577" y="682"/>
                  </a:lnTo>
                  <a:lnTo>
                    <a:pt x="3580" y="680"/>
                  </a:lnTo>
                  <a:lnTo>
                    <a:pt x="3580" y="677"/>
                  </a:lnTo>
                  <a:lnTo>
                    <a:pt x="3582" y="674"/>
                  </a:lnTo>
                  <a:lnTo>
                    <a:pt x="3586" y="668"/>
                  </a:lnTo>
                  <a:lnTo>
                    <a:pt x="3589" y="666"/>
                  </a:lnTo>
                  <a:lnTo>
                    <a:pt x="3590" y="664"/>
                  </a:lnTo>
                  <a:lnTo>
                    <a:pt x="3591" y="662"/>
                  </a:lnTo>
                  <a:lnTo>
                    <a:pt x="3593" y="658"/>
                  </a:lnTo>
                  <a:lnTo>
                    <a:pt x="3596" y="656"/>
                  </a:lnTo>
                  <a:lnTo>
                    <a:pt x="3598" y="654"/>
                  </a:lnTo>
                  <a:lnTo>
                    <a:pt x="3601" y="651"/>
                  </a:lnTo>
                  <a:lnTo>
                    <a:pt x="3602" y="650"/>
                  </a:lnTo>
                  <a:lnTo>
                    <a:pt x="3605" y="648"/>
                  </a:lnTo>
                  <a:lnTo>
                    <a:pt x="3605" y="643"/>
                  </a:lnTo>
                  <a:lnTo>
                    <a:pt x="3606" y="640"/>
                  </a:lnTo>
                  <a:lnTo>
                    <a:pt x="3606" y="638"/>
                  </a:lnTo>
                  <a:lnTo>
                    <a:pt x="3607" y="638"/>
                  </a:lnTo>
                  <a:lnTo>
                    <a:pt x="3607" y="635"/>
                  </a:lnTo>
                  <a:lnTo>
                    <a:pt x="3607" y="633"/>
                  </a:lnTo>
                  <a:lnTo>
                    <a:pt x="3607" y="633"/>
                  </a:lnTo>
                  <a:lnTo>
                    <a:pt x="3608" y="631"/>
                  </a:lnTo>
                  <a:lnTo>
                    <a:pt x="3609" y="628"/>
                  </a:lnTo>
                  <a:lnTo>
                    <a:pt x="3609" y="625"/>
                  </a:lnTo>
                  <a:lnTo>
                    <a:pt x="3608" y="623"/>
                  </a:lnTo>
                  <a:lnTo>
                    <a:pt x="3609" y="621"/>
                  </a:lnTo>
                  <a:lnTo>
                    <a:pt x="3609" y="618"/>
                  </a:lnTo>
                  <a:lnTo>
                    <a:pt x="3609" y="615"/>
                  </a:lnTo>
                  <a:lnTo>
                    <a:pt x="3609" y="613"/>
                  </a:lnTo>
                  <a:lnTo>
                    <a:pt x="3609" y="612"/>
                  </a:lnTo>
                  <a:lnTo>
                    <a:pt x="3608" y="607"/>
                  </a:lnTo>
                  <a:lnTo>
                    <a:pt x="3611" y="601"/>
                  </a:lnTo>
                  <a:lnTo>
                    <a:pt x="3611" y="599"/>
                  </a:lnTo>
                  <a:lnTo>
                    <a:pt x="3614" y="597"/>
                  </a:lnTo>
                  <a:lnTo>
                    <a:pt x="3615" y="594"/>
                  </a:lnTo>
                  <a:lnTo>
                    <a:pt x="3615" y="591"/>
                  </a:lnTo>
                  <a:lnTo>
                    <a:pt x="3618" y="589"/>
                  </a:lnTo>
                  <a:lnTo>
                    <a:pt x="3620" y="587"/>
                  </a:lnTo>
                  <a:lnTo>
                    <a:pt x="3620" y="583"/>
                  </a:lnTo>
                  <a:lnTo>
                    <a:pt x="3623" y="581"/>
                  </a:lnTo>
                  <a:lnTo>
                    <a:pt x="3623" y="580"/>
                  </a:lnTo>
                  <a:lnTo>
                    <a:pt x="3620" y="579"/>
                  </a:lnTo>
                  <a:lnTo>
                    <a:pt x="3617" y="578"/>
                  </a:lnTo>
                  <a:lnTo>
                    <a:pt x="3619" y="574"/>
                  </a:lnTo>
                  <a:lnTo>
                    <a:pt x="3619" y="572"/>
                  </a:lnTo>
                  <a:lnTo>
                    <a:pt x="3619" y="570"/>
                  </a:lnTo>
                  <a:lnTo>
                    <a:pt x="3611" y="564"/>
                  </a:lnTo>
                  <a:lnTo>
                    <a:pt x="3617" y="566"/>
                  </a:lnTo>
                  <a:lnTo>
                    <a:pt x="3619" y="564"/>
                  </a:lnTo>
                  <a:lnTo>
                    <a:pt x="3620" y="562"/>
                  </a:lnTo>
                  <a:lnTo>
                    <a:pt x="3618" y="560"/>
                  </a:lnTo>
                  <a:lnTo>
                    <a:pt x="3616" y="558"/>
                  </a:lnTo>
                  <a:lnTo>
                    <a:pt x="3612" y="555"/>
                  </a:lnTo>
                  <a:lnTo>
                    <a:pt x="3609" y="554"/>
                  </a:lnTo>
                  <a:lnTo>
                    <a:pt x="3607" y="552"/>
                  </a:lnTo>
                  <a:lnTo>
                    <a:pt x="3606" y="548"/>
                  </a:lnTo>
                  <a:lnTo>
                    <a:pt x="3605" y="546"/>
                  </a:lnTo>
                  <a:lnTo>
                    <a:pt x="3602" y="545"/>
                  </a:lnTo>
                  <a:lnTo>
                    <a:pt x="3599" y="543"/>
                  </a:lnTo>
                  <a:lnTo>
                    <a:pt x="3597" y="543"/>
                  </a:lnTo>
                  <a:lnTo>
                    <a:pt x="3593" y="544"/>
                  </a:lnTo>
                  <a:lnTo>
                    <a:pt x="3591" y="544"/>
                  </a:lnTo>
                  <a:lnTo>
                    <a:pt x="3588" y="543"/>
                  </a:lnTo>
                  <a:lnTo>
                    <a:pt x="3585" y="541"/>
                  </a:lnTo>
                  <a:lnTo>
                    <a:pt x="3584" y="545"/>
                  </a:lnTo>
                  <a:lnTo>
                    <a:pt x="3585" y="547"/>
                  </a:lnTo>
                  <a:lnTo>
                    <a:pt x="3584" y="549"/>
                  </a:lnTo>
                  <a:lnTo>
                    <a:pt x="3583" y="553"/>
                  </a:lnTo>
                  <a:lnTo>
                    <a:pt x="3582" y="555"/>
                  </a:lnTo>
                  <a:lnTo>
                    <a:pt x="3579" y="556"/>
                  </a:lnTo>
                  <a:lnTo>
                    <a:pt x="3580" y="554"/>
                  </a:lnTo>
                  <a:lnTo>
                    <a:pt x="3582" y="551"/>
                  </a:lnTo>
                  <a:lnTo>
                    <a:pt x="3582" y="548"/>
                  </a:lnTo>
                  <a:lnTo>
                    <a:pt x="3580" y="549"/>
                  </a:lnTo>
                  <a:lnTo>
                    <a:pt x="3579" y="552"/>
                  </a:lnTo>
                  <a:lnTo>
                    <a:pt x="3573" y="555"/>
                  </a:lnTo>
                  <a:lnTo>
                    <a:pt x="3568" y="556"/>
                  </a:lnTo>
                  <a:lnTo>
                    <a:pt x="3568" y="556"/>
                  </a:lnTo>
                  <a:lnTo>
                    <a:pt x="3565" y="556"/>
                  </a:lnTo>
                  <a:lnTo>
                    <a:pt x="3567" y="553"/>
                  </a:lnTo>
                  <a:lnTo>
                    <a:pt x="3568" y="551"/>
                  </a:lnTo>
                  <a:lnTo>
                    <a:pt x="3572" y="549"/>
                  </a:lnTo>
                  <a:lnTo>
                    <a:pt x="3568" y="548"/>
                  </a:lnTo>
                  <a:lnTo>
                    <a:pt x="3566" y="547"/>
                  </a:lnTo>
                  <a:lnTo>
                    <a:pt x="3568" y="544"/>
                  </a:lnTo>
                  <a:lnTo>
                    <a:pt x="3571" y="541"/>
                  </a:lnTo>
                  <a:lnTo>
                    <a:pt x="3567" y="541"/>
                  </a:lnTo>
                  <a:lnTo>
                    <a:pt x="3565" y="543"/>
                  </a:lnTo>
                  <a:lnTo>
                    <a:pt x="3562" y="545"/>
                  </a:lnTo>
                  <a:lnTo>
                    <a:pt x="3565" y="546"/>
                  </a:lnTo>
                  <a:lnTo>
                    <a:pt x="3564" y="549"/>
                  </a:lnTo>
                  <a:lnTo>
                    <a:pt x="3560" y="551"/>
                  </a:lnTo>
                  <a:lnTo>
                    <a:pt x="3558" y="552"/>
                  </a:lnTo>
                  <a:lnTo>
                    <a:pt x="3558" y="552"/>
                  </a:lnTo>
                  <a:lnTo>
                    <a:pt x="3556" y="548"/>
                  </a:lnTo>
                  <a:lnTo>
                    <a:pt x="3558" y="546"/>
                  </a:lnTo>
                  <a:lnTo>
                    <a:pt x="3557" y="540"/>
                  </a:lnTo>
                  <a:lnTo>
                    <a:pt x="3558" y="538"/>
                  </a:lnTo>
                  <a:lnTo>
                    <a:pt x="3558" y="536"/>
                  </a:lnTo>
                  <a:lnTo>
                    <a:pt x="3556" y="535"/>
                  </a:lnTo>
                  <a:lnTo>
                    <a:pt x="3552" y="536"/>
                  </a:lnTo>
                  <a:lnTo>
                    <a:pt x="3550" y="536"/>
                  </a:lnTo>
                  <a:lnTo>
                    <a:pt x="3545" y="537"/>
                  </a:lnTo>
                  <a:lnTo>
                    <a:pt x="3542" y="535"/>
                  </a:lnTo>
                  <a:lnTo>
                    <a:pt x="3539" y="535"/>
                  </a:lnTo>
                  <a:lnTo>
                    <a:pt x="3537" y="534"/>
                  </a:lnTo>
                  <a:lnTo>
                    <a:pt x="3535" y="531"/>
                  </a:lnTo>
                  <a:lnTo>
                    <a:pt x="3538" y="529"/>
                  </a:lnTo>
                  <a:lnTo>
                    <a:pt x="3541" y="527"/>
                  </a:lnTo>
                  <a:lnTo>
                    <a:pt x="3543" y="526"/>
                  </a:lnTo>
                  <a:lnTo>
                    <a:pt x="3549" y="522"/>
                  </a:lnTo>
                  <a:lnTo>
                    <a:pt x="3551" y="520"/>
                  </a:lnTo>
                  <a:lnTo>
                    <a:pt x="3554" y="518"/>
                  </a:lnTo>
                  <a:lnTo>
                    <a:pt x="3556" y="517"/>
                  </a:lnTo>
                  <a:lnTo>
                    <a:pt x="3559" y="514"/>
                  </a:lnTo>
                  <a:lnTo>
                    <a:pt x="3562" y="513"/>
                  </a:lnTo>
                  <a:lnTo>
                    <a:pt x="3566" y="510"/>
                  </a:lnTo>
                  <a:lnTo>
                    <a:pt x="3567" y="509"/>
                  </a:lnTo>
                  <a:lnTo>
                    <a:pt x="3569" y="506"/>
                  </a:lnTo>
                  <a:lnTo>
                    <a:pt x="3575" y="502"/>
                  </a:lnTo>
                  <a:lnTo>
                    <a:pt x="3577" y="501"/>
                  </a:lnTo>
                  <a:lnTo>
                    <a:pt x="3576" y="497"/>
                  </a:lnTo>
                  <a:lnTo>
                    <a:pt x="3580" y="495"/>
                  </a:lnTo>
                  <a:lnTo>
                    <a:pt x="3580" y="494"/>
                  </a:lnTo>
                  <a:lnTo>
                    <a:pt x="3585" y="491"/>
                  </a:lnTo>
                  <a:lnTo>
                    <a:pt x="3588" y="488"/>
                  </a:lnTo>
                  <a:lnTo>
                    <a:pt x="3590" y="486"/>
                  </a:lnTo>
                  <a:lnTo>
                    <a:pt x="3592" y="484"/>
                  </a:lnTo>
                  <a:lnTo>
                    <a:pt x="3594" y="484"/>
                  </a:lnTo>
                  <a:lnTo>
                    <a:pt x="3598" y="480"/>
                  </a:lnTo>
                  <a:lnTo>
                    <a:pt x="3600" y="479"/>
                  </a:lnTo>
                  <a:lnTo>
                    <a:pt x="3602" y="476"/>
                  </a:lnTo>
                  <a:lnTo>
                    <a:pt x="3608" y="475"/>
                  </a:lnTo>
                  <a:lnTo>
                    <a:pt x="3609" y="471"/>
                  </a:lnTo>
                  <a:lnTo>
                    <a:pt x="3610" y="469"/>
                  </a:lnTo>
                  <a:lnTo>
                    <a:pt x="3611" y="466"/>
                  </a:lnTo>
                  <a:lnTo>
                    <a:pt x="3614" y="463"/>
                  </a:lnTo>
                  <a:lnTo>
                    <a:pt x="3616" y="461"/>
                  </a:lnTo>
                  <a:lnTo>
                    <a:pt x="3619" y="461"/>
                  </a:lnTo>
                  <a:lnTo>
                    <a:pt x="3625" y="457"/>
                  </a:lnTo>
                  <a:lnTo>
                    <a:pt x="3627" y="454"/>
                  </a:lnTo>
                  <a:lnTo>
                    <a:pt x="3628" y="451"/>
                  </a:lnTo>
                  <a:lnTo>
                    <a:pt x="3631" y="449"/>
                  </a:lnTo>
                  <a:lnTo>
                    <a:pt x="3636" y="445"/>
                  </a:lnTo>
                  <a:lnTo>
                    <a:pt x="3642" y="444"/>
                  </a:lnTo>
                  <a:lnTo>
                    <a:pt x="3645" y="443"/>
                  </a:lnTo>
                  <a:lnTo>
                    <a:pt x="3645" y="443"/>
                  </a:lnTo>
                  <a:lnTo>
                    <a:pt x="3649" y="443"/>
                  </a:lnTo>
                  <a:lnTo>
                    <a:pt x="3651" y="443"/>
                  </a:lnTo>
                  <a:lnTo>
                    <a:pt x="3651" y="443"/>
                  </a:lnTo>
                  <a:lnTo>
                    <a:pt x="3657" y="442"/>
                  </a:lnTo>
                  <a:lnTo>
                    <a:pt x="3660" y="442"/>
                  </a:lnTo>
                  <a:lnTo>
                    <a:pt x="3662" y="442"/>
                  </a:lnTo>
                  <a:lnTo>
                    <a:pt x="3665" y="443"/>
                  </a:lnTo>
                  <a:lnTo>
                    <a:pt x="3670" y="443"/>
                  </a:lnTo>
                  <a:lnTo>
                    <a:pt x="3673" y="442"/>
                  </a:lnTo>
                  <a:lnTo>
                    <a:pt x="3676" y="442"/>
                  </a:lnTo>
                  <a:lnTo>
                    <a:pt x="3678" y="442"/>
                  </a:lnTo>
                  <a:lnTo>
                    <a:pt x="3682" y="442"/>
                  </a:lnTo>
                  <a:lnTo>
                    <a:pt x="3682" y="445"/>
                  </a:lnTo>
                  <a:lnTo>
                    <a:pt x="3684" y="447"/>
                  </a:lnTo>
                  <a:lnTo>
                    <a:pt x="3686" y="446"/>
                  </a:lnTo>
                  <a:lnTo>
                    <a:pt x="3688" y="443"/>
                  </a:lnTo>
                  <a:lnTo>
                    <a:pt x="3691" y="441"/>
                  </a:lnTo>
                  <a:lnTo>
                    <a:pt x="3694" y="443"/>
                  </a:lnTo>
                  <a:lnTo>
                    <a:pt x="3696" y="443"/>
                  </a:lnTo>
                  <a:lnTo>
                    <a:pt x="3702" y="444"/>
                  </a:lnTo>
                  <a:lnTo>
                    <a:pt x="3704" y="445"/>
                  </a:lnTo>
                  <a:lnTo>
                    <a:pt x="3708" y="444"/>
                  </a:lnTo>
                  <a:lnTo>
                    <a:pt x="3710" y="442"/>
                  </a:lnTo>
                  <a:lnTo>
                    <a:pt x="3712" y="442"/>
                  </a:lnTo>
                  <a:lnTo>
                    <a:pt x="3716" y="442"/>
                  </a:lnTo>
                  <a:lnTo>
                    <a:pt x="3717" y="444"/>
                  </a:lnTo>
                  <a:lnTo>
                    <a:pt x="3720" y="445"/>
                  </a:lnTo>
                  <a:lnTo>
                    <a:pt x="3722" y="444"/>
                  </a:lnTo>
                  <a:lnTo>
                    <a:pt x="3721" y="442"/>
                  </a:lnTo>
                  <a:lnTo>
                    <a:pt x="3722" y="440"/>
                  </a:lnTo>
                  <a:lnTo>
                    <a:pt x="3726" y="441"/>
                  </a:lnTo>
                  <a:lnTo>
                    <a:pt x="3726" y="437"/>
                  </a:lnTo>
                  <a:lnTo>
                    <a:pt x="3728" y="436"/>
                  </a:lnTo>
                  <a:lnTo>
                    <a:pt x="3731" y="435"/>
                  </a:lnTo>
                  <a:lnTo>
                    <a:pt x="3734" y="435"/>
                  </a:lnTo>
                  <a:lnTo>
                    <a:pt x="3737" y="435"/>
                  </a:lnTo>
                  <a:lnTo>
                    <a:pt x="3738" y="436"/>
                  </a:lnTo>
                  <a:lnTo>
                    <a:pt x="3740" y="436"/>
                  </a:lnTo>
                  <a:lnTo>
                    <a:pt x="3743" y="437"/>
                  </a:lnTo>
                  <a:lnTo>
                    <a:pt x="3746" y="438"/>
                  </a:lnTo>
                  <a:lnTo>
                    <a:pt x="3748" y="440"/>
                  </a:lnTo>
                  <a:lnTo>
                    <a:pt x="3746" y="440"/>
                  </a:lnTo>
                  <a:lnTo>
                    <a:pt x="3748" y="441"/>
                  </a:lnTo>
                  <a:lnTo>
                    <a:pt x="3751" y="441"/>
                  </a:lnTo>
                  <a:lnTo>
                    <a:pt x="3753" y="438"/>
                  </a:lnTo>
                  <a:lnTo>
                    <a:pt x="3756" y="438"/>
                  </a:lnTo>
                  <a:lnTo>
                    <a:pt x="3759" y="440"/>
                  </a:lnTo>
                  <a:lnTo>
                    <a:pt x="3761" y="442"/>
                  </a:lnTo>
                  <a:lnTo>
                    <a:pt x="3762" y="444"/>
                  </a:lnTo>
                  <a:lnTo>
                    <a:pt x="3764" y="444"/>
                  </a:lnTo>
                  <a:lnTo>
                    <a:pt x="3768" y="446"/>
                  </a:lnTo>
                  <a:lnTo>
                    <a:pt x="3762" y="447"/>
                  </a:lnTo>
                  <a:lnTo>
                    <a:pt x="3760" y="447"/>
                  </a:lnTo>
                  <a:lnTo>
                    <a:pt x="3756" y="447"/>
                  </a:lnTo>
                  <a:lnTo>
                    <a:pt x="3754" y="447"/>
                  </a:lnTo>
                  <a:lnTo>
                    <a:pt x="3755" y="451"/>
                  </a:lnTo>
                  <a:lnTo>
                    <a:pt x="3756" y="453"/>
                  </a:lnTo>
                  <a:lnTo>
                    <a:pt x="3761" y="453"/>
                  </a:lnTo>
                  <a:lnTo>
                    <a:pt x="3762" y="453"/>
                  </a:lnTo>
                  <a:lnTo>
                    <a:pt x="3765" y="452"/>
                  </a:lnTo>
                  <a:lnTo>
                    <a:pt x="3768" y="451"/>
                  </a:lnTo>
                  <a:lnTo>
                    <a:pt x="3770" y="450"/>
                  </a:lnTo>
                  <a:lnTo>
                    <a:pt x="3776" y="452"/>
                  </a:lnTo>
                  <a:lnTo>
                    <a:pt x="3779" y="451"/>
                  </a:lnTo>
                  <a:lnTo>
                    <a:pt x="3781" y="449"/>
                  </a:lnTo>
                  <a:lnTo>
                    <a:pt x="3785" y="449"/>
                  </a:lnTo>
                  <a:lnTo>
                    <a:pt x="3785" y="445"/>
                  </a:lnTo>
                  <a:lnTo>
                    <a:pt x="3788" y="446"/>
                  </a:lnTo>
                  <a:lnTo>
                    <a:pt x="3790" y="446"/>
                  </a:lnTo>
                  <a:lnTo>
                    <a:pt x="3793" y="449"/>
                  </a:lnTo>
                  <a:lnTo>
                    <a:pt x="3796" y="449"/>
                  </a:lnTo>
                  <a:lnTo>
                    <a:pt x="3798" y="446"/>
                  </a:lnTo>
                  <a:lnTo>
                    <a:pt x="3802" y="446"/>
                  </a:lnTo>
                  <a:lnTo>
                    <a:pt x="3807" y="446"/>
                  </a:lnTo>
                  <a:lnTo>
                    <a:pt x="3810" y="445"/>
                  </a:lnTo>
                  <a:lnTo>
                    <a:pt x="3808" y="442"/>
                  </a:lnTo>
                  <a:lnTo>
                    <a:pt x="3806" y="441"/>
                  </a:lnTo>
                  <a:lnTo>
                    <a:pt x="3803" y="440"/>
                  </a:lnTo>
                  <a:lnTo>
                    <a:pt x="3801" y="441"/>
                  </a:lnTo>
                  <a:lnTo>
                    <a:pt x="3798" y="441"/>
                  </a:lnTo>
                  <a:lnTo>
                    <a:pt x="3795" y="440"/>
                  </a:lnTo>
                  <a:lnTo>
                    <a:pt x="3798" y="437"/>
                  </a:lnTo>
                  <a:lnTo>
                    <a:pt x="3797" y="435"/>
                  </a:lnTo>
                  <a:lnTo>
                    <a:pt x="3797" y="432"/>
                  </a:lnTo>
                  <a:lnTo>
                    <a:pt x="3799" y="433"/>
                  </a:lnTo>
                  <a:lnTo>
                    <a:pt x="3801" y="429"/>
                  </a:lnTo>
                  <a:lnTo>
                    <a:pt x="3802" y="427"/>
                  </a:lnTo>
                  <a:lnTo>
                    <a:pt x="3804" y="425"/>
                  </a:lnTo>
                  <a:lnTo>
                    <a:pt x="3807" y="423"/>
                  </a:lnTo>
                  <a:lnTo>
                    <a:pt x="3813" y="419"/>
                  </a:lnTo>
                  <a:lnTo>
                    <a:pt x="3815" y="417"/>
                  </a:lnTo>
                  <a:lnTo>
                    <a:pt x="3819" y="416"/>
                  </a:lnTo>
                  <a:lnTo>
                    <a:pt x="3821" y="410"/>
                  </a:lnTo>
                  <a:lnTo>
                    <a:pt x="3824" y="408"/>
                  </a:lnTo>
                  <a:lnTo>
                    <a:pt x="3827" y="406"/>
                  </a:lnTo>
                  <a:lnTo>
                    <a:pt x="3830" y="404"/>
                  </a:lnTo>
                  <a:lnTo>
                    <a:pt x="3830" y="402"/>
                  </a:lnTo>
                  <a:lnTo>
                    <a:pt x="3830" y="399"/>
                  </a:lnTo>
                  <a:lnTo>
                    <a:pt x="3833" y="398"/>
                  </a:lnTo>
                  <a:lnTo>
                    <a:pt x="3836" y="395"/>
                  </a:lnTo>
                  <a:lnTo>
                    <a:pt x="3838" y="394"/>
                  </a:lnTo>
                  <a:lnTo>
                    <a:pt x="3841" y="392"/>
                  </a:lnTo>
                  <a:lnTo>
                    <a:pt x="3847" y="393"/>
                  </a:lnTo>
                  <a:lnTo>
                    <a:pt x="3849" y="394"/>
                  </a:lnTo>
                  <a:lnTo>
                    <a:pt x="3852" y="392"/>
                  </a:lnTo>
                  <a:lnTo>
                    <a:pt x="3855" y="392"/>
                  </a:lnTo>
                  <a:lnTo>
                    <a:pt x="3859" y="392"/>
                  </a:lnTo>
                  <a:lnTo>
                    <a:pt x="3863" y="390"/>
                  </a:lnTo>
                  <a:lnTo>
                    <a:pt x="3865" y="390"/>
                  </a:lnTo>
                  <a:lnTo>
                    <a:pt x="3867" y="392"/>
                  </a:lnTo>
                  <a:lnTo>
                    <a:pt x="3870" y="395"/>
                  </a:lnTo>
                  <a:lnTo>
                    <a:pt x="3872" y="394"/>
                  </a:lnTo>
                  <a:lnTo>
                    <a:pt x="3879" y="390"/>
                  </a:lnTo>
                  <a:lnTo>
                    <a:pt x="3881" y="393"/>
                  </a:lnTo>
                  <a:lnTo>
                    <a:pt x="3876" y="401"/>
                  </a:lnTo>
                  <a:lnTo>
                    <a:pt x="3875" y="401"/>
                  </a:lnTo>
                  <a:lnTo>
                    <a:pt x="3873" y="403"/>
                  </a:lnTo>
                  <a:lnTo>
                    <a:pt x="3875" y="406"/>
                  </a:lnTo>
                  <a:lnTo>
                    <a:pt x="3874" y="409"/>
                  </a:lnTo>
                  <a:lnTo>
                    <a:pt x="3875" y="409"/>
                  </a:lnTo>
                  <a:lnTo>
                    <a:pt x="3879" y="408"/>
                  </a:lnTo>
                  <a:lnTo>
                    <a:pt x="3881" y="408"/>
                  </a:lnTo>
                  <a:lnTo>
                    <a:pt x="3881" y="411"/>
                  </a:lnTo>
                  <a:lnTo>
                    <a:pt x="3879" y="414"/>
                  </a:lnTo>
                  <a:lnTo>
                    <a:pt x="3878" y="416"/>
                  </a:lnTo>
                  <a:lnTo>
                    <a:pt x="3880" y="416"/>
                  </a:lnTo>
                  <a:lnTo>
                    <a:pt x="3883" y="415"/>
                  </a:lnTo>
                  <a:lnTo>
                    <a:pt x="3885" y="415"/>
                  </a:lnTo>
                  <a:lnTo>
                    <a:pt x="3888" y="411"/>
                  </a:lnTo>
                  <a:lnTo>
                    <a:pt x="3893" y="408"/>
                  </a:lnTo>
                  <a:lnTo>
                    <a:pt x="3896" y="404"/>
                  </a:lnTo>
                  <a:lnTo>
                    <a:pt x="3901" y="401"/>
                  </a:lnTo>
                  <a:lnTo>
                    <a:pt x="3905" y="400"/>
                  </a:lnTo>
                  <a:lnTo>
                    <a:pt x="3907" y="397"/>
                  </a:lnTo>
                  <a:lnTo>
                    <a:pt x="3909" y="395"/>
                  </a:lnTo>
                  <a:lnTo>
                    <a:pt x="3910" y="395"/>
                  </a:lnTo>
                  <a:lnTo>
                    <a:pt x="3913" y="397"/>
                  </a:lnTo>
                  <a:lnTo>
                    <a:pt x="3916" y="394"/>
                  </a:lnTo>
                  <a:lnTo>
                    <a:pt x="3916" y="398"/>
                  </a:lnTo>
                  <a:lnTo>
                    <a:pt x="3919" y="397"/>
                  </a:lnTo>
                  <a:lnTo>
                    <a:pt x="3919" y="393"/>
                  </a:lnTo>
                  <a:lnTo>
                    <a:pt x="3916" y="393"/>
                  </a:lnTo>
                  <a:lnTo>
                    <a:pt x="3917" y="390"/>
                  </a:lnTo>
                  <a:lnTo>
                    <a:pt x="3918" y="387"/>
                  </a:lnTo>
                  <a:lnTo>
                    <a:pt x="3918" y="384"/>
                  </a:lnTo>
                  <a:lnTo>
                    <a:pt x="3918" y="382"/>
                  </a:lnTo>
                  <a:lnTo>
                    <a:pt x="3922" y="381"/>
                  </a:lnTo>
                  <a:lnTo>
                    <a:pt x="3919" y="378"/>
                  </a:lnTo>
                  <a:lnTo>
                    <a:pt x="3923" y="376"/>
                  </a:lnTo>
                  <a:lnTo>
                    <a:pt x="3925" y="375"/>
                  </a:lnTo>
                  <a:lnTo>
                    <a:pt x="3929" y="375"/>
                  </a:lnTo>
                  <a:lnTo>
                    <a:pt x="3931" y="374"/>
                  </a:lnTo>
                  <a:lnTo>
                    <a:pt x="3934" y="374"/>
                  </a:lnTo>
                  <a:lnTo>
                    <a:pt x="3936" y="374"/>
                  </a:lnTo>
                  <a:lnTo>
                    <a:pt x="3939" y="375"/>
                  </a:lnTo>
                  <a:lnTo>
                    <a:pt x="3942" y="376"/>
                  </a:lnTo>
                  <a:lnTo>
                    <a:pt x="3944" y="377"/>
                  </a:lnTo>
                  <a:lnTo>
                    <a:pt x="3950" y="378"/>
                  </a:lnTo>
                  <a:lnTo>
                    <a:pt x="3952" y="378"/>
                  </a:lnTo>
                  <a:lnTo>
                    <a:pt x="3953" y="378"/>
                  </a:lnTo>
                  <a:lnTo>
                    <a:pt x="3952" y="378"/>
                  </a:lnTo>
                  <a:lnTo>
                    <a:pt x="3948" y="378"/>
                  </a:lnTo>
                  <a:lnTo>
                    <a:pt x="3948" y="381"/>
                  </a:lnTo>
                  <a:lnTo>
                    <a:pt x="3946" y="380"/>
                  </a:lnTo>
                  <a:lnTo>
                    <a:pt x="3942" y="380"/>
                  </a:lnTo>
                  <a:lnTo>
                    <a:pt x="3940" y="378"/>
                  </a:lnTo>
                  <a:lnTo>
                    <a:pt x="3938" y="378"/>
                  </a:lnTo>
                  <a:lnTo>
                    <a:pt x="3934" y="381"/>
                  </a:lnTo>
                  <a:lnTo>
                    <a:pt x="3932" y="383"/>
                  </a:lnTo>
                  <a:lnTo>
                    <a:pt x="3932" y="385"/>
                  </a:lnTo>
                  <a:lnTo>
                    <a:pt x="3931" y="389"/>
                  </a:lnTo>
                  <a:lnTo>
                    <a:pt x="3931" y="394"/>
                  </a:lnTo>
                  <a:lnTo>
                    <a:pt x="3929" y="395"/>
                  </a:lnTo>
                  <a:lnTo>
                    <a:pt x="3927" y="399"/>
                  </a:lnTo>
                  <a:lnTo>
                    <a:pt x="3930" y="401"/>
                  </a:lnTo>
                  <a:lnTo>
                    <a:pt x="3930" y="403"/>
                  </a:lnTo>
                  <a:lnTo>
                    <a:pt x="3927" y="406"/>
                  </a:lnTo>
                  <a:lnTo>
                    <a:pt x="3924" y="408"/>
                  </a:lnTo>
                  <a:lnTo>
                    <a:pt x="3927" y="410"/>
                  </a:lnTo>
                  <a:lnTo>
                    <a:pt x="3922" y="414"/>
                  </a:lnTo>
                  <a:lnTo>
                    <a:pt x="3919" y="414"/>
                  </a:lnTo>
                  <a:lnTo>
                    <a:pt x="3916" y="414"/>
                  </a:lnTo>
                  <a:lnTo>
                    <a:pt x="3914" y="417"/>
                  </a:lnTo>
                  <a:lnTo>
                    <a:pt x="3910" y="417"/>
                  </a:lnTo>
                  <a:lnTo>
                    <a:pt x="3908" y="418"/>
                  </a:lnTo>
                  <a:lnTo>
                    <a:pt x="3906" y="419"/>
                  </a:lnTo>
                  <a:lnTo>
                    <a:pt x="3902" y="420"/>
                  </a:lnTo>
                  <a:lnTo>
                    <a:pt x="3902" y="424"/>
                  </a:lnTo>
                  <a:lnTo>
                    <a:pt x="3900" y="426"/>
                  </a:lnTo>
                  <a:lnTo>
                    <a:pt x="3898" y="428"/>
                  </a:lnTo>
                  <a:lnTo>
                    <a:pt x="3895" y="429"/>
                  </a:lnTo>
                  <a:lnTo>
                    <a:pt x="3893" y="433"/>
                  </a:lnTo>
                  <a:lnTo>
                    <a:pt x="3890" y="435"/>
                  </a:lnTo>
                  <a:lnTo>
                    <a:pt x="3888" y="437"/>
                  </a:lnTo>
                  <a:lnTo>
                    <a:pt x="3885" y="438"/>
                  </a:lnTo>
                  <a:lnTo>
                    <a:pt x="3882" y="440"/>
                  </a:lnTo>
                  <a:lnTo>
                    <a:pt x="3881" y="442"/>
                  </a:lnTo>
                  <a:lnTo>
                    <a:pt x="3879" y="444"/>
                  </a:lnTo>
                  <a:lnTo>
                    <a:pt x="3875" y="446"/>
                  </a:lnTo>
                  <a:lnTo>
                    <a:pt x="3873" y="449"/>
                  </a:lnTo>
                  <a:lnTo>
                    <a:pt x="3873" y="451"/>
                  </a:lnTo>
                  <a:lnTo>
                    <a:pt x="3871" y="453"/>
                  </a:lnTo>
                  <a:lnTo>
                    <a:pt x="3868" y="457"/>
                  </a:lnTo>
                  <a:lnTo>
                    <a:pt x="3865" y="459"/>
                  </a:lnTo>
                  <a:lnTo>
                    <a:pt x="3863" y="461"/>
                  </a:lnTo>
                  <a:lnTo>
                    <a:pt x="3861" y="463"/>
                  </a:lnTo>
                  <a:lnTo>
                    <a:pt x="3857" y="464"/>
                  </a:lnTo>
                  <a:lnTo>
                    <a:pt x="3855" y="467"/>
                  </a:lnTo>
                  <a:lnTo>
                    <a:pt x="3852" y="469"/>
                  </a:lnTo>
                  <a:lnTo>
                    <a:pt x="3849" y="470"/>
                  </a:lnTo>
                  <a:lnTo>
                    <a:pt x="3847" y="470"/>
                  </a:lnTo>
                  <a:lnTo>
                    <a:pt x="3844" y="470"/>
                  </a:lnTo>
                  <a:lnTo>
                    <a:pt x="3842" y="472"/>
                  </a:lnTo>
                  <a:lnTo>
                    <a:pt x="3839" y="475"/>
                  </a:lnTo>
                  <a:lnTo>
                    <a:pt x="3837" y="475"/>
                  </a:lnTo>
                  <a:lnTo>
                    <a:pt x="3833" y="474"/>
                  </a:lnTo>
                  <a:lnTo>
                    <a:pt x="3831" y="475"/>
                  </a:lnTo>
                  <a:lnTo>
                    <a:pt x="3833" y="478"/>
                  </a:lnTo>
                  <a:lnTo>
                    <a:pt x="3835" y="480"/>
                  </a:lnTo>
                  <a:lnTo>
                    <a:pt x="3833" y="484"/>
                  </a:lnTo>
                  <a:lnTo>
                    <a:pt x="3831" y="486"/>
                  </a:lnTo>
                  <a:lnTo>
                    <a:pt x="3830" y="488"/>
                  </a:lnTo>
                  <a:lnTo>
                    <a:pt x="3828" y="489"/>
                  </a:lnTo>
                  <a:lnTo>
                    <a:pt x="3825" y="492"/>
                  </a:lnTo>
                  <a:lnTo>
                    <a:pt x="3822" y="495"/>
                  </a:lnTo>
                  <a:lnTo>
                    <a:pt x="3820" y="497"/>
                  </a:lnTo>
                  <a:lnTo>
                    <a:pt x="3820" y="501"/>
                  </a:lnTo>
                  <a:lnTo>
                    <a:pt x="3819" y="503"/>
                  </a:lnTo>
                  <a:lnTo>
                    <a:pt x="3818" y="505"/>
                  </a:lnTo>
                  <a:lnTo>
                    <a:pt x="3816" y="509"/>
                  </a:lnTo>
                  <a:lnTo>
                    <a:pt x="3816" y="511"/>
                  </a:lnTo>
                  <a:lnTo>
                    <a:pt x="3816" y="513"/>
                  </a:lnTo>
                  <a:lnTo>
                    <a:pt x="3816" y="515"/>
                  </a:lnTo>
                  <a:lnTo>
                    <a:pt x="3815" y="519"/>
                  </a:lnTo>
                  <a:lnTo>
                    <a:pt x="3815" y="521"/>
                  </a:lnTo>
                  <a:lnTo>
                    <a:pt x="3815" y="523"/>
                  </a:lnTo>
                  <a:lnTo>
                    <a:pt x="3815" y="527"/>
                  </a:lnTo>
                  <a:lnTo>
                    <a:pt x="3815" y="529"/>
                  </a:lnTo>
                  <a:lnTo>
                    <a:pt x="3816" y="532"/>
                  </a:lnTo>
                  <a:lnTo>
                    <a:pt x="3816" y="535"/>
                  </a:lnTo>
                  <a:lnTo>
                    <a:pt x="3816" y="537"/>
                  </a:lnTo>
                  <a:lnTo>
                    <a:pt x="3818" y="540"/>
                  </a:lnTo>
                  <a:lnTo>
                    <a:pt x="3818" y="543"/>
                  </a:lnTo>
                  <a:lnTo>
                    <a:pt x="3819" y="546"/>
                  </a:lnTo>
                  <a:lnTo>
                    <a:pt x="3820" y="548"/>
                  </a:lnTo>
                  <a:lnTo>
                    <a:pt x="3820" y="551"/>
                  </a:lnTo>
                  <a:lnTo>
                    <a:pt x="3821" y="554"/>
                  </a:lnTo>
                  <a:lnTo>
                    <a:pt x="3821" y="556"/>
                  </a:lnTo>
                  <a:lnTo>
                    <a:pt x="3821" y="560"/>
                  </a:lnTo>
                  <a:lnTo>
                    <a:pt x="3822" y="562"/>
                  </a:lnTo>
                  <a:lnTo>
                    <a:pt x="3822" y="564"/>
                  </a:lnTo>
                  <a:lnTo>
                    <a:pt x="3822" y="568"/>
                  </a:lnTo>
                  <a:lnTo>
                    <a:pt x="3823" y="570"/>
                  </a:lnTo>
                  <a:lnTo>
                    <a:pt x="3824" y="573"/>
                  </a:lnTo>
                  <a:lnTo>
                    <a:pt x="3827" y="574"/>
                  </a:lnTo>
                  <a:lnTo>
                    <a:pt x="3825" y="578"/>
                  </a:lnTo>
                  <a:lnTo>
                    <a:pt x="3827" y="580"/>
                  </a:lnTo>
                  <a:lnTo>
                    <a:pt x="3828" y="583"/>
                  </a:lnTo>
                  <a:lnTo>
                    <a:pt x="3828" y="586"/>
                  </a:lnTo>
                  <a:lnTo>
                    <a:pt x="3828" y="588"/>
                  </a:lnTo>
                  <a:lnTo>
                    <a:pt x="3828" y="591"/>
                  </a:lnTo>
                  <a:lnTo>
                    <a:pt x="3828" y="594"/>
                  </a:lnTo>
                  <a:lnTo>
                    <a:pt x="3828" y="597"/>
                  </a:lnTo>
                  <a:lnTo>
                    <a:pt x="3831" y="599"/>
                  </a:lnTo>
                  <a:lnTo>
                    <a:pt x="3831" y="601"/>
                  </a:lnTo>
                  <a:lnTo>
                    <a:pt x="3830" y="605"/>
                  </a:lnTo>
                  <a:lnTo>
                    <a:pt x="3832" y="603"/>
                  </a:lnTo>
                  <a:lnTo>
                    <a:pt x="3836" y="600"/>
                  </a:lnTo>
                  <a:lnTo>
                    <a:pt x="3837" y="599"/>
                  </a:lnTo>
                  <a:lnTo>
                    <a:pt x="3840" y="597"/>
                  </a:lnTo>
                  <a:lnTo>
                    <a:pt x="3842" y="594"/>
                  </a:lnTo>
                  <a:lnTo>
                    <a:pt x="3845" y="592"/>
                  </a:lnTo>
                  <a:lnTo>
                    <a:pt x="3847" y="590"/>
                  </a:lnTo>
                  <a:lnTo>
                    <a:pt x="3850" y="588"/>
                  </a:lnTo>
                  <a:lnTo>
                    <a:pt x="3853" y="585"/>
                  </a:lnTo>
                  <a:lnTo>
                    <a:pt x="3853" y="582"/>
                  </a:lnTo>
                  <a:lnTo>
                    <a:pt x="3854" y="580"/>
                  </a:lnTo>
                  <a:lnTo>
                    <a:pt x="3856" y="577"/>
                  </a:lnTo>
                  <a:lnTo>
                    <a:pt x="3856" y="574"/>
                  </a:lnTo>
                  <a:lnTo>
                    <a:pt x="3856" y="571"/>
                  </a:lnTo>
                  <a:lnTo>
                    <a:pt x="3857" y="569"/>
                  </a:lnTo>
                  <a:lnTo>
                    <a:pt x="3855" y="568"/>
                  </a:lnTo>
                  <a:lnTo>
                    <a:pt x="3856" y="565"/>
                  </a:lnTo>
                  <a:lnTo>
                    <a:pt x="3858" y="568"/>
                  </a:lnTo>
                  <a:lnTo>
                    <a:pt x="3861" y="566"/>
                  </a:lnTo>
                  <a:lnTo>
                    <a:pt x="3863" y="564"/>
                  </a:lnTo>
                  <a:lnTo>
                    <a:pt x="3866" y="563"/>
                  </a:lnTo>
                  <a:lnTo>
                    <a:pt x="3868" y="562"/>
                  </a:lnTo>
                  <a:lnTo>
                    <a:pt x="3872" y="562"/>
                  </a:lnTo>
                  <a:lnTo>
                    <a:pt x="3874" y="563"/>
                  </a:lnTo>
                  <a:lnTo>
                    <a:pt x="3875" y="564"/>
                  </a:lnTo>
                  <a:lnTo>
                    <a:pt x="3876" y="562"/>
                  </a:lnTo>
                  <a:lnTo>
                    <a:pt x="3875" y="561"/>
                  </a:lnTo>
                  <a:lnTo>
                    <a:pt x="3874" y="558"/>
                  </a:lnTo>
                  <a:lnTo>
                    <a:pt x="3875" y="555"/>
                  </a:lnTo>
                  <a:lnTo>
                    <a:pt x="3873" y="553"/>
                  </a:lnTo>
                  <a:lnTo>
                    <a:pt x="3874" y="549"/>
                  </a:lnTo>
                  <a:lnTo>
                    <a:pt x="3874" y="547"/>
                  </a:lnTo>
                  <a:lnTo>
                    <a:pt x="3875" y="545"/>
                  </a:lnTo>
                  <a:lnTo>
                    <a:pt x="3879" y="543"/>
                  </a:lnTo>
                  <a:lnTo>
                    <a:pt x="3881" y="540"/>
                  </a:lnTo>
                  <a:lnTo>
                    <a:pt x="3884" y="538"/>
                  </a:lnTo>
                  <a:lnTo>
                    <a:pt x="3887" y="537"/>
                  </a:lnTo>
                  <a:lnTo>
                    <a:pt x="3890" y="536"/>
                  </a:lnTo>
                  <a:lnTo>
                    <a:pt x="3892" y="537"/>
                  </a:lnTo>
                  <a:lnTo>
                    <a:pt x="3895" y="538"/>
                  </a:lnTo>
                  <a:lnTo>
                    <a:pt x="3898" y="537"/>
                  </a:lnTo>
                  <a:lnTo>
                    <a:pt x="3900" y="536"/>
                  </a:lnTo>
                  <a:lnTo>
                    <a:pt x="3904" y="534"/>
                  </a:lnTo>
                  <a:lnTo>
                    <a:pt x="3905" y="531"/>
                  </a:lnTo>
                  <a:lnTo>
                    <a:pt x="3904" y="529"/>
                  </a:lnTo>
                  <a:lnTo>
                    <a:pt x="3900" y="526"/>
                  </a:lnTo>
                  <a:lnTo>
                    <a:pt x="3899" y="523"/>
                  </a:lnTo>
                  <a:lnTo>
                    <a:pt x="3899" y="520"/>
                  </a:lnTo>
                  <a:lnTo>
                    <a:pt x="3899" y="518"/>
                  </a:lnTo>
                  <a:lnTo>
                    <a:pt x="3900" y="514"/>
                  </a:lnTo>
                  <a:lnTo>
                    <a:pt x="3902" y="512"/>
                  </a:lnTo>
                  <a:lnTo>
                    <a:pt x="3904" y="510"/>
                  </a:lnTo>
                  <a:lnTo>
                    <a:pt x="3905" y="506"/>
                  </a:lnTo>
                  <a:lnTo>
                    <a:pt x="3908" y="505"/>
                  </a:lnTo>
                  <a:lnTo>
                    <a:pt x="3909" y="505"/>
                  </a:lnTo>
                  <a:lnTo>
                    <a:pt x="3908" y="502"/>
                  </a:lnTo>
                  <a:lnTo>
                    <a:pt x="3912" y="501"/>
                  </a:lnTo>
                  <a:lnTo>
                    <a:pt x="3914" y="501"/>
                  </a:lnTo>
                  <a:lnTo>
                    <a:pt x="3917" y="498"/>
                  </a:lnTo>
                  <a:lnTo>
                    <a:pt x="3916" y="501"/>
                  </a:lnTo>
                  <a:lnTo>
                    <a:pt x="3913" y="502"/>
                  </a:lnTo>
                  <a:lnTo>
                    <a:pt x="3912" y="505"/>
                  </a:lnTo>
                  <a:lnTo>
                    <a:pt x="3914" y="508"/>
                  </a:lnTo>
                  <a:lnTo>
                    <a:pt x="3916" y="509"/>
                  </a:lnTo>
                  <a:lnTo>
                    <a:pt x="3919" y="506"/>
                  </a:lnTo>
                  <a:lnTo>
                    <a:pt x="3922" y="504"/>
                  </a:lnTo>
                  <a:lnTo>
                    <a:pt x="3921" y="501"/>
                  </a:lnTo>
                  <a:lnTo>
                    <a:pt x="3921" y="498"/>
                  </a:lnTo>
                  <a:lnTo>
                    <a:pt x="3921" y="496"/>
                  </a:lnTo>
                  <a:lnTo>
                    <a:pt x="3917" y="495"/>
                  </a:lnTo>
                  <a:lnTo>
                    <a:pt x="3915" y="495"/>
                  </a:lnTo>
                  <a:lnTo>
                    <a:pt x="3914" y="492"/>
                  </a:lnTo>
                  <a:lnTo>
                    <a:pt x="3914" y="489"/>
                  </a:lnTo>
                  <a:lnTo>
                    <a:pt x="3914" y="487"/>
                  </a:lnTo>
                  <a:lnTo>
                    <a:pt x="3914" y="486"/>
                  </a:lnTo>
                  <a:lnTo>
                    <a:pt x="3914" y="483"/>
                  </a:lnTo>
                  <a:lnTo>
                    <a:pt x="3916" y="480"/>
                  </a:lnTo>
                  <a:lnTo>
                    <a:pt x="3919" y="478"/>
                  </a:lnTo>
                  <a:lnTo>
                    <a:pt x="3921" y="476"/>
                  </a:lnTo>
                  <a:lnTo>
                    <a:pt x="3918" y="474"/>
                  </a:lnTo>
                  <a:lnTo>
                    <a:pt x="3915" y="472"/>
                  </a:lnTo>
                  <a:lnTo>
                    <a:pt x="3913" y="470"/>
                  </a:lnTo>
                  <a:lnTo>
                    <a:pt x="3909" y="472"/>
                  </a:lnTo>
                  <a:lnTo>
                    <a:pt x="3909" y="475"/>
                  </a:lnTo>
                  <a:lnTo>
                    <a:pt x="3907" y="475"/>
                  </a:lnTo>
                  <a:lnTo>
                    <a:pt x="3905" y="472"/>
                  </a:lnTo>
                  <a:lnTo>
                    <a:pt x="3902" y="470"/>
                  </a:lnTo>
                  <a:lnTo>
                    <a:pt x="3902" y="467"/>
                  </a:lnTo>
                  <a:lnTo>
                    <a:pt x="3905" y="461"/>
                  </a:lnTo>
                  <a:lnTo>
                    <a:pt x="3907" y="459"/>
                  </a:lnTo>
                  <a:lnTo>
                    <a:pt x="3909" y="457"/>
                  </a:lnTo>
                  <a:lnTo>
                    <a:pt x="3912" y="454"/>
                  </a:lnTo>
                  <a:lnTo>
                    <a:pt x="3915" y="452"/>
                  </a:lnTo>
                  <a:lnTo>
                    <a:pt x="3917" y="450"/>
                  </a:lnTo>
                  <a:lnTo>
                    <a:pt x="3915" y="447"/>
                  </a:lnTo>
                  <a:lnTo>
                    <a:pt x="3917" y="447"/>
                  </a:lnTo>
                  <a:lnTo>
                    <a:pt x="3918" y="444"/>
                  </a:lnTo>
                  <a:lnTo>
                    <a:pt x="3921" y="444"/>
                  </a:lnTo>
                  <a:lnTo>
                    <a:pt x="3921" y="442"/>
                  </a:lnTo>
                  <a:lnTo>
                    <a:pt x="3919" y="438"/>
                  </a:lnTo>
                  <a:lnTo>
                    <a:pt x="3922" y="437"/>
                  </a:lnTo>
                  <a:lnTo>
                    <a:pt x="3922" y="435"/>
                  </a:lnTo>
                  <a:lnTo>
                    <a:pt x="3923" y="433"/>
                  </a:lnTo>
                  <a:lnTo>
                    <a:pt x="3926" y="432"/>
                  </a:lnTo>
                  <a:lnTo>
                    <a:pt x="3925" y="429"/>
                  </a:lnTo>
                  <a:lnTo>
                    <a:pt x="3929" y="428"/>
                  </a:lnTo>
                  <a:lnTo>
                    <a:pt x="3931" y="429"/>
                  </a:lnTo>
                  <a:lnTo>
                    <a:pt x="3932" y="429"/>
                  </a:lnTo>
                  <a:lnTo>
                    <a:pt x="3931" y="433"/>
                  </a:lnTo>
                  <a:lnTo>
                    <a:pt x="3934" y="430"/>
                  </a:lnTo>
                  <a:lnTo>
                    <a:pt x="3935" y="429"/>
                  </a:lnTo>
                  <a:lnTo>
                    <a:pt x="3938" y="428"/>
                  </a:lnTo>
                  <a:lnTo>
                    <a:pt x="3940" y="429"/>
                  </a:lnTo>
                  <a:lnTo>
                    <a:pt x="3941" y="433"/>
                  </a:lnTo>
                  <a:lnTo>
                    <a:pt x="3943" y="433"/>
                  </a:lnTo>
                  <a:lnTo>
                    <a:pt x="3947" y="430"/>
                  </a:lnTo>
                  <a:lnTo>
                    <a:pt x="3947" y="429"/>
                  </a:lnTo>
                  <a:lnTo>
                    <a:pt x="3944" y="428"/>
                  </a:lnTo>
                  <a:lnTo>
                    <a:pt x="3947" y="428"/>
                  </a:lnTo>
                  <a:lnTo>
                    <a:pt x="3950" y="426"/>
                  </a:lnTo>
                  <a:lnTo>
                    <a:pt x="3952" y="425"/>
                  </a:lnTo>
                  <a:lnTo>
                    <a:pt x="3956" y="424"/>
                  </a:lnTo>
                  <a:lnTo>
                    <a:pt x="3958" y="421"/>
                  </a:lnTo>
                  <a:lnTo>
                    <a:pt x="3960" y="420"/>
                  </a:lnTo>
                  <a:lnTo>
                    <a:pt x="3961" y="423"/>
                  </a:lnTo>
                  <a:lnTo>
                    <a:pt x="3961" y="426"/>
                  </a:lnTo>
                  <a:lnTo>
                    <a:pt x="3960" y="428"/>
                  </a:lnTo>
                  <a:lnTo>
                    <a:pt x="3960" y="429"/>
                  </a:lnTo>
                  <a:lnTo>
                    <a:pt x="3959" y="433"/>
                  </a:lnTo>
                  <a:lnTo>
                    <a:pt x="3963" y="433"/>
                  </a:lnTo>
                  <a:lnTo>
                    <a:pt x="3965" y="430"/>
                  </a:lnTo>
                  <a:lnTo>
                    <a:pt x="3965" y="429"/>
                  </a:lnTo>
                  <a:lnTo>
                    <a:pt x="3968" y="427"/>
                  </a:lnTo>
                  <a:lnTo>
                    <a:pt x="3970" y="425"/>
                  </a:lnTo>
                  <a:lnTo>
                    <a:pt x="3973" y="421"/>
                  </a:lnTo>
                  <a:lnTo>
                    <a:pt x="3975" y="423"/>
                  </a:lnTo>
                  <a:lnTo>
                    <a:pt x="3977" y="421"/>
                  </a:lnTo>
                  <a:lnTo>
                    <a:pt x="3981" y="420"/>
                  </a:lnTo>
                  <a:lnTo>
                    <a:pt x="3983" y="419"/>
                  </a:lnTo>
                  <a:lnTo>
                    <a:pt x="3986" y="418"/>
                  </a:lnTo>
                  <a:lnTo>
                    <a:pt x="3989" y="418"/>
                  </a:lnTo>
                  <a:lnTo>
                    <a:pt x="3992" y="418"/>
                  </a:lnTo>
                  <a:lnTo>
                    <a:pt x="3994" y="418"/>
                  </a:lnTo>
                  <a:lnTo>
                    <a:pt x="3998" y="418"/>
                  </a:lnTo>
                  <a:lnTo>
                    <a:pt x="4000" y="418"/>
                  </a:lnTo>
                  <a:lnTo>
                    <a:pt x="4002" y="417"/>
                  </a:lnTo>
                  <a:lnTo>
                    <a:pt x="4006" y="419"/>
                  </a:lnTo>
                  <a:lnTo>
                    <a:pt x="4007" y="420"/>
                  </a:lnTo>
                  <a:lnTo>
                    <a:pt x="4009" y="423"/>
                  </a:lnTo>
                  <a:lnTo>
                    <a:pt x="4011" y="425"/>
                  </a:lnTo>
                  <a:lnTo>
                    <a:pt x="4011" y="427"/>
                  </a:lnTo>
                  <a:lnTo>
                    <a:pt x="4012" y="428"/>
                  </a:lnTo>
                  <a:lnTo>
                    <a:pt x="4015" y="429"/>
                  </a:lnTo>
                  <a:lnTo>
                    <a:pt x="4017" y="432"/>
                  </a:lnTo>
                  <a:lnTo>
                    <a:pt x="4018" y="429"/>
                  </a:lnTo>
                  <a:lnTo>
                    <a:pt x="4019" y="427"/>
                  </a:lnTo>
                  <a:lnTo>
                    <a:pt x="4019" y="425"/>
                  </a:lnTo>
                  <a:lnTo>
                    <a:pt x="4021" y="421"/>
                  </a:lnTo>
                  <a:lnTo>
                    <a:pt x="4024" y="419"/>
                  </a:lnTo>
                  <a:lnTo>
                    <a:pt x="4026" y="419"/>
                  </a:lnTo>
                  <a:lnTo>
                    <a:pt x="4029" y="418"/>
                  </a:lnTo>
                  <a:lnTo>
                    <a:pt x="4032" y="415"/>
                  </a:lnTo>
                  <a:lnTo>
                    <a:pt x="4035" y="415"/>
                  </a:lnTo>
                  <a:lnTo>
                    <a:pt x="4037" y="412"/>
                  </a:lnTo>
                  <a:lnTo>
                    <a:pt x="4041" y="412"/>
                  </a:lnTo>
                  <a:lnTo>
                    <a:pt x="4042" y="411"/>
                  </a:lnTo>
                  <a:lnTo>
                    <a:pt x="4042" y="409"/>
                  </a:lnTo>
                  <a:lnTo>
                    <a:pt x="4045" y="409"/>
                  </a:lnTo>
                  <a:lnTo>
                    <a:pt x="4043" y="407"/>
                  </a:lnTo>
                  <a:lnTo>
                    <a:pt x="4046" y="404"/>
                  </a:lnTo>
                  <a:lnTo>
                    <a:pt x="4049" y="406"/>
                  </a:lnTo>
                  <a:lnTo>
                    <a:pt x="4050" y="402"/>
                  </a:lnTo>
                  <a:lnTo>
                    <a:pt x="4052" y="403"/>
                  </a:lnTo>
                  <a:lnTo>
                    <a:pt x="4051" y="401"/>
                  </a:lnTo>
                  <a:lnTo>
                    <a:pt x="4053" y="400"/>
                  </a:lnTo>
                  <a:lnTo>
                    <a:pt x="4055" y="401"/>
                  </a:lnTo>
                  <a:lnTo>
                    <a:pt x="4058" y="398"/>
                  </a:lnTo>
                  <a:lnTo>
                    <a:pt x="4061" y="395"/>
                  </a:lnTo>
                  <a:lnTo>
                    <a:pt x="4063" y="394"/>
                  </a:lnTo>
                  <a:lnTo>
                    <a:pt x="4066" y="394"/>
                  </a:lnTo>
                  <a:lnTo>
                    <a:pt x="4069" y="393"/>
                  </a:lnTo>
                  <a:lnTo>
                    <a:pt x="4071" y="392"/>
                  </a:lnTo>
                  <a:lnTo>
                    <a:pt x="4074" y="392"/>
                  </a:lnTo>
                  <a:lnTo>
                    <a:pt x="4077" y="392"/>
                  </a:lnTo>
                  <a:lnTo>
                    <a:pt x="4076" y="389"/>
                  </a:lnTo>
                  <a:lnTo>
                    <a:pt x="4078" y="390"/>
                  </a:lnTo>
                  <a:lnTo>
                    <a:pt x="4081" y="389"/>
                  </a:lnTo>
                  <a:lnTo>
                    <a:pt x="4084" y="387"/>
                  </a:lnTo>
                  <a:lnTo>
                    <a:pt x="4085" y="385"/>
                  </a:lnTo>
                  <a:lnTo>
                    <a:pt x="4087" y="385"/>
                  </a:lnTo>
                  <a:lnTo>
                    <a:pt x="4091" y="384"/>
                  </a:lnTo>
                  <a:lnTo>
                    <a:pt x="4093" y="383"/>
                  </a:lnTo>
                  <a:lnTo>
                    <a:pt x="4096" y="383"/>
                  </a:lnTo>
                  <a:lnTo>
                    <a:pt x="4098" y="382"/>
                  </a:lnTo>
                  <a:lnTo>
                    <a:pt x="4102" y="380"/>
                  </a:lnTo>
                  <a:lnTo>
                    <a:pt x="4104" y="377"/>
                  </a:lnTo>
                  <a:lnTo>
                    <a:pt x="4107" y="377"/>
                  </a:lnTo>
                  <a:lnTo>
                    <a:pt x="4110" y="376"/>
                  </a:lnTo>
                  <a:lnTo>
                    <a:pt x="4107" y="374"/>
                  </a:lnTo>
                  <a:lnTo>
                    <a:pt x="4109" y="370"/>
                  </a:lnTo>
                  <a:lnTo>
                    <a:pt x="4109" y="370"/>
                  </a:lnTo>
                  <a:lnTo>
                    <a:pt x="4111" y="373"/>
                  </a:lnTo>
                  <a:lnTo>
                    <a:pt x="4113" y="372"/>
                  </a:lnTo>
                  <a:lnTo>
                    <a:pt x="4113" y="374"/>
                  </a:lnTo>
                  <a:lnTo>
                    <a:pt x="4115" y="376"/>
                  </a:lnTo>
                  <a:lnTo>
                    <a:pt x="4119" y="376"/>
                  </a:lnTo>
                  <a:lnTo>
                    <a:pt x="4121" y="376"/>
                  </a:lnTo>
                  <a:lnTo>
                    <a:pt x="4124" y="377"/>
                  </a:lnTo>
                  <a:lnTo>
                    <a:pt x="4127" y="378"/>
                  </a:lnTo>
                  <a:lnTo>
                    <a:pt x="4130" y="380"/>
                  </a:lnTo>
                  <a:lnTo>
                    <a:pt x="4132" y="380"/>
                  </a:lnTo>
                  <a:lnTo>
                    <a:pt x="4135" y="381"/>
                  </a:lnTo>
                  <a:lnTo>
                    <a:pt x="4138" y="382"/>
                  </a:lnTo>
                  <a:lnTo>
                    <a:pt x="4137" y="378"/>
                  </a:lnTo>
                  <a:lnTo>
                    <a:pt x="4140" y="377"/>
                  </a:lnTo>
                  <a:lnTo>
                    <a:pt x="4143" y="375"/>
                  </a:lnTo>
                  <a:lnTo>
                    <a:pt x="4144" y="373"/>
                  </a:lnTo>
                  <a:lnTo>
                    <a:pt x="4143" y="369"/>
                  </a:lnTo>
                  <a:lnTo>
                    <a:pt x="4140" y="369"/>
                  </a:lnTo>
                  <a:lnTo>
                    <a:pt x="4139" y="366"/>
                  </a:lnTo>
                  <a:lnTo>
                    <a:pt x="4140" y="364"/>
                  </a:lnTo>
                  <a:lnTo>
                    <a:pt x="4138" y="361"/>
                  </a:lnTo>
                  <a:lnTo>
                    <a:pt x="4135" y="360"/>
                  </a:lnTo>
                  <a:lnTo>
                    <a:pt x="4135" y="359"/>
                  </a:lnTo>
                  <a:lnTo>
                    <a:pt x="4134" y="356"/>
                  </a:lnTo>
                  <a:lnTo>
                    <a:pt x="4132" y="359"/>
                  </a:lnTo>
                  <a:lnTo>
                    <a:pt x="4132" y="356"/>
                  </a:lnTo>
                  <a:lnTo>
                    <a:pt x="4130" y="355"/>
                  </a:lnTo>
                  <a:lnTo>
                    <a:pt x="4127" y="356"/>
                  </a:lnTo>
                  <a:lnTo>
                    <a:pt x="4130" y="353"/>
                  </a:lnTo>
                  <a:lnTo>
                    <a:pt x="4132" y="353"/>
                  </a:lnTo>
                  <a:lnTo>
                    <a:pt x="4132" y="351"/>
                  </a:lnTo>
                  <a:lnTo>
                    <a:pt x="4131" y="348"/>
                  </a:lnTo>
                  <a:lnTo>
                    <a:pt x="4130" y="346"/>
                  </a:lnTo>
                  <a:lnTo>
                    <a:pt x="4129" y="343"/>
                  </a:lnTo>
                  <a:lnTo>
                    <a:pt x="4128" y="340"/>
                  </a:lnTo>
                  <a:lnTo>
                    <a:pt x="4127" y="338"/>
                  </a:lnTo>
                  <a:lnTo>
                    <a:pt x="4123" y="340"/>
                  </a:lnTo>
                  <a:lnTo>
                    <a:pt x="4121" y="340"/>
                  </a:lnTo>
                  <a:lnTo>
                    <a:pt x="4118" y="339"/>
                  </a:lnTo>
                  <a:lnTo>
                    <a:pt x="4115" y="337"/>
                  </a:lnTo>
                  <a:lnTo>
                    <a:pt x="4113" y="334"/>
                  </a:lnTo>
                  <a:lnTo>
                    <a:pt x="4114" y="331"/>
                  </a:lnTo>
                  <a:lnTo>
                    <a:pt x="4113" y="329"/>
                  </a:lnTo>
                  <a:lnTo>
                    <a:pt x="4111" y="330"/>
                  </a:lnTo>
                  <a:lnTo>
                    <a:pt x="4109" y="330"/>
                  </a:lnTo>
                  <a:lnTo>
                    <a:pt x="4105" y="332"/>
                  </a:lnTo>
                  <a:lnTo>
                    <a:pt x="4103" y="331"/>
                  </a:lnTo>
                  <a:lnTo>
                    <a:pt x="4100" y="331"/>
                  </a:lnTo>
                  <a:lnTo>
                    <a:pt x="4097" y="332"/>
                  </a:lnTo>
                  <a:lnTo>
                    <a:pt x="4100" y="331"/>
                  </a:lnTo>
                  <a:lnTo>
                    <a:pt x="4098" y="327"/>
                  </a:lnTo>
                  <a:lnTo>
                    <a:pt x="4096" y="325"/>
                  </a:lnTo>
                  <a:lnTo>
                    <a:pt x="4094" y="325"/>
                  </a:lnTo>
                  <a:lnTo>
                    <a:pt x="4097" y="325"/>
                  </a:lnTo>
                  <a:lnTo>
                    <a:pt x="4100" y="326"/>
                  </a:lnTo>
                  <a:lnTo>
                    <a:pt x="4103" y="326"/>
                  </a:lnTo>
                  <a:lnTo>
                    <a:pt x="4105" y="326"/>
                  </a:lnTo>
                  <a:lnTo>
                    <a:pt x="4109" y="327"/>
                  </a:lnTo>
                  <a:lnTo>
                    <a:pt x="4111" y="327"/>
                  </a:lnTo>
                  <a:lnTo>
                    <a:pt x="4112" y="325"/>
                  </a:lnTo>
                  <a:lnTo>
                    <a:pt x="4109" y="323"/>
                  </a:lnTo>
                  <a:lnTo>
                    <a:pt x="4106" y="322"/>
                  </a:lnTo>
                  <a:lnTo>
                    <a:pt x="4103" y="323"/>
                  </a:lnTo>
                  <a:lnTo>
                    <a:pt x="4101" y="322"/>
                  </a:lnTo>
                  <a:lnTo>
                    <a:pt x="4103" y="323"/>
                  </a:lnTo>
                  <a:lnTo>
                    <a:pt x="4106" y="322"/>
                  </a:lnTo>
                  <a:lnTo>
                    <a:pt x="4109" y="322"/>
                  </a:lnTo>
                  <a:lnTo>
                    <a:pt x="4112" y="324"/>
                  </a:lnTo>
                  <a:lnTo>
                    <a:pt x="4114" y="325"/>
                  </a:lnTo>
                  <a:lnTo>
                    <a:pt x="4115" y="327"/>
                  </a:lnTo>
                  <a:lnTo>
                    <a:pt x="4118" y="330"/>
                  </a:lnTo>
                  <a:lnTo>
                    <a:pt x="4121" y="330"/>
                  </a:lnTo>
                  <a:lnTo>
                    <a:pt x="4123" y="331"/>
                  </a:lnTo>
                  <a:lnTo>
                    <a:pt x="4127" y="331"/>
                  </a:lnTo>
                  <a:lnTo>
                    <a:pt x="4129" y="331"/>
                  </a:lnTo>
                  <a:lnTo>
                    <a:pt x="4132" y="330"/>
                  </a:lnTo>
                  <a:lnTo>
                    <a:pt x="4130" y="332"/>
                  </a:lnTo>
                  <a:lnTo>
                    <a:pt x="4132" y="331"/>
                  </a:lnTo>
                  <a:lnTo>
                    <a:pt x="4135" y="330"/>
                  </a:lnTo>
                  <a:lnTo>
                    <a:pt x="4138" y="329"/>
                  </a:lnTo>
                  <a:lnTo>
                    <a:pt x="4140" y="327"/>
                  </a:lnTo>
                  <a:lnTo>
                    <a:pt x="4143" y="326"/>
                  </a:lnTo>
                  <a:lnTo>
                    <a:pt x="4146" y="324"/>
                  </a:lnTo>
                  <a:lnTo>
                    <a:pt x="4148" y="322"/>
                  </a:lnTo>
                  <a:lnTo>
                    <a:pt x="4149" y="322"/>
                  </a:lnTo>
                  <a:lnTo>
                    <a:pt x="4152" y="322"/>
                  </a:lnTo>
                  <a:lnTo>
                    <a:pt x="4154" y="320"/>
                  </a:lnTo>
                  <a:lnTo>
                    <a:pt x="4156" y="317"/>
                  </a:lnTo>
                  <a:lnTo>
                    <a:pt x="4155" y="314"/>
                  </a:lnTo>
                  <a:lnTo>
                    <a:pt x="4153" y="315"/>
                  </a:lnTo>
                  <a:lnTo>
                    <a:pt x="4149" y="316"/>
                  </a:lnTo>
                  <a:lnTo>
                    <a:pt x="4149" y="314"/>
                  </a:lnTo>
                  <a:lnTo>
                    <a:pt x="4151" y="314"/>
                  </a:lnTo>
                  <a:lnTo>
                    <a:pt x="4154" y="314"/>
                  </a:lnTo>
                  <a:lnTo>
                    <a:pt x="4156" y="314"/>
                  </a:lnTo>
                  <a:lnTo>
                    <a:pt x="4160" y="312"/>
                  </a:lnTo>
                  <a:lnTo>
                    <a:pt x="4157" y="308"/>
                  </a:lnTo>
                  <a:lnTo>
                    <a:pt x="4155" y="306"/>
                  </a:lnTo>
                  <a:lnTo>
                    <a:pt x="4153" y="304"/>
                  </a:lnTo>
                  <a:lnTo>
                    <a:pt x="4152" y="300"/>
                  </a:lnTo>
                  <a:lnTo>
                    <a:pt x="4154" y="298"/>
                  </a:lnTo>
                  <a:lnTo>
                    <a:pt x="4156" y="298"/>
                  </a:lnTo>
                  <a:lnTo>
                    <a:pt x="4160" y="297"/>
                  </a:lnTo>
                  <a:lnTo>
                    <a:pt x="4160" y="295"/>
                  </a:lnTo>
                  <a:lnTo>
                    <a:pt x="4162" y="292"/>
                  </a:lnTo>
                  <a:lnTo>
                    <a:pt x="4162" y="296"/>
                  </a:lnTo>
                  <a:lnTo>
                    <a:pt x="4164" y="297"/>
                  </a:lnTo>
                  <a:lnTo>
                    <a:pt x="4168" y="295"/>
                  </a:lnTo>
                  <a:lnTo>
                    <a:pt x="4170" y="293"/>
                  </a:lnTo>
                  <a:lnTo>
                    <a:pt x="4169" y="296"/>
                  </a:lnTo>
                  <a:lnTo>
                    <a:pt x="4168" y="299"/>
                  </a:lnTo>
                  <a:lnTo>
                    <a:pt x="4165" y="301"/>
                  </a:lnTo>
                  <a:lnTo>
                    <a:pt x="4166" y="305"/>
                  </a:lnTo>
                  <a:lnTo>
                    <a:pt x="4170" y="306"/>
                  </a:lnTo>
                  <a:lnTo>
                    <a:pt x="4170" y="309"/>
                  </a:lnTo>
                  <a:lnTo>
                    <a:pt x="4169" y="312"/>
                  </a:lnTo>
                  <a:lnTo>
                    <a:pt x="4172" y="313"/>
                  </a:lnTo>
                  <a:lnTo>
                    <a:pt x="4181" y="313"/>
                  </a:lnTo>
                  <a:lnTo>
                    <a:pt x="4183" y="313"/>
                  </a:lnTo>
                  <a:lnTo>
                    <a:pt x="4186" y="312"/>
                  </a:lnTo>
                  <a:lnTo>
                    <a:pt x="4189" y="309"/>
                  </a:lnTo>
                  <a:lnTo>
                    <a:pt x="4191" y="309"/>
                  </a:lnTo>
                  <a:lnTo>
                    <a:pt x="4195" y="310"/>
                  </a:lnTo>
                  <a:lnTo>
                    <a:pt x="4197" y="312"/>
                  </a:lnTo>
                  <a:lnTo>
                    <a:pt x="4199" y="313"/>
                  </a:lnTo>
                  <a:lnTo>
                    <a:pt x="4203" y="313"/>
                  </a:lnTo>
                  <a:lnTo>
                    <a:pt x="4205" y="314"/>
                  </a:lnTo>
                  <a:lnTo>
                    <a:pt x="4206" y="317"/>
                  </a:lnTo>
                  <a:lnTo>
                    <a:pt x="4207" y="320"/>
                  </a:lnTo>
                  <a:lnTo>
                    <a:pt x="4206" y="323"/>
                  </a:lnTo>
                  <a:lnTo>
                    <a:pt x="4208" y="325"/>
                  </a:lnTo>
                  <a:lnTo>
                    <a:pt x="4212" y="326"/>
                  </a:lnTo>
                  <a:lnTo>
                    <a:pt x="4214" y="327"/>
                  </a:lnTo>
                  <a:lnTo>
                    <a:pt x="4217" y="329"/>
                  </a:lnTo>
                  <a:lnTo>
                    <a:pt x="4220" y="329"/>
                  </a:lnTo>
                  <a:lnTo>
                    <a:pt x="4223" y="330"/>
                  </a:lnTo>
                  <a:lnTo>
                    <a:pt x="4225" y="331"/>
                  </a:lnTo>
                  <a:lnTo>
                    <a:pt x="4228" y="331"/>
                  </a:lnTo>
                  <a:lnTo>
                    <a:pt x="4230" y="333"/>
                  </a:lnTo>
                  <a:lnTo>
                    <a:pt x="4231" y="335"/>
                  </a:lnTo>
                  <a:lnTo>
                    <a:pt x="4233" y="337"/>
                  </a:lnTo>
                  <a:lnTo>
                    <a:pt x="4237" y="338"/>
                  </a:lnTo>
                  <a:lnTo>
                    <a:pt x="4239" y="337"/>
                  </a:lnTo>
                  <a:lnTo>
                    <a:pt x="4240" y="334"/>
                  </a:lnTo>
                  <a:lnTo>
                    <a:pt x="4240" y="332"/>
                  </a:lnTo>
                  <a:lnTo>
                    <a:pt x="4241" y="334"/>
                  </a:lnTo>
                  <a:lnTo>
                    <a:pt x="4240" y="338"/>
                  </a:lnTo>
                  <a:lnTo>
                    <a:pt x="4242" y="340"/>
                  </a:lnTo>
                  <a:lnTo>
                    <a:pt x="4242" y="340"/>
                  </a:lnTo>
                  <a:lnTo>
                    <a:pt x="4246" y="339"/>
                  </a:lnTo>
                  <a:lnTo>
                    <a:pt x="4247" y="337"/>
                  </a:lnTo>
                  <a:lnTo>
                    <a:pt x="4252" y="337"/>
                  </a:lnTo>
                  <a:lnTo>
                    <a:pt x="4255" y="335"/>
                  </a:lnTo>
                  <a:lnTo>
                    <a:pt x="4252" y="333"/>
                  </a:lnTo>
                  <a:lnTo>
                    <a:pt x="4250" y="332"/>
                  </a:lnTo>
                  <a:lnTo>
                    <a:pt x="4248" y="331"/>
                  </a:lnTo>
                  <a:lnTo>
                    <a:pt x="4245" y="331"/>
                  </a:lnTo>
                  <a:lnTo>
                    <a:pt x="4247" y="330"/>
                  </a:lnTo>
                  <a:lnTo>
                    <a:pt x="4247" y="326"/>
                  </a:lnTo>
                  <a:lnTo>
                    <a:pt x="4243" y="327"/>
                  </a:lnTo>
                  <a:lnTo>
                    <a:pt x="4247" y="326"/>
                  </a:lnTo>
                  <a:lnTo>
                    <a:pt x="4249" y="326"/>
                  </a:lnTo>
                  <a:lnTo>
                    <a:pt x="4252" y="325"/>
                  </a:lnTo>
                  <a:lnTo>
                    <a:pt x="4255" y="324"/>
                  </a:lnTo>
                  <a:lnTo>
                    <a:pt x="4257" y="321"/>
                  </a:lnTo>
                  <a:lnTo>
                    <a:pt x="4255" y="318"/>
                  </a:lnTo>
                  <a:lnTo>
                    <a:pt x="4251" y="318"/>
                  </a:lnTo>
                  <a:lnTo>
                    <a:pt x="4255" y="317"/>
                  </a:lnTo>
                  <a:lnTo>
                    <a:pt x="4256" y="318"/>
                  </a:lnTo>
                  <a:lnTo>
                    <a:pt x="4256" y="315"/>
                  </a:lnTo>
                  <a:lnTo>
                    <a:pt x="4257" y="313"/>
                  </a:lnTo>
                  <a:lnTo>
                    <a:pt x="4255" y="314"/>
                  </a:lnTo>
                  <a:lnTo>
                    <a:pt x="4254" y="310"/>
                  </a:lnTo>
                  <a:lnTo>
                    <a:pt x="4250" y="309"/>
                  </a:lnTo>
                  <a:lnTo>
                    <a:pt x="4248" y="308"/>
                  </a:lnTo>
                  <a:lnTo>
                    <a:pt x="4250" y="307"/>
                  </a:lnTo>
                  <a:lnTo>
                    <a:pt x="4254" y="308"/>
                  </a:lnTo>
                  <a:lnTo>
                    <a:pt x="4255" y="310"/>
                  </a:lnTo>
                  <a:lnTo>
                    <a:pt x="4257" y="310"/>
                  </a:lnTo>
                  <a:lnTo>
                    <a:pt x="4260" y="312"/>
                  </a:lnTo>
                  <a:lnTo>
                    <a:pt x="4263" y="312"/>
                  </a:lnTo>
                  <a:lnTo>
                    <a:pt x="4266" y="312"/>
                  </a:lnTo>
                  <a:lnTo>
                    <a:pt x="4268" y="312"/>
                  </a:lnTo>
                  <a:lnTo>
                    <a:pt x="4272" y="313"/>
                  </a:lnTo>
                  <a:lnTo>
                    <a:pt x="4273" y="309"/>
                  </a:lnTo>
                  <a:lnTo>
                    <a:pt x="4269" y="309"/>
                  </a:lnTo>
                  <a:lnTo>
                    <a:pt x="4267" y="306"/>
                  </a:lnTo>
                  <a:lnTo>
                    <a:pt x="4269" y="307"/>
                  </a:lnTo>
                  <a:lnTo>
                    <a:pt x="4273" y="308"/>
                  </a:lnTo>
                  <a:lnTo>
                    <a:pt x="4275" y="309"/>
                  </a:lnTo>
                  <a:lnTo>
                    <a:pt x="4279" y="309"/>
                  </a:lnTo>
                  <a:lnTo>
                    <a:pt x="4280" y="307"/>
                  </a:lnTo>
                  <a:lnTo>
                    <a:pt x="4280" y="305"/>
                  </a:lnTo>
                  <a:lnTo>
                    <a:pt x="4282" y="301"/>
                  </a:lnTo>
                  <a:lnTo>
                    <a:pt x="4285" y="300"/>
                  </a:lnTo>
                  <a:lnTo>
                    <a:pt x="4286" y="300"/>
                  </a:lnTo>
                  <a:lnTo>
                    <a:pt x="4290" y="301"/>
                  </a:lnTo>
                  <a:lnTo>
                    <a:pt x="4291" y="298"/>
                  </a:lnTo>
                  <a:lnTo>
                    <a:pt x="4288" y="297"/>
                  </a:lnTo>
                  <a:close/>
                  <a:moveTo>
                    <a:pt x="2110" y="1489"/>
                  </a:moveTo>
                  <a:lnTo>
                    <a:pt x="2107" y="1487"/>
                  </a:lnTo>
                  <a:lnTo>
                    <a:pt x="2106" y="1486"/>
                  </a:lnTo>
                  <a:lnTo>
                    <a:pt x="2103" y="1486"/>
                  </a:lnTo>
                  <a:lnTo>
                    <a:pt x="2101" y="1484"/>
                  </a:lnTo>
                  <a:lnTo>
                    <a:pt x="2104" y="1481"/>
                  </a:lnTo>
                  <a:lnTo>
                    <a:pt x="2103" y="1479"/>
                  </a:lnTo>
                  <a:lnTo>
                    <a:pt x="2099" y="1477"/>
                  </a:lnTo>
                  <a:lnTo>
                    <a:pt x="2098" y="1475"/>
                  </a:lnTo>
                  <a:lnTo>
                    <a:pt x="2098" y="1469"/>
                  </a:lnTo>
                  <a:lnTo>
                    <a:pt x="2096" y="1467"/>
                  </a:lnTo>
                  <a:lnTo>
                    <a:pt x="2092" y="1466"/>
                  </a:lnTo>
                  <a:lnTo>
                    <a:pt x="2089" y="1460"/>
                  </a:lnTo>
                  <a:lnTo>
                    <a:pt x="2087" y="1454"/>
                  </a:lnTo>
                  <a:lnTo>
                    <a:pt x="2084" y="1452"/>
                  </a:lnTo>
                  <a:lnTo>
                    <a:pt x="2084" y="1450"/>
                  </a:lnTo>
                  <a:lnTo>
                    <a:pt x="2087" y="1447"/>
                  </a:lnTo>
                  <a:lnTo>
                    <a:pt x="2087" y="1444"/>
                  </a:lnTo>
                  <a:lnTo>
                    <a:pt x="2084" y="1442"/>
                  </a:lnTo>
                  <a:lnTo>
                    <a:pt x="2083" y="1439"/>
                  </a:lnTo>
                  <a:lnTo>
                    <a:pt x="2083" y="1435"/>
                  </a:lnTo>
                  <a:lnTo>
                    <a:pt x="2083" y="1432"/>
                  </a:lnTo>
                  <a:lnTo>
                    <a:pt x="2086" y="1426"/>
                  </a:lnTo>
                  <a:lnTo>
                    <a:pt x="2082" y="1428"/>
                  </a:lnTo>
                  <a:lnTo>
                    <a:pt x="2083" y="1425"/>
                  </a:lnTo>
                  <a:lnTo>
                    <a:pt x="2084" y="1417"/>
                  </a:lnTo>
                  <a:lnTo>
                    <a:pt x="2084" y="1415"/>
                  </a:lnTo>
                  <a:lnTo>
                    <a:pt x="2086" y="1415"/>
                  </a:lnTo>
                  <a:lnTo>
                    <a:pt x="2087" y="1417"/>
                  </a:lnTo>
                  <a:lnTo>
                    <a:pt x="2087" y="1420"/>
                  </a:lnTo>
                  <a:lnTo>
                    <a:pt x="2091" y="1429"/>
                  </a:lnTo>
                  <a:lnTo>
                    <a:pt x="2090" y="1435"/>
                  </a:lnTo>
                  <a:lnTo>
                    <a:pt x="2092" y="1437"/>
                  </a:lnTo>
                  <a:lnTo>
                    <a:pt x="2092" y="1439"/>
                  </a:lnTo>
                  <a:lnTo>
                    <a:pt x="2092" y="1442"/>
                  </a:lnTo>
                  <a:lnTo>
                    <a:pt x="2092" y="1445"/>
                  </a:lnTo>
                  <a:lnTo>
                    <a:pt x="2095" y="1447"/>
                  </a:lnTo>
                  <a:lnTo>
                    <a:pt x="2095" y="1450"/>
                  </a:lnTo>
                  <a:lnTo>
                    <a:pt x="2091" y="1453"/>
                  </a:lnTo>
                  <a:lnTo>
                    <a:pt x="2092" y="1455"/>
                  </a:lnTo>
                  <a:lnTo>
                    <a:pt x="2096" y="1458"/>
                  </a:lnTo>
                  <a:lnTo>
                    <a:pt x="2098" y="1459"/>
                  </a:lnTo>
                  <a:lnTo>
                    <a:pt x="2103" y="1463"/>
                  </a:lnTo>
                  <a:lnTo>
                    <a:pt x="2104" y="1469"/>
                  </a:lnTo>
                  <a:lnTo>
                    <a:pt x="2104" y="1471"/>
                  </a:lnTo>
                  <a:lnTo>
                    <a:pt x="2108" y="1479"/>
                  </a:lnTo>
                  <a:lnTo>
                    <a:pt x="2108" y="1481"/>
                  </a:lnTo>
                  <a:lnTo>
                    <a:pt x="2110" y="1484"/>
                  </a:lnTo>
                  <a:lnTo>
                    <a:pt x="2112" y="1487"/>
                  </a:lnTo>
                  <a:lnTo>
                    <a:pt x="2110" y="1489"/>
                  </a:lnTo>
                  <a:close/>
                  <a:moveTo>
                    <a:pt x="2115" y="1336"/>
                  </a:moveTo>
                  <a:lnTo>
                    <a:pt x="2114" y="1338"/>
                  </a:lnTo>
                  <a:lnTo>
                    <a:pt x="2115" y="1342"/>
                  </a:lnTo>
                  <a:lnTo>
                    <a:pt x="2114" y="1344"/>
                  </a:lnTo>
                  <a:lnTo>
                    <a:pt x="2112" y="1347"/>
                  </a:lnTo>
                  <a:lnTo>
                    <a:pt x="2108" y="1348"/>
                  </a:lnTo>
                  <a:lnTo>
                    <a:pt x="2105" y="1353"/>
                  </a:lnTo>
                  <a:lnTo>
                    <a:pt x="2103" y="1351"/>
                  </a:lnTo>
                  <a:lnTo>
                    <a:pt x="2103" y="1355"/>
                  </a:lnTo>
                  <a:lnTo>
                    <a:pt x="2101" y="1352"/>
                  </a:lnTo>
                  <a:lnTo>
                    <a:pt x="2101" y="1350"/>
                  </a:lnTo>
                  <a:lnTo>
                    <a:pt x="2104" y="1347"/>
                  </a:lnTo>
                  <a:lnTo>
                    <a:pt x="2112" y="1340"/>
                  </a:lnTo>
                  <a:lnTo>
                    <a:pt x="2113" y="1339"/>
                  </a:lnTo>
                  <a:lnTo>
                    <a:pt x="2114" y="1338"/>
                  </a:lnTo>
                  <a:lnTo>
                    <a:pt x="2115" y="1335"/>
                  </a:lnTo>
                  <a:lnTo>
                    <a:pt x="2115" y="1336"/>
                  </a:lnTo>
                  <a:close/>
                  <a:moveTo>
                    <a:pt x="2150" y="1501"/>
                  </a:moveTo>
                  <a:lnTo>
                    <a:pt x="2152" y="1501"/>
                  </a:lnTo>
                  <a:lnTo>
                    <a:pt x="2155" y="1502"/>
                  </a:lnTo>
                  <a:lnTo>
                    <a:pt x="2157" y="1505"/>
                  </a:lnTo>
                  <a:lnTo>
                    <a:pt x="2157" y="1506"/>
                  </a:lnTo>
                  <a:lnTo>
                    <a:pt x="2158" y="1506"/>
                  </a:lnTo>
                  <a:lnTo>
                    <a:pt x="2158" y="1507"/>
                  </a:lnTo>
                  <a:lnTo>
                    <a:pt x="2158" y="1507"/>
                  </a:lnTo>
                  <a:lnTo>
                    <a:pt x="2158" y="1513"/>
                  </a:lnTo>
                  <a:lnTo>
                    <a:pt x="2159" y="1514"/>
                  </a:lnTo>
                  <a:lnTo>
                    <a:pt x="2159" y="1516"/>
                  </a:lnTo>
                  <a:lnTo>
                    <a:pt x="2158" y="1520"/>
                  </a:lnTo>
                  <a:lnTo>
                    <a:pt x="2159" y="1522"/>
                  </a:lnTo>
                  <a:lnTo>
                    <a:pt x="2163" y="1526"/>
                  </a:lnTo>
                  <a:lnTo>
                    <a:pt x="2164" y="1528"/>
                  </a:lnTo>
                  <a:lnTo>
                    <a:pt x="2164" y="1530"/>
                  </a:lnTo>
                  <a:lnTo>
                    <a:pt x="2163" y="1532"/>
                  </a:lnTo>
                  <a:lnTo>
                    <a:pt x="2160" y="1536"/>
                  </a:lnTo>
                  <a:lnTo>
                    <a:pt x="2160" y="1538"/>
                  </a:lnTo>
                  <a:lnTo>
                    <a:pt x="2160" y="1541"/>
                  </a:lnTo>
                  <a:lnTo>
                    <a:pt x="2161" y="1544"/>
                  </a:lnTo>
                  <a:lnTo>
                    <a:pt x="2160" y="1546"/>
                  </a:lnTo>
                  <a:lnTo>
                    <a:pt x="2161" y="1549"/>
                  </a:lnTo>
                  <a:lnTo>
                    <a:pt x="2161" y="1552"/>
                  </a:lnTo>
                  <a:lnTo>
                    <a:pt x="2163" y="1555"/>
                  </a:lnTo>
                  <a:lnTo>
                    <a:pt x="2164" y="1557"/>
                  </a:lnTo>
                  <a:lnTo>
                    <a:pt x="2165" y="1560"/>
                  </a:lnTo>
                  <a:lnTo>
                    <a:pt x="2167" y="1564"/>
                  </a:lnTo>
                  <a:lnTo>
                    <a:pt x="2167" y="1567"/>
                  </a:lnTo>
                  <a:lnTo>
                    <a:pt x="2164" y="1564"/>
                  </a:lnTo>
                  <a:lnTo>
                    <a:pt x="2163" y="1563"/>
                  </a:lnTo>
                  <a:lnTo>
                    <a:pt x="2160" y="1565"/>
                  </a:lnTo>
                  <a:lnTo>
                    <a:pt x="2159" y="1565"/>
                  </a:lnTo>
                  <a:lnTo>
                    <a:pt x="2158" y="1563"/>
                  </a:lnTo>
                  <a:lnTo>
                    <a:pt x="2158" y="1557"/>
                  </a:lnTo>
                  <a:lnTo>
                    <a:pt x="2156" y="1555"/>
                  </a:lnTo>
                  <a:lnTo>
                    <a:pt x="2155" y="1553"/>
                  </a:lnTo>
                  <a:lnTo>
                    <a:pt x="2155" y="1549"/>
                  </a:lnTo>
                  <a:lnTo>
                    <a:pt x="2154" y="1544"/>
                  </a:lnTo>
                  <a:lnTo>
                    <a:pt x="2154" y="1543"/>
                  </a:lnTo>
                  <a:lnTo>
                    <a:pt x="2152" y="1540"/>
                  </a:lnTo>
                  <a:lnTo>
                    <a:pt x="2150" y="1537"/>
                  </a:lnTo>
                  <a:lnTo>
                    <a:pt x="2151" y="1533"/>
                  </a:lnTo>
                  <a:lnTo>
                    <a:pt x="2155" y="1528"/>
                  </a:lnTo>
                  <a:lnTo>
                    <a:pt x="2154" y="1522"/>
                  </a:lnTo>
                  <a:lnTo>
                    <a:pt x="2154" y="1516"/>
                  </a:lnTo>
                  <a:lnTo>
                    <a:pt x="2152" y="1514"/>
                  </a:lnTo>
                  <a:lnTo>
                    <a:pt x="2154" y="1511"/>
                  </a:lnTo>
                  <a:lnTo>
                    <a:pt x="2151" y="1509"/>
                  </a:lnTo>
                  <a:lnTo>
                    <a:pt x="2150" y="1506"/>
                  </a:lnTo>
                  <a:lnTo>
                    <a:pt x="2149" y="1502"/>
                  </a:lnTo>
                  <a:lnTo>
                    <a:pt x="2150" y="1501"/>
                  </a:lnTo>
                  <a:close/>
                  <a:moveTo>
                    <a:pt x="2434" y="776"/>
                  </a:moveTo>
                  <a:lnTo>
                    <a:pt x="2434" y="776"/>
                  </a:lnTo>
                  <a:lnTo>
                    <a:pt x="2434" y="777"/>
                  </a:lnTo>
                  <a:lnTo>
                    <a:pt x="2434" y="777"/>
                  </a:lnTo>
                  <a:lnTo>
                    <a:pt x="2434" y="777"/>
                  </a:lnTo>
                  <a:lnTo>
                    <a:pt x="2433" y="777"/>
                  </a:lnTo>
                  <a:lnTo>
                    <a:pt x="2433" y="777"/>
                  </a:lnTo>
                  <a:lnTo>
                    <a:pt x="2433" y="777"/>
                  </a:lnTo>
                  <a:lnTo>
                    <a:pt x="2433" y="778"/>
                  </a:lnTo>
                  <a:lnTo>
                    <a:pt x="2432" y="778"/>
                  </a:lnTo>
                  <a:lnTo>
                    <a:pt x="2432" y="778"/>
                  </a:lnTo>
                  <a:lnTo>
                    <a:pt x="2431" y="778"/>
                  </a:lnTo>
                  <a:lnTo>
                    <a:pt x="2431" y="778"/>
                  </a:lnTo>
                  <a:lnTo>
                    <a:pt x="2431" y="778"/>
                  </a:lnTo>
                  <a:lnTo>
                    <a:pt x="2431" y="778"/>
                  </a:lnTo>
                  <a:lnTo>
                    <a:pt x="2431" y="778"/>
                  </a:lnTo>
                  <a:lnTo>
                    <a:pt x="2431" y="777"/>
                  </a:lnTo>
                  <a:lnTo>
                    <a:pt x="2431" y="777"/>
                  </a:lnTo>
                  <a:lnTo>
                    <a:pt x="2431" y="777"/>
                  </a:lnTo>
                  <a:lnTo>
                    <a:pt x="2431" y="777"/>
                  </a:lnTo>
                  <a:lnTo>
                    <a:pt x="2431" y="777"/>
                  </a:lnTo>
                  <a:lnTo>
                    <a:pt x="2430" y="777"/>
                  </a:lnTo>
                  <a:lnTo>
                    <a:pt x="2430" y="777"/>
                  </a:lnTo>
                  <a:lnTo>
                    <a:pt x="2430" y="777"/>
                  </a:lnTo>
                  <a:lnTo>
                    <a:pt x="2430" y="777"/>
                  </a:lnTo>
                  <a:lnTo>
                    <a:pt x="2430" y="776"/>
                  </a:lnTo>
                  <a:lnTo>
                    <a:pt x="2429" y="776"/>
                  </a:lnTo>
                  <a:lnTo>
                    <a:pt x="2429" y="776"/>
                  </a:lnTo>
                  <a:lnTo>
                    <a:pt x="2429" y="776"/>
                  </a:lnTo>
                  <a:lnTo>
                    <a:pt x="2429" y="776"/>
                  </a:lnTo>
                  <a:lnTo>
                    <a:pt x="2429" y="776"/>
                  </a:lnTo>
                  <a:lnTo>
                    <a:pt x="2429" y="777"/>
                  </a:lnTo>
                  <a:lnTo>
                    <a:pt x="2428" y="777"/>
                  </a:lnTo>
                  <a:lnTo>
                    <a:pt x="2428" y="777"/>
                  </a:lnTo>
                  <a:lnTo>
                    <a:pt x="2429" y="777"/>
                  </a:lnTo>
                  <a:lnTo>
                    <a:pt x="2429" y="778"/>
                  </a:lnTo>
                  <a:lnTo>
                    <a:pt x="2429" y="778"/>
                  </a:lnTo>
                  <a:lnTo>
                    <a:pt x="2429" y="778"/>
                  </a:lnTo>
                  <a:lnTo>
                    <a:pt x="2429" y="778"/>
                  </a:lnTo>
                  <a:lnTo>
                    <a:pt x="2429" y="779"/>
                  </a:lnTo>
                  <a:lnTo>
                    <a:pt x="2430" y="779"/>
                  </a:lnTo>
                  <a:lnTo>
                    <a:pt x="2430" y="779"/>
                  </a:lnTo>
                  <a:lnTo>
                    <a:pt x="2430" y="779"/>
                  </a:lnTo>
                  <a:lnTo>
                    <a:pt x="2430" y="780"/>
                  </a:lnTo>
                  <a:lnTo>
                    <a:pt x="2430" y="780"/>
                  </a:lnTo>
                  <a:lnTo>
                    <a:pt x="2430" y="780"/>
                  </a:lnTo>
                  <a:lnTo>
                    <a:pt x="2428" y="780"/>
                  </a:lnTo>
                  <a:lnTo>
                    <a:pt x="2428" y="780"/>
                  </a:lnTo>
                  <a:lnTo>
                    <a:pt x="2428" y="780"/>
                  </a:lnTo>
                  <a:lnTo>
                    <a:pt x="2428" y="779"/>
                  </a:lnTo>
                  <a:lnTo>
                    <a:pt x="2428" y="779"/>
                  </a:lnTo>
                  <a:lnTo>
                    <a:pt x="2428" y="779"/>
                  </a:lnTo>
                  <a:lnTo>
                    <a:pt x="2428" y="779"/>
                  </a:lnTo>
                  <a:lnTo>
                    <a:pt x="2427" y="779"/>
                  </a:lnTo>
                  <a:lnTo>
                    <a:pt x="2425" y="779"/>
                  </a:lnTo>
                  <a:lnTo>
                    <a:pt x="2425" y="779"/>
                  </a:lnTo>
                  <a:lnTo>
                    <a:pt x="2425" y="779"/>
                  </a:lnTo>
                  <a:lnTo>
                    <a:pt x="2425" y="780"/>
                  </a:lnTo>
                  <a:lnTo>
                    <a:pt x="2425" y="780"/>
                  </a:lnTo>
                  <a:lnTo>
                    <a:pt x="2425" y="780"/>
                  </a:lnTo>
                  <a:lnTo>
                    <a:pt x="2424" y="780"/>
                  </a:lnTo>
                  <a:lnTo>
                    <a:pt x="2424" y="780"/>
                  </a:lnTo>
                  <a:lnTo>
                    <a:pt x="2423" y="780"/>
                  </a:lnTo>
                  <a:lnTo>
                    <a:pt x="2423" y="780"/>
                  </a:lnTo>
                  <a:lnTo>
                    <a:pt x="2423" y="780"/>
                  </a:lnTo>
                  <a:lnTo>
                    <a:pt x="2423" y="780"/>
                  </a:lnTo>
                  <a:lnTo>
                    <a:pt x="2423" y="780"/>
                  </a:lnTo>
                  <a:lnTo>
                    <a:pt x="2423" y="782"/>
                  </a:lnTo>
                  <a:lnTo>
                    <a:pt x="2422" y="782"/>
                  </a:lnTo>
                  <a:lnTo>
                    <a:pt x="2422" y="780"/>
                  </a:lnTo>
                  <a:lnTo>
                    <a:pt x="2421" y="780"/>
                  </a:lnTo>
                  <a:lnTo>
                    <a:pt x="2421" y="782"/>
                  </a:lnTo>
                  <a:lnTo>
                    <a:pt x="2421" y="782"/>
                  </a:lnTo>
                  <a:lnTo>
                    <a:pt x="2421" y="780"/>
                  </a:lnTo>
                  <a:lnTo>
                    <a:pt x="2421" y="780"/>
                  </a:lnTo>
                  <a:lnTo>
                    <a:pt x="2421" y="780"/>
                  </a:lnTo>
                  <a:lnTo>
                    <a:pt x="2421" y="779"/>
                  </a:lnTo>
                  <a:lnTo>
                    <a:pt x="2420" y="779"/>
                  </a:lnTo>
                  <a:lnTo>
                    <a:pt x="2420" y="779"/>
                  </a:lnTo>
                  <a:lnTo>
                    <a:pt x="2420" y="779"/>
                  </a:lnTo>
                  <a:lnTo>
                    <a:pt x="2420" y="778"/>
                  </a:lnTo>
                  <a:lnTo>
                    <a:pt x="2420" y="778"/>
                  </a:lnTo>
                  <a:lnTo>
                    <a:pt x="2420" y="778"/>
                  </a:lnTo>
                  <a:lnTo>
                    <a:pt x="2420" y="778"/>
                  </a:lnTo>
                  <a:lnTo>
                    <a:pt x="2420" y="778"/>
                  </a:lnTo>
                  <a:lnTo>
                    <a:pt x="2420" y="778"/>
                  </a:lnTo>
                  <a:lnTo>
                    <a:pt x="2420" y="777"/>
                  </a:lnTo>
                  <a:lnTo>
                    <a:pt x="2420" y="777"/>
                  </a:lnTo>
                  <a:lnTo>
                    <a:pt x="2420" y="777"/>
                  </a:lnTo>
                  <a:lnTo>
                    <a:pt x="2419" y="777"/>
                  </a:lnTo>
                  <a:lnTo>
                    <a:pt x="2419" y="777"/>
                  </a:lnTo>
                  <a:lnTo>
                    <a:pt x="2419" y="777"/>
                  </a:lnTo>
                  <a:lnTo>
                    <a:pt x="2419" y="777"/>
                  </a:lnTo>
                  <a:lnTo>
                    <a:pt x="2419" y="778"/>
                  </a:lnTo>
                  <a:lnTo>
                    <a:pt x="2419" y="778"/>
                  </a:lnTo>
                  <a:lnTo>
                    <a:pt x="2419" y="778"/>
                  </a:lnTo>
                  <a:lnTo>
                    <a:pt x="2419" y="778"/>
                  </a:lnTo>
                  <a:lnTo>
                    <a:pt x="2419" y="779"/>
                  </a:lnTo>
                  <a:lnTo>
                    <a:pt x="2417" y="779"/>
                  </a:lnTo>
                  <a:lnTo>
                    <a:pt x="2417" y="779"/>
                  </a:lnTo>
                  <a:lnTo>
                    <a:pt x="2417" y="779"/>
                  </a:lnTo>
                  <a:lnTo>
                    <a:pt x="2416" y="779"/>
                  </a:lnTo>
                  <a:lnTo>
                    <a:pt x="2416" y="779"/>
                  </a:lnTo>
                  <a:lnTo>
                    <a:pt x="2416" y="778"/>
                  </a:lnTo>
                  <a:lnTo>
                    <a:pt x="2416" y="778"/>
                  </a:lnTo>
                  <a:lnTo>
                    <a:pt x="2416" y="778"/>
                  </a:lnTo>
                  <a:lnTo>
                    <a:pt x="2415" y="778"/>
                  </a:lnTo>
                  <a:lnTo>
                    <a:pt x="2415" y="778"/>
                  </a:lnTo>
                  <a:lnTo>
                    <a:pt x="2415" y="778"/>
                  </a:lnTo>
                  <a:lnTo>
                    <a:pt x="2415" y="778"/>
                  </a:lnTo>
                  <a:lnTo>
                    <a:pt x="2414" y="778"/>
                  </a:lnTo>
                  <a:lnTo>
                    <a:pt x="2414" y="778"/>
                  </a:lnTo>
                  <a:lnTo>
                    <a:pt x="2414" y="778"/>
                  </a:lnTo>
                  <a:lnTo>
                    <a:pt x="2414" y="778"/>
                  </a:lnTo>
                  <a:lnTo>
                    <a:pt x="2414" y="778"/>
                  </a:lnTo>
                  <a:lnTo>
                    <a:pt x="2414" y="778"/>
                  </a:lnTo>
                  <a:lnTo>
                    <a:pt x="2414" y="778"/>
                  </a:lnTo>
                  <a:lnTo>
                    <a:pt x="2413" y="778"/>
                  </a:lnTo>
                  <a:lnTo>
                    <a:pt x="2412" y="778"/>
                  </a:lnTo>
                  <a:lnTo>
                    <a:pt x="2412" y="778"/>
                  </a:lnTo>
                  <a:lnTo>
                    <a:pt x="2412" y="778"/>
                  </a:lnTo>
                  <a:lnTo>
                    <a:pt x="2412" y="778"/>
                  </a:lnTo>
                  <a:lnTo>
                    <a:pt x="2412" y="777"/>
                  </a:lnTo>
                  <a:lnTo>
                    <a:pt x="2412" y="777"/>
                  </a:lnTo>
                  <a:lnTo>
                    <a:pt x="2412" y="777"/>
                  </a:lnTo>
                  <a:lnTo>
                    <a:pt x="2412" y="777"/>
                  </a:lnTo>
                  <a:lnTo>
                    <a:pt x="2412" y="777"/>
                  </a:lnTo>
                  <a:lnTo>
                    <a:pt x="2412" y="777"/>
                  </a:lnTo>
                  <a:lnTo>
                    <a:pt x="2412" y="777"/>
                  </a:lnTo>
                  <a:lnTo>
                    <a:pt x="2411" y="777"/>
                  </a:lnTo>
                  <a:lnTo>
                    <a:pt x="2411" y="776"/>
                  </a:lnTo>
                  <a:lnTo>
                    <a:pt x="2411" y="776"/>
                  </a:lnTo>
                  <a:lnTo>
                    <a:pt x="2411" y="776"/>
                  </a:lnTo>
                  <a:lnTo>
                    <a:pt x="2411" y="775"/>
                  </a:lnTo>
                  <a:lnTo>
                    <a:pt x="2411" y="775"/>
                  </a:lnTo>
                  <a:lnTo>
                    <a:pt x="2411" y="775"/>
                  </a:lnTo>
                  <a:lnTo>
                    <a:pt x="2411" y="775"/>
                  </a:lnTo>
                  <a:lnTo>
                    <a:pt x="2410" y="774"/>
                  </a:lnTo>
                  <a:lnTo>
                    <a:pt x="2410" y="775"/>
                  </a:lnTo>
                  <a:lnTo>
                    <a:pt x="2410" y="775"/>
                  </a:lnTo>
                  <a:lnTo>
                    <a:pt x="2410" y="776"/>
                  </a:lnTo>
                  <a:lnTo>
                    <a:pt x="2410" y="776"/>
                  </a:lnTo>
                  <a:lnTo>
                    <a:pt x="2410" y="777"/>
                  </a:lnTo>
                  <a:lnTo>
                    <a:pt x="2410" y="777"/>
                  </a:lnTo>
                  <a:lnTo>
                    <a:pt x="2410" y="777"/>
                  </a:lnTo>
                  <a:lnTo>
                    <a:pt x="2410" y="778"/>
                  </a:lnTo>
                  <a:lnTo>
                    <a:pt x="2410" y="779"/>
                  </a:lnTo>
                  <a:lnTo>
                    <a:pt x="2408" y="779"/>
                  </a:lnTo>
                  <a:lnTo>
                    <a:pt x="2408" y="779"/>
                  </a:lnTo>
                  <a:lnTo>
                    <a:pt x="2410" y="779"/>
                  </a:lnTo>
                  <a:lnTo>
                    <a:pt x="2410" y="780"/>
                  </a:lnTo>
                  <a:lnTo>
                    <a:pt x="2408" y="780"/>
                  </a:lnTo>
                  <a:lnTo>
                    <a:pt x="2408" y="780"/>
                  </a:lnTo>
                  <a:lnTo>
                    <a:pt x="2408" y="782"/>
                  </a:lnTo>
                  <a:lnTo>
                    <a:pt x="2408" y="782"/>
                  </a:lnTo>
                  <a:lnTo>
                    <a:pt x="2408" y="782"/>
                  </a:lnTo>
                  <a:lnTo>
                    <a:pt x="2407" y="782"/>
                  </a:lnTo>
                  <a:lnTo>
                    <a:pt x="2407" y="783"/>
                  </a:lnTo>
                  <a:lnTo>
                    <a:pt x="2407" y="783"/>
                  </a:lnTo>
                  <a:lnTo>
                    <a:pt x="2407" y="783"/>
                  </a:lnTo>
                  <a:lnTo>
                    <a:pt x="2407" y="784"/>
                  </a:lnTo>
                  <a:lnTo>
                    <a:pt x="2407" y="784"/>
                  </a:lnTo>
                  <a:lnTo>
                    <a:pt x="2407" y="785"/>
                  </a:lnTo>
                  <a:lnTo>
                    <a:pt x="2407" y="785"/>
                  </a:lnTo>
                  <a:lnTo>
                    <a:pt x="2407" y="785"/>
                  </a:lnTo>
                  <a:lnTo>
                    <a:pt x="2407" y="786"/>
                  </a:lnTo>
                  <a:lnTo>
                    <a:pt x="2406" y="786"/>
                  </a:lnTo>
                  <a:lnTo>
                    <a:pt x="2406" y="786"/>
                  </a:lnTo>
                  <a:lnTo>
                    <a:pt x="2407" y="786"/>
                  </a:lnTo>
                  <a:lnTo>
                    <a:pt x="2407" y="787"/>
                  </a:lnTo>
                  <a:lnTo>
                    <a:pt x="2407" y="787"/>
                  </a:lnTo>
                  <a:lnTo>
                    <a:pt x="2407" y="787"/>
                  </a:lnTo>
                  <a:lnTo>
                    <a:pt x="2407" y="787"/>
                  </a:lnTo>
                  <a:lnTo>
                    <a:pt x="2407" y="788"/>
                  </a:lnTo>
                  <a:lnTo>
                    <a:pt x="2407" y="788"/>
                  </a:lnTo>
                  <a:lnTo>
                    <a:pt x="2407" y="788"/>
                  </a:lnTo>
                  <a:lnTo>
                    <a:pt x="2407" y="789"/>
                  </a:lnTo>
                  <a:lnTo>
                    <a:pt x="2407" y="789"/>
                  </a:lnTo>
                  <a:lnTo>
                    <a:pt x="2407" y="789"/>
                  </a:lnTo>
                  <a:lnTo>
                    <a:pt x="2407" y="791"/>
                  </a:lnTo>
                  <a:lnTo>
                    <a:pt x="2407" y="791"/>
                  </a:lnTo>
                  <a:lnTo>
                    <a:pt x="2408" y="791"/>
                  </a:lnTo>
                  <a:lnTo>
                    <a:pt x="2408" y="792"/>
                  </a:lnTo>
                  <a:lnTo>
                    <a:pt x="2408" y="792"/>
                  </a:lnTo>
                  <a:lnTo>
                    <a:pt x="2408" y="792"/>
                  </a:lnTo>
                  <a:lnTo>
                    <a:pt x="2410" y="792"/>
                  </a:lnTo>
                  <a:lnTo>
                    <a:pt x="2410" y="792"/>
                  </a:lnTo>
                  <a:lnTo>
                    <a:pt x="2410" y="792"/>
                  </a:lnTo>
                  <a:lnTo>
                    <a:pt x="2410" y="793"/>
                  </a:lnTo>
                  <a:lnTo>
                    <a:pt x="2410" y="793"/>
                  </a:lnTo>
                  <a:lnTo>
                    <a:pt x="2410" y="793"/>
                  </a:lnTo>
                  <a:lnTo>
                    <a:pt x="2410" y="793"/>
                  </a:lnTo>
                  <a:lnTo>
                    <a:pt x="2410" y="793"/>
                  </a:lnTo>
                  <a:lnTo>
                    <a:pt x="2410" y="792"/>
                  </a:lnTo>
                  <a:lnTo>
                    <a:pt x="2410" y="792"/>
                  </a:lnTo>
                  <a:lnTo>
                    <a:pt x="2410" y="792"/>
                  </a:lnTo>
                  <a:lnTo>
                    <a:pt x="2410" y="791"/>
                  </a:lnTo>
                  <a:lnTo>
                    <a:pt x="2410" y="791"/>
                  </a:lnTo>
                  <a:lnTo>
                    <a:pt x="2410" y="791"/>
                  </a:lnTo>
                  <a:lnTo>
                    <a:pt x="2410" y="791"/>
                  </a:lnTo>
                  <a:lnTo>
                    <a:pt x="2410" y="791"/>
                  </a:lnTo>
                  <a:lnTo>
                    <a:pt x="2410" y="791"/>
                  </a:lnTo>
                  <a:lnTo>
                    <a:pt x="2410" y="791"/>
                  </a:lnTo>
                  <a:lnTo>
                    <a:pt x="2410" y="791"/>
                  </a:lnTo>
                  <a:lnTo>
                    <a:pt x="2410" y="792"/>
                  </a:lnTo>
                  <a:lnTo>
                    <a:pt x="2410" y="791"/>
                  </a:lnTo>
                  <a:lnTo>
                    <a:pt x="2411" y="792"/>
                  </a:lnTo>
                  <a:lnTo>
                    <a:pt x="2411" y="792"/>
                  </a:lnTo>
                  <a:lnTo>
                    <a:pt x="2411" y="791"/>
                  </a:lnTo>
                  <a:lnTo>
                    <a:pt x="2411" y="791"/>
                  </a:lnTo>
                  <a:lnTo>
                    <a:pt x="2411" y="792"/>
                  </a:lnTo>
                  <a:lnTo>
                    <a:pt x="2411" y="791"/>
                  </a:lnTo>
                  <a:lnTo>
                    <a:pt x="2412" y="791"/>
                  </a:lnTo>
                  <a:lnTo>
                    <a:pt x="2412" y="792"/>
                  </a:lnTo>
                  <a:lnTo>
                    <a:pt x="2412" y="792"/>
                  </a:lnTo>
                  <a:lnTo>
                    <a:pt x="2412" y="792"/>
                  </a:lnTo>
                  <a:lnTo>
                    <a:pt x="2412" y="792"/>
                  </a:lnTo>
                  <a:lnTo>
                    <a:pt x="2413" y="792"/>
                  </a:lnTo>
                  <a:lnTo>
                    <a:pt x="2413" y="791"/>
                  </a:lnTo>
                  <a:lnTo>
                    <a:pt x="2414" y="791"/>
                  </a:lnTo>
                  <a:lnTo>
                    <a:pt x="2414" y="792"/>
                  </a:lnTo>
                  <a:lnTo>
                    <a:pt x="2414" y="792"/>
                  </a:lnTo>
                  <a:lnTo>
                    <a:pt x="2414" y="792"/>
                  </a:lnTo>
                  <a:lnTo>
                    <a:pt x="2414" y="792"/>
                  </a:lnTo>
                  <a:lnTo>
                    <a:pt x="2415" y="792"/>
                  </a:lnTo>
                  <a:lnTo>
                    <a:pt x="2415" y="792"/>
                  </a:lnTo>
                  <a:lnTo>
                    <a:pt x="2415" y="792"/>
                  </a:lnTo>
                  <a:lnTo>
                    <a:pt x="2416" y="792"/>
                  </a:lnTo>
                  <a:lnTo>
                    <a:pt x="2416" y="792"/>
                  </a:lnTo>
                  <a:lnTo>
                    <a:pt x="2416" y="792"/>
                  </a:lnTo>
                  <a:lnTo>
                    <a:pt x="2416" y="792"/>
                  </a:lnTo>
                  <a:lnTo>
                    <a:pt x="2416" y="792"/>
                  </a:lnTo>
                  <a:lnTo>
                    <a:pt x="2416" y="792"/>
                  </a:lnTo>
                  <a:lnTo>
                    <a:pt x="2417" y="792"/>
                  </a:lnTo>
                  <a:lnTo>
                    <a:pt x="2417" y="792"/>
                  </a:lnTo>
                  <a:lnTo>
                    <a:pt x="2416" y="792"/>
                  </a:lnTo>
                  <a:lnTo>
                    <a:pt x="2416" y="792"/>
                  </a:lnTo>
                  <a:lnTo>
                    <a:pt x="2417" y="792"/>
                  </a:lnTo>
                  <a:lnTo>
                    <a:pt x="2417" y="792"/>
                  </a:lnTo>
                  <a:lnTo>
                    <a:pt x="2417" y="793"/>
                  </a:lnTo>
                  <a:lnTo>
                    <a:pt x="2417" y="793"/>
                  </a:lnTo>
                  <a:lnTo>
                    <a:pt x="2417" y="793"/>
                  </a:lnTo>
                  <a:lnTo>
                    <a:pt x="2417" y="794"/>
                  </a:lnTo>
                  <a:lnTo>
                    <a:pt x="2417" y="794"/>
                  </a:lnTo>
                  <a:lnTo>
                    <a:pt x="2416" y="794"/>
                  </a:lnTo>
                  <a:lnTo>
                    <a:pt x="2416" y="794"/>
                  </a:lnTo>
                  <a:lnTo>
                    <a:pt x="2416" y="794"/>
                  </a:lnTo>
                  <a:lnTo>
                    <a:pt x="2416" y="794"/>
                  </a:lnTo>
                  <a:lnTo>
                    <a:pt x="2416" y="795"/>
                  </a:lnTo>
                  <a:lnTo>
                    <a:pt x="2416" y="795"/>
                  </a:lnTo>
                  <a:lnTo>
                    <a:pt x="2416" y="795"/>
                  </a:lnTo>
                  <a:lnTo>
                    <a:pt x="2416" y="795"/>
                  </a:lnTo>
                  <a:lnTo>
                    <a:pt x="2416" y="796"/>
                  </a:lnTo>
                  <a:lnTo>
                    <a:pt x="2417" y="796"/>
                  </a:lnTo>
                  <a:lnTo>
                    <a:pt x="2417" y="796"/>
                  </a:lnTo>
                  <a:lnTo>
                    <a:pt x="2417" y="796"/>
                  </a:lnTo>
                  <a:lnTo>
                    <a:pt x="2417" y="796"/>
                  </a:lnTo>
                  <a:lnTo>
                    <a:pt x="2419" y="796"/>
                  </a:lnTo>
                  <a:lnTo>
                    <a:pt x="2419" y="796"/>
                  </a:lnTo>
                  <a:lnTo>
                    <a:pt x="2419" y="796"/>
                  </a:lnTo>
                  <a:lnTo>
                    <a:pt x="2419" y="796"/>
                  </a:lnTo>
                  <a:lnTo>
                    <a:pt x="2419" y="796"/>
                  </a:lnTo>
                  <a:lnTo>
                    <a:pt x="2419" y="797"/>
                  </a:lnTo>
                  <a:lnTo>
                    <a:pt x="2419" y="796"/>
                  </a:lnTo>
                  <a:lnTo>
                    <a:pt x="2419" y="797"/>
                  </a:lnTo>
                  <a:lnTo>
                    <a:pt x="2420" y="797"/>
                  </a:lnTo>
                  <a:lnTo>
                    <a:pt x="2420" y="797"/>
                  </a:lnTo>
                  <a:lnTo>
                    <a:pt x="2420" y="797"/>
                  </a:lnTo>
                  <a:lnTo>
                    <a:pt x="2420" y="797"/>
                  </a:lnTo>
                  <a:lnTo>
                    <a:pt x="2421" y="797"/>
                  </a:lnTo>
                  <a:lnTo>
                    <a:pt x="2421" y="799"/>
                  </a:lnTo>
                  <a:lnTo>
                    <a:pt x="2420" y="799"/>
                  </a:lnTo>
                  <a:lnTo>
                    <a:pt x="2420" y="797"/>
                  </a:lnTo>
                  <a:lnTo>
                    <a:pt x="2420" y="799"/>
                  </a:lnTo>
                  <a:lnTo>
                    <a:pt x="2420" y="799"/>
                  </a:lnTo>
                  <a:lnTo>
                    <a:pt x="2420" y="799"/>
                  </a:lnTo>
                  <a:lnTo>
                    <a:pt x="2420" y="799"/>
                  </a:lnTo>
                  <a:lnTo>
                    <a:pt x="2420" y="799"/>
                  </a:lnTo>
                  <a:lnTo>
                    <a:pt x="2420" y="799"/>
                  </a:lnTo>
                  <a:lnTo>
                    <a:pt x="2420" y="799"/>
                  </a:lnTo>
                  <a:lnTo>
                    <a:pt x="2419" y="799"/>
                  </a:lnTo>
                  <a:lnTo>
                    <a:pt x="2419" y="799"/>
                  </a:lnTo>
                  <a:lnTo>
                    <a:pt x="2419" y="799"/>
                  </a:lnTo>
                  <a:lnTo>
                    <a:pt x="2419" y="799"/>
                  </a:lnTo>
                  <a:lnTo>
                    <a:pt x="2419" y="799"/>
                  </a:lnTo>
                  <a:lnTo>
                    <a:pt x="2419" y="800"/>
                  </a:lnTo>
                  <a:lnTo>
                    <a:pt x="2417" y="799"/>
                  </a:lnTo>
                  <a:lnTo>
                    <a:pt x="2419" y="799"/>
                  </a:lnTo>
                  <a:lnTo>
                    <a:pt x="2419" y="799"/>
                  </a:lnTo>
                  <a:lnTo>
                    <a:pt x="2419" y="799"/>
                  </a:lnTo>
                  <a:lnTo>
                    <a:pt x="2419" y="797"/>
                  </a:lnTo>
                  <a:lnTo>
                    <a:pt x="2419" y="797"/>
                  </a:lnTo>
                  <a:lnTo>
                    <a:pt x="2419" y="797"/>
                  </a:lnTo>
                  <a:lnTo>
                    <a:pt x="2417" y="797"/>
                  </a:lnTo>
                  <a:lnTo>
                    <a:pt x="2417" y="797"/>
                  </a:lnTo>
                  <a:lnTo>
                    <a:pt x="2417" y="797"/>
                  </a:lnTo>
                  <a:lnTo>
                    <a:pt x="2417" y="797"/>
                  </a:lnTo>
                  <a:lnTo>
                    <a:pt x="2417" y="797"/>
                  </a:lnTo>
                  <a:lnTo>
                    <a:pt x="2417" y="797"/>
                  </a:lnTo>
                  <a:lnTo>
                    <a:pt x="2417" y="797"/>
                  </a:lnTo>
                  <a:lnTo>
                    <a:pt x="2417" y="799"/>
                  </a:lnTo>
                  <a:lnTo>
                    <a:pt x="2417" y="797"/>
                  </a:lnTo>
                  <a:lnTo>
                    <a:pt x="2417" y="797"/>
                  </a:lnTo>
                  <a:lnTo>
                    <a:pt x="2416" y="799"/>
                  </a:lnTo>
                  <a:lnTo>
                    <a:pt x="2415" y="799"/>
                  </a:lnTo>
                  <a:lnTo>
                    <a:pt x="2415" y="799"/>
                  </a:lnTo>
                  <a:lnTo>
                    <a:pt x="2414" y="799"/>
                  </a:lnTo>
                  <a:lnTo>
                    <a:pt x="2414" y="797"/>
                  </a:lnTo>
                  <a:lnTo>
                    <a:pt x="2414" y="797"/>
                  </a:lnTo>
                  <a:lnTo>
                    <a:pt x="2414" y="797"/>
                  </a:lnTo>
                  <a:lnTo>
                    <a:pt x="2415" y="797"/>
                  </a:lnTo>
                  <a:lnTo>
                    <a:pt x="2415" y="796"/>
                  </a:lnTo>
                  <a:lnTo>
                    <a:pt x="2415" y="796"/>
                  </a:lnTo>
                  <a:lnTo>
                    <a:pt x="2415" y="796"/>
                  </a:lnTo>
                  <a:lnTo>
                    <a:pt x="2415" y="796"/>
                  </a:lnTo>
                  <a:lnTo>
                    <a:pt x="2414" y="796"/>
                  </a:lnTo>
                  <a:lnTo>
                    <a:pt x="2414" y="796"/>
                  </a:lnTo>
                  <a:lnTo>
                    <a:pt x="2414" y="797"/>
                  </a:lnTo>
                  <a:lnTo>
                    <a:pt x="2414" y="797"/>
                  </a:lnTo>
                  <a:lnTo>
                    <a:pt x="2414" y="797"/>
                  </a:lnTo>
                  <a:lnTo>
                    <a:pt x="2414" y="797"/>
                  </a:lnTo>
                  <a:lnTo>
                    <a:pt x="2414" y="799"/>
                  </a:lnTo>
                  <a:lnTo>
                    <a:pt x="2413" y="799"/>
                  </a:lnTo>
                  <a:lnTo>
                    <a:pt x="2413" y="799"/>
                  </a:lnTo>
                  <a:lnTo>
                    <a:pt x="2413" y="799"/>
                  </a:lnTo>
                  <a:lnTo>
                    <a:pt x="2413" y="800"/>
                  </a:lnTo>
                  <a:lnTo>
                    <a:pt x="2413" y="800"/>
                  </a:lnTo>
                  <a:lnTo>
                    <a:pt x="2413" y="800"/>
                  </a:lnTo>
                  <a:lnTo>
                    <a:pt x="2412" y="800"/>
                  </a:lnTo>
                  <a:lnTo>
                    <a:pt x="2412" y="801"/>
                  </a:lnTo>
                  <a:lnTo>
                    <a:pt x="2413" y="801"/>
                  </a:lnTo>
                  <a:lnTo>
                    <a:pt x="2413" y="802"/>
                  </a:lnTo>
                  <a:lnTo>
                    <a:pt x="2413" y="802"/>
                  </a:lnTo>
                  <a:lnTo>
                    <a:pt x="2413" y="803"/>
                  </a:lnTo>
                  <a:lnTo>
                    <a:pt x="2413" y="803"/>
                  </a:lnTo>
                  <a:lnTo>
                    <a:pt x="2413" y="802"/>
                  </a:lnTo>
                  <a:lnTo>
                    <a:pt x="2414" y="802"/>
                  </a:lnTo>
                  <a:lnTo>
                    <a:pt x="2414" y="802"/>
                  </a:lnTo>
                  <a:lnTo>
                    <a:pt x="2414" y="802"/>
                  </a:lnTo>
                  <a:lnTo>
                    <a:pt x="2414" y="801"/>
                  </a:lnTo>
                  <a:lnTo>
                    <a:pt x="2413" y="801"/>
                  </a:lnTo>
                  <a:lnTo>
                    <a:pt x="2413" y="801"/>
                  </a:lnTo>
                  <a:lnTo>
                    <a:pt x="2414" y="801"/>
                  </a:lnTo>
                  <a:lnTo>
                    <a:pt x="2414" y="801"/>
                  </a:lnTo>
                  <a:lnTo>
                    <a:pt x="2414" y="801"/>
                  </a:lnTo>
                  <a:lnTo>
                    <a:pt x="2415" y="801"/>
                  </a:lnTo>
                  <a:lnTo>
                    <a:pt x="2415" y="801"/>
                  </a:lnTo>
                  <a:lnTo>
                    <a:pt x="2416" y="801"/>
                  </a:lnTo>
                  <a:lnTo>
                    <a:pt x="2416" y="802"/>
                  </a:lnTo>
                  <a:lnTo>
                    <a:pt x="2416" y="802"/>
                  </a:lnTo>
                  <a:lnTo>
                    <a:pt x="2416" y="802"/>
                  </a:lnTo>
                  <a:lnTo>
                    <a:pt x="2417" y="802"/>
                  </a:lnTo>
                  <a:lnTo>
                    <a:pt x="2417" y="802"/>
                  </a:lnTo>
                  <a:lnTo>
                    <a:pt x="2417" y="802"/>
                  </a:lnTo>
                  <a:lnTo>
                    <a:pt x="2417" y="802"/>
                  </a:lnTo>
                  <a:lnTo>
                    <a:pt x="2419" y="802"/>
                  </a:lnTo>
                  <a:lnTo>
                    <a:pt x="2417" y="802"/>
                  </a:lnTo>
                  <a:lnTo>
                    <a:pt x="2419" y="802"/>
                  </a:lnTo>
                  <a:lnTo>
                    <a:pt x="2419" y="803"/>
                  </a:lnTo>
                  <a:lnTo>
                    <a:pt x="2419" y="803"/>
                  </a:lnTo>
                  <a:lnTo>
                    <a:pt x="2419" y="803"/>
                  </a:lnTo>
                  <a:lnTo>
                    <a:pt x="2419" y="803"/>
                  </a:lnTo>
                  <a:lnTo>
                    <a:pt x="2419" y="803"/>
                  </a:lnTo>
                  <a:lnTo>
                    <a:pt x="2419" y="803"/>
                  </a:lnTo>
                  <a:lnTo>
                    <a:pt x="2419" y="803"/>
                  </a:lnTo>
                  <a:lnTo>
                    <a:pt x="2419" y="803"/>
                  </a:lnTo>
                  <a:lnTo>
                    <a:pt x="2419" y="804"/>
                  </a:lnTo>
                  <a:lnTo>
                    <a:pt x="2419" y="804"/>
                  </a:lnTo>
                  <a:lnTo>
                    <a:pt x="2419" y="803"/>
                  </a:lnTo>
                  <a:lnTo>
                    <a:pt x="2420" y="803"/>
                  </a:lnTo>
                  <a:lnTo>
                    <a:pt x="2420" y="804"/>
                  </a:lnTo>
                  <a:lnTo>
                    <a:pt x="2419" y="804"/>
                  </a:lnTo>
                  <a:lnTo>
                    <a:pt x="2420" y="804"/>
                  </a:lnTo>
                  <a:lnTo>
                    <a:pt x="2420" y="804"/>
                  </a:lnTo>
                  <a:lnTo>
                    <a:pt x="2420" y="804"/>
                  </a:lnTo>
                  <a:lnTo>
                    <a:pt x="2420" y="805"/>
                  </a:lnTo>
                  <a:lnTo>
                    <a:pt x="2420" y="805"/>
                  </a:lnTo>
                  <a:lnTo>
                    <a:pt x="2420" y="805"/>
                  </a:lnTo>
                  <a:lnTo>
                    <a:pt x="2420" y="805"/>
                  </a:lnTo>
                  <a:lnTo>
                    <a:pt x="2420" y="805"/>
                  </a:lnTo>
                  <a:lnTo>
                    <a:pt x="2420" y="804"/>
                  </a:lnTo>
                  <a:lnTo>
                    <a:pt x="2421" y="804"/>
                  </a:lnTo>
                  <a:lnTo>
                    <a:pt x="2421" y="804"/>
                  </a:lnTo>
                  <a:lnTo>
                    <a:pt x="2421" y="804"/>
                  </a:lnTo>
                  <a:lnTo>
                    <a:pt x="2421" y="804"/>
                  </a:lnTo>
                  <a:lnTo>
                    <a:pt x="2421" y="804"/>
                  </a:lnTo>
                  <a:lnTo>
                    <a:pt x="2421" y="806"/>
                  </a:lnTo>
                  <a:lnTo>
                    <a:pt x="2421" y="806"/>
                  </a:lnTo>
                  <a:lnTo>
                    <a:pt x="2421" y="806"/>
                  </a:lnTo>
                  <a:lnTo>
                    <a:pt x="2421" y="806"/>
                  </a:lnTo>
                  <a:lnTo>
                    <a:pt x="2421" y="806"/>
                  </a:lnTo>
                  <a:lnTo>
                    <a:pt x="2421" y="806"/>
                  </a:lnTo>
                  <a:lnTo>
                    <a:pt x="2421" y="806"/>
                  </a:lnTo>
                  <a:lnTo>
                    <a:pt x="2422" y="806"/>
                  </a:lnTo>
                  <a:lnTo>
                    <a:pt x="2422" y="806"/>
                  </a:lnTo>
                  <a:lnTo>
                    <a:pt x="2423" y="806"/>
                  </a:lnTo>
                  <a:lnTo>
                    <a:pt x="2423" y="806"/>
                  </a:lnTo>
                  <a:lnTo>
                    <a:pt x="2423" y="806"/>
                  </a:lnTo>
                  <a:lnTo>
                    <a:pt x="2423" y="808"/>
                  </a:lnTo>
                  <a:lnTo>
                    <a:pt x="2423" y="808"/>
                  </a:lnTo>
                  <a:lnTo>
                    <a:pt x="2423" y="808"/>
                  </a:lnTo>
                  <a:lnTo>
                    <a:pt x="2423" y="808"/>
                  </a:lnTo>
                  <a:lnTo>
                    <a:pt x="2423" y="808"/>
                  </a:lnTo>
                  <a:lnTo>
                    <a:pt x="2424" y="809"/>
                  </a:lnTo>
                  <a:lnTo>
                    <a:pt x="2424" y="809"/>
                  </a:lnTo>
                  <a:lnTo>
                    <a:pt x="2424" y="809"/>
                  </a:lnTo>
                  <a:lnTo>
                    <a:pt x="2424" y="809"/>
                  </a:lnTo>
                  <a:lnTo>
                    <a:pt x="2424" y="809"/>
                  </a:lnTo>
                  <a:lnTo>
                    <a:pt x="2424" y="809"/>
                  </a:lnTo>
                  <a:lnTo>
                    <a:pt x="2424" y="809"/>
                  </a:lnTo>
                  <a:lnTo>
                    <a:pt x="2424" y="809"/>
                  </a:lnTo>
                  <a:lnTo>
                    <a:pt x="2424" y="809"/>
                  </a:lnTo>
                  <a:lnTo>
                    <a:pt x="2424" y="809"/>
                  </a:lnTo>
                  <a:lnTo>
                    <a:pt x="2424" y="810"/>
                  </a:lnTo>
                  <a:lnTo>
                    <a:pt x="2424" y="810"/>
                  </a:lnTo>
                  <a:lnTo>
                    <a:pt x="2423" y="810"/>
                  </a:lnTo>
                  <a:lnTo>
                    <a:pt x="2423" y="811"/>
                  </a:lnTo>
                  <a:lnTo>
                    <a:pt x="2423" y="811"/>
                  </a:lnTo>
                  <a:lnTo>
                    <a:pt x="2423" y="812"/>
                  </a:lnTo>
                  <a:lnTo>
                    <a:pt x="2423" y="812"/>
                  </a:lnTo>
                  <a:lnTo>
                    <a:pt x="2423" y="812"/>
                  </a:lnTo>
                  <a:lnTo>
                    <a:pt x="2423" y="812"/>
                  </a:lnTo>
                  <a:lnTo>
                    <a:pt x="2423" y="813"/>
                  </a:lnTo>
                  <a:lnTo>
                    <a:pt x="2422" y="813"/>
                  </a:lnTo>
                  <a:lnTo>
                    <a:pt x="2422" y="814"/>
                  </a:lnTo>
                  <a:lnTo>
                    <a:pt x="2422" y="814"/>
                  </a:lnTo>
                  <a:lnTo>
                    <a:pt x="2422" y="816"/>
                  </a:lnTo>
                  <a:lnTo>
                    <a:pt x="2422" y="816"/>
                  </a:lnTo>
                  <a:lnTo>
                    <a:pt x="2422" y="817"/>
                  </a:lnTo>
                  <a:lnTo>
                    <a:pt x="2423" y="817"/>
                  </a:lnTo>
                  <a:lnTo>
                    <a:pt x="2423" y="818"/>
                  </a:lnTo>
                  <a:lnTo>
                    <a:pt x="2423" y="818"/>
                  </a:lnTo>
                  <a:lnTo>
                    <a:pt x="2423" y="818"/>
                  </a:lnTo>
                  <a:lnTo>
                    <a:pt x="2423" y="820"/>
                  </a:lnTo>
                  <a:lnTo>
                    <a:pt x="2422" y="821"/>
                  </a:lnTo>
                  <a:lnTo>
                    <a:pt x="2422" y="821"/>
                  </a:lnTo>
                  <a:lnTo>
                    <a:pt x="2422" y="821"/>
                  </a:lnTo>
                  <a:lnTo>
                    <a:pt x="2422" y="822"/>
                  </a:lnTo>
                  <a:lnTo>
                    <a:pt x="2422" y="822"/>
                  </a:lnTo>
                  <a:lnTo>
                    <a:pt x="2422" y="826"/>
                  </a:lnTo>
                  <a:lnTo>
                    <a:pt x="2422" y="826"/>
                  </a:lnTo>
                  <a:lnTo>
                    <a:pt x="2422" y="827"/>
                  </a:lnTo>
                  <a:lnTo>
                    <a:pt x="2422" y="828"/>
                  </a:lnTo>
                  <a:lnTo>
                    <a:pt x="2422" y="829"/>
                  </a:lnTo>
                  <a:lnTo>
                    <a:pt x="2423" y="829"/>
                  </a:lnTo>
                  <a:lnTo>
                    <a:pt x="2423" y="830"/>
                  </a:lnTo>
                  <a:lnTo>
                    <a:pt x="2423" y="830"/>
                  </a:lnTo>
                  <a:lnTo>
                    <a:pt x="2423" y="830"/>
                  </a:lnTo>
                  <a:lnTo>
                    <a:pt x="2423" y="831"/>
                  </a:lnTo>
                  <a:lnTo>
                    <a:pt x="2423" y="834"/>
                  </a:lnTo>
                  <a:lnTo>
                    <a:pt x="2423" y="834"/>
                  </a:lnTo>
                  <a:lnTo>
                    <a:pt x="2423" y="835"/>
                  </a:lnTo>
                  <a:lnTo>
                    <a:pt x="2424" y="835"/>
                  </a:lnTo>
                  <a:lnTo>
                    <a:pt x="2424" y="835"/>
                  </a:lnTo>
                  <a:lnTo>
                    <a:pt x="2424" y="836"/>
                  </a:lnTo>
                  <a:lnTo>
                    <a:pt x="2424" y="837"/>
                  </a:lnTo>
                  <a:lnTo>
                    <a:pt x="2424" y="837"/>
                  </a:lnTo>
                  <a:lnTo>
                    <a:pt x="2424" y="838"/>
                  </a:lnTo>
                  <a:lnTo>
                    <a:pt x="2424" y="838"/>
                  </a:lnTo>
                  <a:lnTo>
                    <a:pt x="2424" y="838"/>
                  </a:lnTo>
                  <a:lnTo>
                    <a:pt x="2424" y="838"/>
                  </a:lnTo>
                  <a:lnTo>
                    <a:pt x="2424" y="839"/>
                  </a:lnTo>
                  <a:lnTo>
                    <a:pt x="2424" y="839"/>
                  </a:lnTo>
                  <a:lnTo>
                    <a:pt x="2424" y="839"/>
                  </a:lnTo>
                  <a:lnTo>
                    <a:pt x="2425" y="839"/>
                  </a:lnTo>
                  <a:lnTo>
                    <a:pt x="2425" y="842"/>
                  </a:lnTo>
                  <a:lnTo>
                    <a:pt x="2424" y="842"/>
                  </a:lnTo>
                  <a:lnTo>
                    <a:pt x="2424" y="842"/>
                  </a:lnTo>
                  <a:lnTo>
                    <a:pt x="2421" y="842"/>
                  </a:lnTo>
                  <a:lnTo>
                    <a:pt x="2421" y="842"/>
                  </a:lnTo>
                  <a:lnTo>
                    <a:pt x="2420" y="842"/>
                  </a:lnTo>
                  <a:lnTo>
                    <a:pt x="2420" y="842"/>
                  </a:lnTo>
                  <a:lnTo>
                    <a:pt x="2420" y="842"/>
                  </a:lnTo>
                  <a:lnTo>
                    <a:pt x="2420" y="842"/>
                  </a:lnTo>
                  <a:lnTo>
                    <a:pt x="2420" y="840"/>
                  </a:lnTo>
                  <a:lnTo>
                    <a:pt x="2420" y="840"/>
                  </a:lnTo>
                  <a:lnTo>
                    <a:pt x="2420" y="840"/>
                  </a:lnTo>
                  <a:lnTo>
                    <a:pt x="2416" y="840"/>
                  </a:lnTo>
                  <a:lnTo>
                    <a:pt x="2416" y="840"/>
                  </a:lnTo>
                  <a:lnTo>
                    <a:pt x="2415" y="840"/>
                  </a:lnTo>
                  <a:lnTo>
                    <a:pt x="2415" y="842"/>
                  </a:lnTo>
                  <a:lnTo>
                    <a:pt x="2414" y="842"/>
                  </a:lnTo>
                  <a:lnTo>
                    <a:pt x="2413" y="842"/>
                  </a:lnTo>
                  <a:lnTo>
                    <a:pt x="2413" y="842"/>
                  </a:lnTo>
                  <a:lnTo>
                    <a:pt x="2413" y="842"/>
                  </a:lnTo>
                  <a:lnTo>
                    <a:pt x="2412" y="842"/>
                  </a:lnTo>
                  <a:lnTo>
                    <a:pt x="2412" y="842"/>
                  </a:lnTo>
                  <a:lnTo>
                    <a:pt x="2411" y="842"/>
                  </a:lnTo>
                  <a:lnTo>
                    <a:pt x="2411" y="843"/>
                  </a:lnTo>
                  <a:lnTo>
                    <a:pt x="2411" y="843"/>
                  </a:lnTo>
                  <a:lnTo>
                    <a:pt x="2410" y="843"/>
                  </a:lnTo>
                  <a:lnTo>
                    <a:pt x="2410" y="843"/>
                  </a:lnTo>
                  <a:lnTo>
                    <a:pt x="2408" y="843"/>
                  </a:lnTo>
                  <a:lnTo>
                    <a:pt x="2408" y="843"/>
                  </a:lnTo>
                  <a:lnTo>
                    <a:pt x="2408" y="843"/>
                  </a:lnTo>
                  <a:lnTo>
                    <a:pt x="2406" y="843"/>
                  </a:lnTo>
                  <a:lnTo>
                    <a:pt x="2406" y="844"/>
                  </a:lnTo>
                  <a:lnTo>
                    <a:pt x="2406" y="844"/>
                  </a:lnTo>
                  <a:lnTo>
                    <a:pt x="2405" y="844"/>
                  </a:lnTo>
                  <a:lnTo>
                    <a:pt x="2404" y="844"/>
                  </a:lnTo>
                  <a:lnTo>
                    <a:pt x="2404" y="844"/>
                  </a:lnTo>
                  <a:lnTo>
                    <a:pt x="2403" y="844"/>
                  </a:lnTo>
                  <a:lnTo>
                    <a:pt x="2402" y="844"/>
                  </a:lnTo>
                  <a:lnTo>
                    <a:pt x="2402" y="844"/>
                  </a:lnTo>
                  <a:lnTo>
                    <a:pt x="2402" y="844"/>
                  </a:lnTo>
                  <a:lnTo>
                    <a:pt x="2400" y="844"/>
                  </a:lnTo>
                  <a:lnTo>
                    <a:pt x="2400" y="845"/>
                  </a:lnTo>
                  <a:lnTo>
                    <a:pt x="2399" y="845"/>
                  </a:lnTo>
                  <a:lnTo>
                    <a:pt x="2399" y="845"/>
                  </a:lnTo>
                  <a:lnTo>
                    <a:pt x="2399" y="845"/>
                  </a:lnTo>
                  <a:lnTo>
                    <a:pt x="2398" y="845"/>
                  </a:lnTo>
                  <a:lnTo>
                    <a:pt x="2398" y="845"/>
                  </a:lnTo>
                  <a:lnTo>
                    <a:pt x="2397" y="845"/>
                  </a:lnTo>
                  <a:lnTo>
                    <a:pt x="2395" y="845"/>
                  </a:lnTo>
                  <a:lnTo>
                    <a:pt x="2395" y="845"/>
                  </a:lnTo>
                  <a:lnTo>
                    <a:pt x="2394" y="845"/>
                  </a:lnTo>
                  <a:lnTo>
                    <a:pt x="2394" y="845"/>
                  </a:lnTo>
                  <a:lnTo>
                    <a:pt x="2394" y="845"/>
                  </a:lnTo>
                  <a:lnTo>
                    <a:pt x="2393" y="845"/>
                  </a:lnTo>
                  <a:lnTo>
                    <a:pt x="2391" y="845"/>
                  </a:lnTo>
                  <a:lnTo>
                    <a:pt x="2391" y="844"/>
                  </a:lnTo>
                  <a:lnTo>
                    <a:pt x="2390" y="844"/>
                  </a:lnTo>
                  <a:lnTo>
                    <a:pt x="2390" y="844"/>
                  </a:lnTo>
                  <a:lnTo>
                    <a:pt x="2389" y="844"/>
                  </a:lnTo>
                  <a:lnTo>
                    <a:pt x="2389" y="844"/>
                  </a:lnTo>
                  <a:lnTo>
                    <a:pt x="2389" y="844"/>
                  </a:lnTo>
                  <a:lnTo>
                    <a:pt x="2388" y="844"/>
                  </a:lnTo>
                  <a:lnTo>
                    <a:pt x="2387" y="844"/>
                  </a:lnTo>
                  <a:lnTo>
                    <a:pt x="2387" y="844"/>
                  </a:lnTo>
                  <a:lnTo>
                    <a:pt x="2386" y="844"/>
                  </a:lnTo>
                  <a:lnTo>
                    <a:pt x="2385" y="843"/>
                  </a:lnTo>
                  <a:lnTo>
                    <a:pt x="2385" y="843"/>
                  </a:lnTo>
                  <a:lnTo>
                    <a:pt x="2385" y="843"/>
                  </a:lnTo>
                  <a:lnTo>
                    <a:pt x="2383" y="843"/>
                  </a:lnTo>
                  <a:lnTo>
                    <a:pt x="2383" y="843"/>
                  </a:lnTo>
                  <a:lnTo>
                    <a:pt x="2383" y="843"/>
                  </a:lnTo>
                  <a:lnTo>
                    <a:pt x="2383" y="843"/>
                  </a:lnTo>
                  <a:lnTo>
                    <a:pt x="2383" y="843"/>
                  </a:lnTo>
                  <a:lnTo>
                    <a:pt x="2382" y="842"/>
                  </a:lnTo>
                  <a:lnTo>
                    <a:pt x="2382" y="842"/>
                  </a:lnTo>
                  <a:lnTo>
                    <a:pt x="2382" y="842"/>
                  </a:lnTo>
                  <a:lnTo>
                    <a:pt x="2381" y="842"/>
                  </a:lnTo>
                  <a:lnTo>
                    <a:pt x="2381" y="842"/>
                  </a:lnTo>
                  <a:lnTo>
                    <a:pt x="2381" y="842"/>
                  </a:lnTo>
                  <a:lnTo>
                    <a:pt x="2381" y="840"/>
                  </a:lnTo>
                  <a:lnTo>
                    <a:pt x="2380" y="840"/>
                  </a:lnTo>
                  <a:lnTo>
                    <a:pt x="2380" y="840"/>
                  </a:lnTo>
                  <a:lnTo>
                    <a:pt x="2380" y="840"/>
                  </a:lnTo>
                  <a:lnTo>
                    <a:pt x="2380" y="840"/>
                  </a:lnTo>
                  <a:lnTo>
                    <a:pt x="2379" y="840"/>
                  </a:lnTo>
                  <a:lnTo>
                    <a:pt x="2379" y="839"/>
                  </a:lnTo>
                  <a:lnTo>
                    <a:pt x="2379" y="839"/>
                  </a:lnTo>
                  <a:lnTo>
                    <a:pt x="2379" y="839"/>
                  </a:lnTo>
                  <a:lnTo>
                    <a:pt x="2379" y="839"/>
                  </a:lnTo>
                  <a:lnTo>
                    <a:pt x="2378" y="839"/>
                  </a:lnTo>
                  <a:lnTo>
                    <a:pt x="2378" y="839"/>
                  </a:lnTo>
                  <a:lnTo>
                    <a:pt x="2378" y="839"/>
                  </a:lnTo>
                  <a:lnTo>
                    <a:pt x="2377" y="838"/>
                  </a:lnTo>
                  <a:lnTo>
                    <a:pt x="2377" y="838"/>
                  </a:lnTo>
                  <a:lnTo>
                    <a:pt x="2376" y="838"/>
                  </a:lnTo>
                  <a:lnTo>
                    <a:pt x="2376" y="838"/>
                  </a:lnTo>
                  <a:lnTo>
                    <a:pt x="2376" y="838"/>
                  </a:lnTo>
                  <a:lnTo>
                    <a:pt x="2376" y="837"/>
                  </a:lnTo>
                  <a:lnTo>
                    <a:pt x="2376" y="837"/>
                  </a:lnTo>
                  <a:lnTo>
                    <a:pt x="2376" y="837"/>
                  </a:lnTo>
                  <a:lnTo>
                    <a:pt x="2374" y="837"/>
                  </a:lnTo>
                  <a:lnTo>
                    <a:pt x="2374" y="837"/>
                  </a:lnTo>
                  <a:lnTo>
                    <a:pt x="2374" y="837"/>
                  </a:lnTo>
                  <a:lnTo>
                    <a:pt x="2374" y="836"/>
                  </a:lnTo>
                  <a:lnTo>
                    <a:pt x="2374" y="836"/>
                  </a:lnTo>
                  <a:lnTo>
                    <a:pt x="2374" y="836"/>
                  </a:lnTo>
                  <a:lnTo>
                    <a:pt x="2373" y="836"/>
                  </a:lnTo>
                  <a:lnTo>
                    <a:pt x="2373" y="835"/>
                  </a:lnTo>
                  <a:lnTo>
                    <a:pt x="2373" y="835"/>
                  </a:lnTo>
                  <a:lnTo>
                    <a:pt x="2373" y="835"/>
                  </a:lnTo>
                  <a:lnTo>
                    <a:pt x="2373" y="835"/>
                  </a:lnTo>
                  <a:lnTo>
                    <a:pt x="2373" y="835"/>
                  </a:lnTo>
                  <a:lnTo>
                    <a:pt x="2373" y="834"/>
                  </a:lnTo>
                  <a:lnTo>
                    <a:pt x="2373" y="833"/>
                  </a:lnTo>
                  <a:lnTo>
                    <a:pt x="2372" y="833"/>
                  </a:lnTo>
                  <a:lnTo>
                    <a:pt x="2372" y="833"/>
                  </a:lnTo>
                  <a:lnTo>
                    <a:pt x="2372" y="833"/>
                  </a:lnTo>
                  <a:lnTo>
                    <a:pt x="2372" y="833"/>
                  </a:lnTo>
                  <a:lnTo>
                    <a:pt x="2371" y="833"/>
                  </a:lnTo>
                  <a:lnTo>
                    <a:pt x="2371" y="833"/>
                  </a:lnTo>
                  <a:lnTo>
                    <a:pt x="2370" y="833"/>
                  </a:lnTo>
                  <a:lnTo>
                    <a:pt x="2370" y="831"/>
                  </a:lnTo>
                  <a:lnTo>
                    <a:pt x="2369" y="831"/>
                  </a:lnTo>
                  <a:lnTo>
                    <a:pt x="2369" y="831"/>
                  </a:lnTo>
                  <a:lnTo>
                    <a:pt x="2369" y="831"/>
                  </a:lnTo>
                  <a:lnTo>
                    <a:pt x="2369" y="831"/>
                  </a:lnTo>
                  <a:lnTo>
                    <a:pt x="2369" y="831"/>
                  </a:lnTo>
                  <a:lnTo>
                    <a:pt x="2369" y="831"/>
                  </a:lnTo>
                  <a:lnTo>
                    <a:pt x="2366" y="831"/>
                  </a:lnTo>
                  <a:lnTo>
                    <a:pt x="2365" y="831"/>
                  </a:lnTo>
                  <a:lnTo>
                    <a:pt x="2363" y="831"/>
                  </a:lnTo>
                  <a:lnTo>
                    <a:pt x="2363" y="831"/>
                  </a:lnTo>
                  <a:lnTo>
                    <a:pt x="2362" y="831"/>
                  </a:lnTo>
                  <a:lnTo>
                    <a:pt x="2362" y="830"/>
                  </a:lnTo>
                  <a:lnTo>
                    <a:pt x="2361" y="830"/>
                  </a:lnTo>
                  <a:lnTo>
                    <a:pt x="2361" y="830"/>
                  </a:lnTo>
                  <a:lnTo>
                    <a:pt x="2361" y="830"/>
                  </a:lnTo>
                  <a:lnTo>
                    <a:pt x="2360" y="830"/>
                  </a:lnTo>
                  <a:lnTo>
                    <a:pt x="2360" y="830"/>
                  </a:lnTo>
                  <a:lnTo>
                    <a:pt x="2359" y="830"/>
                  </a:lnTo>
                  <a:lnTo>
                    <a:pt x="2359" y="829"/>
                  </a:lnTo>
                  <a:lnTo>
                    <a:pt x="2359" y="829"/>
                  </a:lnTo>
                  <a:lnTo>
                    <a:pt x="2359" y="829"/>
                  </a:lnTo>
                  <a:lnTo>
                    <a:pt x="2359" y="829"/>
                  </a:lnTo>
                  <a:lnTo>
                    <a:pt x="2359" y="829"/>
                  </a:lnTo>
                  <a:lnTo>
                    <a:pt x="2357" y="829"/>
                  </a:lnTo>
                  <a:lnTo>
                    <a:pt x="2357" y="829"/>
                  </a:lnTo>
                  <a:lnTo>
                    <a:pt x="2357" y="829"/>
                  </a:lnTo>
                  <a:lnTo>
                    <a:pt x="2357" y="828"/>
                  </a:lnTo>
                  <a:lnTo>
                    <a:pt x="2356" y="828"/>
                  </a:lnTo>
                  <a:lnTo>
                    <a:pt x="2356" y="828"/>
                  </a:lnTo>
                  <a:lnTo>
                    <a:pt x="2356" y="827"/>
                  </a:lnTo>
                  <a:lnTo>
                    <a:pt x="2356" y="827"/>
                  </a:lnTo>
                  <a:lnTo>
                    <a:pt x="2356" y="827"/>
                  </a:lnTo>
                  <a:lnTo>
                    <a:pt x="2356" y="826"/>
                  </a:lnTo>
                  <a:lnTo>
                    <a:pt x="2355" y="826"/>
                  </a:lnTo>
                  <a:lnTo>
                    <a:pt x="2355" y="825"/>
                  </a:lnTo>
                  <a:lnTo>
                    <a:pt x="2355" y="825"/>
                  </a:lnTo>
                  <a:lnTo>
                    <a:pt x="2355" y="823"/>
                  </a:lnTo>
                  <a:lnTo>
                    <a:pt x="2355" y="823"/>
                  </a:lnTo>
                  <a:lnTo>
                    <a:pt x="2355" y="822"/>
                  </a:lnTo>
                  <a:lnTo>
                    <a:pt x="2355" y="822"/>
                  </a:lnTo>
                  <a:lnTo>
                    <a:pt x="2355" y="821"/>
                  </a:lnTo>
                  <a:lnTo>
                    <a:pt x="2354" y="821"/>
                  </a:lnTo>
                  <a:lnTo>
                    <a:pt x="2354" y="819"/>
                  </a:lnTo>
                  <a:lnTo>
                    <a:pt x="2354" y="819"/>
                  </a:lnTo>
                  <a:lnTo>
                    <a:pt x="2354" y="817"/>
                  </a:lnTo>
                  <a:lnTo>
                    <a:pt x="2354" y="817"/>
                  </a:lnTo>
                  <a:lnTo>
                    <a:pt x="2354" y="816"/>
                  </a:lnTo>
                  <a:lnTo>
                    <a:pt x="2354" y="816"/>
                  </a:lnTo>
                  <a:lnTo>
                    <a:pt x="2354" y="816"/>
                  </a:lnTo>
                  <a:lnTo>
                    <a:pt x="2354" y="816"/>
                  </a:lnTo>
                  <a:lnTo>
                    <a:pt x="2354" y="816"/>
                  </a:lnTo>
                  <a:lnTo>
                    <a:pt x="2354" y="814"/>
                  </a:lnTo>
                  <a:lnTo>
                    <a:pt x="2354" y="811"/>
                  </a:lnTo>
                  <a:lnTo>
                    <a:pt x="2354" y="811"/>
                  </a:lnTo>
                  <a:lnTo>
                    <a:pt x="2354" y="810"/>
                  </a:lnTo>
                  <a:lnTo>
                    <a:pt x="2354" y="810"/>
                  </a:lnTo>
                  <a:lnTo>
                    <a:pt x="2354" y="809"/>
                  </a:lnTo>
                  <a:lnTo>
                    <a:pt x="2354" y="809"/>
                  </a:lnTo>
                  <a:lnTo>
                    <a:pt x="2354" y="809"/>
                  </a:lnTo>
                  <a:lnTo>
                    <a:pt x="2354" y="809"/>
                  </a:lnTo>
                  <a:lnTo>
                    <a:pt x="2355" y="809"/>
                  </a:lnTo>
                  <a:lnTo>
                    <a:pt x="2355" y="809"/>
                  </a:lnTo>
                  <a:lnTo>
                    <a:pt x="2355" y="809"/>
                  </a:lnTo>
                  <a:lnTo>
                    <a:pt x="2355" y="808"/>
                  </a:lnTo>
                  <a:lnTo>
                    <a:pt x="2355" y="808"/>
                  </a:lnTo>
                  <a:lnTo>
                    <a:pt x="2355" y="806"/>
                  </a:lnTo>
                  <a:lnTo>
                    <a:pt x="2355" y="806"/>
                  </a:lnTo>
                  <a:lnTo>
                    <a:pt x="2355" y="805"/>
                  </a:lnTo>
                  <a:lnTo>
                    <a:pt x="2355" y="805"/>
                  </a:lnTo>
                  <a:lnTo>
                    <a:pt x="2355" y="804"/>
                  </a:lnTo>
                  <a:lnTo>
                    <a:pt x="2355" y="804"/>
                  </a:lnTo>
                  <a:lnTo>
                    <a:pt x="2356" y="804"/>
                  </a:lnTo>
                  <a:lnTo>
                    <a:pt x="2356" y="804"/>
                  </a:lnTo>
                  <a:lnTo>
                    <a:pt x="2356" y="804"/>
                  </a:lnTo>
                  <a:lnTo>
                    <a:pt x="2357" y="804"/>
                  </a:lnTo>
                  <a:lnTo>
                    <a:pt x="2357" y="805"/>
                  </a:lnTo>
                  <a:lnTo>
                    <a:pt x="2357" y="805"/>
                  </a:lnTo>
                  <a:lnTo>
                    <a:pt x="2359" y="805"/>
                  </a:lnTo>
                  <a:lnTo>
                    <a:pt x="2359" y="806"/>
                  </a:lnTo>
                  <a:lnTo>
                    <a:pt x="2357" y="806"/>
                  </a:lnTo>
                  <a:lnTo>
                    <a:pt x="2356" y="806"/>
                  </a:lnTo>
                  <a:lnTo>
                    <a:pt x="2356" y="808"/>
                  </a:lnTo>
                  <a:lnTo>
                    <a:pt x="2357" y="808"/>
                  </a:lnTo>
                  <a:lnTo>
                    <a:pt x="2357" y="808"/>
                  </a:lnTo>
                  <a:lnTo>
                    <a:pt x="2356" y="808"/>
                  </a:lnTo>
                  <a:lnTo>
                    <a:pt x="2357" y="808"/>
                  </a:lnTo>
                  <a:lnTo>
                    <a:pt x="2357" y="808"/>
                  </a:lnTo>
                  <a:lnTo>
                    <a:pt x="2357" y="808"/>
                  </a:lnTo>
                  <a:lnTo>
                    <a:pt x="2359" y="808"/>
                  </a:lnTo>
                  <a:lnTo>
                    <a:pt x="2359" y="808"/>
                  </a:lnTo>
                  <a:lnTo>
                    <a:pt x="2359" y="806"/>
                  </a:lnTo>
                  <a:lnTo>
                    <a:pt x="2359" y="806"/>
                  </a:lnTo>
                  <a:lnTo>
                    <a:pt x="2359" y="805"/>
                  </a:lnTo>
                  <a:lnTo>
                    <a:pt x="2359" y="805"/>
                  </a:lnTo>
                  <a:lnTo>
                    <a:pt x="2359" y="805"/>
                  </a:lnTo>
                  <a:lnTo>
                    <a:pt x="2360" y="804"/>
                  </a:lnTo>
                  <a:lnTo>
                    <a:pt x="2360" y="802"/>
                  </a:lnTo>
                  <a:lnTo>
                    <a:pt x="2360" y="802"/>
                  </a:lnTo>
                  <a:lnTo>
                    <a:pt x="2360" y="802"/>
                  </a:lnTo>
                  <a:lnTo>
                    <a:pt x="2361" y="802"/>
                  </a:lnTo>
                  <a:lnTo>
                    <a:pt x="2361" y="802"/>
                  </a:lnTo>
                  <a:lnTo>
                    <a:pt x="2361" y="802"/>
                  </a:lnTo>
                  <a:lnTo>
                    <a:pt x="2361" y="802"/>
                  </a:lnTo>
                  <a:lnTo>
                    <a:pt x="2361" y="802"/>
                  </a:lnTo>
                  <a:lnTo>
                    <a:pt x="2362" y="802"/>
                  </a:lnTo>
                  <a:lnTo>
                    <a:pt x="2361" y="802"/>
                  </a:lnTo>
                  <a:lnTo>
                    <a:pt x="2361" y="802"/>
                  </a:lnTo>
                  <a:lnTo>
                    <a:pt x="2361" y="802"/>
                  </a:lnTo>
                  <a:lnTo>
                    <a:pt x="2361" y="802"/>
                  </a:lnTo>
                  <a:lnTo>
                    <a:pt x="2362" y="802"/>
                  </a:lnTo>
                  <a:lnTo>
                    <a:pt x="2362" y="801"/>
                  </a:lnTo>
                  <a:lnTo>
                    <a:pt x="2362" y="801"/>
                  </a:lnTo>
                  <a:lnTo>
                    <a:pt x="2362" y="801"/>
                  </a:lnTo>
                  <a:lnTo>
                    <a:pt x="2362" y="801"/>
                  </a:lnTo>
                  <a:lnTo>
                    <a:pt x="2361" y="801"/>
                  </a:lnTo>
                  <a:lnTo>
                    <a:pt x="2361" y="800"/>
                  </a:lnTo>
                  <a:lnTo>
                    <a:pt x="2361" y="800"/>
                  </a:lnTo>
                  <a:lnTo>
                    <a:pt x="2361" y="800"/>
                  </a:lnTo>
                  <a:lnTo>
                    <a:pt x="2361" y="800"/>
                  </a:lnTo>
                  <a:lnTo>
                    <a:pt x="2360" y="800"/>
                  </a:lnTo>
                  <a:lnTo>
                    <a:pt x="2360" y="800"/>
                  </a:lnTo>
                  <a:lnTo>
                    <a:pt x="2360" y="800"/>
                  </a:lnTo>
                  <a:lnTo>
                    <a:pt x="2360" y="799"/>
                  </a:lnTo>
                  <a:lnTo>
                    <a:pt x="2360" y="799"/>
                  </a:lnTo>
                  <a:lnTo>
                    <a:pt x="2360" y="797"/>
                  </a:lnTo>
                  <a:lnTo>
                    <a:pt x="2361" y="797"/>
                  </a:lnTo>
                  <a:lnTo>
                    <a:pt x="2361" y="797"/>
                  </a:lnTo>
                  <a:lnTo>
                    <a:pt x="2361" y="796"/>
                  </a:lnTo>
                  <a:lnTo>
                    <a:pt x="2361" y="796"/>
                  </a:lnTo>
                  <a:lnTo>
                    <a:pt x="2361" y="796"/>
                  </a:lnTo>
                  <a:lnTo>
                    <a:pt x="2361" y="796"/>
                  </a:lnTo>
                  <a:lnTo>
                    <a:pt x="2361" y="796"/>
                  </a:lnTo>
                  <a:lnTo>
                    <a:pt x="2362" y="796"/>
                  </a:lnTo>
                  <a:lnTo>
                    <a:pt x="2362" y="795"/>
                  </a:lnTo>
                  <a:lnTo>
                    <a:pt x="2362" y="795"/>
                  </a:lnTo>
                  <a:lnTo>
                    <a:pt x="2362" y="794"/>
                  </a:lnTo>
                  <a:lnTo>
                    <a:pt x="2362" y="794"/>
                  </a:lnTo>
                  <a:lnTo>
                    <a:pt x="2362" y="794"/>
                  </a:lnTo>
                  <a:lnTo>
                    <a:pt x="2362" y="793"/>
                  </a:lnTo>
                  <a:lnTo>
                    <a:pt x="2362" y="793"/>
                  </a:lnTo>
                  <a:lnTo>
                    <a:pt x="2362" y="793"/>
                  </a:lnTo>
                  <a:lnTo>
                    <a:pt x="2362" y="793"/>
                  </a:lnTo>
                  <a:lnTo>
                    <a:pt x="2362" y="793"/>
                  </a:lnTo>
                  <a:lnTo>
                    <a:pt x="2362" y="792"/>
                  </a:lnTo>
                  <a:lnTo>
                    <a:pt x="2362" y="792"/>
                  </a:lnTo>
                  <a:lnTo>
                    <a:pt x="2362" y="792"/>
                  </a:lnTo>
                  <a:lnTo>
                    <a:pt x="2362" y="792"/>
                  </a:lnTo>
                  <a:lnTo>
                    <a:pt x="2363" y="792"/>
                  </a:lnTo>
                  <a:lnTo>
                    <a:pt x="2363" y="791"/>
                  </a:lnTo>
                  <a:lnTo>
                    <a:pt x="2362" y="791"/>
                  </a:lnTo>
                  <a:lnTo>
                    <a:pt x="2362" y="791"/>
                  </a:lnTo>
                  <a:lnTo>
                    <a:pt x="2362" y="791"/>
                  </a:lnTo>
                  <a:lnTo>
                    <a:pt x="2362" y="789"/>
                  </a:lnTo>
                  <a:lnTo>
                    <a:pt x="2362" y="789"/>
                  </a:lnTo>
                  <a:lnTo>
                    <a:pt x="2362" y="789"/>
                  </a:lnTo>
                  <a:lnTo>
                    <a:pt x="2363" y="789"/>
                  </a:lnTo>
                  <a:lnTo>
                    <a:pt x="2363" y="788"/>
                  </a:lnTo>
                  <a:lnTo>
                    <a:pt x="2363" y="788"/>
                  </a:lnTo>
                  <a:lnTo>
                    <a:pt x="2363" y="788"/>
                  </a:lnTo>
                  <a:lnTo>
                    <a:pt x="2363" y="788"/>
                  </a:lnTo>
                  <a:lnTo>
                    <a:pt x="2363" y="787"/>
                  </a:lnTo>
                  <a:lnTo>
                    <a:pt x="2364" y="787"/>
                  </a:lnTo>
                  <a:lnTo>
                    <a:pt x="2364" y="787"/>
                  </a:lnTo>
                  <a:lnTo>
                    <a:pt x="2364" y="787"/>
                  </a:lnTo>
                  <a:lnTo>
                    <a:pt x="2364" y="787"/>
                  </a:lnTo>
                  <a:lnTo>
                    <a:pt x="2365" y="787"/>
                  </a:lnTo>
                  <a:lnTo>
                    <a:pt x="2365" y="787"/>
                  </a:lnTo>
                  <a:lnTo>
                    <a:pt x="2365" y="787"/>
                  </a:lnTo>
                  <a:lnTo>
                    <a:pt x="2365" y="787"/>
                  </a:lnTo>
                  <a:lnTo>
                    <a:pt x="2366" y="787"/>
                  </a:lnTo>
                  <a:lnTo>
                    <a:pt x="2366" y="786"/>
                  </a:lnTo>
                  <a:lnTo>
                    <a:pt x="2368" y="786"/>
                  </a:lnTo>
                  <a:lnTo>
                    <a:pt x="2368" y="786"/>
                  </a:lnTo>
                  <a:lnTo>
                    <a:pt x="2368" y="786"/>
                  </a:lnTo>
                  <a:lnTo>
                    <a:pt x="2368" y="786"/>
                  </a:lnTo>
                  <a:lnTo>
                    <a:pt x="2368" y="785"/>
                  </a:lnTo>
                  <a:lnTo>
                    <a:pt x="2368" y="785"/>
                  </a:lnTo>
                  <a:lnTo>
                    <a:pt x="2368" y="785"/>
                  </a:lnTo>
                  <a:lnTo>
                    <a:pt x="2369" y="785"/>
                  </a:lnTo>
                  <a:lnTo>
                    <a:pt x="2369" y="785"/>
                  </a:lnTo>
                  <a:lnTo>
                    <a:pt x="2369" y="785"/>
                  </a:lnTo>
                  <a:lnTo>
                    <a:pt x="2370" y="786"/>
                  </a:lnTo>
                  <a:lnTo>
                    <a:pt x="2370" y="786"/>
                  </a:lnTo>
                  <a:lnTo>
                    <a:pt x="2370" y="786"/>
                  </a:lnTo>
                  <a:lnTo>
                    <a:pt x="2370" y="786"/>
                  </a:lnTo>
                  <a:lnTo>
                    <a:pt x="2370" y="786"/>
                  </a:lnTo>
                  <a:lnTo>
                    <a:pt x="2370" y="785"/>
                  </a:lnTo>
                  <a:lnTo>
                    <a:pt x="2371" y="785"/>
                  </a:lnTo>
                  <a:lnTo>
                    <a:pt x="2371" y="786"/>
                  </a:lnTo>
                  <a:lnTo>
                    <a:pt x="2371" y="786"/>
                  </a:lnTo>
                  <a:lnTo>
                    <a:pt x="2371" y="785"/>
                  </a:lnTo>
                  <a:lnTo>
                    <a:pt x="2372" y="785"/>
                  </a:lnTo>
                  <a:lnTo>
                    <a:pt x="2372" y="786"/>
                  </a:lnTo>
                  <a:lnTo>
                    <a:pt x="2373" y="786"/>
                  </a:lnTo>
                  <a:lnTo>
                    <a:pt x="2373" y="786"/>
                  </a:lnTo>
                  <a:lnTo>
                    <a:pt x="2373" y="786"/>
                  </a:lnTo>
                  <a:lnTo>
                    <a:pt x="2374" y="786"/>
                  </a:lnTo>
                  <a:lnTo>
                    <a:pt x="2374" y="786"/>
                  </a:lnTo>
                  <a:lnTo>
                    <a:pt x="2374" y="786"/>
                  </a:lnTo>
                  <a:lnTo>
                    <a:pt x="2374" y="786"/>
                  </a:lnTo>
                  <a:lnTo>
                    <a:pt x="2374" y="787"/>
                  </a:lnTo>
                  <a:lnTo>
                    <a:pt x="2374" y="787"/>
                  </a:lnTo>
                  <a:lnTo>
                    <a:pt x="2374" y="787"/>
                  </a:lnTo>
                  <a:lnTo>
                    <a:pt x="2376" y="787"/>
                  </a:lnTo>
                  <a:lnTo>
                    <a:pt x="2376" y="787"/>
                  </a:lnTo>
                  <a:lnTo>
                    <a:pt x="2374" y="787"/>
                  </a:lnTo>
                  <a:lnTo>
                    <a:pt x="2374" y="785"/>
                  </a:lnTo>
                  <a:lnTo>
                    <a:pt x="2374" y="785"/>
                  </a:lnTo>
                  <a:lnTo>
                    <a:pt x="2374" y="785"/>
                  </a:lnTo>
                  <a:lnTo>
                    <a:pt x="2374" y="785"/>
                  </a:lnTo>
                  <a:lnTo>
                    <a:pt x="2374" y="784"/>
                  </a:lnTo>
                  <a:lnTo>
                    <a:pt x="2373" y="784"/>
                  </a:lnTo>
                  <a:lnTo>
                    <a:pt x="2373" y="784"/>
                  </a:lnTo>
                  <a:lnTo>
                    <a:pt x="2373" y="784"/>
                  </a:lnTo>
                  <a:lnTo>
                    <a:pt x="2373" y="784"/>
                  </a:lnTo>
                  <a:lnTo>
                    <a:pt x="2373" y="784"/>
                  </a:lnTo>
                  <a:lnTo>
                    <a:pt x="2373" y="783"/>
                  </a:lnTo>
                  <a:lnTo>
                    <a:pt x="2373" y="783"/>
                  </a:lnTo>
                  <a:lnTo>
                    <a:pt x="2372" y="783"/>
                  </a:lnTo>
                  <a:lnTo>
                    <a:pt x="2372" y="783"/>
                  </a:lnTo>
                  <a:lnTo>
                    <a:pt x="2371" y="783"/>
                  </a:lnTo>
                  <a:lnTo>
                    <a:pt x="2371" y="783"/>
                  </a:lnTo>
                  <a:lnTo>
                    <a:pt x="2371" y="783"/>
                  </a:lnTo>
                  <a:lnTo>
                    <a:pt x="2371" y="783"/>
                  </a:lnTo>
                  <a:lnTo>
                    <a:pt x="2371" y="782"/>
                  </a:lnTo>
                  <a:lnTo>
                    <a:pt x="2371" y="782"/>
                  </a:lnTo>
                  <a:lnTo>
                    <a:pt x="2369" y="782"/>
                  </a:lnTo>
                  <a:lnTo>
                    <a:pt x="2368" y="782"/>
                  </a:lnTo>
                  <a:lnTo>
                    <a:pt x="2366" y="782"/>
                  </a:lnTo>
                  <a:lnTo>
                    <a:pt x="2366" y="782"/>
                  </a:lnTo>
                  <a:lnTo>
                    <a:pt x="2365" y="782"/>
                  </a:lnTo>
                  <a:lnTo>
                    <a:pt x="2365" y="782"/>
                  </a:lnTo>
                  <a:lnTo>
                    <a:pt x="2365" y="782"/>
                  </a:lnTo>
                  <a:lnTo>
                    <a:pt x="2365" y="782"/>
                  </a:lnTo>
                  <a:lnTo>
                    <a:pt x="2364" y="782"/>
                  </a:lnTo>
                  <a:lnTo>
                    <a:pt x="2364" y="780"/>
                  </a:lnTo>
                  <a:lnTo>
                    <a:pt x="2364" y="780"/>
                  </a:lnTo>
                  <a:lnTo>
                    <a:pt x="2363" y="780"/>
                  </a:lnTo>
                  <a:lnTo>
                    <a:pt x="2363" y="780"/>
                  </a:lnTo>
                  <a:lnTo>
                    <a:pt x="2363" y="780"/>
                  </a:lnTo>
                  <a:lnTo>
                    <a:pt x="2363" y="779"/>
                  </a:lnTo>
                  <a:lnTo>
                    <a:pt x="2363" y="779"/>
                  </a:lnTo>
                  <a:lnTo>
                    <a:pt x="2363" y="778"/>
                  </a:lnTo>
                  <a:lnTo>
                    <a:pt x="2363" y="778"/>
                  </a:lnTo>
                  <a:lnTo>
                    <a:pt x="2363" y="778"/>
                  </a:lnTo>
                  <a:lnTo>
                    <a:pt x="2363" y="778"/>
                  </a:lnTo>
                  <a:lnTo>
                    <a:pt x="2363" y="778"/>
                  </a:lnTo>
                  <a:lnTo>
                    <a:pt x="2362" y="778"/>
                  </a:lnTo>
                  <a:lnTo>
                    <a:pt x="2362" y="777"/>
                  </a:lnTo>
                  <a:lnTo>
                    <a:pt x="2362" y="777"/>
                  </a:lnTo>
                  <a:lnTo>
                    <a:pt x="2362" y="777"/>
                  </a:lnTo>
                  <a:lnTo>
                    <a:pt x="2361" y="777"/>
                  </a:lnTo>
                  <a:lnTo>
                    <a:pt x="2361" y="777"/>
                  </a:lnTo>
                  <a:lnTo>
                    <a:pt x="2361" y="777"/>
                  </a:lnTo>
                  <a:lnTo>
                    <a:pt x="2361" y="776"/>
                  </a:lnTo>
                  <a:lnTo>
                    <a:pt x="2361" y="776"/>
                  </a:lnTo>
                  <a:lnTo>
                    <a:pt x="2361" y="776"/>
                  </a:lnTo>
                  <a:lnTo>
                    <a:pt x="2361" y="776"/>
                  </a:lnTo>
                  <a:lnTo>
                    <a:pt x="2360" y="776"/>
                  </a:lnTo>
                  <a:lnTo>
                    <a:pt x="2360" y="776"/>
                  </a:lnTo>
                  <a:lnTo>
                    <a:pt x="2360" y="776"/>
                  </a:lnTo>
                  <a:lnTo>
                    <a:pt x="2360" y="775"/>
                  </a:lnTo>
                  <a:lnTo>
                    <a:pt x="2360" y="775"/>
                  </a:lnTo>
                  <a:lnTo>
                    <a:pt x="2360" y="775"/>
                  </a:lnTo>
                  <a:lnTo>
                    <a:pt x="2360" y="775"/>
                  </a:lnTo>
                  <a:lnTo>
                    <a:pt x="2359" y="775"/>
                  </a:lnTo>
                  <a:lnTo>
                    <a:pt x="2359" y="775"/>
                  </a:lnTo>
                  <a:lnTo>
                    <a:pt x="2359" y="774"/>
                  </a:lnTo>
                  <a:lnTo>
                    <a:pt x="2359" y="774"/>
                  </a:lnTo>
                  <a:lnTo>
                    <a:pt x="2359" y="774"/>
                  </a:lnTo>
                  <a:lnTo>
                    <a:pt x="2359" y="772"/>
                  </a:lnTo>
                  <a:lnTo>
                    <a:pt x="2359" y="772"/>
                  </a:lnTo>
                  <a:lnTo>
                    <a:pt x="2357" y="769"/>
                  </a:lnTo>
                  <a:lnTo>
                    <a:pt x="2357" y="769"/>
                  </a:lnTo>
                  <a:lnTo>
                    <a:pt x="2357" y="769"/>
                  </a:lnTo>
                  <a:lnTo>
                    <a:pt x="2357" y="769"/>
                  </a:lnTo>
                  <a:lnTo>
                    <a:pt x="2356" y="768"/>
                  </a:lnTo>
                  <a:lnTo>
                    <a:pt x="2356" y="768"/>
                  </a:lnTo>
                  <a:lnTo>
                    <a:pt x="2356" y="768"/>
                  </a:lnTo>
                  <a:lnTo>
                    <a:pt x="2356" y="768"/>
                  </a:lnTo>
                  <a:lnTo>
                    <a:pt x="2356" y="768"/>
                  </a:lnTo>
                  <a:lnTo>
                    <a:pt x="2356" y="768"/>
                  </a:lnTo>
                  <a:lnTo>
                    <a:pt x="2356" y="768"/>
                  </a:lnTo>
                  <a:lnTo>
                    <a:pt x="2355" y="768"/>
                  </a:lnTo>
                  <a:lnTo>
                    <a:pt x="2355" y="767"/>
                  </a:lnTo>
                  <a:lnTo>
                    <a:pt x="2355" y="767"/>
                  </a:lnTo>
                  <a:lnTo>
                    <a:pt x="2355" y="767"/>
                  </a:lnTo>
                  <a:lnTo>
                    <a:pt x="2355" y="767"/>
                  </a:lnTo>
                  <a:lnTo>
                    <a:pt x="2355" y="767"/>
                  </a:lnTo>
                  <a:lnTo>
                    <a:pt x="2355" y="767"/>
                  </a:lnTo>
                  <a:lnTo>
                    <a:pt x="2354" y="766"/>
                  </a:lnTo>
                  <a:lnTo>
                    <a:pt x="2354" y="766"/>
                  </a:lnTo>
                  <a:lnTo>
                    <a:pt x="2354" y="766"/>
                  </a:lnTo>
                  <a:lnTo>
                    <a:pt x="2354" y="766"/>
                  </a:lnTo>
                  <a:lnTo>
                    <a:pt x="2354" y="766"/>
                  </a:lnTo>
                  <a:lnTo>
                    <a:pt x="2354" y="765"/>
                  </a:lnTo>
                  <a:lnTo>
                    <a:pt x="2354" y="765"/>
                  </a:lnTo>
                  <a:lnTo>
                    <a:pt x="2354" y="765"/>
                  </a:lnTo>
                  <a:lnTo>
                    <a:pt x="2353" y="765"/>
                  </a:lnTo>
                  <a:lnTo>
                    <a:pt x="2353" y="763"/>
                  </a:lnTo>
                  <a:lnTo>
                    <a:pt x="2353" y="763"/>
                  </a:lnTo>
                  <a:lnTo>
                    <a:pt x="2353" y="763"/>
                  </a:lnTo>
                  <a:lnTo>
                    <a:pt x="2353" y="763"/>
                  </a:lnTo>
                  <a:lnTo>
                    <a:pt x="2353" y="763"/>
                  </a:lnTo>
                  <a:lnTo>
                    <a:pt x="2352" y="761"/>
                  </a:lnTo>
                  <a:lnTo>
                    <a:pt x="2352" y="761"/>
                  </a:lnTo>
                  <a:lnTo>
                    <a:pt x="2352" y="761"/>
                  </a:lnTo>
                  <a:lnTo>
                    <a:pt x="2351" y="761"/>
                  </a:lnTo>
                  <a:lnTo>
                    <a:pt x="2351" y="761"/>
                  </a:lnTo>
                  <a:lnTo>
                    <a:pt x="2351" y="761"/>
                  </a:lnTo>
                  <a:lnTo>
                    <a:pt x="2351" y="761"/>
                  </a:lnTo>
                  <a:lnTo>
                    <a:pt x="2351" y="761"/>
                  </a:lnTo>
                  <a:lnTo>
                    <a:pt x="2349" y="761"/>
                  </a:lnTo>
                  <a:lnTo>
                    <a:pt x="2349" y="760"/>
                  </a:lnTo>
                  <a:lnTo>
                    <a:pt x="2349" y="760"/>
                  </a:lnTo>
                  <a:lnTo>
                    <a:pt x="2349" y="760"/>
                  </a:lnTo>
                  <a:lnTo>
                    <a:pt x="2349" y="760"/>
                  </a:lnTo>
                  <a:lnTo>
                    <a:pt x="2349" y="760"/>
                  </a:lnTo>
                  <a:lnTo>
                    <a:pt x="2348" y="760"/>
                  </a:lnTo>
                  <a:lnTo>
                    <a:pt x="2347" y="759"/>
                  </a:lnTo>
                  <a:lnTo>
                    <a:pt x="2347" y="759"/>
                  </a:lnTo>
                  <a:lnTo>
                    <a:pt x="2347" y="759"/>
                  </a:lnTo>
                  <a:lnTo>
                    <a:pt x="2347" y="759"/>
                  </a:lnTo>
                  <a:lnTo>
                    <a:pt x="2347" y="758"/>
                  </a:lnTo>
                  <a:lnTo>
                    <a:pt x="2347" y="758"/>
                  </a:lnTo>
                  <a:lnTo>
                    <a:pt x="2347" y="757"/>
                  </a:lnTo>
                  <a:lnTo>
                    <a:pt x="2346" y="757"/>
                  </a:lnTo>
                  <a:lnTo>
                    <a:pt x="2346" y="757"/>
                  </a:lnTo>
                  <a:lnTo>
                    <a:pt x="2346" y="757"/>
                  </a:lnTo>
                  <a:lnTo>
                    <a:pt x="2346" y="757"/>
                  </a:lnTo>
                  <a:lnTo>
                    <a:pt x="2346" y="757"/>
                  </a:lnTo>
                  <a:lnTo>
                    <a:pt x="2345" y="757"/>
                  </a:lnTo>
                  <a:lnTo>
                    <a:pt x="2345" y="756"/>
                  </a:lnTo>
                  <a:lnTo>
                    <a:pt x="2345" y="756"/>
                  </a:lnTo>
                  <a:lnTo>
                    <a:pt x="2345" y="756"/>
                  </a:lnTo>
                  <a:lnTo>
                    <a:pt x="2345" y="756"/>
                  </a:lnTo>
                  <a:lnTo>
                    <a:pt x="2345" y="754"/>
                  </a:lnTo>
                  <a:lnTo>
                    <a:pt x="2345" y="754"/>
                  </a:lnTo>
                  <a:lnTo>
                    <a:pt x="2345" y="754"/>
                  </a:lnTo>
                  <a:lnTo>
                    <a:pt x="2345" y="754"/>
                  </a:lnTo>
                  <a:lnTo>
                    <a:pt x="2344" y="753"/>
                  </a:lnTo>
                  <a:lnTo>
                    <a:pt x="2344" y="753"/>
                  </a:lnTo>
                  <a:lnTo>
                    <a:pt x="2344" y="753"/>
                  </a:lnTo>
                  <a:lnTo>
                    <a:pt x="2344" y="753"/>
                  </a:lnTo>
                  <a:lnTo>
                    <a:pt x="2344" y="753"/>
                  </a:lnTo>
                  <a:lnTo>
                    <a:pt x="2344" y="752"/>
                  </a:lnTo>
                  <a:lnTo>
                    <a:pt x="2343" y="752"/>
                  </a:lnTo>
                  <a:lnTo>
                    <a:pt x="2343" y="752"/>
                  </a:lnTo>
                  <a:lnTo>
                    <a:pt x="2343" y="752"/>
                  </a:lnTo>
                  <a:lnTo>
                    <a:pt x="2343" y="752"/>
                  </a:lnTo>
                  <a:lnTo>
                    <a:pt x="2343" y="752"/>
                  </a:lnTo>
                  <a:lnTo>
                    <a:pt x="2343" y="752"/>
                  </a:lnTo>
                  <a:lnTo>
                    <a:pt x="2342" y="751"/>
                  </a:lnTo>
                  <a:lnTo>
                    <a:pt x="2342" y="751"/>
                  </a:lnTo>
                  <a:lnTo>
                    <a:pt x="2342" y="751"/>
                  </a:lnTo>
                  <a:lnTo>
                    <a:pt x="2342" y="751"/>
                  </a:lnTo>
                  <a:lnTo>
                    <a:pt x="2342" y="751"/>
                  </a:lnTo>
                  <a:lnTo>
                    <a:pt x="2342" y="751"/>
                  </a:lnTo>
                  <a:lnTo>
                    <a:pt x="2342" y="750"/>
                  </a:lnTo>
                  <a:lnTo>
                    <a:pt x="2340" y="750"/>
                  </a:lnTo>
                  <a:lnTo>
                    <a:pt x="2340" y="750"/>
                  </a:lnTo>
                  <a:lnTo>
                    <a:pt x="2340" y="749"/>
                  </a:lnTo>
                  <a:lnTo>
                    <a:pt x="2340" y="749"/>
                  </a:lnTo>
                  <a:lnTo>
                    <a:pt x="2340" y="749"/>
                  </a:lnTo>
                  <a:lnTo>
                    <a:pt x="2340" y="749"/>
                  </a:lnTo>
                  <a:lnTo>
                    <a:pt x="2340" y="749"/>
                  </a:lnTo>
                  <a:lnTo>
                    <a:pt x="2339" y="749"/>
                  </a:lnTo>
                  <a:lnTo>
                    <a:pt x="2339" y="748"/>
                  </a:lnTo>
                  <a:lnTo>
                    <a:pt x="2339" y="748"/>
                  </a:lnTo>
                  <a:lnTo>
                    <a:pt x="2338" y="748"/>
                  </a:lnTo>
                  <a:lnTo>
                    <a:pt x="2338" y="748"/>
                  </a:lnTo>
                  <a:lnTo>
                    <a:pt x="2338" y="748"/>
                  </a:lnTo>
                  <a:lnTo>
                    <a:pt x="2338" y="746"/>
                  </a:lnTo>
                  <a:lnTo>
                    <a:pt x="2338" y="746"/>
                  </a:lnTo>
                  <a:lnTo>
                    <a:pt x="2338" y="746"/>
                  </a:lnTo>
                  <a:lnTo>
                    <a:pt x="2338" y="745"/>
                  </a:lnTo>
                  <a:lnTo>
                    <a:pt x="2337" y="744"/>
                  </a:lnTo>
                  <a:lnTo>
                    <a:pt x="2337" y="744"/>
                  </a:lnTo>
                  <a:lnTo>
                    <a:pt x="2337" y="744"/>
                  </a:lnTo>
                  <a:lnTo>
                    <a:pt x="2337" y="744"/>
                  </a:lnTo>
                  <a:lnTo>
                    <a:pt x="2337" y="744"/>
                  </a:lnTo>
                  <a:lnTo>
                    <a:pt x="2337" y="743"/>
                  </a:lnTo>
                  <a:lnTo>
                    <a:pt x="2337" y="743"/>
                  </a:lnTo>
                  <a:lnTo>
                    <a:pt x="2336" y="743"/>
                  </a:lnTo>
                  <a:lnTo>
                    <a:pt x="2336" y="742"/>
                  </a:lnTo>
                  <a:lnTo>
                    <a:pt x="2336" y="742"/>
                  </a:lnTo>
                  <a:lnTo>
                    <a:pt x="2336" y="742"/>
                  </a:lnTo>
                  <a:lnTo>
                    <a:pt x="2335" y="742"/>
                  </a:lnTo>
                  <a:lnTo>
                    <a:pt x="2335" y="742"/>
                  </a:lnTo>
                  <a:lnTo>
                    <a:pt x="2335" y="741"/>
                  </a:lnTo>
                  <a:lnTo>
                    <a:pt x="2335" y="740"/>
                  </a:lnTo>
                  <a:lnTo>
                    <a:pt x="2335" y="737"/>
                  </a:lnTo>
                  <a:lnTo>
                    <a:pt x="2335" y="735"/>
                  </a:lnTo>
                  <a:lnTo>
                    <a:pt x="2336" y="732"/>
                  </a:lnTo>
                  <a:lnTo>
                    <a:pt x="2336" y="729"/>
                  </a:lnTo>
                  <a:lnTo>
                    <a:pt x="2337" y="727"/>
                  </a:lnTo>
                  <a:lnTo>
                    <a:pt x="2337" y="727"/>
                  </a:lnTo>
                  <a:lnTo>
                    <a:pt x="2336" y="728"/>
                  </a:lnTo>
                  <a:lnTo>
                    <a:pt x="2336" y="729"/>
                  </a:lnTo>
                  <a:lnTo>
                    <a:pt x="2336" y="729"/>
                  </a:lnTo>
                  <a:lnTo>
                    <a:pt x="2336" y="731"/>
                  </a:lnTo>
                  <a:lnTo>
                    <a:pt x="2336" y="731"/>
                  </a:lnTo>
                  <a:lnTo>
                    <a:pt x="2336" y="731"/>
                  </a:lnTo>
                  <a:lnTo>
                    <a:pt x="2336" y="731"/>
                  </a:lnTo>
                  <a:lnTo>
                    <a:pt x="2336" y="731"/>
                  </a:lnTo>
                  <a:lnTo>
                    <a:pt x="2336" y="731"/>
                  </a:lnTo>
                  <a:lnTo>
                    <a:pt x="2335" y="731"/>
                  </a:lnTo>
                  <a:lnTo>
                    <a:pt x="2335" y="732"/>
                  </a:lnTo>
                  <a:lnTo>
                    <a:pt x="2335" y="733"/>
                  </a:lnTo>
                  <a:lnTo>
                    <a:pt x="2335" y="734"/>
                  </a:lnTo>
                  <a:lnTo>
                    <a:pt x="2335" y="734"/>
                  </a:lnTo>
                  <a:lnTo>
                    <a:pt x="2335" y="734"/>
                  </a:lnTo>
                  <a:lnTo>
                    <a:pt x="2335" y="734"/>
                  </a:lnTo>
                  <a:lnTo>
                    <a:pt x="2335" y="734"/>
                  </a:lnTo>
                  <a:lnTo>
                    <a:pt x="2334" y="734"/>
                  </a:lnTo>
                  <a:lnTo>
                    <a:pt x="2334" y="733"/>
                  </a:lnTo>
                  <a:lnTo>
                    <a:pt x="2334" y="733"/>
                  </a:lnTo>
                  <a:lnTo>
                    <a:pt x="2334" y="733"/>
                  </a:lnTo>
                  <a:lnTo>
                    <a:pt x="2334" y="732"/>
                  </a:lnTo>
                  <a:lnTo>
                    <a:pt x="2334" y="732"/>
                  </a:lnTo>
                  <a:lnTo>
                    <a:pt x="2334" y="732"/>
                  </a:lnTo>
                  <a:lnTo>
                    <a:pt x="2334" y="732"/>
                  </a:lnTo>
                  <a:lnTo>
                    <a:pt x="2334" y="732"/>
                  </a:lnTo>
                  <a:lnTo>
                    <a:pt x="2335" y="732"/>
                  </a:lnTo>
                  <a:lnTo>
                    <a:pt x="2335" y="731"/>
                  </a:lnTo>
                  <a:lnTo>
                    <a:pt x="2335" y="731"/>
                  </a:lnTo>
                  <a:lnTo>
                    <a:pt x="2335" y="731"/>
                  </a:lnTo>
                  <a:lnTo>
                    <a:pt x="2335" y="731"/>
                  </a:lnTo>
                  <a:lnTo>
                    <a:pt x="2335" y="729"/>
                  </a:lnTo>
                  <a:lnTo>
                    <a:pt x="2335" y="729"/>
                  </a:lnTo>
                  <a:lnTo>
                    <a:pt x="2335" y="729"/>
                  </a:lnTo>
                  <a:lnTo>
                    <a:pt x="2335" y="728"/>
                  </a:lnTo>
                  <a:lnTo>
                    <a:pt x="2335" y="728"/>
                  </a:lnTo>
                  <a:lnTo>
                    <a:pt x="2335" y="728"/>
                  </a:lnTo>
                  <a:lnTo>
                    <a:pt x="2335" y="728"/>
                  </a:lnTo>
                  <a:lnTo>
                    <a:pt x="2335" y="728"/>
                  </a:lnTo>
                  <a:lnTo>
                    <a:pt x="2335" y="728"/>
                  </a:lnTo>
                  <a:lnTo>
                    <a:pt x="2335" y="727"/>
                  </a:lnTo>
                  <a:lnTo>
                    <a:pt x="2335" y="727"/>
                  </a:lnTo>
                  <a:lnTo>
                    <a:pt x="2335" y="727"/>
                  </a:lnTo>
                  <a:lnTo>
                    <a:pt x="2335" y="726"/>
                  </a:lnTo>
                  <a:lnTo>
                    <a:pt x="2334" y="726"/>
                  </a:lnTo>
                  <a:lnTo>
                    <a:pt x="2334" y="726"/>
                  </a:lnTo>
                  <a:lnTo>
                    <a:pt x="2334" y="726"/>
                  </a:lnTo>
                  <a:lnTo>
                    <a:pt x="2334" y="726"/>
                  </a:lnTo>
                  <a:lnTo>
                    <a:pt x="2334" y="725"/>
                  </a:lnTo>
                  <a:lnTo>
                    <a:pt x="2334" y="725"/>
                  </a:lnTo>
                  <a:lnTo>
                    <a:pt x="2334" y="725"/>
                  </a:lnTo>
                  <a:lnTo>
                    <a:pt x="2333" y="725"/>
                  </a:lnTo>
                  <a:lnTo>
                    <a:pt x="2333" y="724"/>
                  </a:lnTo>
                  <a:lnTo>
                    <a:pt x="2333" y="724"/>
                  </a:lnTo>
                  <a:lnTo>
                    <a:pt x="2333" y="724"/>
                  </a:lnTo>
                  <a:lnTo>
                    <a:pt x="2333" y="723"/>
                  </a:lnTo>
                  <a:lnTo>
                    <a:pt x="2333" y="723"/>
                  </a:lnTo>
                  <a:lnTo>
                    <a:pt x="2333" y="723"/>
                  </a:lnTo>
                  <a:lnTo>
                    <a:pt x="2331" y="722"/>
                  </a:lnTo>
                  <a:lnTo>
                    <a:pt x="2331" y="722"/>
                  </a:lnTo>
                  <a:lnTo>
                    <a:pt x="2331" y="722"/>
                  </a:lnTo>
                  <a:lnTo>
                    <a:pt x="2331" y="722"/>
                  </a:lnTo>
                  <a:lnTo>
                    <a:pt x="2331" y="722"/>
                  </a:lnTo>
                  <a:lnTo>
                    <a:pt x="2330" y="722"/>
                  </a:lnTo>
                  <a:lnTo>
                    <a:pt x="2330" y="722"/>
                  </a:lnTo>
                  <a:lnTo>
                    <a:pt x="2330" y="722"/>
                  </a:lnTo>
                  <a:lnTo>
                    <a:pt x="2330" y="722"/>
                  </a:lnTo>
                  <a:lnTo>
                    <a:pt x="2330" y="722"/>
                  </a:lnTo>
                  <a:lnTo>
                    <a:pt x="2330" y="722"/>
                  </a:lnTo>
                  <a:lnTo>
                    <a:pt x="2329" y="722"/>
                  </a:lnTo>
                  <a:lnTo>
                    <a:pt x="2329" y="720"/>
                  </a:lnTo>
                  <a:lnTo>
                    <a:pt x="2329" y="720"/>
                  </a:lnTo>
                  <a:lnTo>
                    <a:pt x="2328" y="719"/>
                  </a:lnTo>
                  <a:lnTo>
                    <a:pt x="2328" y="719"/>
                  </a:lnTo>
                  <a:lnTo>
                    <a:pt x="2328" y="719"/>
                  </a:lnTo>
                  <a:lnTo>
                    <a:pt x="2327" y="719"/>
                  </a:lnTo>
                  <a:lnTo>
                    <a:pt x="2327" y="718"/>
                  </a:lnTo>
                  <a:lnTo>
                    <a:pt x="2326" y="718"/>
                  </a:lnTo>
                  <a:lnTo>
                    <a:pt x="2326" y="719"/>
                  </a:lnTo>
                  <a:lnTo>
                    <a:pt x="2326" y="719"/>
                  </a:lnTo>
                  <a:lnTo>
                    <a:pt x="2326" y="718"/>
                  </a:lnTo>
                  <a:lnTo>
                    <a:pt x="2326" y="718"/>
                  </a:lnTo>
                  <a:lnTo>
                    <a:pt x="2325" y="718"/>
                  </a:lnTo>
                  <a:lnTo>
                    <a:pt x="2325" y="718"/>
                  </a:lnTo>
                  <a:lnTo>
                    <a:pt x="2325" y="718"/>
                  </a:lnTo>
                  <a:lnTo>
                    <a:pt x="2325" y="717"/>
                  </a:lnTo>
                  <a:lnTo>
                    <a:pt x="2325" y="717"/>
                  </a:lnTo>
                  <a:lnTo>
                    <a:pt x="2325" y="717"/>
                  </a:lnTo>
                  <a:lnTo>
                    <a:pt x="2323" y="717"/>
                  </a:lnTo>
                  <a:lnTo>
                    <a:pt x="2325" y="716"/>
                  </a:lnTo>
                  <a:lnTo>
                    <a:pt x="2325" y="716"/>
                  </a:lnTo>
                  <a:lnTo>
                    <a:pt x="2325" y="716"/>
                  </a:lnTo>
                  <a:lnTo>
                    <a:pt x="2325" y="716"/>
                  </a:lnTo>
                  <a:lnTo>
                    <a:pt x="2325" y="716"/>
                  </a:lnTo>
                  <a:lnTo>
                    <a:pt x="2325" y="716"/>
                  </a:lnTo>
                  <a:lnTo>
                    <a:pt x="2325" y="716"/>
                  </a:lnTo>
                  <a:lnTo>
                    <a:pt x="2325" y="716"/>
                  </a:lnTo>
                  <a:lnTo>
                    <a:pt x="2325" y="715"/>
                  </a:lnTo>
                  <a:lnTo>
                    <a:pt x="2326" y="715"/>
                  </a:lnTo>
                  <a:lnTo>
                    <a:pt x="2326" y="714"/>
                  </a:lnTo>
                  <a:lnTo>
                    <a:pt x="2326" y="714"/>
                  </a:lnTo>
                  <a:lnTo>
                    <a:pt x="2327" y="714"/>
                  </a:lnTo>
                  <a:lnTo>
                    <a:pt x="2327" y="714"/>
                  </a:lnTo>
                  <a:lnTo>
                    <a:pt x="2327" y="712"/>
                  </a:lnTo>
                  <a:lnTo>
                    <a:pt x="2327" y="712"/>
                  </a:lnTo>
                  <a:lnTo>
                    <a:pt x="2327" y="712"/>
                  </a:lnTo>
                  <a:lnTo>
                    <a:pt x="2328" y="712"/>
                  </a:lnTo>
                  <a:lnTo>
                    <a:pt x="2328" y="712"/>
                  </a:lnTo>
                  <a:lnTo>
                    <a:pt x="2328" y="712"/>
                  </a:lnTo>
                  <a:lnTo>
                    <a:pt x="2328" y="712"/>
                  </a:lnTo>
                  <a:lnTo>
                    <a:pt x="2328" y="712"/>
                  </a:lnTo>
                  <a:lnTo>
                    <a:pt x="2328" y="711"/>
                  </a:lnTo>
                  <a:lnTo>
                    <a:pt x="2329" y="711"/>
                  </a:lnTo>
                  <a:lnTo>
                    <a:pt x="2328" y="711"/>
                  </a:lnTo>
                  <a:lnTo>
                    <a:pt x="2328" y="710"/>
                  </a:lnTo>
                  <a:lnTo>
                    <a:pt x="2329" y="710"/>
                  </a:lnTo>
                  <a:lnTo>
                    <a:pt x="2329" y="711"/>
                  </a:lnTo>
                  <a:lnTo>
                    <a:pt x="2329" y="711"/>
                  </a:lnTo>
                  <a:lnTo>
                    <a:pt x="2329" y="711"/>
                  </a:lnTo>
                  <a:lnTo>
                    <a:pt x="2329" y="711"/>
                  </a:lnTo>
                  <a:lnTo>
                    <a:pt x="2329" y="711"/>
                  </a:lnTo>
                  <a:lnTo>
                    <a:pt x="2329" y="712"/>
                  </a:lnTo>
                  <a:lnTo>
                    <a:pt x="2329" y="712"/>
                  </a:lnTo>
                  <a:lnTo>
                    <a:pt x="2330" y="711"/>
                  </a:lnTo>
                  <a:lnTo>
                    <a:pt x="2330" y="711"/>
                  </a:lnTo>
                  <a:lnTo>
                    <a:pt x="2330" y="711"/>
                  </a:lnTo>
                  <a:lnTo>
                    <a:pt x="2330" y="709"/>
                  </a:lnTo>
                  <a:lnTo>
                    <a:pt x="2330" y="709"/>
                  </a:lnTo>
                  <a:lnTo>
                    <a:pt x="2330" y="709"/>
                  </a:lnTo>
                  <a:lnTo>
                    <a:pt x="2330" y="709"/>
                  </a:lnTo>
                  <a:lnTo>
                    <a:pt x="2330" y="709"/>
                  </a:lnTo>
                  <a:lnTo>
                    <a:pt x="2330" y="709"/>
                  </a:lnTo>
                  <a:lnTo>
                    <a:pt x="2331" y="709"/>
                  </a:lnTo>
                  <a:lnTo>
                    <a:pt x="2331" y="709"/>
                  </a:lnTo>
                  <a:lnTo>
                    <a:pt x="2331" y="709"/>
                  </a:lnTo>
                  <a:lnTo>
                    <a:pt x="2331" y="709"/>
                  </a:lnTo>
                  <a:lnTo>
                    <a:pt x="2331" y="709"/>
                  </a:lnTo>
                  <a:lnTo>
                    <a:pt x="2331" y="708"/>
                  </a:lnTo>
                  <a:lnTo>
                    <a:pt x="2333" y="708"/>
                  </a:lnTo>
                  <a:lnTo>
                    <a:pt x="2333" y="707"/>
                  </a:lnTo>
                  <a:lnTo>
                    <a:pt x="2333" y="707"/>
                  </a:lnTo>
                  <a:lnTo>
                    <a:pt x="2333" y="707"/>
                  </a:lnTo>
                  <a:lnTo>
                    <a:pt x="2333" y="707"/>
                  </a:lnTo>
                  <a:lnTo>
                    <a:pt x="2333" y="706"/>
                  </a:lnTo>
                  <a:lnTo>
                    <a:pt x="2334" y="706"/>
                  </a:lnTo>
                  <a:lnTo>
                    <a:pt x="2334" y="706"/>
                  </a:lnTo>
                  <a:lnTo>
                    <a:pt x="2334" y="706"/>
                  </a:lnTo>
                  <a:lnTo>
                    <a:pt x="2334" y="703"/>
                  </a:lnTo>
                  <a:lnTo>
                    <a:pt x="2334" y="703"/>
                  </a:lnTo>
                  <a:lnTo>
                    <a:pt x="2334" y="703"/>
                  </a:lnTo>
                  <a:lnTo>
                    <a:pt x="2335" y="703"/>
                  </a:lnTo>
                  <a:lnTo>
                    <a:pt x="2335" y="702"/>
                  </a:lnTo>
                  <a:lnTo>
                    <a:pt x="2335" y="702"/>
                  </a:lnTo>
                  <a:lnTo>
                    <a:pt x="2335" y="702"/>
                  </a:lnTo>
                  <a:lnTo>
                    <a:pt x="2335" y="702"/>
                  </a:lnTo>
                  <a:lnTo>
                    <a:pt x="2335" y="701"/>
                  </a:lnTo>
                  <a:lnTo>
                    <a:pt x="2335" y="702"/>
                  </a:lnTo>
                  <a:lnTo>
                    <a:pt x="2334" y="702"/>
                  </a:lnTo>
                  <a:lnTo>
                    <a:pt x="2334" y="701"/>
                  </a:lnTo>
                  <a:lnTo>
                    <a:pt x="2334" y="701"/>
                  </a:lnTo>
                  <a:lnTo>
                    <a:pt x="2334" y="701"/>
                  </a:lnTo>
                  <a:lnTo>
                    <a:pt x="2336" y="701"/>
                  </a:lnTo>
                  <a:lnTo>
                    <a:pt x="2336" y="700"/>
                  </a:lnTo>
                  <a:lnTo>
                    <a:pt x="2336" y="700"/>
                  </a:lnTo>
                  <a:lnTo>
                    <a:pt x="2336" y="700"/>
                  </a:lnTo>
                  <a:lnTo>
                    <a:pt x="2336" y="700"/>
                  </a:lnTo>
                  <a:lnTo>
                    <a:pt x="2336" y="700"/>
                  </a:lnTo>
                  <a:lnTo>
                    <a:pt x="2336" y="700"/>
                  </a:lnTo>
                  <a:lnTo>
                    <a:pt x="2336" y="699"/>
                  </a:lnTo>
                  <a:lnTo>
                    <a:pt x="2336" y="699"/>
                  </a:lnTo>
                  <a:lnTo>
                    <a:pt x="2336" y="699"/>
                  </a:lnTo>
                  <a:lnTo>
                    <a:pt x="2335" y="699"/>
                  </a:lnTo>
                  <a:lnTo>
                    <a:pt x="2336" y="699"/>
                  </a:lnTo>
                  <a:lnTo>
                    <a:pt x="2335" y="698"/>
                  </a:lnTo>
                  <a:lnTo>
                    <a:pt x="2335" y="697"/>
                  </a:lnTo>
                  <a:lnTo>
                    <a:pt x="2335" y="697"/>
                  </a:lnTo>
                  <a:lnTo>
                    <a:pt x="2335" y="697"/>
                  </a:lnTo>
                  <a:lnTo>
                    <a:pt x="2335" y="697"/>
                  </a:lnTo>
                  <a:lnTo>
                    <a:pt x="2334" y="697"/>
                  </a:lnTo>
                  <a:lnTo>
                    <a:pt x="2334" y="697"/>
                  </a:lnTo>
                  <a:lnTo>
                    <a:pt x="2334" y="695"/>
                  </a:lnTo>
                  <a:lnTo>
                    <a:pt x="2334" y="695"/>
                  </a:lnTo>
                  <a:lnTo>
                    <a:pt x="2334" y="695"/>
                  </a:lnTo>
                  <a:lnTo>
                    <a:pt x="2334" y="695"/>
                  </a:lnTo>
                  <a:lnTo>
                    <a:pt x="2335" y="695"/>
                  </a:lnTo>
                  <a:lnTo>
                    <a:pt x="2335" y="695"/>
                  </a:lnTo>
                  <a:lnTo>
                    <a:pt x="2336" y="697"/>
                  </a:lnTo>
                  <a:lnTo>
                    <a:pt x="2336" y="697"/>
                  </a:lnTo>
                  <a:lnTo>
                    <a:pt x="2336" y="697"/>
                  </a:lnTo>
                  <a:lnTo>
                    <a:pt x="2336" y="694"/>
                  </a:lnTo>
                  <a:lnTo>
                    <a:pt x="2337" y="695"/>
                  </a:lnTo>
                  <a:lnTo>
                    <a:pt x="2337" y="695"/>
                  </a:lnTo>
                  <a:lnTo>
                    <a:pt x="2337" y="695"/>
                  </a:lnTo>
                  <a:lnTo>
                    <a:pt x="2337" y="695"/>
                  </a:lnTo>
                  <a:lnTo>
                    <a:pt x="2337" y="695"/>
                  </a:lnTo>
                  <a:lnTo>
                    <a:pt x="2337" y="695"/>
                  </a:lnTo>
                  <a:lnTo>
                    <a:pt x="2337" y="697"/>
                  </a:lnTo>
                  <a:lnTo>
                    <a:pt x="2338" y="697"/>
                  </a:lnTo>
                  <a:lnTo>
                    <a:pt x="2338" y="697"/>
                  </a:lnTo>
                  <a:lnTo>
                    <a:pt x="2339" y="697"/>
                  </a:lnTo>
                  <a:lnTo>
                    <a:pt x="2339" y="698"/>
                  </a:lnTo>
                  <a:lnTo>
                    <a:pt x="2339" y="698"/>
                  </a:lnTo>
                  <a:lnTo>
                    <a:pt x="2339" y="698"/>
                  </a:lnTo>
                  <a:lnTo>
                    <a:pt x="2339" y="698"/>
                  </a:lnTo>
                  <a:lnTo>
                    <a:pt x="2340" y="698"/>
                  </a:lnTo>
                  <a:lnTo>
                    <a:pt x="2340" y="698"/>
                  </a:lnTo>
                  <a:lnTo>
                    <a:pt x="2340" y="698"/>
                  </a:lnTo>
                  <a:lnTo>
                    <a:pt x="2340" y="698"/>
                  </a:lnTo>
                  <a:lnTo>
                    <a:pt x="2340" y="698"/>
                  </a:lnTo>
                  <a:lnTo>
                    <a:pt x="2340" y="697"/>
                  </a:lnTo>
                  <a:lnTo>
                    <a:pt x="2340" y="697"/>
                  </a:lnTo>
                  <a:lnTo>
                    <a:pt x="2340" y="697"/>
                  </a:lnTo>
                  <a:lnTo>
                    <a:pt x="2340" y="697"/>
                  </a:lnTo>
                  <a:lnTo>
                    <a:pt x="2340" y="697"/>
                  </a:lnTo>
                  <a:lnTo>
                    <a:pt x="2340" y="697"/>
                  </a:lnTo>
                  <a:lnTo>
                    <a:pt x="2342" y="697"/>
                  </a:lnTo>
                  <a:lnTo>
                    <a:pt x="2342" y="697"/>
                  </a:lnTo>
                  <a:lnTo>
                    <a:pt x="2342" y="695"/>
                  </a:lnTo>
                  <a:lnTo>
                    <a:pt x="2342" y="695"/>
                  </a:lnTo>
                  <a:lnTo>
                    <a:pt x="2342" y="697"/>
                  </a:lnTo>
                  <a:lnTo>
                    <a:pt x="2343" y="697"/>
                  </a:lnTo>
                  <a:lnTo>
                    <a:pt x="2343" y="697"/>
                  </a:lnTo>
                  <a:lnTo>
                    <a:pt x="2343" y="697"/>
                  </a:lnTo>
                  <a:lnTo>
                    <a:pt x="2343" y="697"/>
                  </a:lnTo>
                  <a:lnTo>
                    <a:pt x="2343" y="695"/>
                  </a:lnTo>
                  <a:lnTo>
                    <a:pt x="2344" y="695"/>
                  </a:lnTo>
                  <a:lnTo>
                    <a:pt x="2344" y="695"/>
                  </a:lnTo>
                  <a:lnTo>
                    <a:pt x="2344" y="695"/>
                  </a:lnTo>
                  <a:lnTo>
                    <a:pt x="2344" y="697"/>
                  </a:lnTo>
                  <a:lnTo>
                    <a:pt x="2344" y="695"/>
                  </a:lnTo>
                  <a:lnTo>
                    <a:pt x="2345" y="695"/>
                  </a:lnTo>
                  <a:lnTo>
                    <a:pt x="2345" y="697"/>
                  </a:lnTo>
                  <a:lnTo>
                    <a:pt x="2345" y="697"/>
                  </a:lnTo>
                  <a:lnTo>
                    <a:pt x="2345" y="695"/>
                  </a:lnTo>
                  <a:lnTo>
                    <a:pt x="2345" y="695"/>
                  </a:lnTo>
                  <a:lnTo>
                    <a:pt x="2345" y="695"/>
                  </a:lnTo>
                  <a:lnTo>
                    <a:pt x="2346" y="695"/>
                  </a:lnTo>
                  <a:lnTo>
                    <a:pt x="2346" y="695"/>
                  </a:lnTo>
                  <a:lnTo>
                    <a:pt x="2346" y="694"/>
                  </a:lnTo>
                  <a:lnTo>
                    <a:pt x="2346" y="694"/>
                  </a:lnTo>
                  <a:lnTo>
                    <a:pt x="2346" y="694"/>
                  </a:lnTo>
                  <a:lnTo>
                    <a:pt x="2346" y="694"/>
                  </a:lnTo>
                  <a:lnTo>
                    <a:pt x="2347" y="694"/>
                  </a:lnTo>
                  <a:lnTo>
                    <a:pt x="2347" y="694"/>
                  </a:lnTo>
                  <a:lnTo>
                    <a:pt x="2348" y="694"/>
                  </a:lnTo>
                  <a:lnTo>
                    <a:pt x="2348" y="694"/>
                  </a:lnTo>
                  <a:lnTo>
                    <a:pt x="2347" y="694"/>
                  </a:lnTo>
                  <a:lnTo>
                    <a:pt x="2347" y="694"/>
                  </a:lnTo>
                  <a:lnTo>
                    <a:pt x="2347" y="694"/>
                  </a:lnTo>
                  <a:lnTo>
                    <a:pt x="2347" y="693"/>
                  </a:lnTo>
                  <a:lnTo>
                    <a:pt x="2348" y="693"/>
                  </a:lnTo>
                  <a:lnTo>
                    <a:pt x="2348" y="693"/>
                  </a:lnTo>
                  <a:lnTo>
                    <a:pt x="2348" y="693"/>
                  </a:lnTo>
                  <a:lnTo>
                    <a:pt x="2348" y="693"/>
                  </a:lnTo>
                  <a:lnTo>
                    <a:pt x="2348" y="693"/>
                  </a:lnTo>
                  <a:lnTo>
                    <a:pt x="2348" y="692"/>
                  </a:lnTo>
                  <a:lnTo>
                    <a:pt x="2349" y="692"/>
                  </a:lnTo>
                  <a:lnTo>
                    <a:pt x="2349" y="692"/>
                  </a:lnTo>
                  <a:lnTo>
                    <a:pt x="2349" y="692"/>
                  </a:lnTo>
                  <a:lnTo>
                    <a:pt x="2349" y="692"/>
                  </a:lnTo>
                  <a:lnTo>
                    <a:pt x="2349" y="692"/>
                  </a:lnTo>
                  <a:lnTo>
                    <a:pt x="2351" y="692"/>
                  </a:lnTo>
                  <a:lnTo>
                    <a:pt x="2351" y="692"/>
                  </a:lnTo>
                  <a:lnTo>
                    <a:pt x="2351" y="692"/>
                  </a:lnTo>
                  <a:lnTo>
                    <a:pt x="2351" y="693"/>
                  </a:lnTo>
                  <a:lnTo>
                    <a:pt x="2351" y="693"/>
                  </a:lnTo>
                  <a:lnTo>
                    <a:pt x="2351" y="693"/>
                  </a:lnTo>
                  <a:lnTo>
                    <a:pt x="2352" y="693"/>
                  </a:lnTo>
                  <a:lnTo>
                    <a:pt x="2352" y="693"/>
                  </a:lnTo>
                  <a:lnTo>
                    <a:pt x="2352" y="693"/>
                  </a:lnTo>
                  <a:lnTo>
                    <a:pt x="2352" y="692"/>
                  </a:lnTo>
                  <a:lnTo>
                    <a:pt x="2352" y="692"/>
                  </a:lnTo>
                  <a:lnTo>
                    <a:pt x="2352" y="692"/>
                  </a:lnTo>
                  <a:lnTo>
                    <a:pt x="2351" y="692"/>
                  </a:lnTo>
                  <a:lnTo>
                    <a:pt x="2351" y="692"/>
                  </a:lnTo>
                  <a:lnTo>
                    <a:pt x="2352" y="692"/>
                  </a:lnTo>
                  <a:lnTo>
                    <a:pt x="2352" y="692"/>
                  </a:lnTo>
                  <a:lnTo>
                    <a:pt x="2352" y="692"/>
                  </a:lnTo>
                  <a:lnTo>
                    <a:pt x="2352" y="691"/>
                  </a:lnTo>
                  <a:lnTo>
                    <a:pt x="2352" y="691"/>
                  </a:lnTo>
                  <a:lnTo>
                    <a:pt x="2352" y="691"/>
                  </a:lnTo>
                  <a:lnTo>
                    <a:pt x="2352" y="691"/>
                  </a:lnTo>
                  <a:lnTo>
                    <a:pt x="2352" y="691"/>
                  </a:lnTo>
                  <a:lnTo>
                    <a:pt x="2351" y="690"/>
                  </a:lnTo>
                  <a:lnTo>
                    <a:pt x="2351" y="690"/>
                  </a:lnTo>
                  <a:lnTo>
                    <a:pt x="2351" y="690"/>
                  </a:lnTo>
                  <a:lnTo>
                    <a:pt x="2351" y="690"/>
                  </a:lnTo>
                  <a:lnTo>
                    <a:pt x="2352" y="690"/>
                  </a:lnTo>
                  <a:lnTo>
                    <a:pt x="2352" y="690"/>
                  </a:lnTo>
                  <a:lnTo>
                    <a:pt x="2352" y="690"/>
                  </a:lnTo>
                  <a:lnTo>
                    <a:pt x="2352" y="690"/>
                  </a:lnTo>
                  <a:lnTo>
                    <a:pt x="2352" y="690"/>
                  </a:lnTo>
                  <a:lnTo>
                    <a:pt x="2352" y="690"/>
                  </a:lnTo>
                  <a:lnTo>
                    <a:pt x="2353" y="690"/>
                  </a:lnTo>
                  <a:lnTo>
                    <a:pt x="2353" y="690"/>
                  </a:lnTo>
                  <a:lnTo>
                    <a:pt x="2353" y="690"/>
                  </a:lnTo>
                  <a:lnTo>
                    <a:pt x="2353" y="690"/>
                  </a:lnTo>
                  <a:lnTo>
                    <a:pt x="2353" y="690"/>
                  </a:lnTo>
                  <a:lnTo>
                    <a:pt x="2353" y="691"/>
                  </a:lnTo>
                  <a:lnTo>
                    <a:pt x="2354" y="691"/>
                  </a:lnTo>
                  <a:lnTo>
                    <a:pt x="2354" y="691"/>
                  </a:lnTo>
                  <a:lnTo>
                    <a:pt x="2354" y="690"/>
                  </a:lnTo>
                  <a:lnTo>
                    <a:pt x="2354" y="690"/>
                  </a:lnTo>
                  <a:lnTo>
                    <a:pt x="2353" y="690"/>
                  </a:lnTo>
                  <a:lnTo>
                    <a:pt x="2353" y="690"/>
                  </a:lnTo>
                  <a:lnTo>
                    <a:pt x="2354" y="690"/>
                  </a:lnTo>
                  <a:lnTo>
                    <a:pt x="2354" y="690"/>
                  </a:lnTo>
                  <a:lnTo>
                    <a:pt x="2354" y="690"/>
                  </a:lnTo>
                  <a:lnTo>
                    <a:pt x="2354" y="690"/>
                  </a:lnTo>
                  <a:lnTo>
                    <a:pt x="2354" y="690"/>
                  </a:lnTo>
                  <a:lnTo>
                    <a:pt x="2354" y="690"/>
                  </a:lnTo>
                  <a:lnTo>
                    <a:pt x="2354" y="690"/>
                  </a:lnTo>
                  <a:lnTo>
                    <a:pt x="2354" y="690"/>
                  </a:lnTo>
                  <a:lnTo>
                    <a:pt x="2354" y="690"/>
                  </a:lnTo>
                  <a:lnTo>
                    <a:pt x="2354" y="689"/>
                  </a:lnTo>
                  <a:lnTo>
                    <a:pt x="2354" y="689"/>
                  </a:lnTo>
                  <a:lnTo>
                    <a:pt x="2354" y="690"/>
                  </a:lnTo>
                  <a:lnTo>
                    <a:pt x="2354" y="690"/>
                  </a:lnTo>
                  <a:lnTo>
                    <a:pt x="2354" y="689"/>
                  </a:lnTo>
                  <a:lnTo>
                    <a:pt x="2354" y="689"/>
                  </a:lnTo>
                  <a:lnTo>
                    <a:pt x="2354" y="689"/>
                  </a:lnTo>
                  <a:lnTo>
                    <a:pt x="2355" y="689"/>
                  </a:lnTo>
                  <a:lnTo>
                    <a:pt x="2355" y="690"/>
                  </a:lnTo>
                  <a:lnTo>
                    <a:pt x="2355" y="690"/>
                  </a:lnTo>
                  <a:lnTo>
                    <a:pt x="2355" y="690"/>
                  </a:lnTo>
                  <a:lnTo>
                    <a:pt x="2355" y="690"/>
                  </a:lnTo>
                  <a:lnTo>
                    <a:pt x="2355" y="690"/>
                  </a:lnTo>
                  <a:lnTo>
                    <a:pt x="2355" y="690"/>
                  </a:lnTo>
                  <a:lnTo>
                    <a:pt x="2355" y="689"/>
                  </a:lnTo>
                  <a:lnTo>
                    <a:pt x="2355" y="689"/>
                  </a:lnTo>
                  <a:lnTo>
                    <a:pt x="2355" y="689"/>
                  </a:lnTo>
                  <a:lnTo>
                    <a:pt x="2355" y="689"/>
                  </a:lnTo>
                  <a:lnTo>
                    <a:pt x="2355" y="689"/>
                  </a:lnTo>
                  <a:lnTo>
                    <a:pt x="2356" y="689"/>
                  </a:lnTo>
                  <a:lnTo>
                    <a:pt x="2356" y="688"/>
                  </a:lnTo>
                  <a:lnTo>
                    <a:pt x="2356" y="688"/>
                  </a:lnTo>
                  <a:lnTo>
                    <a:pt x="2356" y="689"/>
                  </a:lnTo>
                  <a:lnTo>
                    <a:pt x="2357" y="689"/>
                  </a:lnTo>
                  <a:lnTo>
                    <a:pt x="2357" y="689"/>
                  </a:lnTo>
                  <a:lnTo>
                    <a:pt x="2357" y="689"/>
                  </a:lnTo>
                  <a:lnTo>
                    <a:pt x="2357" y="689"/>
                  </a:lnTo>
                  <a:lnTo>
                    <a:pt x="2357" y="689"/>
                  </a:lnTo>
                  <a:lnTo>
                    <a:pt x="2357" y="689"/>
                  </a:lnTo>
                  <a:lnTo>
                    <a:pt x="2357" y="688"/>
                  </a:lnTo>
                  <a:lnTo>
                    <a:pt x="2356" y="688"/>
                  </a:lnTo>
                  <a:lnTo>
                    <a:pt x="2357" y="686"/>
                  </a:lnTo>
                  <a:lnTo>
                    <a:pt x="2357" y="686"/>
                  </a:lnTo>
                  <a:lnTo>
                    <a:pt x="2357" y="686"/>
                  </a:lnTo>
                  <a:lnTo>
                    <a:pt x="2357" y="686"/>
                  </a:lnTo>
                  <a:lnTo>
                    <a:pt x="2357" y="686"/>
                  </a:lnTo>
                  <a:lnTo>
                    <a:pt x="2357" y="686"/>
                  </a:lnTo>
                  <a:lnTo>
                    <a:pt x="2357" y="686"/>
                  </a:lnTo>
                  <a:lnTo>
                    <a:pt x="2357" y="685"/>
                  </a:lnTo>
                  <a:lnTo>
                    <a:pt x="2359" y="685"/>
                  </a:lnTo>
                  <a:lnTo>
                    <a:pt x="2359" y="684"/>
                  </a:lnTo>
                  <a:lnTo>
                    <a:pt x="2359" y="684"/>
                  </a:lnTo>
                  <a:lnTo>
                    <a:pt x="2359" y="683"/>
                  </a:lnTo>
                  <a:lnTo>
                    <a:pt x="2359" y="683"/>
                  </a:lnTo>
                  <a:lnTo>
                    <a:pt x="2359" y="683"/>
                  </a:lnTo>
                  <a:lnTo>
                    <a:pt x="2360" y="683"/>
                  </a:lnTo>
                  <a:lnTo>
                    <a:pt x="2360" y="683"/>
                  </a:lnTo>
                  <a:lnTo>
                    <a:pt x="2360" y="683"/>
                  </a:lnTo>
                  <a:lnTo>
                    <a:pt x="2361" y="683"/>
                  </a:lnTo>
                  <a:lnTo>
                    <a:pt x="2362" y="683"/>
                  </a:lnTo>
                  <a:lnTo>
                    <a:pt x="2361" y="683"/>
                  </a:lnTo>
                  <a:lnTo>
                    <a:pt x="2361" y="683"/>
                  </a:lnTo>
                  <a:lnTo>
                    <a:pt x="2361" y="683"/>
                  </a:lnTo>
                  <a:lnTo>
                    <a:pt x="2361" y="683"/>
                  </a:lnTo>
                  <a:lnTo>
                    <a:pt x="2361" y="682"/>
                  </a:lnTo>
                  <a:lnTo>
                    <a:pt x="2361" y="682"/>
                  </a:lnTo>
                  <a:lnTo>
                    <a:pt x="2360" y="682"/>
                  </a:lnTo>
                  <a:lnTo>
                    <a:pt x="2360" y="682"/>
                  </a:lnTo>
                  <a:lnTo>
                    <a:pt x="2361" y="682"/>
                  </a:lnTo>
                  <a:lnTo>
                    <a:pt x="2361" y="682"/>
                  </a:lnTo>
                  <a:lnTo>
                    <a:pt x="2361" y="682"/>
                  </a:lnTo>
                  <a:lnTo>
                    <a:pt x="2361" y="682"/>
                  </a:lnTo>
                  <a:lnTo>
                    <a:pt x="2362" y="682"/>
                  </a:lnTo>
                  <a:lnTo>
                    <a:pt x="2362" y="683"/>
                  </a:lnTo>
                  <a:lnTo>
                    <a:pt x="2362" y="683"/>
                  </a:lnTo>
                  <a:lnTo>
                    <a:pt x="2362" y="682"/>
                  </a:lnTo>
                  <a:lnTo>
                    <a:pt x="2362" y="682"/>
                  </a:lnTo>
                  <a:lnTo>
                    <a:pt x="2362" y="682"/>
                  </a:lnTo>
                  <a:lnTo>
                    <a:pt x="2362" y="683"/>
                  </a:lnTo>
                  <a:lnTo>
                    <a:pt x="2362" y="683"/>
                  </a:lnTo>
                  <a:lnTo>
                    <a:pt x="2363" y="683"/>
                  </a:lnTo>
                  <a:lnTo>
                    <a:pt x="2363" y="683"/>
                  </a:lnTo>
                  <a:lnTo>
                    <a:pt x="2363" y="682"/>
                  </a:lnTo>
                  <a:lnTo>
                    <a:pt x="2363" y="682"/>
                  </a:lnTo>
                  <a:lnTo>
                    <a:pt x="2363" y="682"/>
                  </a:lnTo>
                  <a:lnTo>
                    <a:pt x="2363" y="682"/>
                  </a:lnTo>
                  <a:lnTo>
                    <a:pt x="2363" y="682"/>
                  </a:lnTo>
                  <a:lnTo>
                    <a:pt x="2363" y="682"/>
                  </a:lnTo>
                  <a:lnTo>
                    <a:pt x="2364" y="682"/>
                  </a:lnTo>
                  <a:lnTo>
                    <a:pt x="2364" y="682"/>
                  </a:lnTo>
                  <a:lnTo>
                    <a:pt x="2364" y="682"/>
                  </a:lnTo>
                  <a:lnTo>
                    <a:pt x="2364" y="682"/>
                  </a:lnTo>
                  <a:lnTo>
                    <a:pt x="2365" y="682"/>
                  </a:lnTo>
                  <a:lnTo>
                    <a:pt x="2365" y="682"/>
                  </a:lnTo>
                  <a:lnTo>
                    <a:pt x="2365" y="682"/>
                  </a:lnTo>
                  <a:lnTo>
                    <a:pt x="2365" y="682"/>
                  </a:lnTo>
                  <a:lnTo>
                    <a:pt x="2365" y="682"/>
                  </a:lnTo>
                  <a:lnTo>
                    <a:pt x="2366" y="682"/>
                  </a:lnTo>
                  <a:lnTo>
                    <a:pt x="2366" y="682"/>
                  </a:lnTo>
                  <a:lnTo>
                    <a:pt x="2366" y="682"/>
                  </a:lnTo>
                  <a:lnTo>
                    <a:pt x="2366" y="682"/>
                  </a:lnTo>
                  <a:lnTo>
                    <a:pt x="2366" y="683"/>
                  </a:lnTo>
                  <a:lnTo>
                    <a:pt x="2366" y="683"/>
                  </a:lnTo>
                  <a:lnTo>
                    <a:pt x="2368" y="682"/>
                  </a:lnTo>
                  <a:lnTo>
                    <a:pt x="2368" y="682"/>
                  </a:lnTo>
                  <a:lnTo>
                    <a:pt x="2368" y="682"/>
                  </a:lnTo>
                  <a:lnTo>
                    <a:pt x="2368" y="682"/>
                  </a:lnTo>
                  <a:lnTo>
                    <a:pt x="2369" y="682"/>
                  </a:lnTo>
                  <a:lnTo>
                    <a:pt x="2369" y="681"/>
                  </a:lnTo>
                  <a:lnTo>
                    <a:pt x="2369" y="681"/>
                  </a:lnTo>
                  <a:lnTo>
                    <a:pt x="2369" y="681"/>
                  </a:lnTo>
                  <a:lnTo>
                    <a:pt x="2370" y="681"/>
                  </a:lnTo>
                  <a:lnTo>
                    <a:pt x="2370" y="681"/>
                  </a:lnTo>
                  <a:lnTo>
                    <a:pt x="2370" y="681"/>
                  </a:lnTo>
                  <a:lnTo>
                    <a:pt x="2371" y="681"/>
                  </a:lnTo>
                  <a:lnTo>
                    <a:pt x="2371" y="680"/>
                  </a:lnTo>
                  <a:lnTo>
                    <a:pt x="2371" y="680"/>
                  </a:lnTo>
                  <a:lnTo>
                    <a:pt x="2371" y="680"/>
                  </a:lnTo>
                  <a:lnTo>
                    <a:pt x="2371" y="680"/>
                  </a:lnTo>
                  <a:lnTo>
                    <a:pt x="2371" y="680"/>
                  </a:lnTo>
                  <a:lnTo>
                    <a:pt x="2371" y="678"/>
                  </a:lnTo>
                  <a:lnTo>
                    <a:pt x="2372" y="678"/>
                  </a:lnTo>
                  <a:lnTo>
                    <a:pt x="2372" y="678"/>
                  </a:lnTo>
                  <a:lnTo>
                    <a:pt x="2372" y="678"/>
                  </a:lnTo>
                  <a:lnTo>
                    <a:pt x="2372" y="678"/>
                  </a:lnTo>
                  <a:lnTo>
                    <a:pt x="2372" y="678"/>
                  </a:lnTo>
                  <a:lnTo>
                    <a:pt x="2372" y="680"/>
                  </a:lnTo>
                  <a:lnTo>
                    <a:pt x="2372" y="680"/>
                  </a:lnTo>
                  <a:lnTo>
                    <a:pt x="2373" y="680"/>
                  </a:lnTo>
                  <a:lnTo>
                    <a:pt x="2373" y="678"/>
                  </a:lnTo>
                  <a:lnTo>
                    <a:pt x="2373" y="678"/>
                  </a:lnTo>
                  <a:lnTo>
                    <a:pt x="2373" y="678"/>
                  </a:lnTo>
                  <a:lnTo>
                    <a:pt x="2373" y="678"/>
                  </a:lnTo>
                  <a:lnTo>
                    <a:pt x="2373" y="678"/>
                  </a:lnTo>
                  <a:lnTo>
                    <a:pt x="2373" y="677"/>
                  </a:lnTo>
                  <a:lnTo>
                    <a:pt x="2374" y="677"/>
                  </a:lnTo>
                  <a:lnTo>
                    <a:pt x="2374" y="677"/>
                  </a:lnTo>
                  <a:lnTo>
                    <a:pt x="2374" y="677"/>
                  </a:lnTo>
                  <a:lnTo>
                    <a:pt x="2374" y="677"/>
                  </a:lnTo>
                  <a:lnTo>
                    <a:pt x="2374" y="677"/>
                  </a:lnTo>
                  <a:lnTo>
                    <a:pt x="2376" y="677"/>
                  </a:lnTo>
                  <a:lnTo>
                    <a:pt x="2376" y="677"/>
                  </a:lnTo>
                  <a:lnTo>
                    <a:pt x="2376" y="677"/>
                  </a:lnTo>
                  <a:lnTo>
                    <a:pt x="2376" y="677"/>
                  </a:lnTo>
                  <a:lnTo>
                    <a:pt x="2376" y="676"/>
                  </a:lnTo>
                  <a:lnTo>
                    <a:pt x="2376" y="676"/>
                  </a:lnTo>
                  <a:lnTo>
                    <a:pt x="2376" y="676"/>
                  </a:lnTo>
                  <a:lnTo>
                    <a:pt x="2376" y="676"/>
                  </a:lnTo>
                  <a:lnTo>
                    <a:pt x="2376" y="676"/>
                  </a:lnTo>
                  <a:lnTo>
                    <a:pt x="2377" y="676"/>
                  </a:lnTo>
                  <a:lnTo>
                    <a:pt x="2377" y="676"/>
                  </a:lnTo>
                  <a:lnTo>
                    <a:pt x="2378" y="676"/>
                  </a:lnTo>
                  <a:lnTo>
                    <a:pt x="2378" y="676"/>
                  </a:lnTo>
                  <a:lnTo>
                    <a:pt x="2378" y="675"/>
                  </a:lnTo>
                  <a:lnTo>
                    <a:pt x="2379" y="675"/>
                  </a:lnTo>
                  <a:lnTo>
                    <a:pt x="2379" y="675"/>
                  </a:lnTo>
                  <a:lnTo>
                    <a:pt x="2380" y="675"/>
                  </a:lnTo>
                  <a:lnTo>
                    <a:pt x="2380" y="675"/>
                  </a:lnTo>
                  <a:lnTo>
                    <a:pt x="2380" y="675"/>
                  </a:lnTo>
                  <a:lnTo>
                    <a:pt x="2380" y="675"/>
                  </a:lnTo>
                  <a:lnTo>
                    <a:pt x="2380" y="675"/>
                  </a:lnTo>
                  <a:lnTo>
                    <a:pt x="2380" y="675"/>
                  </a:lnTo>
                  <a:lnTo>
                    <a:pt x="2381" y="675"/>
                  </a:lnTo>
                  <a:lnTo>
                    <a:pt x="2381" y="674"/>
                  </a:lnTo>
                  <a:lnTo>
                    <a:pt x="2381" y="674"/>
                  </a:lnTo>
                  <a:lnTo>
                    <a:pt x="2381" y="674"/>
                  </a:lnTo>
                  <a:lnTo>
                    <a:pt x="2381" y="674"/>
                  </a:lnTo>
                  <a:lnTo>
                    <a:pt x="2381" y="674"/>
                  </a:lnTo>
                  <a:lnTo>
                    <a:pt x="2381" y="674"/>
                  </a:lnTo>
                  <a:lnTo>
                    <a:pt x="2381" y="674"/>
                  </a:lnTo>
                  <a:lnTo>
                    <a:pt x="2382" y="674"/>
                  </a:lnTo>
                  <a:lnTo>
                    <a:pt x="2382" y="674"/>
                  </a:lnTo>
                  <a:lnTo>
                    <a:pt x="2382" y="674"/>
                  </a:lnTo>
                  <a:lnTo>
                    <a:pt x="2382" y="674"/>
                  </a:lnTo>
                  <a:lnTo>
                    <a:pt x="2382" y="674"/>
                  </a:lnTo>
                  <a:lnTo>
                    <a:pt x="2382" y="674"/>
                  </a:lnTo>
                  <a:lnTo>
                    <a:pt x="2383" y="674"/>
                  </a:lnTo>
                  <a:lnTo>
                    <a:pt x="2383" y="673"/>
                  </a:lnTo>
                  <a:lnTo>
                    <a:pt x="2385" y="673"/>
                  </a:lnTo>
                  <a:lnTo>
                    <a:pt x="2385" y="673"/>
                  </a:lnTo>
                  <a:lnTo>
                    <a:pt x="2386" y="673"/>
                  </a:lnTo>
                  <a:lnTo>
                    <a:pt x="2386" y="673"/>
                  </a:lnTo>
                  <a:lnTo>
                    <a:pt x="2386" y="673"/>
                  </a:lnTo>
                  <a:lnTo>
                    <a:pt x="2387" y="673"/>
                  </a:lnTo>
                  <a:lnTo>
                    <a:pt x="2387" y="673"/>
                  </a:lnTo>
                  <a:lnTo>
                    <a:pt x="2388" y="673"/>
                  </a:lnTo>
                  <a:lnTo>
                    <a:pt x="2388" y="673"/>
                  </a:lnTo>
                  <a:lnTo>
                    <a:pt x="2389" y="673"/>
                  </a:lnTo>
                  <a:lnTo>
                    <a:pt x="2389" y="673"/>
                  </a:lnTo>
                  <a:lnTo>
                    <a:pt x="2389" y="673"/>
                  </a:lnTo>
                  <a:lnTo>
                    <a:pt x="2389" y="674"/>
                  </a:lnTo>
                  <a:lnTo>
                    <a:pt x="2390" y="674"/>
                  </a:lnTo>
                  <a:lnTo>
                    <a:pt x="2390" y="674"/>
                  </a:lnTo>
                  <a:lnTo>
                    <a:pt x="2391" y="674"/>
                  </a:lnTo>
                  <a:lnTo>
                    <a:pt x="2391" y="674"/>
                  </a:lnTo>
                  <a:lnTo>
                    <a:pt x="2391" y="675"/>
                  </a:lnTo>
                  <a:lnTo>
                    <a:pt x="2391" y="675"/>
                  </a:lnTo>
                  <a:lnTo>
                    <a:pt x="2391" y="674"/>
                  </a:lnTo>
                  <a:lnTo>
                    <a:pt x="2393" y="674"/>
                  </a:lnTo>
                  <a:lnTo>
                    <a:pt x="2393" y="674"/>
                  </a:lnTo>
                  <a:lnTo>
                    <a:pt x="2393" y="674"/>
                  </a:lnTo>
                  <a:lnTo>
                    <a:pt x="2393" y="674"/>
                  </a:lnTo>
                  <a:lnTo>
                    <a:pt x="2393" y="674"/>
                  </a:lnTo>
                  <a:lnTo>
                    <a:pt x="2393" y="675"/>
                  </a:lnTo>
                  <a:lnTo>
                    <a:pt x="2393" y="675"/>
                  </a:lnTo>
                  <a:lnTo>
                    <a:pt x="2394" y="675"/>
                  </a:lnTo>
                  <a:lnTo>
                    <a:pt x="2394" y="675"/>
                  </a:lnTo>
                  <a:lnTo>
                    <a:pt x="2394" y="676"/>
                  </a:lnTo>
                  <a:lnTo>
                    <a:pt x="2394" y="676"/>
                  </a:lnTo>
                  <a:lnTo>
                    <a:pt x="2394" y="676"/>
                  </a:lnTo>
                  <a:lnTo>
                    <a:pt x="2394" y="676"/>
                  </a:lnTo>
                  <a:lnTo>
                    <a:pt x="2395" y="676"/>
                  </a:lnTo>
                  <a:lnTo>
                    <a:pt x="2395" y="676"/>
                  </a:lnTo>
                  <a:lnTo>
                    <a:pt x="2395" y="676"/>
                  </a:lnTo>
                  <a:lnTo>
                    <a:pt x="2395" y="675"/>
                  </a:lnTo>
                  <a:lnTo>
                    <a:pt x="2396" y="675"/>
                  </a:lnTo>
                  <a:lnTo>
                    <a:pt x="2396" y="676"/>
                  </a:lnTo>
                  <a:lnTo>
                    <a:pt x="2395" y="676"/>
                  </a:lnTo>
                  <a:lnTo>
                    <a:pt x="2395" y="676"/>
                  </a:lnTo>
                  <a:lnTo>
                    <a:pt x="2396" y="676"/>
                  </a:lnTo>
                  <a:lnTo>
                    <a:pt x="2396" y="676"/>
                  </a:lnTo>
                  <a:lnTo>
                    <a:pt x="2396" y="676"/>
                  </a:lnTo>
                  <a:lnTo>
                    <a:pt x="2396" y="676"/>
                  </a:lnTo>
                  <a:lnTo>
                    <a:pt x="2397" y="676"/>
                  </a:lnTo>
                  <a:lnTo>
                    <a:pt x="2397" y="676"/>
                  </a:lnTo>
                  <a:lnTo>
                    <a:pt x="2397" y="676"/>
                  </a:lnTo>
                  <a:lnTo>
                    <a:pt x="2397" y="675"/>
                  </a:lnTo>
                  <a:lnTo>
                    <a:pt x="2397" y="675"/>
                  </a:lnTo>
                  <a:lnTo>
                    <a:pt x="2397" y="676"/>
                  </a:lnTo>
                  <a:lnTo>
                    <a:pt x="2397" y="676"/>
                  </a:lnTo>
                  <a:lnTo>
                    <a:pt x="2397" y="676"/>
                  </a:lnTo>
                  <a:lnTo>
                    <a:pt x="2397" y="676"/>
                  </a:lnTo>
                  <a:lnTo>
                    <a:pt x="2397" y="677"/>
                  </a:lnTo>
                  <a:lnTo>
                    <a:pt x="2398" y="677"/>
                  </a:lnTo>
                  <a:lnTo>
                    <a:pt x="2398" y="677"/>
                  </a:lnTo>
                  <a:lnTo>
                    <a:pt x="2398" y="677"/>
                  </a:lnTo>
                  <a:lnTo>
                    <a:pt x="2398" y="677"/>
                  </a:lnTo>
                  <a:lnTo>
                    <a:pt x="2399" y="677"/>
                  </a:lnTo>
                  <a:lnTo>
                    <a:pt x="2400" y="677"/>
                  </a:lnTo>
                  <a:lnTo>
                    <a:pt x="2400" y="677"/>
                  </a:lnTo>
                  <a:lnTo>
                    <a:pt x="2400" y="677"/>
                  </a:lnTo>
                  <a:lnTo>
                    <a:pt x="2400" y="677"/>
                  </a:lnTo>
                  <a:lnTo>
                    <a:pt x="2399" y="677"/>
                  </a:lnTo>
                  <a:lnTo>
                    <a:pt x="2399" y="676"/>
                  </a:lnTo>
                  <a:lnTo>
                    <a:pt x="2402" y="676"/>
                  </a:lnTo>
                  <a:lnTo>
                    <a:pt x="2402" y="676"/>
                  </a:lnTo>
                  <a:lnTo>
                    <a:pt x="2402" y="676"/>
                  </a:lnTo>
                  <a:lnTo>
                    <a:pt x="2402" y="676"/>
                  </a:lnTo>
                  <a:lnTo>
                    <a:pt x="2403" y="676"/>
                  </a:lnTo>
                  <a:lnTo>
                    <a:pt x="2403" y="676"/>
                  </a:lnTo>
                  <a:lnTo>
                    <a:pt x="2403" y="675"/>
                  </a:lnTo>
                  <a:lnTo>
                    <a:pt x="2403" y="675"/>
                  </a:lnTo>
                  <a:lnTo>
                    <a:pt x="2403" y="675"/>
                  </a:lnTo>
                  <a:lnTo>
                    <a:pt x="2403" y="675"/>
                  </a:lnTo>
                  <a:lnTo>
                    <a:pt x="2403" y="675"/>
                  </a:lnTo>
                  <a:lnTo>
                    <a:pt x="2403" y="674"/>
                  </a:lnTo>
                  <a:lnTo>
                    <a:pt x="2404" y="674"/>
                  </a:lnTo>
                  <a:lnTo>
                    <a:pt x="2404" y="675"/>
                  </a:lnTo>
                  <a:lnTo>
                    <a:pt x="2405" y="675"/>
                  </a:lnTo>
                  <a:lnTo>
                    <a:pt x="2405" y="675"/>
                  </a:lnTo>
                  <a:lnTo>
                    <a:pt x="2405" y="675"/>
                  </a:lnTo>
                  <a:lnTo>
                    <a:pt x="2407" y="675"/>
                  </a:lnTo>
                  <a:lnTo>
                    <a:pt x="2407" y="675"/>
                  </a:lnTo>
                  <a:lnTo>
                    <a:pt x="2408" y="675"/>
                  </a:lnTo>
                  <a:lnTo>
                    <a:pt x="2408" y="675"/>
                  </a:lnTo>
                  <a:lnTo>
                    <a:pt x="2408" y="675"/>
                  </a:lnTo>
                  <a:lnTo>
                    <a:pt x="2410" y="675"/>
                  </a:lnTo>
                  <a:lnTo>
                    <a:pt x="2410" y="675"/>
                  </a:lnTo>
                  <a:lnTo>
                    <a:pt x="2410" y="676"/>
                  </a:lnTo>
                  <a:lnTo>
                    <a:pt x="2411" y="676"/>
                  </a:lnTo>
                  <a:lnTo>
                    <a:pt x="2411" y="676"/>
                  </a:lnTo>
                  <a:lnTo>
                    <a:pt x="2412" y="677"/>
                  </a:lnTo>
                  <a:lnTo>
                    <a:pt x="2412" y="677"/>
                  </a:lnTo>
                  <a:lnTo>
                    <a:pt x="2412" y="677"/>
                  </a:lnTo>
                  <a:lnTo>
                    <a:pt x="2412" y="678"/>
                  </a:lnTo>
                  <a:lnTo>
                    <a:pt x="2412" y="678"/>
                  </a:lnTo>
                  <a:lnTo>
                    <a:pt x="2412" y="680"/>
                  </a:lnTo>
                  <a:lnTo>
                    <a:pt x="2412" y="680"/>
                  </a:lnTo>
                  <a:lnTo>
                    <a:pt x="2413" y="681"/>
                  </a:lnTo>
                  <a:lnTo>
                    <a:pt x="2413" y="681"/>
                  </a:lnTo>
                  <a:lnTo>
                    <a:pt x="2413" y="682"/>
                  </a:lnTo>
                  <a:lnTo>
                    <a:pt x="2413" y="682"/>
                  </a:lnTo>
                  <a:lnTo>
                    <a:pt x="2414" y="683"/>
                  </a:lnTo>
                  <a:lnTo>
                    <a:pt x="2414" y="683"/>
                  </a:lnTo>
                  <a:lnTo>
                    <a:pt x="2414" y="684"/>
                  </a:lnTo>
                  <a:lnTo>
                    <a:pt x="2414" y="684"/>
                  </a:lnTo>
                  <a:lnTo>
                    <a:pt x="2414" y="684"/>
                  </a:lnTo>
                  <a:lnTo>
                    <a:pt x="2414" y="685"/>
                  </a:lnTo>
                  <a:lnTo>
                    <a:pt x="2415" y="686"/>
                  </a:lnTo>
                  <a:lnTo>
                    <a:pt x="2415" y="686"/>
                  </a:lnTo>
                  <a:lnTo>
                    <a:pt x="2415" y="688"/>
                  </a:lnTo>
                  <a:lnTo>
                    <a:pt x="2415" y="688"/>
                  </a:lnTo>
                  <a:lnTo>
                    <a:pt x="2415" y="689"/>
                  </a:lnTo>
                  <a:lnTo>
                    <a:pt x="2414" y="690"/>
                  </a:lnTo>
                  <a:lnTo>
                    <a:pt x="2414" y="690"/>
                  </a:lnTo>
                  <a:lnTo>
                    <a:pt x="2414" y="691"/>
                  </a:lnTo>
                  <a:lnTo>
                    <a:pt x="2414" y="691"/>
                  </a:lnTo>
                  <a:lnTo>
                    <a:pt x="2414" y="691"/>
                  </a:lnTo>
                  <a:lnTo>
                    <a:pt x="2414" y="692"/>
                  </a:lnTo>
                  <a:lnTo>
                    <a:pt x="2413" y="693"/>
                  </a:lnTo>
                  <a:lnTo>
                    <a:pt x="2413" y="693"/>
                  </a:lnTo>
                  <a:lnTo>
                    <a:pt x="2413" y="694"/>
                  </a:lnTo>
                  <a:lnTo>
                    <a:pt x="2412" y="694"/>
                  </a:lnTo>
                  <a:lnTo>
                    <a:pt x="2412" y="694"/>
                  </a:lnTo>
                  <a:lnTo>
                    <a:pt x="2412" y="695"/>
                  </a:lnTo>
                  <a:lnTo>
                    <a:pt x="2412" y="697"/>
                  </a:lnTo>
                  <a:lnTo>
                    <a:pt x="2412" y="697"/>
                  </a:lnTo>
                  <a:lnTo>
                    <a:pt x="2412" y="698"/>
                  </a:lnTo>
                  <a:lnTo>
                    <a:pt x="2411" y="698"/>
                  </a:lnTo>
                  <a:lnTo>
                    <a:pt x="2411" y="698"/>
                  </a:lnTo>
                  <a:lnTo>
                    <a:pt x="2411" y="698"/>
                  </a:lnTo>
                  <a:lnTo>
                    <a:pt x="2411" y="699"/>
                  </a:lnTo>
                  <a:lnTo>
                    <a:pt x="2411" y="699"/>
                  </a:lnTo>
                  <a:lnTo>
                    <a:pt x="2412" y="699"/>
                  </a:lnTo>
                  <a:lnTo>
                    <a:pt x="2412" y="699"/>
                  </a:lnTo>
                  <a:lnTo>
                    <a:pt x="2412" y="700"/>
                  </a:lnTo>
                  <a:lnTo>
                    <a:pt x="2412" y="700"/>
                  </a:lnTo>
                  <a:lnTo>
                    <a:pt x="2412" y="701"/>
                  </a:lnTo>
                  <a:lnTo>
                    <a:pt x="2413" y="701"/>
                  </a:lnTo>
                  <a:lnTo>
                    <a:pt x="2413" y="702"/>
                  </a:lnTo>
                  <a:lnTo>
                    <a:pt x="2413" y="702"/>
                  </a:lnTo>
                  <a:lnTo>
                    <a:pt x="2414" y="702"/>
                  </a:lnTo>
                  <a:lnTo>
                    <a:pt x="2414" y="702"/>
                  </a:lnTo>
                  <a:lnTo>
                    <a:pt x="2415" y="702"/>
                  </a:lnTo>
                  <a:lnTo>
                    <a:pt x="2415" y="702"/>
                  </a:lnTo>
                  <a:lnTo>
                    <a:pt x="2415" y="702"/>
                  </a:lnTo>
                  <a:lnTo>
                    <a:pt x="2415" y="702"/>
                  </a:lnTo>
                  <a:lnTo>
                    <a:pt x="2416" y="703"/>
                  </a:lnTo>
                  <a:lnTo>
                    <a:pt x="2416" y="703"/>
                  </a:lnTo>
                  <a:lnTo>
                    <a:pt x="2417" y="703"/>
                  </a:lnTo>
                  <a:lnTo>
                    <a:pt x="2419" y="703"/>
                  </a:lnTo>
                  <a:lnTo>
                    <a:pt x="2421" y="703"/>
                  </a:lnTo>
                  <a:lnTo>
                    <a:pt x="2422" y="702"/>
                  </a:lnTo>
                  <a:lnTo>
                    <a:pt x="2422" y="702"/>
                  </a:lnTo>
                  <a:lnTo>
                    <a:pt x="2423" y="702"/>
                  </a:lnTo>
                  <a:lnTo>
                    <a:pt x="2423" y="702"/>
                  </a:lnTo>
                  <a:lnTo>
                    <a:pt x="2423" y="701"/>
                  </a:lnTo>
                  <a:lnTo>
                    <a:pt x="2424" y="701"/>
                  </a:lnTo>
                  <a:lnTo>
                    <a:pt x="2424" y="701"/>
                  </a:lnTo>
                  <a:lnTo>
                    <a:pt x="2424" y="700"/>
                  </a:lnTo>
                  <a:lnTo>
                    <a:pt x="2424" y="700"/>
                  </a:lnTo>
                  <a:lnTo>
                    <a:pt x="2424" y="700"/>
                  </a:lnTo>
                  <a:lnTo>
                    <a:pt x="2425" y="700"/>
                  </a:lnTo>
                  <a:lnTo>
                    <a:pt x="2425" y="700"/>
                  </a:lnTo>
                  <a:lnTo>
                    <a:pt x="2427" y="700"/>
                  </a:lnTo>
                  <a:lnTo>
                    <a:pt x="2428" y="701"/>
                  </a:lnTo>
                  <a:lnTo>
                    <a:pt x="2428" y="701"/>
                  </a:lnTo>
                  <a:lnTo>
                    <a:pt x="2428" y="701"/>
                  </a:lnTo>
                  <a:lnTo>
                    <a:pt x="2428" y="701"/>
                  </a:lnTo>
                  <a:lnTo>
                    <a:pt x="2428" y="702"/>
                  </a:lnTo>
                  <a:lnTo>
                    <a:pt x="2427" y="702"/>
                  </a:lnTo>
                  <a:lnTo>
                    <a:pt x="2427" y="702"/>
                  </a:lnTo>
                  <a:lnTo>
                    <a:pt x="2427" y="702"/>
                  </a:lnTo>
                  <a:lnTo>
                    <a:pt x="2427" y="703"/>
                  </a:lnTo>
                  <a:lnTo>
                    <a:pt x="2427" y="703"/>
                  </a:lnTo>
                  <a:lnTo>
                    <a:pt x="2427" y="705"/>
                  </a:lnTo>
                  <a:lnTo>
                    <a:pt x="2428" y="705"/>
                  </a:lnTo>
                  <a:lnTo>
                    <a:pt x="2428" y="705"/>
                  </a:lnTo>
                  <a:lnTo>
                    <a:pt x="2428" y="706"/>
                  </a:lnTo>
                  <a:lnTo>
                    <a:pt x="2429" y="706"/>
                  </a:lnTo>
                  <a:lnTo>
                    <a:pt x="2429" y="706"/>
                  </a:lnTo>
                  <a:lnTo>
                    <a:pt x="2429" y="707"/>
                  </a:lnTo>
                  <a:lnTo>
                    <a:pt x="2429" y="707"/>
                  </a:lnTo>
                  <a:lnTo>
                    <a:pt x="2429" y="707"/>
                  </a:lnTo>
                  <a:lnTo>
                    <a:pt x="2430" y="708"/>
                  </a:lnTo>
                  <a:lnTo>
                    <a:pt x="2429" y="708"/>
                  </a:lnTo>
                  <a:lnTo>
                    <a:pt x="2429" y="709"/>
                  </a:lnTo>
                  <a:lnTo>
                    <a:pt x="2429" y="709"/>
                  </a:lnTo>
                  <a:lnTo>
                    <a:pt x="2429" y="709"/>
                  </a:lnTo>
                  <a:lnTo>
                    <a:pt x="2429" y="709"/>
                  </a:lnTo>
                  <a:lnTo>
                    <a:pt x="2429" y="709"/>
                  </a:lnTo>
                  <a:lnTo>
                    <a:pt x="2428" y="709"/>
                  </a:lnTo>
                  <a:lnTo>
                    <a:pt x="2428" y="709"/>
                  </a:lnTo>
                  <a:lnTo>
                    <a:pt x="2427" y="709"/>
                  </a:lnTo>
                  <a:lnTo>
                    <a:pt x="2425" y="709"/>
                  </a:lnTo>
                  <a:lnTo>
                    <a:pt x="2424" y="709"/>
                  </a:lnTo>
                  <a:lnTo>
                    <a:pt x="2424" y="709"/>
                  </a:lnTo>
                  <a:lnTo>
                    <a:pt x="2424" y="709"/>
                  </a:lnTo>
                  <a:lnTo>
                    <a:pt x="2421" y="709"/>
                  </a:lnTo>
                  <a:lnTo>
                    <a:pt x="2420" y="709"/>
                  </a:lnTo>
                  <a:lnTo>
                    <a:pt x="2420" y="710"/>
                  </a:lnTo>
                  <a:lnTo>
                    <a:pt x="2420" y="710"/>
                  </a:lnTo>
                  <a:lnTo>
                    <a:pt x="2420" y="710"/>
                  </a:lnTo>
                  <a:lnTo>
                    <a:pt x="2419" y="711"/>
                  </a:lnTo>
                  <a:lnTo>
                    <a:pt x="2419" y="711"/>
                  </a:lnTo>
                  <a:lnTo>
                    <a:pt x="2417" y="711"/>
                  </a:lnTo>
                  <a:lnTo>
                    <a:pt x="2417" y="712"/>
                  </a:lnTo>
                  <a:lnTo>
                    <a:pt x="2417" y="714"/>
                  </a:lnTo>
                  <a:lnTo>
                    <a:pt x="2417" y="714"/>
                  </a:lnTo>
                  <a:lnTo>
                    <a:pt x="2417" y="714"/>
                  </a:lnTo>
                  <a:lnTo>
                    <a:pt x="2417" y="715"/>
                  </a:lnTo>
                  <a:lnTo>
                    <a:pt x="2416" y="715"/>
                  </a:lnTo>
                  <a:lnTo>
                    <a:pt x="2416" y="716"/>
                  </a:lnTo>
                  <a:lnTo>
                    <a:pt x="2416" y="716"/>
                  </a:lnTo>
                  <a:lnTo>
                    <a:pt x="2416" y="717"/>
                  </a:lnTo>
                  <a:lnTo>
                    <a:pt x="2415" y="717"/>
                  </a:lnTo>
                  <a:lnTo>
                    <a:pt x="2415" y="717"/>
                  </a:lnTo>
                  <a:lnTo>
                    <a:pt x="2415" y="718"/>
                  </a:lnTo>
                  <a:lnTo>
                    <a:pt x="2415" y="718"/>
                  </a:lnTo>
                  <a:lnTo>
                    <a:pt x="2415" y="718"/>
                  </a:lnTo>
                  <a:lnTo>
                    <a:pt x="2414" y="718"/>
                  </a:lnTo>
                  <a:lnTo>
                    <a:pt x="2414" y="718"/>
                  </a:lnTo>
                  <a:lnTo>
                    <a:pt x="2414" y="718"/>
                  </a:lnTo>
                  <a:lnTo>
                    <a:pt x="2414" y="718"/>
                  </a:lnTo>
                  <a:lnTo>
                    <a:pt x="2413" y="718"/>
                  </a:lnTo>
                  <a:lnTo>
                    <a:pt x="2413" y="717"/>
                  </a:lnTo>
                  <a:lnTo>
                    <a:pt x="2413" y="717"/>
                  </a:lnTo>
                  <a:lnTo>
                    <a:pt x="2413" y="717"/>
                  </a:lnTo>
                  <a:lnTo>
                    <a:pt x="2414" y="717"/>
                  </a:lnTo>
                  <a:lnTo>
                    <a:pt x="2414" y="716"/>
                  </a:lnTo>
                  <a:lnTo>
                    <a:pt x="2414" y="716"/>
                  </a:lnTo>
                  <a:lnTo>
                    <a:pt x="2414" y="715"/>
                  </a:lnTo>
                  <a:lnTo>
                    <a:pt x="2415" y="715"/>
                  </a:lnTo>
                  <a:lnTo>
                    <a:pt x="2415" y="714"/>
                  </a:lnTo>
                  <a:lnTo>
                    <a:pt x="2415" y="714"/>
                  </a:lnTo>
                  <a:lnTo>
                    <a:pt x="2415" y="712"/>
                  </a:lnTo>
                  <a:lnTo>
                    <a:pt x="2416" y="712"/>
                  </a:lnTo>
                  <a:lnTo>
                    <a:pt x="2416" y="712"/>
                  </a:lnTo>
                  <a:lnTo>
                    <a:pt x="2416" y="711"/>
                  </a:lnTo>
                  <a:lnTo>
                    <a:pt x="2416" y="711"/>
                  </a:lnTo>
                  <a:lnTo>
                    <a:pt x="2417" y="710"/>
                  </a:lnTo>
                  <a:lnTo>
                    <a:pt x="2417" y="710"/>
                  </a:lnTo>
                  <a:lnTo>
                    <a:pt x="2417" y="710"/>
                  </a:lnTo>
                  <a:lnTo>
                    <a:pt x="2419" y="709"/>
                  </a:lnTo>
                  <a:lnTo>
                    <a:pt x="2419" y="709"/>
                  </a:lnTo>
                  <a:lnTo>
                    <a:pt x="2419" y="709"/>
                  </a:lnTo>
                  <a:lnTo>
                    <a:pt x="2420" y="709"/>
                  </a:lnTo>
                  <a:lnTo>
                    <a:pt x="2420" y="709"/>
                  </a:lnTo>
                  <a:lnTo>
                    <a:pt x="2420" y="708"/>
                  </a:lnTo>
                  <a:lnTo>
                    <a:pt x="2422" y="708"/>
                  </a:lnTo>
                  <a:lnTo>
                    <a:pt x="2423" y="708"/>
                  </a:lnTo>
                  <a:lnTo>
                    <a:pt x="2423" y="708"/>
                  </a:lnTo>
                  <a:lnTo>
                    <a:pt x="2424" y="708"/>
                  </a:lnTo>
                  <a:lnTo>
                    <a:pt x="2424" y="708"/>
                  </a:lnTo>
                  <a:lnTo>
                    <a:pt x="2425" y="707"/>
                  </a:lnTo>
                  <a:lnTo>
                    <a:pt x="2425" y="707"/>
                  </a:lnTo>
                  <a:lnTo>
                    <a:pt x="2425" y="706"/>
                  </a:lnTo>
                  <a:lnTo>
                    <a:pt x="2425" y="706"/>
                  </a:lnTo>
                  <a:lnTo>
                    <a:pt x="2425" y="705"/>
                  </a:lnTo>
                  <a:lnTo>
                    <a:pt x="2424" y="705"/>
                  </a:lnTo>
                  <a:lnTo>
                    <a:pt x="2424" y="705"/>
                  </a:lnTo>
                  <a:lnTo>
                    <a:pt x="2423" y="705"/>
                  </a:lnTo>
                  <a:lnTo>
                    <a:pt x="2423" y="705"/>
                  </a:lnTo>
                  <a:lnTo>
                    <a:pt x="2423" y="705"/>
                  </a:lnTo>
                  <a:lnTo>
                    <a:pt x="2422" y="705"/>
                  </a:lnTo>
                  <a:lnTo>
                    <a:pt x="2422" y="705"/>
                  </a:lnTo>
                  <a:lnTo>
                    <a:pt x="2421" y="705"/>
                  </a:lnTo>
                  <a:lnTo>
                    <a:pt x="2421" y="705"/>
                  </a:lnTo>
                  <a:lnTo>
                    <a:pt x="2420" y="706"/>
                  </a:lnTo>
                  <a:lnTo>
                    <a:pt x="2420" y="706"/>
                  </a:lnTo>
                  <a:lnTo>
                    <a:pt x="2420" y="706"/>
                  </a:lnTo>
                  <a:lnTo>
                    <a:pt x="2419" y="706"/>
                  </a:lnTo>
                  <a:lnTo>
                    <a:pt x="2419" y="705"/>
                  </a:lnTo>
                  <a:lnTo>
                    <a:pt x="2417" y="705"/>
                  </a:lnTo>
                  <a:lnTo>
                    <a:pt x="2416" y="705"/>
                  </a:lnTo>
                  <a:lnTo>
                    <a:pt x="2413" y="705"/>
                  </a:lnTo>
                  <a:lnTo>
                    <a:pt x="2412" y="705"/>
                  </a:lnTo>
                  <a:lnTo>
                    <a:pt x="2408" y="705"/>
                  </a:lnTo>
                  <a:lnTo>
                    <a:pt x="2407" y="705"/>
                  </a:lnTo>
                  <a:lnTo>
                    <a:pt x="2407" y="703"/>
                  </a:lnTo>
                  <a:lnTo>
                    <a:pt x="2406" y="703"/>
                  </a:lnTo>
                  <a:lnTo>
                    <a:pt x="2405" y="703"/>
                  </a:lnTo>
                  <a:lnTo>
                    <a:pt x="2405" y="703"/>
                  </a:lnTo>
                  <a:lnTo>
                    <a:pt x="2403" y="703"/>
                  </a:lnTo>
                  <a:lnTo>
                    <a:pt x="2403" y="703"/>
                  </a:lnTo>
                  <a:lnTo>
                    <a:pt x="2399" y="703"/>
                  </a:lnTo>
                  <a:lnTo>
                    <a:pt x="2398" y="702"/>
                  </a:lnTo>
                  <a:lnTo>
                    <a:pt x="2398" y="702"/>
                  </a:lnTo>
                  <a:lnTo>
                    <a:pt x="2398" y="702"/>
                  </a:lnTo>
                  <a:lnTo>
                    <a:pt x="2398" y="702"/>
                  </a:lnTo>
                  <a:lnTo>
                    <a:pt x="2397" y="702"/>
                  </a:lnTo>
                  <a:lnTo>
                    <a:pt x="2397" y="702"/>
                  </a:lnTo>
                  <a:lnTo>
                    <a:pt x="2396" y="702"/>
                  </a:lnTo>
                  <a:lnTo>
                    <a:pt x="2396" y="702"/>
                  </a:lnTo>
                  <a:lnTo>
                    <a:pt x="2396" y="702"/>
                  </a:lnTo>
                  <a:lnTo>
                    <a:pt x="2396" y="702"/>
                  </a:lnTo>
                  <a:lnTo>
                    <a:pt x="2394" y="702"/>
                  </a:lnTo>
                  <a:lnTo>
                    <a:pt x="2394" y="701"/>
                  </a:lnTo>
                  <a:lnTo>
                    <a:pt x="2394" y="701"/>
                  </a:lnTo>
                  <a:lnTo>
                    <a:pt x="2394" y="701"/>
                  </a:lnTo>
                  <a:lnTo>
                    <a:pt x="2394" y="701"/>
                  </a:lnTo>
                  <a:lnTo>
                    <a:pt x="2394" y="701"/>
                  </a:lnTo>
                  <a:lnTo>
                    <a:pt x="2394" y="701"/>
                  </a:lnTo>
                  <a:lnTo>
                    <a:pt x="2394" y="702"/>
                  </a:lnTo>
                  <a:lnTo>
                    <a:pt x="2393" y="702"/>
                  </a:lnTo>
                  <a:lnTo>
                    <a:pt x="2393" y="702"/>
                  </a:lnTo>
                  <a:lnTo>
                    <a:pt x="2393" y="702"/>
                  </a:lnTo>
                  <a:lnTo>
                    <a:pt x="2393" y="702"/>
                  </a:lnTo>
                  <a:lnTo>
                    <a:pt x="2391" y="702"/>
                  </a:lnTo>
                  <a:lnTo>
                    <a:pt x="2391" y="703"/>
                  </a:lnTo>
                  <a:lnTo>
                    <a:pt x="2390" y="703"/>
                  </a:lnTo>
                  <a:lnTo>
                    <a:pt x="2389" y="702"/>
                  </a:lnTo>
                  <a:lnTo>
                    <a:pt x="2389" y="702"/>
                  </a:lnTo>
                  <a:lnTo>
                    <a:pt x="2389" y="702"/>
                  </a:lnTo>
                  <a:lnTo>
                    <a:pt x="2389" y="703"/>
                  </a:lnTo>
                  <a:lnTo>
                    <a:pt x="2389" y="703"/>
                  </a:lnTo>
                  <a:lnTo>
                    <a:pt x="2388" y="703"/>
                  </a:lnTo>
                  <a:lnTo>
                    <a:pt x="2388" y="703"/>
                  </a:lnTo>
                  <a:lnTo>
                    <a:pt x="2388" y="703"/>
                  </a:lnTo>
                  <a:lnTo>
                    <a:pt x="2388" y="705"/>
                  </a:lnTo>
                  <a:lnTo>
                    <a:pt x="2388" y="705"/>
                  </a:lnTo>
                  <a:lnTo>
                    <a:pt x="2388" y="705"/>
                  </a:lnTo>
                  <a:lnTo>
                    <a:pt x="2388" y="705"/>
                  </a:lnTo>
                  <a:lnTo>
                    <a:pt x="2388" y="705"/>
                  </a:lnTo>
                  <a:lnTo>
                    <a:pt x="2387" y="705"/>
                  </a:lnTo>
                  <a:lnTo>
                    <a:pt x="2387" y="705"/>
                  </a:lnTo>
                  <a:lnTo>
                    <a:pt x="2387" y="706"/>
                  </a:lnTo>
                  <a:lnTo>
                    <a:pt x="2387" y="706"/>
                  </a:lnTo>
                  <a:lnTo>
                    <a:pt x="2387" y="706"/>
                  </a:lnTo>
                  <a:lnTo>
                    <a:pt x="2387" y="706"/>
                  </a:lnTo>
                  <a:lnTo>
                    <a:pt x="2387" y="706"/>
                  </a:lnTo>
                  <a:lnTo>
                    <a:pt x="2387" y="707"/>
                  </a:lnTo>
                  <a:lnTo>
                    <a:pt x="2387" y="707"/>
                  </a:lnTo>
                  <a:lnTo>
                    <a:pt x="2387" y="707"/>
                  </a:lnTo>
                  <a:lnTo>
                    <a:pt x="2387" y="708"/>
                  </a:lnTo>
                  <a:lnTo>
                    <a:pt x="2387" y="708"/>
                  </a:lnTo>
                  <a:lnTo>
                    <a:pt x="2387" y="708"/>
                  </a:lnTo>
                  <a:lnTo>
                    <a:pt x="2387" y="708"/>
                  </a:lnTo>
                  <a:lnTo>
                    <a:pt x="2386" y="708"/>
                  </a:lnTo>
                  <a:lnTo>
                    <a:pt x="2386" y="708"/>
                  </a:lnTo>
                  <a:lnTo>
                    <a:pt x="2386" y="708"/>
                  </a:lnTo>
                  <a:lnTo>
                    <a:pt x="2386" y="708"/>
                  </a:lnTo>
                  <a:lnTo>
                    <a:pt x="2385" y="708"/>
                  </a:lnTo>
                  <a:lnTo>
                    <a:pt x="2385" y="708"/>
                  </a:lnTo>
                  <a:lnTo>
                    <a:pt x="2385" y="709"/>
                  </a:lnTo>
                  <a:lnTo>
                    <a:pt x="2385" y="709"/>
                  </a:lnTo>
                  <a:lnTo>
                    <a:pt x="2385" y="709"/>
                  </a:lnTo>
                  <a:lnTo>
                    <a:pt x="2383" y="709"/>
                  </a:lnTo>
                  <a:lnTo>
                    <a:pt x="2383" y="709"/>
                  </a:lnTo>
                  <a:lnTo>
                    <a:pt x="2383" y="709"/>
                  </a:lnTo>
                  <a:lnTo>
                    <a:pt x="2383" y="709"/>
                  </a:lnTo>
                  <a:lnTo>
                    <a:pt x="2383" y="709"/>
                  </a:lnTo>
                  <a:lnTo>
                    <a:pt x="2383" y="709"/>
                  </a:lnTo>
                  <a:lnTo>
                    <a:pt x="2383" y="709"/>
                  </a:lnTo>
                  <a:lnTo>
                    <a:pt x="2383" y="709"/>
                  </a:lnTo>
                  <a:lnTo>
                    <a:pt x="2383" y="710"/>
                  </a:lnTo>
                  <a:lnTo>
                    <a:pt x="2383" y="710"/>
                  </a:lnTo>
                  <a:lnTo>
                    <a:pt x="2383" y="710"/>
                  </a:lnTo>
                  <a:lnTo>
                    <a:pt x="2386" y="711"/>
                  </a:lnTo>
                  <a:lnTo>
                    <a:pt x="2386" y="712"/>
                  </a:lnTo>
                  <a:lnTo>
                    <a:pt x="2387" y="712"/>
                  </a:lnTo>
                  <a:lnTo>
                    <a:pt x="2387" y="714"/>
                  </a:lnTo>
                  <a:lnTo>
                    <a:pt x="2387" y="714"/>
                  </a:lnTo>
                  <a:lnTo>
                    <a:pt x="2387" y="714"/>
                  </a:lnTo>
                  <a:lnTo>
                    <a:pt x="2387" y="714"/>
                  </a:lnTo>
                  <a:lnTo>
                    <a:pt x="2387" y="714"/>
                  </a:lnTo>
                  <a:lnTo>
                    <a:pt x="2387" y="714"/>
                  </a:lnTo>
                  <a:lnTo>
                    <a:pt x="2387" y="715"/>
                  </a:lnTo>
                  <a:lnTo>
                    <a:pt x="2387" y="715"/>
                  </a:lnTo>
                  <a:lnTo>
                    <a:pt x="2387" y="715"/>
                  </a:lnTo>
                  <a:lnTo>
                    <a:pt x="2389" y="715"/>
                  </a:lnTo>
                  <a:lnTo>
                    <a:pt x="2389" y="715"/>
                  </a:lnTo>
                  <a:lnTo>
                    <a:pt x="2390" y="716"/>
                  </a:lnTo>
                  <a:lnTo>
                    <a:pt x="2390" y="716"/>
                  </a:lnTo>
                  <a:lnTo>
                    <a:pt x="2390" y="716"/>
                  </a:lnTo>
                  <a:lnTo>
                    <a:pt x="2390" y="716"/>
                  </a:lnTo>
                  <a:lnTo>
                    <a:pt x="2391" y="716"/>
                  </a:lnTo>
                  <a:lnTo>
                    <a:pt x="2391" y="717"/>
                  </a:lnTo>
                  <a:lnTo>
                    <a:pt x="2391" y="717"/>
                  </a:lnTo>
                  <a:lnTo>
                    <a:pt x="2390" y="717"/>
                  </a:lnTo>
                  <a:lnTo>
                    <a:pt x="2390" y="717"/>
                  </a:lnTo>
                  <a:lnTo>
                    <a:pt x="2389" y="717"/>
                  </a:lnTo>
                  <a:lnTo>
                    <a:pt x="2389" y="717"/>
                  </a:lnTo>
                  <a:lnTo>
                    <a:pt x="2389" y="717"/>
                  </a:lnTo>
                  <a:lnTo>
                    <a:pt x="2389" y="717"/>
                  </a:lnTo>
                  <a:lnTo>
                    <a:pt x="2389" y="717"/>
                  </a:lnTo>
                  <a:lnTo>
                    <a:pt x="2388" y="717"/>
                  </a:lnTo>
                  <a:lnTo>
                    <a:pt x="2389" y="716"/>
                  </a:lnTo>
                  <a:lnTo>
                    <a:pt x="2389" y="716"/>
                  </a:lnTo>
                  <a:lnTo>
                    <a:pt x="2388" y="716"/>
                  </a:lnTo>
                  <a:lnTo>
                    <a:pt x="2388" y="716"/>
                  </a:lnTo>
                  <a:lnTo>
                    <a:pt x="2387" y="716"/>
                  </a:lnTo>
                  <a:lnTo>
                    <a:pt x="2387" y="717"/>
                  </a:lnTo>
                  <a:lnTo>
                    <a:pt x="2387" y="717"/>
                  </a:lnTo>
                  <a:lnTo>
                    <a:pt x="2387" y="717"/>
                  </a:lnTo>
                  <a:lnTo>
                    <a:pt x="2387" y="717"/>
                  </a:lnTo>
                  <a:lnTo>
                    <a:pt x="2387" y="717"/>
                  </a:lnTo>
                  <a:lnTo>
                    <a:pt x="2387" y="717"/>
                  </a:lnTo>
                  <a:lnTo>
                    <a:pt x="2386" y="717"/>
                  </a:lnTo>
                  <a:lnTo>
                    <a:pt x="2385" y="717"/>
                  </a:lnTo>
                  <a:lnTo>
                    <a:pt x="2385" y="717"/>
                  </a:lnTo>
                  <a:lnTo>
                    <a:pt x="2385" y="717"/>
                  </a:lnTo>
                  <a:lnTo>
                    <a:pt x="2385" y="717"/>
                  </a:lnTo>
                  <a:lnTo>
                    <a:pt x="2383" y="717"/>
                  </a:lnTo>
                  <a:lnTo>
                    <a:pt x="2383" y="717"/>
                  </a:lnTo>
                  <a:lnTo>
                    <a:pt x="2383" y="717"/>
                  </a:lnTo>
                  <a:lnTo>
                    <a:pt x="2383" y="716"/>
                  </a:lnTo>
                  <a:lnTo>
                    <a:pt x="2383" y="716"/>
                  </a:lnTo>
                  <a:lnTo>
                    <a:pt x="2383" y="716"/>
                  </a:lnTo>
                  <a:lnTo>
                    <a:pt x="2382" y="716"/>
                  </a:lnTo>
                  <a:lnTo>
                    <a:pt x="2382" y="716"/>
                  </a:lnTo>
                  <a:lnTo>
                    <a:pt x="2382" y="716"/>
                  </a:lnTo>
                  <a:lnTo>
                    <a:pt x="2382" y="716"/>
                  </a:lnTo>
                  <a:lnTo>
                    <a:pt x="2382" y="716"/>
                  </a:lnTo>
                  <a:lnTo>
                    <a:pt x="2382" y="715"/>
                  </a:lnTo>
                  <a:lnTo>
                    <a:pt x="2382" y="715"/>
                  </a:lnTo>
                  <a:lnTo>
                    <a:pt x="2382" y="715"/>
                  </a:lnTo>
                  <a:lnTo>
                    <a:pt x="2381" y="715"/>
                  </a:lnTo>
                  <a:lnTo>
                    <a:pt x="2381" y="715"/>
                  </a:lnTo>
                  <a:lnTo>
                    <a:pt x="2380" y="715"/>
                  </a:lnTo>
                  <a:lnTo>
                    <a:pt x="2380" y="715"/>
                  </a:lnTo>
                  <a:lnTo>
                    <a:pt x="2380" y="715"/>
                  </a:lnTo>
                  <a:lnTo>
                    <a:pt x="2380" y="715"/>
                  </a:lnTo>
                  <a:lnTo>
                    <a:pt x="2380" y="715"/>
                  </a:lnTo>
                  <a:lnTo>
                    <a:pt x="2379" y="715"/>
                  </a:lnTo>
                  <a:lnTo>
                    <a:pt x="2379" y="715"/>
                  </a:lnTo>
                  <a:lnTo>
                    <a:pt x="2379" y="715"/>
                  </a:lnTo>
                  <a:lnTo>
                    <a:pt x="2379" y="715"/>
                  </a:lnTo>
                  <a:lnTo>
                    <a:pt x="2379" y="715"/>
                  </a:lnTo>
                  <a:lnTo>
                    <a:pt x="2378" y="715"/>
                  </a:lnTo>
                  <a:lnTo>
                    <a:pt x="2378" y="715"/>
                  </a:lnTo>
                  <a:lnTo>
                    <a:pt x="2378" y="715"/>
                  </a:lnTo>
                  <a:lnTo>
                    <a:pt x="2378" y="715"/>
                  </a:lnTo>
                  <a:lnTo>
                    <a:pt x="2377" y="715"/>
                  </a:lnTo>
                  <a:lnTo>
                    <a:pt x="2377" y="715"/>
                  </a:lnTo>
                  <a:lnTo>
                    <a:pt x="2376" y="715"/>
                  </a:lnTo>
                  <a:lnTo>
                    <a:pt x="2376" y="715"/>
                  </a:lnTo>
                  <a:lnTo>
                    <a:pt x="2376" y="715"/>
                  </a:lnTo>
                  <a:lnTo>
                    <a:pt x="2376" y="715"/>
                  </a:lnTo>
                  <a:lnTo>
                    <a:pt x="2374" y="715"/>
                  </a:lnTo>
                  <a:lnTo>
                    <a:pt x="2374" y="715"/>
                  </a:lnTo>
                  <a:lnTo>
                    <a:pt x="2373" y="715"/>
                  </a:lnTo>
                  <a:lnTo>
                    <a:pt x="2373" y="715"/>
                  </a:lnTo>
                  <a:lnTo>
                    <a:pt x="2373" y="715"/>
                  </a:lnTo>
                  <a:lnTo>
                    <a:pt x="2373" y="716"/>
                  </a:lnTo>
                  <a:lnTo>
                    <a:pt x="2373" y="716"/>
                  </a:lnTo>
                  <a:lnTo>
                    <a:pt x="2373" y="716"/>
                  </a:lnTo>
                  <a:lnTo>
                    <a:pt x="2373" y="716"/>
                  </a:lnTo>
                  <a:lnTo>
                    <a:pt x="2373" y="716"/>
                  </a:lnTo>
                  <a:lnTo>
                    <a:pt x="2373" y="716"/>
                  </a:lnTo>
                  <a:lnTo>
                    <a:pt x="2373" y="719"/>
                  </a:lnTo>
                  <a:lnTo>
                    <a:pt x="2373" y="719"/>
                  </a:lnTo>
                  <a:lnTo>
                    <a:pt x="2373" y="719"/>
                  </a:lnTo>
                  <a:lnTo>
                    <a:pt x="2373" y="720"/>
                  </a:lnTo>
                  <a:lnTo>
                    <a:pt x="2374" y="720"/>
                  </a:lnTo>
                  <a:lnTo>
                    <a:pt x="2374" y="720"/>
                  </a:lnTo>
                  <a:lnTo>
                    <a:pt x="2376" y="720"/>
                  </a:lnTo>
                  <a:lnTo>
                    <a:pt x="2376" y="720"/>
                  </a:lnTo>
                  <a:lnTo>
                    <a:pt x="2377" y="720"/>
                  </a:lnTo>
                  <a:lnTo>
                    <a:pt x="2378" y="720"/>
                  </a:lnTo>
                  <a:lnTo>
                    <a:pt x="2379" y="720"/>
                  </a:lnTo>
                  <a:lnTo>
                    <a:pt x="2379" y="722"/>
                  </a:lnTo>
                  <a:lnTo>
                    <a:pt x="2380" y="722"/>
                  </a:lnTo>
                  <a:lnTo>
                    <a:pt x="2380" y="722"/>
                  </a:lnTo>
                  <a:lnTo>
                    <a:pt x="2380" y="722"/>
                  </a:lnTo>
                  <a:lnTo>
                    <a:pt x="2381" y="722"/>
                  </a:lnTo>
                  <a:lnTo>
                    <a:pt x="2381" y="722"/>
                  </a:lnTo>
                  <a:lnTo>
                    <a:pt x="2381" y="722"/>
                  </a:lnTo>
                  <a:lnTo>
                    <a:pt x="2381" y="723"/>
                  </a:lnTo>
                  <a:lnTo>
                    <a:pt x="2381" y="725"/>
                  </a:lnTo>
                  <a:lnTo>
                    <a:pt x="2381" y="725"/>
                  </a:lnTo>
                  <a:lnTo>
                    <a:pt x="2381" y="725"/>
                  </a:lnTo>
                  <a:lnTo>
                    <a:pt x="2382" y="725"/>
                  </a:lnTo>
                  <a:lnTo>
                    <a:pt x="2382" y="726"/>
                  </a:lnTo>
                  <a:lnTo>
                    <a:pt x="2382" y="726"/>
                  </a:lnTo>
                  <a:lnTo>
                    <a:pt x="2382" y="726"/>
                  </a:lnTo>
                  <a:lnTo>
                    <a:pt x="2383" y="726"/>
                  </a:lnTo>
                  <a:lnTo>
                    <a:pt x="2383" y="727"/>
                  </a:lnTo>
                  <a:lnTo>
                    <a:pt x="2383" y="727"/>
                  </a:lnTo>
                  <a:lnTo>
                    <a:pt x="2383" y="727"/>
                  </a:lnTo>
                  <a:lnTo>
                    <a:pt x="2383" y="728"/>
                  </a:lnTo>
                  <a:lnTo>
                    <a:pt x="2383" y="728"/>
                  </a:lnTo>
                  <a:lnTo>
                    <a:pt x="2383" y="729"/>
                  </a:lnTo>
                  <a:lnTo>
                    <a:pt x="2385" y="729"/>
                  </a:lnTo>
                  <a:lnTo>
                    <a:pt x="2385" y="729"/>
                  </a:lnTo>
                  <a:lnTo>
                    <a:pt x="2385" y="729"/>
                  </a:lnTo>
                  <a:lnTo>
                    <a:pt x="2385" y="729"/>
                  </a:lnTo>
                  <a:lnTo>
                    <a:pt x="2385" y="731"/>
                  </a:lnTo>
                  <a:lnTo>
                    <a:pt x="2385" y="731"/>
                  </a:lnTo>
                  <a:lnTo>
                    <a:pt x="2385" y="731"/>
                  </a:lnTo>
                  <a:lnTo>
                    <a:pt x="2385" y="731"/>
                  </a:lnTo>
                  <a:lnTo>
                    <a:pt x="2385" y="732"/>
                  </a:lnTo>
                  <a:lnTo>
                    <a:pt x="2386" y="732"/>
                  </a:lnTo>
                  <a:lnTo>
                    <a:pt x="2386" y="732"/>
                  </a:lnTo>
                  <a:lnTo>
                    <a:pt x="2386" y="732"/>
                  </a:lnTo>
                  <a:lnTo>
                    <a:pt x="2386" y="732"/>
                  </a:lnTo>
                  <a:lnTo>
                    <a:pt x="2387" y="732"/>
                  </a:lnTo>
                  <a:lnTo>
                    <a:pt x="2387" y="733"/>
                  </a:lnTo>
                  <a:lnTo>
                    <a:pt x="2387" y="733"/>
                  </a:lnTo>
                  <a:lnTo>
                    <a:pt x="2387" y="733"/>
                  </a:lnTo>
                  <a:lnTo>
                    <a:pt x="2387" y="733"/>
                  </a:lnTo>
                  <a:lnTo>
                    <a:pt x="2387" y="734"/>
                  </a:lnTo>
                  <a:lnTo>
                    <a:pt x="2388" y="734"/>
                  </a:lnTo>
                  <a:lnTo>
                    <a:pt x="2388" y="734"/>
                  </a:lnTo>
                  <a:lnTo>
                    <a:pt x="2388" y="735"/>
                  </a:lnTo>
                  <a:lnTo>
                    <a:pt x="2388" y="737"/>
                  </a:lnTo>
                  <a:lnTo>
                    <a:pt x="2388" y="737"/>
                  </a:lnTo>
                  <a:lnTo>
                    <a:pt x="2388" y="739"/>
                  </a:lnTo>
                  <a:lnTo>
                    <a:pt x="2387" y="739"/>
                  </a:lnTo>
                  <a:lnTo>
                    <a:pt x="2387" y="739"/>
                  </a:lnTo>
                  <a:lnTo>
                    <a:pt x="2387" y="739"/>
                  </a:lnTo>
                  <a:lnTo>
                    <a:pt x="2387" y="740"/>
                  </a:lnTo>
                  <a:lnTo>
                    <a:pt x="2388" y="740"/>
                  </a:lnTo>
                  <a:lnTo>
                    <a:pt x="2388" y="740"/>
                  </a:lnTo>
                  <a:lnTo>
                    <a:pt x="2390" y="740"/>
                  </a:lnTo>
                  <a:lnTo>
                    <a:pt x="2390" y="740"/>
                  </a:lnTo>
                  <a:lnTo>
                    <a:pt x="2390" y="740"/>
                  </a:lnTo>
                  <a:lnTo>
                    <a:pt x="2390" y="739"/>
                  </a:lnTo>
                  <a:lnTo>
                    <a:pt x="2393" y="739"/>
                  </a:lnTo>
                  <a:lnTo>
                    <a:pt x="2393" y="739"/>
                  </a:lnTo>
                  <a:lnTo>
                    <a:pt x="2393" y="739"/>
                  </a:lnTo>
                  <a:lnTo>
                    <a:pt x="2393" y="739"/>
                  </a:lnTo>
                  <a:lnTo>
                    <a:pt x="2393" y="739"/>
                  </a:lnTo>
                  <a:lnTo>
                    <a:pt x="2393" y="740"/>
                  </a:lnTo>
                  <a:lnTo>
                    <a:pt x="2393" y="740"/>
                  </a:lnTo>
                  <a:lnTo>
                    <a:pt x="2393" y="740"/>
                  </a:lnTo>
                  <a:lnTo>
                    <a:pt x="2393" y="740"/>
                  </a:lnTo>
                  <a:lnTo>
                    <a:pt x="2393" y="741"/>
                  </a:lnTo>
                  <a:lnTo>
                    <a:pt x="2394" y="741"/>
                  </a:lnTo>
                  <a:lnTo>
                    <a:pt x="2394" y="741"/>
                  </a:lnTo>
                  <a:lnTo>
                    <a:pt x="2394" y="742"/>
                  </a:lnTo>
                  <a:lnTo>
                    <a:pt x="2394" y="742"/>
                  </a:lnTo>
                  <a:lnTo>
                    <a:pt x="2394" y="743"/>
                  </a:lnTo>
                  <a:lnTo>
                    <a:pt x="2395" y="743"/>
                  </a:lnTo>
                  <a:lnTo>
                    <a:pt x="2395" y="743"/>
                  </a:lnTo>
                  <a:lnTo>
                    <a:pt x="2395" y="744"/>
                  </a:lnTo>
                  <a:lnTo>
                    <a:pt x="2395" y="744"/>
                  </a:lnTo>
                  <a:lnTo>
                    <a:pt x="2395" y="744"/>
                  </a:lnTo>
                  <a:lnTo>
                    <a:pt x="2395" y="744"/>
                  </a:lnTo>
                  <a:lnTo>
                    <a:pt x="2396" y="744"/>
                  </a:lnTo>
                  <a:lnTo>
                    <a:pt x="2396" y="744"/>
                  </a:lnTo>
                  <a:lnTo>
                    <a:pt x="2397" y="744"/>
                  </a:lnTo>
                  <a:lnTo>
                    <a:pt x="2397" y="744"/>
                  </a:lnTo>
                  <a:lnTo>
                    <a:pt x="2397" y="744"/>
                  </a:lnTo>
                  <a:lnTo>
                    <a:pt x="2398" y="744"/>
                  </a:lnTo>
                  <a:lnTo>
                    <a:pt x="2398" y="744"/>
                  </a:lnTo>
                  <a:lnTo>
                    <a:pt x="2398" y="744"/>
                  </a:lnTo>
                  <a:lnTo>
                    <a:pt x="2399" y="744"/>
                  </a:lnTo>
                  <a:lnTo>
                    <a:pt x="2399" y="744"/>
                  </a:lnTo>
                  <a:lnTo>
                    <a:pt x="2400" y="744"/>
                  </a:lnTo>
                  <a:lnTo>
                    <a:pt x="2400" y="744"/>
                  </a:lnTo>
                  <a:lnTo>
                    <a:pt x="2400" y="745"/>
                  </a:lnTo>
                  <a:lnTo>
                    <a:pt x="2400" y="745"/>
                  </a:lnTo>
                  <a:lnTo>
                    <a:pt x="2400" y="745"/>
                  </a:lnTo>
                  <a:lnTo>
                    <a:pt x="2400" y="745"/>
                  </a:lnTo>
                  <a:lnTo>
                    <a:pt x="2402" y="745"/>
                  </a:lnTo>
                  <a:lnTo>
                    <a:pt x="2402" y="745"/>
                  </a:lnTo>
                  <a:lnTo>
                    <a:pt x="2402" y="745"/>
                  </a:lnTo>
                  <a:lnTo>
                    <a:pt x="2402" y="745"/>
                  </a:lnTo>
                  <a:lnTo>
                    <a:pt x="2403" y="744"/>
                  </a:lnTo>
                  <a:lnTo>
                    <a:pt x="2403" y="744"/>
                  </a:lnTo>
                  <a:lnTo>
                    <a:pt x="2403" y="745"/>
                  </a:lnTo>
                  <a:lnTo>
                    <a:pt x="2404" y="745"/>
                  </a:lnTo>
                  <a:lnTo>
                    <a:pt x="2404" y="745"/>
                  </a:lnTo>
                  <a:lnTo>
                    <a:pt x="2405" y="745"/>
                  </a:lnTo>
                  <a:lnTo>
                    <a:pt x="2405" y="745"/>
                  </a:lnTo>
                  <a:lnTo>
                    <a:pt x="2405" y="745"/>
                  </a:lnTo>
                  <a:lnTo>
                    <a:pt x="2406" y="745"/>
                  </a:lnTo>
                  <a:lnTo>
                    <a:pt x="2406" y="745"/>
                  </a:lnTo>
                  <a:lnTo>
                    <a:pt x="2406" y="746"/>
                  </a:lnTo>
                  <a:lnTo>
                    <a:pt x="2406" y="746"/>
                  </a:lnTo>
                  <a:lnTo>
                    <a:pt x="2406" y="746"/>
                  </a:lnTo>
                  <a:lnTo>
                    <a:pt x="2407" y="746"/>
                  </a:lnTo>
                  <a:lnTo>
                    <a:pt x="2407" y="746"/>
                  </a:lnTo>
                  <a:lnTo>
                    <a:pt x="2407" y="748"/>
                  </a:lnTo>
                  <a:lnTo>
                    <a:pt x="2407" y="749"/>
                  </a:lnTo>
                  <a:lnTo>
                    <a:pt x="2407" y="749"/>
                  </a:lnTo>
                  <a:lnTo>
                    <a:pt x="2406" y="749"/>
                  </a:lnTo>
                  <a:lnTo>
                    <a:pt x="2406" y="749"/>
                  </a:lnTo>
                  <a:lnTo>
                    <a:pt x="2406" y="749"/>
                  </a:lnTo>
                  <a:lnTo>
                    <a:pt x="2406" y="748"/>
                  </a:lnTo>
                  <a:lnTo>
                    <a:pt x="2406" y="748"/>
                  </a:lnTo>
                  <a:lnTo>
                    <a:pt x="2406" y="748"/>
                  </a:lnTo>
                  <a:lnTo>
                    <a:pt x="2406" y="748"/>
                  </a:lnTo>
                  <a:lnTo>
                    <a:pt x="2406" y="748"/>
                  </a:lnTo>
                  <a:lnTo>
                    <a:pt x="2406" y="748"/>
                  </a:lnTo>
                  <a:lnTo>
                    <a:pt x="2406" y="748"/>
                  </a:lnTo>
                  <a:lnTo>
                    <a:pt x="2406" y="749"/>
                  </a:lnTo>
                  <a:lnTo>
                    <a:pt x="2406" y="749"/>
                  </a:lnTo>
                  <a:lnTo>
                    <a:pt x="2406" y="751"/>
                  </a:lnTo>
                  <a:lnTo>
                    <a:pt x="2406" y="751"/>
                  </a:lnTo>
                  <a:lnTo>
                    <a:pt x="2406" y="751"/>
                  </a:lnTo>
                  <a:lnTo>
                    <a:pt x="2406" y="751"/>
                  </a:lnTo>
                  <a:lnTo>
                    <a:pt x="2406" y="752"/>
                  </a:lnTo>
                  <a:lnTo>
                    <a:pt x="2406" y="752"/>
                  </a:lnTo>
                  <a:lnTo>
                    <a:pt x="2405" y="752"/>
                  </a:lnTo>
                  <a:lnTo>
                    <a:pt x="2405" y="753"/>
                  </a:lnTo>
                  <a:lnTo>
                    <a:pt x="2405" y="753"/>
                  </a:lnTo>
                  <a:lnTo>
                    <a:pt x="2405" y="753"/>
                  </a:lnTo>
                  <a:lnTo>
                    <a:pt x="2405" y="753"/>
                  </a:lnTo>
                  <a:lnTo>
                    <a:pt x="2405" y="753"/>
                  </a:lnTo>
                  <a:lnTo>
                    <a:pt x="2405" y="754"/>
                  </a:lnTo>
                  <a:lnTo>
                    <a:pt x="2405" y="754"/>
                  </a:lnTo>
                  <a:lnTo>
                    <a:pt x="2404" y="754"/>
                  </a:lnTo>
                  <a:lnTo>
                    <a:pt x="2404" y="754"/>
                  </a:lnTo>
                  <a:lnTo>
                    <a:pt x="2404" y="754"/>
                  </a:lnTo>
                  <a:lnTo>
                    <a:pt x="2404" y="754"/>
                  </a:lnTo>
                  <a:lnTo>
                    <a:pt x="2404" y="756"/>
                  </a:lnTo>
                  <a:lnTo>
                    <a:pt x="2404" y="756"/>
                  </a:lnTo>
                  <a:lnTo>
                    <a:pt x="2404" y="756"/>
                  </a:lnTo>
                  <a:lnTo>
                    <a:pt x="2404" y="756"/>
                  </a:lnTo>
                  <a:lnTo>
                    <a:pt x="2403" y="756"/>
                  </a:lnTo>
                  <a:lnTo>
                    <a:pt x="2403" y="757"/>
                  </a:lnTo>
                  <a:lnTo>
                    <a:pt x="2403" y="757"/>
                  </a:lnTo>
                  <a:lnTo>
                    <a:pt x="2403" y="757"/>
                  </a:lnTo>
                  <a:lnTo>
                    <a:pt x="2403" y="757"/>
                  </a:lnTo>
                  <a:lnTo>
                    <a:pt x="2403" y="758"/>
                  </a:lnTo>
                  <a:lnTo>
                    <a:pt x="2403" y="758"/>
                  </a:lnTo>
                  <a:lnTo>
                    <a:pt x="2404" y="759"/>
                  </a:lnTo>
                  <a:lnTo>
                    <a:pt x="2404" y="759"/>
                  </a:lnTo>
                  <a:lnTo>
                    <a:pt x="2404" y="759"/>
                  </a:lnTo>
                  <a:lnTo>
                    <a:pt x="2404" y="759"/>
                  </a:lnTo>
                  <a:lnTo>
                    <a:pt x="2404" y="760"/>
                  </a:lnTo>
                  <a:lnTo>
                    <a:pt x="2404" y="760"/>
                  </a:lnTo>
                  <a:lnTo>
                    <a:pt x="2404" y="760"/>
                  </a:lnTo>
                  <a:lnTo>
                    <a:pt x="2404" y="761"/>
                  </a:lnTo>
                  <a:lnTo>
                    <a:pt x="2404" y="761"/>
                  </a:lnTo>
                  <a:lnTo>
                    <a:pt x="2404" y="761"/>
                  </a:lnTo>
                  <a:lnTo>
                    <a:pt x="2403" y="761"/>
                  </a:lnTo>
                  <a:lnTo>
                    <a:pt x="2403" y="762"/>
                  </a:lnTo>
                  <a:lnTo>
                    <a:pt x="2404" y="762"/>
                  </a:lnTo>
                  <a:lnTo>
                    <a:pt x="2404" y="763"/>
                  </a:lnTo>
                  <a:lnTo>
                    <a:pt x="2404" y="763"/>
                  </a:lnTo>
                  <a:lnTo>
                    <a:pt x="2404" y="763"/>
                  </a:lnTo>
                  <a:lnTo>
                    <a:pt x="2405" y="763"/>
                  </a:lnTo>
                  <a:lnTo>
                    <a:pt x="2405" y="763"/>
                  </a:lnTo>
                  <a:lnTo>
                    <a:pt x="2405" y="763"/>
                  </a:lnTo>
                  <a:lnTo>
                    <a:pt x="2405" y="765"/>
                  </a:lnTo>
                  <a:lnTo>
                    <a:pt x="2405" y="765"/>
                  </a:lnTo>
                  <a:lnTo>
                    <a:pt x="2405" y="765"/>
                  </a:lnTo>
                  <a:lnTo>
                    <a:pt x="2405" y="765"/>
                  </a:lnTo>
                  <a:lnTo>
                    <a:pt x="2405" y="766"/>
                  </a:lnTo>
                  <a:lnTo>
                    <a:pt x="2406" y="768"/>
                  </a:lnTo>
                  <a:lnTo>
                    <a:pt x="2407" y="768"/>
                  </a:lnTo>
                  <a:lnTo>
                    <a:pt x="2407" y="768"/>
                  </a:lnTo>
                  <a:lnTo>
                    <a:pt x="2407" y="768"/>
                  </a:lnTo>
                  <a:lnTo>
                    <a:pt x="2407" y="769"/>
                  </a:lnTo>
                  <a:lnTo>
                    <a:pt x="2407" y="769"/>
                  </a:lnTo>
                  <a:lnTo>
                    <a:pt x="2407" y="769"/>
                  </a:lnTo>
                  <a:lnTo>
                    <a:pt x="2407" y="769"/>
                  </a:lnTo>
                  <a:lnTo>
                    <a:pt x="2407" y="769"/>
                  </a:lnTo>
                  <a:lnTo>
                    <a:pt x="2408" y="770"/>
                  </a:lnTo>
                  <a:lnTo>
                    <a:pt x="2408" y="770"/>
                  </a:lnTo>
                  <a:lnTo>
                    <a:pt x="2408" y="770"/>
                  </a:lnTo>
                  <a:lnTo>
                    <a:pt x="2408" y="771"/>
                  </a:lnTo>
                  <a:lnTo>
                    <a:pt x="2408" y="771"/>
                  </a:lnTo>
                  <a:lnTo>
                    <a:pt x="2408" y="772"/>
                  </a:lnTo>
                  <a:lnTo>
                    <a:pt x="2408" y="772"/>
                  </a:lnTo>
                  <a:lnTo>
                    <a:pt x="2410" y="774"/>
                  </a:lnTo>
                  <a:lnTo>
                    <a:pt x="2410" y="774"/>
                  </a:lnTo>
                  <a:lnTo>
                    <a:pt x="2410" y="774"/>
                  </a:lnTo>
                  <a:lnTo>
                    <a:pt x="2410" y="774"/>
                  </a:lnTo>
                  <a:lnTo>
                    <a:pt x="2410" y="774"/>
                  </a:lnTo>
                  <a:lnTo>
                    <a:pt x="2410" y="772"/>
                  </a:lnTo>
                  <a:lnTo>
                    <a:pt x="2410" y="772"/>
                  </a:lnTo>
                  <a:lnTo>
                    <a:pt x="2410" y="772"/>
                  </a:lnTo>
                  <a:lnTo>
                    <a:pt x="2410" y="772"/>
                  </a:lnTo>
                  <a:lnTo>
                    <a:pt x="2410" y="771"/>
                  </a:lnTo>
                  <a:lnTo>
                    <a:pt x="2408" y="771"/>
                  </a:lnTo>
                  <a:lnTo>
                    <a:pt x="2408" y="771"/>
                  </a:lnTo>
                  <a:lnTo>
                    <a:pt x="2408" y="771"/>
                  </a:lnTo>
                  <a:lnTo>
                    <a:pt x="2408" y="769"/>
                  </a:lnTo>
                  <a:lnTo>
                    <a:pt x="2408" y="769"/>
                  </a:lnTo>
                  <a:lnTo>
                    <a:pt x="2408" y="768"/>
                  </a:lnTo>
                  <a:lnTo>
                    <a:pt x="2408" y="768"/>
                  </a:lnTo>
                  <a:lnTo>
                    <a:pt x="2408" y="768"/>
                  </a:lnTo>
                  <a:lnTo>
                    <a:pt x="2408" y="768"/>
                  </a:lnTo>
                  <a:lnTo>
                    <a:pt x="2408" y="767"/>
                  </a:lnTo>
                  <a:lnTo>
                    <a:pt x="2410" y="767"/>
                  </a:lnTo>
                  <a:lnTo>
                    <a:pt x="2410" y="766"/>
                  </a:lnTo>
                  <a:lnTo>
                    <a:pt x="2410" y="766"/>
                  </a:lnTo>
                  <a:lnTo>
                    <a:pt x="2410" y="766"/>
                  </a:lnTo>
                  <a:lnTo>
                    <a:pt x="2410" y="766"/>
                  </a:lnTo>
                  <a:lnTo>
                    <a:pt x="2410" y="766"/>
                  </a:lnTo>
                  <a:lnTo>
                    <a:pt x="2410" y="765"/>
                  </a:lnTo>
                  <a:lnTo>
                    <a:pt x="2410" y="765"/>
                  </a:lnTo>
                  <a:lnTo>
                    <a:pt x="2410" y="763"/>
                  </a:lnTo>
                  <a:lnTo>
                    <a:pt x="2410" y="763"/>
                  </a:lnTo>
                  <a:lnTo>
                    <a:pt x="2410" y="763"/>
                  </a:lnTo>
                  <a:lnTo>
                    <a:pt x="2408" y="763"/>
                  </a:lnTo>
                  <a:lnTo>
                    <a:pt x="2408" y="763"/>
                  </a:lnTo>
                  <a:lnTo>
                    <a:pt x="2408" y="765"/>
                  </a:lnTo>
                  <a:lnTo>
                    <a:pt x="2407" y="765"/>
                  </a:lnTo>
                  <a:lnTo>
                    <a:pt x="2407" y="763"/>
                  </a:lnTo>
                  <a:lnTo>
                    <a:pt x="2408" y="762"/>
                  </a:lnTo>
                  <a:lnTo>
                    <a:pt x="2408" y="762"/>
                  </a:lnTo>
                  <a:lnTo>
                    <a:pt x="2408" y="762"/>
                  </a:lnTo>
                  <a:lnTo>
                    <a:pt x="2408" y="762"/>
                  </a:lnTo>
                  <a:lnTo>
                    <a:pt x="2408" y="761"/>
                  </a:lnTo>
                  <a:lnTo>
                    <a:pt x="2408" y="761"/>
                  </a:lnTo>
                  <a:lnTo>
                    <a:pt x="2410" y="761"/>
                  </a:lnTo>
                  <a:lnTo>
                    <a:pt x="2410" y="761"/>
                  </a:lnTo>
                  <a:lnTo>
                    <a:pt x="2410" y="761"/>
                  </a:lnTo>
                  <a:lnTo>
                    <a:pt x="2410" y="760"/>
                  </a:lnTo>
                  <a:lnTo>
                    <a:pt x="2410" y="760"/>
                  </a:lnTo>
                  <a:lnTo>
                    <a:pt x="2410" y="760"/>
                  </a:lnTo>
                  <a:lnTo>
                    <a:pt x="2410" y="760"/>
                  </a:lnTo>
                  <a:lnTo>
                    <a:pt x="2410" y="760"/>
                  </a:lnTo>
                  <a:lnTo>
                    <a:pt x="2411" y="759"/>
                  </a:lnTo>
                  <a:lnTo>
                    <a:pt x="2411" y="759"/>
                  </a:lnTo>
                  <a:lnTo>
                    <a:pt x="2411" y="759"/>
                  </a:lnTo>
                  <a:lnTo>
                    <a:pt x="2411" y="759"/>
                  </a:lnTo>
                  <a:lnTo>
                    <a:pt x="2411" y="759"/>
                  </a:lnTo>
                  <a:lnTo>
                    <a:pt x="2411" y="758"/>
                  </a:lnTo>
                  <a:lnTo>
                    <a:pt x="2412" y="758"/>
                  </a:lnTo>
                  <a:lnTo>
                    <a:pt x="2412" y="758"/>
                  </a:lnTo>
                  <a:lnTo>
                    <a:pt x="2412" y="758"/>
                  </a:lnTo>
                  <a:lnTo>
                    <a:pt x="2412" y="758"/>
                  </a:lnTo>
                  <a:lnTo>
                    <a:pt x="2412" y="758"/>
                  </a:lnTo>
                  <a:lnTo>
                    <a:pt x="2412" y="757"/>
                  </a:lnTo>
                  <a:lnTo>
                    <a:pt x="2413" y="757"/>
                  </a:lnTo>
                  <a:lnTo>
                    <a:pt x="2413" y="757"/>
                  </a:lnTo>
                  <a:lnTo>
                    <a:pt x="2413" y="757"/>
                  </a:lnTo>
                  <a:lnTo>
                    <a:pt x="2414" y="757"/>
                  </a:lnTo>
                  <a:lnTo>
                    <a:pt x="2414" y="757"/>
                  </a:lnTo>
                  <a:lnTo>
                    <a:pt x="2414" y="758"/>
                  </a:lnTo>
                  <a:lnTo>
                    <a:pt x="2415" y="758"/>
                  </a:lnTo>
                  <a:lnTo>
                    <a:pt x="2415" y="757"/>
                  </a:lnTo>
                  <a:lnTo>
                    <a:pt x="2416" y="757"/>
                  </a:lnTo>
                  <a:lnTo>
                    <a:pt x="2416" y="757"/>
                  </a:lnTo>
                  <a:lnTo>
                    <a:pt x="2419" y="757"/>
                  </a:lnTo>
                  <a:lnTo>
                    <a:pt x="2419" y="757"/>
                  </a:lnTo>
                  <a:lnTo>
                    <a:pt x="2419" y="757"/>
                  </a:lnTo>
                  <a:lnTo>
                    <a:pt x="2420" y="757"/>
                  </a:lnTo>
                  <a:lnTo>
                    <a:pt x="2420" y="757"/>
                  </a:lnTo>
                  <a:lnTo>
                    <a:pt x="2420" y="757"/>
                  </a:lnTo>
                  <a:lnTo>
                    <a:pt x="2422" y="757"/>
                  </a:lnTo>
                  <a:lnTo>
                    <a:pt x="2422" y="757"/>
                  </a:lnTo>
                  <a:lnTo>
                    <a:pt x="2422" y="757"/>
                  </a:lnTo>
                  <a:lnTo>
                    <a:pt x="2422" y="757"/>
                  </a:lnTo>
                  <a:lnTo>
                    <a:pt x="2423" y="757"/>
                  </a:lnTo>
                  <a:lnTo>
                    <a:pt x="2423" y="757"/>
                  </a:lnTo>
                  <a:lnTo>
                    <a:pt x="2423" y="757"/>
                  </a:lnTo>
                  <a:lnTo>
                    <a:pt x="2423" y="758"/>
                  </a:lnTo>
                  <a:lnTo>
                    <a:pt x="2423" y="758"/>
                  </a:lnTo>
                  <a:lnTo>
                    <a:pt x="2423" y="758"/>
                  </a:lnTo>
                  <a:lnTo>
                    <a:pt x="2423" y="759"/>
                  </a:lnTo>
                  <a:lnTo>
                    <a:pt x="2423" y="759"/>
                  </a:lnTo>
                  <a:lnTo>
                    <a:pt x="2423" y="760"/>
                  </a:lnTo>
                  <a:lnTo>
                    <a:pt x="2423" y="760"/>
                  </a:lnTo>
                  <a:lnTo>
                    <a:pt x="2424" y="761"/>
                  </a:lnTo>
                  <a:lnTo>
                    <a:pt x="2424" y="761"/>
                  </a:lnTo>
                  <a:lnTo>
                    <a:pt x="2424" y="761"/>
                  </a:lnTo>
                  <a:lnTo>
                    <a:pt x="2424" y="761"/>
                  </a:lnTo>
                  <a:lnTo>
                    <a:pt x="2424" y="762"/>
                  </a:lnTo>
                  <a:lnTo>
                    <a:pt x="2424" y="762"/>
                  </a:lnTo>
                  <a:lnTo>
                    <a:pt x="2424" y="762"/>
                  </a:lnTo>
                  <a:lnTo>
                    <a:pt x="2424" y="766"/>
                  </a:lnTo>
                  <a:lnTo>
                    <a:pt x="2425" y="766"/>
                  </a:lnTo>
                  <a:lnTo>
                    <a:pt x="2425" y="767"/>
                  </a:lnTo>
                  <a:lnTo>
                    <a:pt x="2425" y="767"/>
                  </a:lnTo>
                  <a:lnTo>
                    <a:pt x="2425" y="767"/>
                  </a:lnTo>
                  <a:lnTo>
                    <a:pt x="2425" y="767"/>
                  </a:lnTo>
                  <a:lnTo>
                    <a:pt x="2425" y="767"/>
                  </a:lnTo>
                  <a:lnTo>
                    <a:pt x="2425" y="767"/>
                  </a:lnTo>
                  <a:lnTo>
                    <a:pt x="2427" y="768"/>
                  </a:lnTo>
                  <a:lnTo>
                    <a:pt x="2427" y="768"/>
                  </a:lnTo>
                  <a:lnTo>
                    <a:pt x="2427" y="768"/>
                  </a:lnTo>
                  <a:lnTo>
                    <a:pt x="2427" y="768"/>
                  </a:lnTo>
                  <a:lnTo>
                    <a:pt x="2428" y="768"/>
                  </a:lnTo>
                  <a:lnTo>
                    <a:pt x="2428" y="768"/>
                  </a:lnTo>
                  <a:lnTo>
                    <a:pt x="2428" y="769"/>
                  </a:lnTo>
                  <a:lnTo>
                    <a:pt x="2428" y="769"/>
                  </a:lnTo>
                  <a:lnTo>
                    <a:pt x="2428" y="769"/>
                  </a:lnTo>
                  <a:lnTo>
                    <a:pt x="2428" y="769"/>
                  </a:lnTo>
                  <a:lnTo>
                    <a:pt x="2429" y="769"/>
                  </a:lnTo>
                  <a:lnTo>
                    <a:pt x="2429" y="769"/>
                  </a:lnTo>
                  <a:lnTo>
                    <a:pt x="2429" y="769"/>
                  </a:lnTo>
                  <a:lnTo>
                    <a:pt x="2429" y="770"/>
                  </a:lnTo>
                  <a:lnTo>
                    <a:pt x="2430" y="770"/>
                  </a:lnTo>
                  <a:lnTo>
                    <a:pt x="2430" y="770"/>
                  </a:lnTo>
                  <a:lnTo>
                    <a:pt x="2430" y="770"/>
                  </a:lnTo>
                  <a:lnTo>
                    <a:pt x="2431" y="770"/>
                  </a:lnTo>
                  <a:lnTo>
                    <a:pt x="2431" y="770"/>
                  </a:lnTo>
                  <a:lnTo>
                    <a:pt x="2431" y="770"/>
                  </a:lnTo>
                  <a:lnTo>
                    <a:pt x="2432" y="771"/>
                  </a:lnTo>
                  <a:lnTo>
                    <a:pt x="2432" y="771"/>
                  </a:lnTo>
                  <a:lnTo>
                    <a:pt x="2432" y="771"/>
                  </a:lnTo>
                  <a:lnTo>
                    <a:pt x="2432" y="771"/>
                  </a:lnTo>
                  <a:lnTo>
                    <a:pt x="2432" y="771"/>
                  </a:lnTo>
                  <a:lnTo>
                    <a:pt x="2432" y="772"/>
                  </a:lnTo>
                  <a:lnTo>
                    <a:pt x="2433" y="772"/>
                  </a:lnTo>
                  <a:lnTo>
                    <a:pt x="2433" y="772"/>
                  </a:lnTo>
                  <a:lnTo>
                    <a:pt x="2433" y="772"/>
                  </a:lnTo>
                  <a:lnTo>
                    <a:pt x="2433" y="772"/>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5"/>
                  </a:lnTo>
                  <a:lnTo>
                    <a:pt x="2434" y="775"/>
                  </a:lnTo>
                  <a:lnTo>
                    <a:pt x="2434" y="775"/>
                  </a:lnTo>
                  <a:lnTo>
                    <a:pt x="2434" y="775"/>
                  </a:lnTo>
                  <a:lnTo>
                    <a:pt x="2434" y="776"/>
                  </a:lnTo>
                  <a:close/>
                  <a:moveTo>
                    <a:pt x="2516" y="714"/>
                  </a:moveTo>
                  <a:lnTo>
                    <a:pt x="2516" y="714"/>
                  </a:lnTo>
                  <a:lnTo>
                    <a:pt x="2516" y="714"/>
                  </a:lnTo>
                  <a:lnTo>
                    <a:pt x="2516" y="714"/>
                  </a:lnTo>
                  <a:lnTo>
                    <a:pt x="2515" y="715"/>
                  </a:lnTo>
                  <a:lnTo>
                    <a:pt x="2515" y="715"/>
                  </a:lnTo>
                  <a:lnTo>
                    <a:pt x="2514" y="715"/>
                  </a:lnTo>
                  <a:lnTo>
                    <a:pt x="2514" y="715"/>
                  </a:lnTo>
                  <a:lnTo>
                    <a:pt x="2514" y="716"/>
                  </a:lnTo>
                  <a:lnTo>
                    <a:pt x="2514" y="716"/>
                  </a:lnTo>
                  <a:lnTo>
                    <a:pt x="2514" y="717"/>
                  </a:lnTo>
                  <a:lnTo>
                    <a:pt x="2514" y="718"/>
                  </a:lnTo>
                  <a:lnTo>
                    <a:pt x="2514" y="718"/>
                  </a:lnTo>
                  <a:lnTo>
                    <a:pt x="2513" y="718"/>
                  </a:lnTo>
                  <a:lnTo>
                    <a:pt x="2513" y="719"/>
                  </a:lnTo>
                  <a:lnTo>
                    <a:pt x="2511" y="719"/>
                  </a:lnTo>
                  <a:lnTo>
                    <a:pt x="2510" y="719"/>
                  </a:lnTo>
                  <a:lnTo>
                    <a:pt x="2510" y="719"/>
                  </a:lnTo>
                  <a:lnTo>
                    <a:pt x="2510" y="720"/>
                  </a:lnTo>
                  <a:lnTo>
                    <a:pt x="2510" y="720"/>
                  </a:lnTo>
                  <a:lnTo>
                    <a:pt x="2510" y="722"/>
                  </a:lnTo>
                  <a:lnTo>
                    <a:pt x="2509" y="723"/>
                  </a:lnTo>
                  <a:lnTo>
                    <a:pt x="2509" y="723"/>
                  </a:lnTo>
                  <a:lnTo>
                    <a:pt x="2508" y="723"/>
                  </a:lnTo>
                  <a:lnTo>
                    <a:pt x="2508" y="724"/>
                  </a:lnTo>
                  <a:lnTo>
                    <a:pt x="2507" y="724"/>
                  </a:lnTo>
                  <a:lnTo>
                    <a:pt x="2506" y="724"/>
                  </a:lnTo>
                  <a:lnTo>
                    <a:pt x="2505" y="724"/>
                  </a:lnTo>
                  <a:lnTo>
                    <a:pt x="2504" y="724"/>
                  </a:lnTo>
                  <a:lnTo>
                    <a:pt x="2504" y="724"/>
                  </a:lnTo>
                  <a:lnTo>
                    <a:pt x="2502" y="724"/>
                  </a:lnTo>
                  <a:lnTo>
                    <a:pt x="2502" y="724"/>
                  </a:lnTo>
                  <a:lnTo>
                    <a:pt x="2500" y="724"/>
                  </a:lnTo>
                  <a:lnTo>
                    <a:pt x="2500" y="724"/>
                  </a:lnTo>
                  <a:lnTo>
                    <a:pt x="2500" y="724"/>
                  </a:lnTo>
                  <a:lnTo>
                    <a:pt x="2499" y="724"/>
                  </a:lnTo>
                  <a:lnTo>
                    <a:pt x="2499" y="724"/>
                  </a:lnTo>
                  <a:lnTo>
                    <a:pt x="2497" y="724"/>
                  </a:lnTo>
                  <a:lnTo>
                    <a:pt x="2496" y="724"/>
                  </a:lnTo>
                  <a:lnTo>
                    <a:pt x="2496" y="724"/>
                  </a:lnTo>
                  <a:lnTo>
                    <a:pt x="2496" y="725"/>
                  </a:lnTo>
                  <a:lnTo>
                    <a:pt x="2496" y="725"/>
                  </a:lnTo>
                  <a:lnTo>
                    <a:pt x="2496" y="726"/>
                  </a:lnTo>
                  <a:lnTo>
                    <a:pt x="2494" y="725"/>
                  </a:lnTo>
                  <a:lnTo>
                    <a:pt x="2494" y="724"/>
                  </a:lnTo>
                  <a:lnTo>
                    <a:pt x="2496" y="724"/>
                  </a:lnTo>
                  <a:lnTo>
                    <a:pt x="2494" y="724"/>
                  </a:lnTo>
                  <a:lnTo>
                    <a:pt x="2494" y="724"/>
                  </a:lnTo>
                  <a:lnTo>
                    <a:pt x="2494" y="723"/>
                  </a:lnTo>
                  <a:lnTo>
                    <a:pt x="2493" y="723"/>
                  </a:lnTo>
                  <a:lnTo>
                    <a:pt x="2493" y="723"/>
                  </a:lnTo>
                  <a:lnTo>
                    <a:pt x="2493" y="722"/>
                  </a:lnTo>
                  <a:lnTo>
                    <a:pt x="2493" y="720"/>
                  </a:lnTo>
                  <a:lnTo>
                    <a:pt x="2493" y="720"/>
                  </a:lnTo>
                  <a:lnTo>
                    <a:pt x="2493" y="719"/>
                  </a:lnTo>
                  <a:lnTo>
                    <a:pt x="2492" y="719"/>
                  </a:lnTo>
                  <a:lnTo>
                    <a:pt x="2492" y="719"/>
                  </a:lnTo>
                  <a:lnTo>
                    <a:pt x="2491" y="719"/>
                  </a:lnTo>
                  <a:lnTo>
                    <a:pt x="2491" y="719"/>
                  </a:lnTo>
                  <a:lnTo>
                    <a:pt x="2490" y="720"/>
                  </a:lnTo>
                  <a:lnTo>
                    <a:pt x="2488" y="720"/>
                  </a:lnTo>
                  <a:lnTo>
                    <a:pt x="2487" y="719"/>
                  </a:lnTo>
                  <a:lnTo>
                    <a:pt x="2485" y="719"/>
                  </a:lnTo>
                  <a:lnTo>
                    <a:pt x="2484" y="719"/>
                  </a:lnTo>
                  <a:lnTo>
                    <a:pt x="2483" y="719"/>
                  </a:lnTo>
                  <a:lnTo>
                    <a:pt x="2483" y="719"/>
                  </a:lnTo>
                  <a:lnTo>
                    <a:pt x="2483" y="718"/>
                  </a:lnTo>
                  <a:lnTo>
                    <a:pt x="2482" y="718"/>
                  </a:lnTo>
                  <a:lnTo>
                    <a:pt x="2482" y="716"/>
                  </a:lnTo>
                  <a:lnTo>
                    <a:pt x="2483" y="715"/>
                  </a:lnTo>
                  <a:lnTo>
                    <a:pt x="2483" y="715"/>
                  </a:lnTo>
                  <a:lnTo>
                    <a:pt x="2483" y="715"/>
                  </a:lnTo>
                  <a:lnTo>
                    <a:pt x="2483" y="715"/>
                  </a:lnTo>
                  <a:lnTo>
                    <a:pt x="2483" y="714"/>
                  </a:lnTo>
                  <a:lnTo>
                    <a:pt x="2483" y="714"/>
                  </a:lnTo>
                  <a:lnTo>
                    <a:pt x="2483" y="712"/>
                  </a:lnTo>
                  <a:lnTo>
                    <a:pt x="2482" y="712"/>
                  </a:lnTo>
                  <a:lnTo>
                    <a:pt x="2482" y="711"/>
                  </a:lnTo>
                  <a:lnTo>
                    <a:pt x="2482" y="710"/>
                  </a:lnTo>
                  <a:lnTo>
                    <a:pt x="2482" y="710"/>
                  </a:lnTo>
                  <a:lnTo>
                    <a:pt x="2482" y="709"/>
                  </a:lnTo>
                  <a:lnTo>
                    <a:pt x="2483" y="709"/>
                  </a:lnTo>
                  <a:lnTo>
                    <a:pt x="2483" y="708"/>
                  </a:lnTo>
                  <a:lnTo>
                    <a:pt x="2483" y="708"/>
                  </a:lnTo>
                  <a:lnTo>
                    <a:pt x="2483" y="707"/>
                  </a:lnTo>
                  <a:lnTo>
                    <a:pt x="2483" y="707"/>
                  </a:lnTo>
                  <a:lnTo>
                    <a:pt x="2483" y="706"/>
                  </a:lnTo>
                  <a:lnTo>
                    <a:pt x="2484" y="706"/>
                  </a:lnTo>
                  <a:lnTo>
                    <a:pt x="2484" y="705"/>
                  </a:lnTo>
                  <a:lnTo>
                    <a:pt x="2484" y="705"/>
                  </a:lnTo>
                  <a:lnTo>
                    <a:pt x="2484" y="703"/>
                  </a:lnTo>
                  <a:lnTo>
                    <a:pt x="2484" y="703"/>
                  </a:lnTo>
                  <a:lnTo>
                    <a:pt x="2484" y="703"/>
                  </a:lnTo>
                  <a:lnTo>
                    <a:pt x="2485" y="702"/>
                  </a:lnTo>
                  <a:lnTo>
                    <a:pt x="2485" y="702"/>
                  </a:lnTo>
                  <a:lnTo>
                    <a:pt x="2485" y="701"/>
                  </a:lnTo>
                  <a:lnTo>
                    <a:pt x="2487" y="701"/>
                  </a:lnTo>
                  <a:lnTo>
                    <a:pt x="2487" y="701"/>
                  </a:lnTo>
                  <a:lnTo>
                    <a:pt x="2487" y="700"/>
                  </a:lnTo>
                  <a:lnTo>
                    <a:pt x="2487" y="700"/>
                  </a:lnTo>
                  <a:lnTo>
                    <a:pt x="2487" y="700"/>
                  </a:lnTo>
                  <a:lnTo>
                    <a:pt x="2487" y="699"/>
                  </a:lnTo>
                  <a:lnTo>
                    <a:pt x="2487" y="699"/>
                  </a:lnTo>
                  <a:lnTo>
                    <a:pt x="2487" y="699"/>
                  </a:lnTo>
                  <a:lnTo>
                    <a:pt x="2488" y="698"/>
                  </a:lnTo>
                  <a:lnTo>
                    <a:pt x="2488" y="698"/>
                  </a:lnTo>
                  <a:lnTo>
                    <a:pt x="2488" y="697"/>
                  </a:lnTo>
                  <a:lnTo>
                    <a:pt x="2488" y="695"/>
                  </a:lnTo>
                  <a:lnTo>
                    <a:pt x="2488" y="694"/>
                  </a:lnTo>
                  <a:lnTo>
                    <a:pt x="2488" y="694"/>
                  </a:lnTo>
                  <a:lnTo>
                    <a:pt x="2489" y="693"/>
                  </a:lnTo>
                  <a:lnTo>
                    <a:pt x="2489" y="693"/>
                  </a:lnTo>
                  <a:lnTo>
                    <a:pt x="2490" y="693"/>
                  </a:lnTo>
                  <a:lnTo>
                    <a:pt x="2490" y="692"/>
                  </a:lnTo>
                  <a:lnTo>
                    <a:pt x="2491" y="692"/>
                  </a:lnTo>
                  <a:lnTo>
                    <a:pt x="2491" y="693"/>
                  </a:lnTo>
                  <a:lnTo>
                    <a:pt x="2492" y="693"/>
                  </a:lnTo>
                  <a:lnTo>
                    <a:pt x="2492" y="692"/>
                  </a:lnTo>
                  <a:lnTo>
                    <a:pt x="2492" y="692"/>
                  </a:lnTo>
                  <a:lnTo>
                    <a:pt x="2492" y="692"/>
                  </a:lnTo>
                  <a:lnTo>
                    <a:pt x="2492" y="692"/>
                  </a:lnTo>
                  <a:lnTo>
                    <a:pt x="2496" y="692"/>
                  </a:lnTo>
                  <a:lnTo>
                    <a:pt x="2496" y="692"/>
                  </a:lnTo>
                  <a:lnTo>
                    <a:pt x="2496" y="691"/>
                  </a:lnTo>
                  <a:lnTo>
                    <a:pt x="2497" y="691"/>
                  </a:lnTo>
                  <a:lnTo>
                    <a:pt x="2497" y="692"/>
                  </a:lnTo>
                  <a:lnTo>
                    <a:pt x="2497" y="692"/>
                  </a:lnTo>
                  <a:lnTo>
                    <a:pt x="2497" y="693"/>
                  </a:lnTo>
                  <a:lnTo>
                    <a:pt x="2497" y="693"/>
                  </a:lnTo>
                  <a:lnTo>
                    <a:pt x="2496" y="693"/>
                  </a:lnTo>
                  <a:lnTo>
                    <a:pt x="2496" y="693"/>
                  </a:lnTo>
                  <a:lnTo>
                    <a:pt x="2496" y="694"/>
                  </a:lnTo>
                  <a:lnTo>
                    <a:pt x="2496" y="695"/>
                  </a:lnTo>
                  <a:lnTo>
                    <a:pt x="2496" y="695"/>
                  </a:lnTo>
                  <a:lnTo>
                    <a:pt x="2497" y="695"/>
                  </a:lnTo>
                  <a:lnTo>
                    <a:pt x="2497" y="695"/>
                  </a:lnTo>
                  <a:lnTo>
                    <a:pt x="2499" y="695"/>
                  </a:lnTo>
                  <a:lnTo>
                    <a:pt x="2499" y="695"/>
                  </a:lnTo>
                  <a:lnTo>
                    <a:pt x="2499" y="695"/>
                  </a:lnTo>
                  <a:lnTo>
                    <a:pt x="2499" y="695"/>
                  </a:lnTo>
                  <a:lnTo>
                    <a:pt x="2499" y="695"/>
                  </a:lnTo>
                  <a:lnTo>
                    <a:pt x="2500" y="695"/>
                  </a:lnTo>
                  <a:lnTo>
                    <a:pt x="2500" y="694"/>
                  </a:lnTo>
                  <a:lnTo>
                    <a:pt x="2500" y="694"/>
                  </a:lnTo>
                  <a:lnTo>
                    <a:pt x="2500" y="695"/>
                  </a:lnTo>
                  <a:lnTo>
                    <a:pt x="2500" y="695"/>
                  </a:lnTo>
                  <a:lnTo>
                    <a:pt x="2500" y="695"/>
                  </a:lnTo>
                  <a:lnTo>
                    <a:pt x="2500" y="694"/>
                  </a:lnTo>
                  <a:lnTo>
                    <a:pt x="2500" y="694"/>
                  </a:lnTo>
                  <a:lnTo>
                    <a:pt x="2501" y="694"/>
                  </a:lnTo>
                  <a:lnTo>
                    <a:pt x="2501" y="693"/>
                  </a:lnTo>
                  <a:lnTo>
                    <a:pt x="2501" y="693"/>
                  </a:lnTo>
                  <a:lnTo>
                    <a:pt x="2501" y="692"/>
                  </a:lnTo>
                  <a:lnTo>
                    <a:pt x="2501" y="692"/>
                  </a:lnTo>
                  <a:lnTo>
                    <a:pt x="2502" y="691"/>
                  </a:lnTo>
                  <a:lnTo>
                    <a:pt x="2501" y="691"/>
                  </a:lnTo>
                  <a:lnTo>
                    <a:pt x="2501" y="691"/>
                  </a:lnTo>
                  <a:lnTo>
                    <a:pt x="2502" y="690"/>
                  </a:lnTo>
                  <a:lnTo>
                    <a:pt x="2501" y="690"/>
                  </a:lnTo>
                  <a:lnTo>
                    <a:pt x="2501" y="689"/>
                  </a:lnTo>
                  <a:lnTo>
                    <a:pt x="2500" y="688"/>
                  </a:lnTo>
                  <a:lnTo>
                    <a:pt x="2500" y="686"/>
                  </a:lnTo>
                  <a:lnTo>
                    <a:pt x="2499" y="686"/>
                  </a:lnTo>
                  <a:lnTo>
                    <a:pt x="2499" y="686"/>
                  </a:lnTo>
                  <a:lnTo>
                    <a:pt x="2500" y="685"/>
                  </a:lnTo>
                  <a:lnTo>
                    <a:pt x="2500" y="686"/>
                  </a:lnTo>
                  <a:lnTo>
                    <a:pt x="2501" y="686"/>
                  </a:lnTo>
                  <a:lnTo>
                    <a:pt x="2502" y="686"/>
                  </a:lnTo>
                  <a:lnTo>
                    <a:pt x="2502" y="686"/>
                  </a:lnTo>
                  <a:lnTo>
                    <a:pt x="2504" y="686"/>
                  </a:lnTo>
                  <a:lnTo>
                    <a:pt x="2504" y="688"/>
                  </a:lnTo>
                  <a:lnTo>
                    <a:pt x="2504" y="688"/>
                  </a:lnTo>
                  <a:lnTo>
                    <a:pt x="2504" y="689"/>
                  </a:lnTo>
                  <a:lnTo>
                    <a:pt x="2504" y="689"/>
                  </a:lnTo>
                  <a:lnTo>
                    <a:pt x="2504" y="690"/>
                  </a:lnTo>
                  <a:lnTo>
                    <a:pt x="2504" y="690"/>
                  </a:lnTo>
                  <a:lnTo>
                    <a:pt x="2504" y="690"/>
                  </a:lnTo>
                  <a:lnTo>
                    <a:pt x="2504" y="691"/>
                  </a:lnTo>
                  <a:lnTo>
                    <a:pt x="2504" y="691"/>
                  </a:lnTo>
                  <a:lnTo>
                    <a:pt x="2505" y="690"/>
                  </a:lnTo>
                  <a:lnTo>
                    <a:pt x="2505" y="690"/>
                  </a:lnTo>
                  <a:lnTo>
                    <a:pt x="2506" y="690"/>
                  </a:lnTo>
                  <a:lnTo>
                    <a:pt x="2506" y="690"/>
                  </a:lnTo>
                  <a:lnTo>
                    <a:pt x="2507" y="690"/>
                  </a:lnTo>
                  <a:lnTo>
                    <a:pt x="2507" y="689"/>
                  </a:lnTo>
                  <a:lnTo>
                    <a:pt x="2508" y="689"/>
                  </a:lnTo>
                  <a:lnTo>
                    <a:pt x="2509" y="690"/>
                  </a:lnTo>
                  <a:lnTo>
                    <a:pt x="2509" y="690"/>
                  </a:lnTo>
                  <a:lnTo>
                    <a:pt x="2510" y="690"/>
                  </a:lnTo>
                  <a:lnTo>
                    <a:pt x="2510" y="690"/>
                  </a:lnTo>
                  <a:lnTo>
                    <a:pt x="2510" y="690"/>
                  </a:lnTo>
                  <a:lnTo>
                    <a:pt x="2510" y="691"/>
                  </a:lnTo>
                  <a:lnTo>
                    <a:pt x="2510" y="691"/>
                  </a:lnTo>
                  <a:lnTo>
                    <a:pt x="2510" y="691"/>
                  </a:lnTo>
                  <a:lnTo>
                    <a:pt x="2510" y="691"/>
                  </a:lnTo>
                  <a:lnTo>
                    <a:pt x="2509" y="691"/>
                  </a:lnTo>
                  <a:lnTo>
                    <a:pt x="2509" y="691"/>
                  </a:lnTo>
                  <a:lnTo>
                    <a:pt x="2509" y="692"/>
                  </a:lnTo>
                  <a:lnTo>
                    <a:pt x="2507" y="692"/>
                  </a:lnTo>
                  <a:lnTo>
                    <a:pt x="2507" y="692"/>
                  </a:lnTo>
                  <a:lnTo>
                    <a:pt x="2507" y="692"/>
                  </a:lnTo>
                  <a:lnTo>
                    <a:pt x="2508" y="692"/>
                  </a:lnTo>
                  <a:lnTo>
                    <a:pt x="2508" y="692"/>
                  </a:lnTo>
                  <a:lnTo>
                    <a:pt x="2510" y="692"/>
                  </a:lnTo>
                  <a:lnTo>
                    <a:pt x="2510" y="693"/>
                  </a:lnTo>
                  <a:lnTo>
                    <a:pt x="2510" y="693"/>
                  </a:lnTo>
                  <a:lnTo>
                    <a:pt x="2511" y="693"/>
                  </a:lnTo>
                  <a:lnTo>
                    <a:pt x="2510" y="693"/>
                  </a:lnTo>
                  <a:lnTo>
                    <a:pt x="2509" y="693"/>
                  </a:lnTo>
                  <a:lnTo>
                    <a:pt x="2509" y="693"/>
                  </a:lnTo>
                  <a:lnTo>
                    <a:pt x="2509" y="693"/>
                  </a:lnTo>
                  <a:lnTo>
                    <a:pt x="2508" y="693"/>
                  </a:lnTo>
                  <a:lnTo>
                    <a:pt x="2508" y="693"/>
                  </a:lnTo>
                  <a:lnTo>
                    <a:pt x="2508" y="694"/>
                  </a:lnTo>
                  <a:lnTo>
                    <a:pt x="2509" y="694"/>
                  </a:lnTo>
                  <a:lnTo>
                    <a:pt x="2509" y="694"/>
                  </a:lnTo>
                  <a:lnTo>
                    <a:pt x="2509" y="694"/>
                  </a:lnTo>
                  <a:lnTo>
                    <a:pt x="2510" y="694"/>
                  </a:lnTo>
                  <a:lnTo>
                    <a:pt x="2510" y="695"/>
                  </a:lnTo>
                  <a:lnTo>
                    <a:pt x="2510" y="695"/>
                  </a:lnTo>
                  <a:lnTo>
                    <a:pt x="2510" y="695"/>
                  </a:lnTo>
                  <a:lnTo>
                    <a:pt x="2511" y="695"/>
                  </a:lnTo>
                  <a:lnTo>
                    <a:pt x="2511" y="697"/>
                  </a:lnTo>
                  <a:lnTo>
                    <a:pt x="2510" y="697"/>
                  </a:lnTo>
                  <a:lnTo>
                    <a:pt x="2510" y="697"/>
                  </a:lnTo>
                  <a:lnTo>
                    <a:pt x="2509" y="697"/>
                  </a:lnTo>
                  <a:lnTo>
                    <a:pt x="2509" y="697"/>
                  </a:lnTo>
                  <a:lnTo>
                    <a:pt x="2508" y="697"/>
                  </a:lnTo>
                  <a:lnTo>
                    <a:pt x="2508" y="695"/>
                  </a:lnTo>
                  <a:lnTo>
                    <a:pt x="2506" y="695"/>
                  </a:lnTo>
                  <a:lnTo>
                    <a:pt x="2505" y="697"/>
                  </a:lnTo>
                  <a:lnTo>
                    <a:pt x="2505" y="697"/>
                  </a:lnTo>
                  <a:lnTo>
                    <a:pt x="2502" y="697"/>
                  </a:lnTo>
                  <a:lnTo>
                    <a:pt x="2502" y="698"/>
                  </a:lnTo>
                  <a:lnTo>
                    <a:pt x="2504" y="698"/>
                  </a:lnTo>
                  <a:lnTo>
                    <a:pt x="2504" y="699"/>
                  </a:lnTo>
                  <a:lnTo>
                    <a:pt x="2505" y="699"/>
                  </a:lnTo>
                  <a:lnTo>
                    <a:pt x="2506" y="698"/>
                  </a:lnTo>
                  <a:lnTo>
                    <a:pt x="2507" y="698"/>
                  </a:lnTo>
                  <a:lnTo>
                    <a:pt x="2507" y="698"/>
                  </a:lnTo>
                  <a:lnTo>
                    <a:pt x="2508" y="698"/>
                  </a:lnTo>
                  <a:lnTo>
                    <a:pt x="2509" y="698"/>
                  </a:lnTo>
                  <a:lnTo>
                    <a:pt x="2509" y="698"/>
                  </a:lnTo>
                  <a:lnTo>
                    <a:pt x="2510" y="698"/>
                  </a:lnTo>
                  <a:lnTo>
                    <a:pt x="2511" y="698"/>
                  </a:lnTo>
                  <a:lnTo>
                    <a:pt x="2511" y="698"/>
                  </a:lnTo>
                  <a:lnTo>
                    <a:pt x="2511" y="699"/>
                  </a:lnTo>
                  <a:lnTo>
                    <a:pt x="2513" y="699"/>
                  </a:lnTo>
                  <a:lnTo>
                    <a:pt x="2513" y="699"/>
                  </a:lnTo>
                  <a:lnTo>
                    <a:pt x="2513" y="699"/>
                  </a:lnTo>
                  <a:lnTo>
                    <a:pt x="2511" y="700"/>
                  </a:lnTo>
                  <a:lnTo>
                    <a:pt x="2511" y="699"/>
                  </a:lnTo>
                  <a:lnTo>
                    <a:pt x="2511" y="700"/>
                  </a:lnTo>
                  <a:lnTo>
                    <a:pt x="2511" y="701"/>
                  </a:lnTo>
                  <a:lnTo>
                    <a:pt x="2513" y="701"/>
                  </a:lnTo>
                  <a:lnTo>
                    <a:pt x="2513" y="702"/>
                  </a:lnTo>
                  <a:lnTo>
                    <a:pt x="2513" y="702"/>
                  </a:lnTo>
                  <a:lnTo>
                    <a:pt x="2513" y="705"/>
                  </a:lnTo>
                  <a:lnTo>
                    <a:pt x="2513" y="705"/>
                  </a:lnTo>
                  <a:lnTo>
                    <a:pt x="2511" y="706"/>
                  </a:lnTo>
                  <a:lnTo>
                    <a:pt x="2511" y="707"/>
                  </a:lnTo>
                  <a:lnTo>
                    <a:pt x="2513" y="708"/>
                  </a:lnTo>
                  <a:lnTo>
                    <a:pt x="2514" y="709"/>
                  </a:lnTo>
                  <a:lnTo>
                    <a:pt x="2514" y="709"/>
                  </a:lnTo>
                  <a:lnTo>
                    <a:pt x="2514" y="709"/>
                  </a:lnTo>
                  <a:lnTo>
                    <a:pt x="2514" y="710"/>
                  </a:lnTo>
                  <a:lnTo>
                    <a:pt x="2515" y="711"/>
                  </a:lnTo>
                  <a:lnTo>
                    <a:pt x="2516" y="711"/>
                  </a:lnTo>
                  <a:lnTo>
                    <a:pt x="2516" y="712"/>
                  </a:lnTo>
                  <a:lnTo>
                    <a:pt x="2516" y="714"/>
                  </a:lnTo>
                  <a:close/>
                  <a:moveTo>
                    <a:pt x="2524" y="685"/>
                  </a:moveTo>
                  <a:lnTo>
                    <a:pt x="2524" y="686"/>
                  </a:lnTo>
                  <a:lnTo>
                    <a:pt x="2523" y="686"/>
                  </a:lnTo>
                  <a:lnTo>
                    <a:pt x="2523" y="688"/>
                  </a:lnTo>
                  <a:lnTo>
                    <a:pt x="2522" y="688"/>
                  </a:lnTo>
                  <a:lnTo>
                    <a:pt x="2522" y="688"/>
                  </a:lnTo>
                  <a:lnTo>
                    <a:pt x="2522" y="688"/>
                  </a:lnTo>
                  <a:lnTo>
                    <a:pt x="2521" y="688"/>
                  </a:lnTo>
                  <a:lnTo>
                    <a:pt x="2519" y="689"/>
                  </a:lnTo>
                  <a:lnTo>
                    <a:pt x="2519" y="689"/>
                  </a:lnTo>
                  <a:lnTo>
                    <a:pt x="2518" y="689"/>
                  </a:lnTo>
                  <a:lnTo>
                    <a:pt x="2518" y="689"/>
                  </a:lnTo>
                  <a:lnTo>
                    <a:pt x="2517" y="689"/>
                  </a:lnTo>
                  <a:lnTo>
                    <a:pt x="2517" y="689"/>
                  </a:lnTo>
                  <a:lnTo>
                    <a:pt x="2517" y="689"/>
                  </a:lnTo>
                  <a:lnTo>
                    <a:pt x="2517" y="689"/>
                  </a:lnTo>
                  <a:lnTo>
                    <a:pt x="2517" y="688"/>
                  </a:lnTo>
                  <a:lnTo>
                    <a:pt x="2517" y="686"/>
                  </a:lnTo>
                  <a:lnTo>
                    <a:pt x="2517" y="686"/>
                  </a:lnTo>
                  <a:lnTo>
                    <a:pt x="2517" y="685"/>
                  </a:lnTo>
                  <a:lnTo>
                    <a:pt x="2517" y="685"/>
                  </a:lnTo>
                  <a:lnTo>
                    <a:pt x="2516" y="684"/>
                  </a:lnTo>
                  <a:lnTo>
                    <a:pt x="2516" y="684"/>
                  </a:lnTo>
                  <a:lnTo>
                    <a:pt x="2516" y="685"/>
                  </a:lnTo>
                  <a:lnTo>
                    <a:pt x="2516" y="685"/>
                  </a:lnTo>
                  <a:lnTo>
                    <a:pt x="2515" y="685"/>
                  </a:lnTo>
                  <a:lnTo>
                    <a:pt x="2515" y="685"/>
                  </a:lnTo>
                  <a:lnTo>
                    <a:pt x="2514" y="685"/>
                  </a:lnTo>
                  <a:lnTo>
                    <a:pt x="2514" y="685"/>
                  </a:lnTo>
                  <a:lnTo>
                    <a:pt x="2513" y="685"/>
                  </a:lnTo>
                  <a:lnTo>
                    <a:pt x="2513" y="685"/>
                  </a:lnTo>
                  <a:lnTo>
                    <a:pt x="2511" y="684"/>
                  </a:lnTo>
                  <a:lnTo>
                    <a:pt x="2511" y="684"/>
                  </a:lnTo>
                  <a:lnTo>
                    <a:pt x="2510" y="684"/>
                  </a:lnTo>
                  <a:lnTo>
                    <a:pt x="2510" y="684"/>
                  </a:lnTo>
                  <a:lnTo>
                    <a:pt x="2510" y="684"/>
                  </a:lnTo>
                  <a:lnTo>
                    <a:pt x="2509" y="684"/>
                  </a:lnTo>
                  <a:lnTo>
                    <a:pt x="2508" y="684"/>
                  </a:lnTo>
                  <a:lnTo>
                    <a:pt x="2507" y="684"/>
                  </a:lnTo>
                  <a:lnTo>
                    <a:pt x="2507" y="684"/>
                  </a:lnTo>
                  <a:lnTo>
                    <a:pt x="2506" y="683"/>
                  </a:lnTo>
                  <a:lnTo>
                    <a:pt x="2506" y="683"/>
                  </a:lnTo>
                  <a:lnTo>
                    <a:pt x="2506" y="682"/>
                  </a:lnTo>
                  <a:lnTo>
                    <a:pt x="2506" y="681"/>
                  </a:lnTo>
                  <a:lnTo>
                    <a:pt x="2507" y="681"/>
                  </a:lnTo>
                  <a:lnTo>
                    <a:pt x="2507" y="681"/>
                  </a:lnTo>
                  <a:lnTo>
                    <a:pt x="2508" y="680"/>
                  </a:lnTo>
                  <a:lnTo>
                    <a:pt x="2509" y="680"/>
                  </a:lnTo>
                  <a:lnTo>
                    <a:pt x="2509" y="680"/>
                  </a:lnTo>
                  <a:lnTo>
                    <a:pt x="2510" y="680"/>
                  </a:lnTo>
                  <a:lnTo>
                    <a:pt x="2511" y="680"/>
                  </a:lnTo>
                  <a:lnTo>
                    <a:pt x="2511" y="680"/>
                  </a:lnTo>
                  <a:lnTo>
                    <a:pt x="2511" y="681"/>
                  </a:lnTo>
                  <a:lnTo>
                    <a:pt x="2511" y="682"/>
                  </a:lnTo>
                  <a:lnTo>
                    <a:pt x="2511" y="682"/>
                  </a:lnTo>
                  <a:lnTo>
                    <a:pt x="2511" y="683"/>
                  </a:lnTo>
                  <a:lnTo>
                    <a:pt x="2513" y="683"/>
                  </a:lnTo>
                  <a:lnTo>
                    <a:pt x="2513" y="682"/>
                  </a:lnTo>
                  <a:lnTo>
                    <a:pt x="2513" y="682"/>
                  </a:lnTo>
                  <a:lnTo>
                    <a:pt x="2513" y="681"/>
                  </a:lnTo>
                  <a:lnTo>
                    <a:pt x="2513" y="681"/>
                  </a:lnTo>
                  <a:lnTo>
                    <a:pt x="2514" y="681"/>
                  </a:lnTo>
                  <a:lnTo>
                    <a:pt x="2514" y="682"/>
                  </a:lnTo>
                  <a:lnTo>
                    <a:pt x="2515" y="681"/>
                  </a:lnTo>
                  <a:lnTo>
                    <a:pt x="2515" y="681"/>
                  </a:lnTo>
                  <a:lnTo>
                    <a:pt x="2516" y="681"/>
                  </a:lnTo>
                  <a:lnTo>
                    <a:pt x="2517" y="680"/>
                  </a:lnTo>
                  <a:lnTo>
                    <a:pt x="2517" y="680"/>
                  </a:lnTo>
                  <a:lnTo>
                    <a:pt x="2516" y="680"/>
                  </a:lnTo>
                  <a:lnTo>
                    <a:pt x="2515" y="678"/>
                  </a:lnTo>
                  <a:lnTo>
                    <a:pt x="2514" y="678"/>
                  </a:lnTo>
                  <a:lnTo>
                    <a:pt x="2514" y="677"/>
                  </a:lnTo>
                  <a:lnTo>
                    <a:pt x="2515" y="677"/>
                  </a:lnTo>
                  <a:lnTo>
                    <a:pt x="2516" y="678"/>
                  </a:lnTo>
                  <a:lnTo>
                    <a:pt x="2516" y="678"/>
                  </a:lnTo>
                  <a:lnTo>
                    <a:pt x="2517" y="678"/>
                  </a:lnTo>
                  <a:lnTo>
                    <a:pt x="2517" y="678"/>
                  </a:lnTo>
                  <a:lnTo>
                    <a:pt x="2517" y="680"/>
                  </a:lnTo>
                  <a:lnTo>
                    <a:pt x="2517" y="680"/>
                  </a:lnTo>
                  <a:lnTo>
                    <a:pt x="2517" y="682"/>
                  </a:lnTo>
                  <a:lnTo>
                    <a:pt x="2517" y="682"/>
                  </a:lnTo>
                  <a:lnTo>
                    <a:pt x="2518" y="683"/>
                  </a:lnTo>
                  <a:lnTo>
                    <a:pt x="2518" y="683"/>
                  </a:lnTo>
                  <a:lnTo>
                    <a:pt x="2518" y="683"/>
                  </a:lnTo>
                  <a:lnTo>
                    <a:pt x="2519" y="683"/>
                  </a:lnTo>
                  <a:lnTo>
                    <a:pt x="2521" y="683"/>
                  </a:lnTo>
                  <a:lnTo>
                    <a:pt x="2522" y="683"/>
                  </a:lnTo>
                  <a:lnTo>
                    <a:pt x="2522" y="683"/>
                  </a:lnTo>
                  <a:lnTo>
                    <a:pt x="2523" y="683"/>
                  </a:lnTo>
                  <a:lnTo>
                    <a:pt x="2523" y="683"/>
                  </a:lnTo>
                  <a:lnTo>
                    <a:pt x="2524" y="683"/>
                  </a:lnTo>
                  <a:lnTo>
                    <a:pt x="2524" y="683"/>
                  </a:lnTo>
                  <a:lnTo>
                    <a:pt x="2524" y="683"/>
                  </a:lnTo>
                  <a:lnTo>
                    <a:pt x="2524" y="685"/>
                  </a:lnTo>
                  <a:close/>
                  <a:moveTo>
                    <a:pt x="2767" y="680"/>
                  </a:moveTo>
                  <a:lnTo>
                    <a:pt x="2767" y="682"/>
                  </a:lnTo>
                  <a:lnTo>
                    <a:pt x="2765" y="684"/>
                  </a:lnTo>
                  <a:lnTo>
                    <a:pt x="2760" y="683"/>
                  </a:lnTo>
                  <a:lnTo>
                    <a:pt x="2754" y="685"/>
                  </a:lnTo>
                  <a:lnTo>
                    <a:pt x="2752" y="683"/>
                  </a:lnTo>
                  <a:lnTo>
                    <a:pt x="2749" y="683"/>
                  </a:lnTo>
                  <a:lnTo>
                    <a:pt x="2744" y="682"/>
                  </a:lnTo>
                  <a:lnTo>
                    <a:pt x="2739" y="683"/>
                  </a:lnTo>
                  <a:lnTo>
                    <a:pt x="2737" y="682"/>
                  </a:lnTo>
                  <a:lnTo>
                    <a:pt x="2731" y="681"/>
                  </a:lnTo>
                  <a:lnTo>
                    <a:pt x="2722" y="682"/>
                  </a:lnTo>
                  <a:lnTo>
                    <a:pt x="2719" y="683"/>
                  </a:lnTo>
                  <a:lnTo>
                    <a:pt x="2718" y="680"/>
                  </a:lnTo>
                  <a:lnTo>
                    <a:pt x="2717" y="683"/>
                  </a:lnTo>
                  <a:lnTo>
                    <a:pt x="2712" y="684"/>
                  </a:lnTo>
                  <a:lnTo>
                    <a:pt x="2710" y="684"/>
                  </a:lnTo>
                  <a:lnTo>
                    <a:pt x="2710" y="686"/>
                  </a:lnTo>
                  <a:lnTo>
                    <a:pt x="2706" y="690"/>
                  </a:lnTo>
                  <a:lnTo>
                    <a:pt x="2704" y="690"/>
                  </a:lnTo>
                  <a:lnTo>
                    <a:pt x="2702" y="692"/>
                  </a:lnTo>
                  <a:lnTo>
                    <a:pt x="2702" y="697"/>
                  </a:lnTo>
                  <a:lnTo>
                    <a:pt x="2698" y="699"/>
                  </a:lnTo>
                  <a:lnTo>
                    <a:pt x="2698" y="701"/>
                  </a:lnTo>
                  <a:lnTo>
                    <a:pt x="2701" y="702"/>
                  </a:lnTo>
                  <a:lnTo>
                    <a:pt x="2700" y="708"/>
                  </a:lnTo>
                  <a:lnTo>
                    <a:pt x="2698" y="708"/>
                  </a:lnTo>
                  <a:lnTo>
                    <a:pt x="2698" y="707"/>
                  </a:lnTo>
                  <a:lnTo>
                    <a:pt x="2697" y="703"/>
                  </a:lnTo>
                  <a:lnTo>
                    <a:pt x="2693" y="699"/>
                  </a:lnTo>
                  <a:lnTo>
                    <a:pt x="2692" y="695"/>
                  </a:lnTo>
                  <a:lnTo>
                    <a:pt x="2693" y="693"/>
                  </a:lnTo>
                  <a:lnTo>
                    <a:pt x="2694" y="691"/>
                  </a:lnTo>
                  <a:lnTo>
                    <a:pt x="2693" y="688"/>
                  </a:lnTo>
                  <a:lnTo>
                    <a:pt x="2695" y="686"/>
                  </a:lnTo>
                  <a:lnTo>
                    <a:pt x="2697" y="685"/>
                  </a:lnTo>
                  <a:lnTo>
                    <a:pt x="2700" y="683"/>
                  </a:lnTo>
                  <a:lnTo>
                    <a:pt x="2702" y="682"/>
                  </a:lnTo>
                  <a:lnTo>
                    <a:pt x="2705" y="681"/>
                  </a:lnTo>
                  <a:lnTo>
                    <a:pt x="2706" y="677"/>
                  </a:lnTo>
                  <a:lnTo>
                    <a:pt x="2711" y="676"/>
                  </a:lnTo>
                  <a:lnTo>
                    <a:pt x="2712" y="677"/>
                  </a:lnTo>
                  <a:lnTo>
                    <a:pt x="2717" y="678"/>
                  </a:lnTo>
                  <a:lnTo>
                    <a:pt x="2722" y="677"/>
                  </a:lnTo>
                  <a:lnTo>
                    <a:pt x="2726" y="677"/>
                  </a:lnTo>
                  <a:lnTo>
                    <a:pt x="2728" y="676"/>
                  </a:lnTo>
                  <a:lnTo>
                    <a:pt x="2730" y="680"/>
                  </a:lnTo>
                  <a:lnTo>
                    <a:pt x="2738" y="680"/>
                  </a:lnTo>
                  <a:lnTo>
                    <a:pt x="2741" y="681"/>
                  </a:lnTo>
                  <a:lnTo>
                    <a:pt x="2744" y="680"/>
                  </a:lnTo>
                  <a:lnTo>
                    <a:pt x="2750" y="678"/>
                  </a:lnTo>
                  <a:lnTo>
                    <a:pt x="2756" y="682"/>
                  </a:lnTo>
                  <a:lnTo>
                    <a:pt x="2762" y="677"/>
                  </a:lnTo>
                  <a:lnTo>
                    <a:pt x="2764" y="680"/>
                  </a:lnTo>
                  <a:lnTo>
                    <a:pt x="2765" y="677"/>
                  </a:lnTo>
                  <a:lnTo>
                    <a:pt x="2769" y="676"/>
                  </a:lnTo>
                  <a:lnTo>
                    <a:pt x="2770" y="680"/>
                  </a:lnTo>
                  <a:lnTo>
                    <a:pt x="2767" y="680"/>
                  </a:lnTo>
                  <a:close/>
                  <a:moveTo>
                    <a:pt x="3189" y="518"/>
                  </a:moveTo>
                  <a:lnTo>
                    <a:pt x="3189" y="520"/>
                  </a:lnTo>
                  <a:lnTo>
                    <a:pt x="3188" y="526"/>
                  </a:lnTo>
                  <a:lnTo>
                    <a:pt x="3188" y="528"/>
                  </a:lnTo>
                  <a:lnTo>
                    <a:pt x="3185" y="534"/>
                  </a:lnTo>
                  <a:lnTo>
                    <a:pt x="3184" y="537"/>
                  </a:lnTo>
                  <a:lnTo>
                    <a:pt x="3184" y="541"/>
                  </a:lnTo>
                  <a:lnTo>
                    <a:pt x="3185" y="545"/>
                  </a:lnTo>
                  <a:lnTo>
                    <a:pt x="3183" y="547"/>
                  </a:lnTo>
                  <a:lnTo>
                    <a:pt x="3181" y="549"/>
                  </a:lnTo>
                  <a:lnTo>
                    <a:pt x="3180" y="553"/>
                  </a:lnTo>
                  <a:lnTo>
                    <a:pt x="3178" y="554"/>
                  </a:lnTo>
                  <a:lnTo>
                    <a:pt x="3178" y="552"/>
                  </a:lnTo>
                  <a:lnTo>
                    <a:pt x="3175" y="551"/>
                  </a:lnTo>
                  <a:lnTo>
                    <a:pt x="3171" y="556"/>
                  </a:lnTo>
                  <a:lnTo>
                    <a:pt x="3174" y="555"/>
                  </a:lnTo>
                  <a:lnTo>
                    <a:pt x="3176" y="556"/>
                  </a:lnTo>
                  <a:lnTo>
                    <a:pt x="3178" y="558"/>
                  </a:lnTo>
                  <a:lnTo>
                    <a:pt x="3174" y="561"/>
                  </a:lnTo>
                  <a:lnTo>
                    <a:pt x="3172" y="561"/>
                  </a:lnTo>
                  <a:lnTo>
                    <a:pt x="3168" y="563"/>
                  </a:lnTo>
                  <a:lnTo>
                    <a:pt x="3167" y="566"/>
                  </a:lnTo>
                  <a:lnTo>
                    <a:pt x="3163" y="570"/>
                  </a:lnTo>
                  <a:lnTo>
                    <a:pt x="3159" y="571"/>
                  </a:lnTo>
                  <a:lnTo>
                    <a:pt x="3157" y="572"/>
                  </a:lnTo>
                  <a:lnTo>
                    <a:pt x="3151" y="574"/>
                  </a:lnTo>
                  <a:lnTo>
                    <a:pt x="3149" y="575"/>
                  </a:lnTo>
                  <a:lnTo>
                    <a:pt x="3147" y="579"/>
                  </a:lnTo>
                  <a:lnTo>
                    <a:pt x="3145" y="578"/>
                  </a:lnTo>
                  <a:lnTo>
                    <a:pt x="3141" y="578"/>
                  </a:lnTo>
                  <a:lnTo>
                    <a:pt x="3140" y="579"/>
                  </a:lnTo>
                  <a:lnTo>
                    <a:pt x="3140" y="580"/>
                  </a:lnTo>
                  <a:lnTo>
                    <a:pt x="3140" y="581"/>
                  </a:lnTo>
                  <a:lnTo>
                    <a:pt x="3137" y="587"/>
                  </a:lnTo>
                  <a:lnTo>
                    <a:pt x="3134" y="589"/>
                  </a:lnTo>
                  <a:lnTo>
                    <a:pt x="3122" y="592"/>
                  </a:lnTo>
                  <a:lnTo>
                    <a:pt x="3120" y="594"/>
                  </a:lnTo>
                  <a:lnTo>
                    <a:pt x="3115" y="594"/>
                  </a:lnTo>
                  <a:lnTo>
                    <a:pt x="3107" y="591"/>
                  </a:lnTo>
                  <a:lnTo>
                    <a:pt x="3110" y="589"/>
                  </a:lnTo>
                  <a:lnTo>
                    <a:pt x="3115" y="588"/>
                  </a:lnTo>
                  <a:lnTo>
                    <a:pt x="3117" y="588"/>
                  </a:lnTo>
                  <a:lnTo>
                    <a:pt x="3120" y="587"/>
                  </a:lnTo>
                  <a:lnTo>
                    <a:pt x="3122" y="587"/>
                  </a:lnTo>
                  <a:lnTo>
                    <a:pt x="3125" y="586"/>
                  </a:lnTo>
                  <a:lnTo>
                    <a:pt x="3131" y="582"/>
                  </a:lnTo>
                  <a:lnTo>
                    <a:pt x="3134" y="577"/>
                  </a:lnTo>
                  <a:lnTo>
                    <a:pt x="3137" y="574"/>
                  </a:lnTo>
                  <a:lnTo>
                    <a:pt x="3142" y="572"/>
                  </a:lnTo>
                  <a:lnTo>
                    <a:pt x="3145" y="570"/>
                  </a:lnTo>
                  <a:lnTo>
                    <a:pt x="3148" y="566"/>
                  </a:lnTo>
                  <a:lnTo>
                    <a:pt x="3148" y="564"/>
                  </a:lnTo>
                  <a:lnTo>
                    <a:pt x="3150" y="562"/>
                  </a:lnTo>
                  <a:lnTo>
                    <a:pt x="3156" y="558"/>
                  </a:lnTo>
                  <a:lnTo>
                    <a:pt x="3161" y="553"/>
                  </a:lnTo>
                  <a:lnTo>
                    <a:pt x="3165" y="549"/>
                  </a:lnTo>
                  <a:lnTo>
                    <a:pt x="3168" y="544"/>
                  </a:lnTo>
                  <a:lnTo>
                    <a:pt x="3171" y="541"/>
                  </a:lnTo>
                  <a:lnTo>
                    <a:pt x="3171" y="539"/>
                  </a:lnTo>
                  <a:lnTo>
                    <a:pt x="3173" y="537"/>
                  </a:lnTo>
                  <a:lnTo>
                    <a:pt x="3174" y="535"/>
                  </a:lnTo>
                  <a:lnTo>
                    <a:pt x="3176" y="529"/>
                  </a:lnTo>
                  <a:lnTo>
                    <a:pt x="3180" y="526"/>
                  </a:lnTo>
                  <a:lnTo>
                    <a:pt x="3180" y="523"/>
                  </a:lnTo>
                  <a:lnTo>
                    <a:pt x="3180" y="520"/>
                  </a:lnTo>
                  <a:lnTo>
                    <a:pt x="3181" y="518"/>
                  </a:lnTo>
                  <a:lnTo>
                    <a:pt x="3185" y="513"/>
                  </a:lnTo>
                  <a:lnTo>
                    <a:pt x="3189" y="514"/>
                  </a:lnTo>
                  <a:lnTo>
                    <a:pt x="3185" y="513"/>
                  </a:lnTo>
                  <a:lnTo>
                    <a:pt x="3189" y="513"/>
                  </a:lnTo>
                  <a:lnTo>
                    <a:pt x="3190" y="514"/>
                  </a:lnTo>
                  <a:lnTo>
                    <a:pt x="3189"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a:lnSpc>
                  <a:spcPct val="90000"/>
                </a:lnSpc>
              </a:pPr>
              <a:endParaRPr lang="en-US"/>
            </a:p>
          </p:txBody>
        </p:sp>
      </p:grpSp>
      <p:sp>
        <p:nvSpPr>
          <p:cNvPr id="241" name="Title 240">
            <a:extLst>
              <a:ext uri="{FF2B5EF4-FFF2-40B4-BE49-F238E27FC236}">
                <a16:creationId xmlns:a16="http://schemas.microsoft.com/office/drawing/2014/main" id="{A4317007-E589-40AE-91B4-EC5BB4F04E21}"/>
              </a:ext>
            </a:extLst>
          </p:cNvPr>
          <p:cNvSpPr>
            <a:spLocks noGrp="1"/>
          </p:cNvSpPr>
          <p:nvPr>
            <p:ph type="title"/>
          </p:nvPr>
        </p:nvSpPr>
        <p:spPr/>
        <p:txBody>
          <a:bodyPr/>
          <a:lstStyle/>
          <a:p>
            <a:r>
              <a:rPr lang="en-US"/>
              <a:t>Click to edit Master title style</a:t>
            </a:r>
            <a:endParaRPr lang="en-AU"/>
          </a:p>
        </p:txBody>
      </p:sp>
      <p:sp>
        <p:nvSpPr>
          <p:cNvPr id="242" name="Subtitle">
            <a:extLst>
              <a:ext uri="{FF2B5EF4-FFF2-40B4-BE49-F238E27FC236}">
                <a16:creationId xmlns:a16="http://schemas.microsoft.com/office/drawing/2014/main" id="{A0867712-FA4E-470D-839B-6622239424C8}"/>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704323974"/>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ata 1.10 – 2 charts">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AU"/>
              <a:t>Copyright © 2022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6" name="Chart Placeholder 5"/>
          <p:cNvSpPr>
            <a:spLocks noGrp="1"/>
          </p:cNvSpPr>
          <p:nvPr>
            <p:ph type="chart" sz="quarter" idx="33"/>
          </p:nvPr>
        </p:nvSpPr>
        <p:spPr>
          <a:xfrm>
            <a:off x="5156170" y="1709209"/>
            <a:ext cx="2700000" cy="2700000"/>
          </a:xfrm>
        </p:spPr>
        <p:txBody>
          <a:bodyPr/>
          <a:lstStyle/>
          <a:p>
            <a:endParaRPr lang="en-US"/>
          </a:p>
        </p:txBody>
      </p:sp>
      <p:sp>
        <p:nvSpPr>
          <p:cNvPr id="15" name="Title 14"/>
          <p:cNvSpPr>
            <a:spLocks noGrp="1"/>
          </p:cNvSpPr>
          <p:nvPr>
            <p:ph type="title" hasCustomPrompt="1"/>
          </p:nvPr>
        </p:nvSpPr>
        <p:spPr>
          <a:xfrm>
            <a:off x="345018" y="1763713"/>
            <a:ext cx="3780000" cy="1168672"/>
          </a:xfrm>
        </p:spPr>
        <p:txBody>
          <a:bodyPr/>
          <a:lstStyle>
            <a:lvl1pPr>
              <a:defRPr/>
            </a:lvl1pPr>
          </a:lstStyle>
          <a:p>
            <a:r>
              <a:rPr lang="en-US"/>
              <a:t>Insert main title at 32pt min 30pt</a:t>
            </a:r>
            <a:br>
              <a:rPr lang="en-AU"/>
            </a:br>
            <a:r>
              <a:rPr lang="en-US"/>
              <a:t>maximum 3 lines</a:t>
            </a:r>
          </a:p>
        </p:txBody>
      </p:sp>
      <p:sp>
        <p:nvSpPr>
          <p:cNvPr id="7" name="Text Placeholder 5">
            <a:extLst>
              <a:ext uri="{FF2B5EF4-FFF2-40B4-BE49-F238E27FC236}">
                <a16:creationId xmlns:a16="http://schemas.microsoft.com/office/drawing/2014/main" id="{35E346B9-7D50-46D5-9B6B-CB1A1CBFB19E}"/>
              </a:ext>
            </a:extLst>
          </p:cNvPr>
          <p:cNvSpPr>
            <a:spLocks noGrp="1"/>
          </p:cNvSpPr>
          <p:nvPr>
            <p:ph type="body" sz="quarter" idx="45" hasCustomPrompt="1"/>
          </p:nvPr>
        </p:nvSpPr>
        <p:spPr>
          <a:xfrm>
            <a:off x="5156170" y="4603846"/>
            <a:ext cx="2700000" cy="737216"/>
          </a:xfrm>
        </p:spPr>
        <p:txBody>
          <a:bodyPr anchor="t"/>
          <a:lstStyle>
            <a:lvl1pPr algn="ctr">
              <a:spcBef>
                <a:spcPts val="0"/>
              </a:spcBef>
              <a:defRPr sz="1600" b="0">
                <a:solidFill>
                  <a:schemeClr val="tx1"/>
                </a:solidFill>
              </a:defRPr>
            </a:lvl1pPr>
          </a:lstStyle>
          <a:p>
            <a:pPr lvl="0"/>
            <a:r>
              <a:rPr lang="en-US"/>
              <a:t>Insert text maximum 3 lines, minimum 14pt with single line spacing</a:t>
            </a:r>
          </a:p>
        </p:txBody>
      </p:sp>
      <p:sp>
        <p:nvSpPr>
          <p:cNvPr id="8" name="Text Placeholder 2">
            <a:extLst>
              <a:ext uri="{FF2B5EF4-FFF2-40B4-BE49-F238E27FC236}">
                <a16:creationId xmlns:a16="http://schemas.microsoft.com/office/drawing/2014/main" id="{ADC4245F-F2CE-4176-9FE5-68A464872E97}"/>
              </a:ext>
            </a:extLst>
          </p:cNvPr>
          <p:cNvSpPr>
            <a:spLocks noGrp="1"/>
          </p:cNvSpPr>
          <p:nvPr>
            <p:ph type="body" sz="quarter" idx="36"/>
          </p:nvPr>
        </p:nvSpPr>
        <p:spPr>
          <a:xfrm>
            <a:off x="336550" y="3222625"/>
            <a:ext cx="3780000" cy="2835275"/>
          </a:xfrm>
        </p:spPr>
        <p:txBody>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
        <p:nvSpPr>
          <p:cNvPr id="11" name="Chart Placeholder 5">
            <a:extLst>
              <a:ext uri="{FF2B5EF4-FFF2-40B4-BE49-F238E27FC236}">
                <a16:creationId xmlns:a16="http://schemas.microsoft.com/office/drawing/2014/main" id="{087BCCEE-AA9B-483D-81D2-28C437027535}"/>
              </a:ext>
            </a:extLst>
          </p:cNvPr>
          <p:cNvSpPr>
            <a:spLocks noGrp="1"/>
          </p:cNvSpPr>
          <p:nvPr>
            <p:ph type="chart" sz="quarter" idx="46"/>
          </p:nvPr>
        </p:nvSpPr>
        <p:spPr>
          <a:xfrm>
            <a:off x="8576865" y="1709209"/>
            <a:ext cx="2700000" cy="2700000"/>
          </a:xfrm>
        </p:spPr>
        <p:txBody>
          <a:bodyPr/>
          <a:lstStyle/>
          <a:p>
            <a:endParaRPr lang="en-US"/>
          </a:p>
        </p:txBody>
      </p:sp>
      <p:sp>
        <p:nvSpPr>
          <p:cNvPr id="12" name="Text Placeholder 5">
            <a:extLst>
              <a:ext uri="{FF2B5EF4-FFF2-40B4-BE49-F238E27FC236}">
                <a16:creationId xmlns:a16="http://schemas.microsoft.com/office/drawing/2014/main" id="{444D3E53-ACF5-43AB-B894-49CC4AC80498}"/>
              </a:ext>
            </a:extLst>
          </p:cNvPr>
          <p:cNvSpPr>
            <a:spLocks noGrp="1"/>
          </p:cNvSpPr>
          <p:nvPr>
            <p:ph type="body" sz="quarter" idx="47" hasCustomPrompt="1"/>
          </p:nvPr>
        </p:nvSpPr>
        <p:spPr>
          <a:xfrm>
            <a:off x="8576865" y="4603846"/>
            <a:ext cx="2700000" cy="737216"/>
          </a:xfrm>
        </p:spPr>
        <p:txBody>
          <a:bodyPr anchor="t"/>
          <a:lstStyle>
            <a:lvl1pPr algn="ctr">
              <a:spcBef>
                <a:spcPts val="0"/>
              </a:spcBef>
              <a:defRPr sz="1600" b="0">
                <a:solidFill>
                  <a:schemeClr val="tx1"/>
                </a:solidFill>
              </a:defRPr>
            </a:lvl1pPr>
          </a:lstStyle>
          <a:p>
            <a:pPr lvl="0"/>
            <a:r>
              <a:rPr lang="en-US"/>
              <a:t>Insert text maximum 3 lines, minimum 14pt with single line spacing</a:t>
            </a:r>
          </a:p>
        </p:txBody>
      </p:sp>
    </p:spTree>
    <p:extLst>
      <p:ext uri="{BB962C8B-B14F-4D97-AF65-F5344CB8AC3E}">
        <p14:creationId xmlns:p14="http://schemas.microsoft.com/office/powerpoint/2010/main" val="3922287506"/>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Cover_AAI">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0FCA241-5040-4D25-BBE2-CD48119E382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7"/>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0"/>
          <a:stretch>
            <a:fillRect/>
          </a:stretch>
        </p:blipFill>
        <p:spPr>
          <a:xfrm>
            <a:off x="7751739" y="374650"/>
            <a:ext cx="1663200" cy="445737"/>
          </a:xfrm>
          <a:prstGeom prst="rect">
            <a:avLst/>
          </a:prstGeom>
        </p:spPr>
      </p:pic>
      <p:pic>
        <p:nvPicPr>
          <p:cNvPr id="304" name="Acc_CoreBrand_Logo_Black_Purple" hidden="1">
            <a:extLst>
              <a:ext uri="{FF2B5EF4-FFF2-40B4-BE49-F238E27FC236}">
                <a16:creationId xmlns:a16="http://schemas.microsoft.com/office/drawing/2014/main" id="{079A257B-549F-4450-95A9-7265440209B9}"/>
              </a:ext>
            </a:extLst>
          </p:cNvPr>
          <p:cNvPicPr>
            <a:picLocks noChangeAspect="1"/>
          </p:cNvPicPr>
          <p:nvPr/>
        </p:nvPicPr>
        <p:blipFill>
          <a:blip r:embed="rId11"/>
          <a:stretch>
            <a:fillRect/>
          </a:stretch>
        </p:blipFill>
        <p:spPr>
          <a:xfrm>
            <a:off x="7751739" y="374650"/>
            <a:ext cx="1663200" cy="445738"/>
          </a:xfrm>
          <a:prstGeom prst="rect">
            <a:avLst/>
          </a:prstGeom>
        </p:spPr>
      </p:pic>
      <p:sp>
        <p:nvSpPr>
          <p:cNvPr id="22" name="Subtitle (3rd Level)">
            <a:extLst>
              <a:ext uri="{FF2B5EF4-FFF2-40B4-BE49-F238E27FC236}">
                <a16:creationId xmlns:a16="http://schemas.microsoft.com/office/drawing/2014/main" id="{BA2A4EF5-0A5E-4F4F-B044-8D91FBC4F391}"/>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3" name="Long Subline">
            <a:extLst>
              <a:ext uri="{FF2B5EF4-FFF2-40B4-BE49-F238E27FC236}">
                <a16:creationId xmlns:a16="http://schemas.microsoft.com/office/drawing/2014/main" id="{460327B0-353D-46AA-B54E-5179542E68B3}"/>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4" name="MasterTitle">
            <a:extLst>
              <a:ext uri="{FF2B5EF4-FFF2-40B4-BE49-F238E27FC236}">
                <a16:creationId xmlns:a16="http://schemas.microsoft.com/office/drawing/2014/main" id="{46C97AB3-E801-482B-8A1C-5A2635F08367}"/>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6" name="Acc_Applied_Intell_Wordmark_BLK Colour Positive">
            <a:extLst>
              <a:ext uri="{FF2B5EF4-FFF2-40B4-BE49-F238E27FC236}">
                <a16:creationId xmlns:a16="http://schemas.microsoft.com/office/drawing/2014/main" id="{DC6B255F-406F-4DDF-AEBB-6289DF8A0062}"/>
              </a:ext>
            </a:extLst>
          </p:cNvPr>
          <p:cNvPicPr>
            <a:picLocks noChangeAspect="1"/>
          </p:cNvPicPr>
          <p:nvPr userDrawn="1"/>
        </p:nvPicPr>
        <p:blipFill>
          <a:blip r:embed="rId12">
            <a:biLevel thresh="75000"/>
          </a:blip>
          <a:stretch>
            <a:fillRect/>
          </a:stretch>
        </p:blipFill>
        <p:spPr>
          <a:xfrm>
            <a:off x="1461439" y="716491"/>
            <a:ext cx="4885196" cy="347826"/>
          </a:xfrm>
          <a:prstGeom prst="rect">
            <a:avLst/>
          </a:prstGeom>
        </p:spPr>
      </p:pic>
    </p:spTree>
    <p:extLst>
      <p:ext uri="{BB962C8B-B14F-4D97-AF65-F5344CB8AC3E}">
        <p14:creationId xmlns:p14="http://schemas.microsoft.com/office/powerpoint/2010/main" val="189612493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ata 1.11 – 3 charts">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AU"/>
              <a:t>Copyright © 2022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5" name="Title 14"/>
          <p:cNvSpPr>
            <a:spLocks noGrp="1"/>
          </p:cNvSpPr>
          <p:nvPr>
            <p:ph type="title" hasCustomPrompt="1"/>
          </p:nvPr>
        </p:nvSpPr>
        <p:spPr>
          <a:xfrm>
            <a:off x="345018" y="1763713"/>
            <a:ext cx="3780000" cy="1168672"/>
          </a:xfrm>
        </p:spPr>
        <p:txBody>
          <a:bodyPr/>
          <a:lstStyle>
            <a:lvl1pPr>
              <a:defRPr/>
            </a:lvl1pPr>
          </a:lstStyle>
          <a:p>
            <a:r>
              <a:rPr lang="en-US"/>
              <a:t>Insert main title at 32pt min 30pt</a:t>
            </a:r>
            <a:br>
              <a:rPr lang="en-AU"/>
            </a:br>
            <a:r>
              <a:rPr lang="en-US"/>
              <a:t>maximum 3 lines</a:t>
            </a:r>
          </a:p>
        </p:txBody>
      </p:sp>
      <p:sp>
        <p:nvSpPr>
          <p:cNvPr id="7" name="Text Placeholder 2">
            <a:extLst>
              <a:ext uri="{FF2B5EF4-FFF2-40B4-BE49-F238E27FC236}">
                <a16:creationId xmlns:a16="http://schemas.microsoft.com/office/drawing/2014/main" id="{4355BA54-C4CA-46D1-B004-6604D8955C0B}"/>
              </a:ext>
            </a:extLst>
          </p:cNvPr>
          <p:cNvSpPr>
            <a:spLocks noGrp="1"/>
          </p:cNvSpPr>
          <p:nvPr>
            <p:ph type="body" sz="quarter" idx="36"/>
          </p:nvPr>
        </p:nvSpPr>
        <p:spPr>
          <a:xfrm>
            <a:off x="336550" y="3222625"/>
            <a:ext cx="3780000" cy="2835275"/>
          </a:xfrm>
        </p:spPr>
        <p:txBody>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
        <p:nvSpPr>
          <p:cNvPr id="38" name="Chart Placeholder 5">
            <a:extLst>
              <a:ext uri="{FF2B5EF4-FFF2-40B4-BE49-F238E27FC236}">
                <a16:creationId xmlns:a16="http://schemas.microsoft.com/office/drawing/2014/main" id="{6E2E5628-D506-417C-8CD2-61CCC0AA857B}"/>
              </a:ext>
            </a:extLst>
          </p:cNvPr>
          <p:cNvSpPr>
            <a:spLocks noGrp="1" noChangeAspect="1"/>
          </p:cNvSpPr>
          <p:nvPr>
            <p:ph type="chart" sz="quarter" idx="37"/>
          </p:nvPr>
        </p:nvSpPr>
        <p:spPr>
          <a:xfrm>
            <a:off x="4994006" y="1713313"/>
            <a:ext cx="1656000" cy="1656000"/>
          </a:xfrm>
        </p:spPr>
        <p:txBody>
          <a:bodyPr/>
          <a:lstStyle/>
          <a:p>
            <a:endParaRPr lang="en-US"/>
          </a:p>
        </p:txBody>
      </p:sp>
      <p:sp>
        <p:nvSpPr>
          <p:cNvPr id="39" name="Text Placeholder 5">
            <a:extLst>
              <a:ext uri="{FF2B5EF4-FFF2-40B4-BE49-F238E27FC236}">
                <a16:creationId xmlns:a16="http://schemas.microsoft.com/office/drawing/2014/main" id="{84237B9A-8AAA-4516-B3DD-DEA759226BA4}"/>
              </a:ext>
            </a:extLst>
          </p:cNvPr>
          <p:cNvSpPr>
            <a:spLocks noGrp="1"/>
          </p:cNvSpPr>
          <p:nvPr>
            <p:ph type="body" sz="quarter" idx="45" hasCustomPrompt="1"/>
          </p:nvPr>
        </p:nvSpPr>
        <p:spPr>
          <a:xfrm>
            <a:off x="4814006" y="3515605"/>
            <a:ext cx="2016000" cy="2540707"/>
          </a:xfrm>
        </p:spPr>
        <p:txBody>
          <a:bodyPr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40" name="Chart Placeholder 5">
            <a:extLst>
              <a:ext uri="{FF2B5EF4-FFF2-40B4-BE49-F238E27FC236}">
                <a16:creationId xmlns:a16="http://schemas.microsoft.com/office/drawing/2014/main" id="{55A7B6EA-B26C-4F34-B83F-511E6823D754}"/>
              </a:ext>
            </a:extLst>
          </p:cNvPr>
          <p:cNvSpPr>
            <a:spLocks noGrp="1" noChangeAspect="1"/>
          </p:cNvSpPr>
          <p:nvPr>
            <p:ph type="chart" sz="quarter" idx="46"/>
          </p:nvPr>
        </p:nvSpPr>
        <p:spPr>
          <a:xfrm>
            <a:off x="7505935" y="1713313"/>
            <a:ext cx="1656000" cy="1656000"/>
          </a:xfrm>
        </p:spPr>
        <p:txBody>
          <a:bodyPr/>
          <a:lstStyle/>
          <a:p>
            <a:endParaRPr lang="en-US"/>
          </a:p>
        </p:txBody>
      </p:sp>
      <p:sp>
        <p:nvSpPr>
          <p:cNvPr id="41" name="Text Placeholder 5">
            <a:extLst>
              <a:ext uri="{FF2B5EF4-FFF2-40B4-BE49-F238E27FC236}">
                <a16:creationId xmlns:a16="http://schemas.microsoft.com/office/drawing/2014/main" id="{835F5F51-B155-40CC-A33F-1DFEAF01E5F0}"/>
              </a:ext>
            </a:extLst>
          </p:cNvPr>
          <p:cNvSpPr>
            <a:spLocks noGrp="1"/>
          </p:cNvSpPr>
          <p:nvPr>
            <p:ph type="body" sz="quarter" idx="47" hasCustomPrompt="1"/>
          </p:nvPr>
        </p:nvSpPr>
        <p:spPr>
          <a:xfrm>
            <a:off x="7325935" y="3515605"/>
            <a:ext cx="2016000" cy="2540707"/>
          </a:xfrm>
        </p:spPr>
        <p:txBody>
          <a:bodyPr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42" name="Chart Placeholder 5">
            <a:extLst>
              <a:ext uri="{FF2B5EF4-FFF2-40B4-BE49-F238E27FC236}">
                <a16:creationId xmlns:a16="http://schemas.microsoft.com/office/drawing/2014/main" id="{2FA61365-08F3-4538-8FE1-666E3FA685D8}"/>
              </a:ext>
            </a:extLst>
          </p:cNvPr>
          <p:cNvSpPr>
            <a:spLocks noGrp="1" noChangeAspect="1"/>
          </p:cNvSpPr>
          <p:nvPr>
            <p:ph type="chart" sz="quarter" idx="48"/>
          </p:nvPr>
        </p:nvSpPr>
        <p:spPr>
          <a:xfrm>
            <a:off x="10017863" y="1713313"/>
            <a:ext cx="1656000" cy="1656000"/>
          </a:xfrm>
        </p:spPr>
        <p:txBody>
          <a:bodyPr/>
          <a:lstStyle/>
          <a:p>
            <a:endParaRPr lang="en-US"/>
          </a:p>
        </p:txBody>
      </p:sp>
      <p:sp>
        <p:nvSpPr>
          <p:cNvPr id="43" name="Text Placeholder 5">
            <a:extLst>
              <a:ext uri="{FF2B5EF4-FFF2-40B4-BE49-F238E27FC236}">
                <a16:creationId xmlns:a16="http://schemas.microsoft.com/office/drawing/2014/main" id="{E5904205-A152-47E0-A22D-B1721F35CF12}"/>
              </a:ext>
            </a:extLst>
          </p:cNvPr>
          <p:cNvSpPr>
            <a:spLocks noGrp="1"/>
          </p:cNvSpPr>
          <p:nvPr>
            <p:ph type="body" sz="quarter" idx="49" hasCustomPrompt="1"/>
          </p:nvPr>
        </p:nvSpPr>
        <p:spPr>
          <a:xfrm>
            <a:off x="9837863" y="3515605"/>
            <a:ext cx="2016000" cy="2540707"/>
          </a:xfrm>
        </p:spPr>
        <p:txBody>
          <a:bodyPr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Tree>
    <p:extLst>
      <p:ext uri="{BB962C8B-B14F-4D97-AF65-F5344CB8AC3E}">
        <p14:creationId xmlns:p14="http://schemas.microsoft.com/office/powerpoint/2010/main" val="2137302956"/>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ata 1.12 – 4 charts">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AU"/>
              <a:t>Copyright © 2022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8" name="Chart Placeholder 5">
            <a:extLst>
              <a:ext uri="{FF2B5EF4-FFF2-40B4-BE49-F238E27FC236}">
                <a16:creationId xmlns:a16="http://schemas.microsoft.com/office/drawing/2014/main" id="{1EDC7A07-DD9E-43B1-A097-7057C5337015}"/>
              </a:ext>
            </a:extLst>
          </p:cNvPr>
          <p:cNvSpPr>
            <a:spLocks noGrp="1" noChangeAspect="1"/>
          </p:cNvSpPr>
          <p:nvPr>
            <p:ph type="chart" sz="quarter" idx="37"/>
          </p:nvPr>
        </p:nvSpPr>
        <p:spPr>
          <a:xfrm>
            <a:off x="4786536" y="1725700"/>
            <a:ext cx="1368000" cy="1368000"/>
          </a:xfrm>
        </p:spPr>
        <p:txBody>
          <a:bodyPr/>
          <a:lstStyle/>
          <a:p>
            <a:endParaRPr lang="en-US"/>
          </a:p>
        </p:txBody>
      </p:sp>
      <p:sp>
        <p:nvSpPr>
          <p:cNvPr id="10" name="Text Placeholder 5">
            <a:extLst>
              <a:ext uri="{FF2B5EF4-FFF2-40B4-BE49-F238E27FC236}">
                <a16:creationId xmlns:a16="http://schemas.microsoft.com/office/drawing/2014/main" id="{5E9DA5B5-A33D-4295-984D-C1ECB0A8752B}"/>
              </a:ext>
            </a:extLst>
          </p:cNvPr>
          <p:cNvSpPr>
            <a:spLocks noGrp="1"/>
          </p:cNvSpPr>
          <p:nvPr>
            <p:ph type="body" sz="quarter" idx="45" hasCustomPrompt="1"/>
          </p:nvPr>
        </p:nvSpPr>
        <p:spPr>
          <a:xfrm>
            <a:off x="4660536" y="3769298"/>
            <a:ext cx="1620000" cy="1505405"/>
          </a:xfrm>
        </p:spPr>
        <p:txBody>
          <a:bodyPr lIns="0" tIns="0" rIns="0"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12" name="Chart Placeholder 5">
            <a:extLst>
              <a:ext uri="{FF2B5EF4-FFF2-40B4-BE49-F238E27FC236}">
                <a16:creationId xmlns:a16="http://schemas.microsoft.com/office/drawing/2014/main" id="{A8E36424-CB6B-4351-94B1-8C00A40EF549}"/>
              </a:ext>
            </a:extLst>
          </p:cNvPr>
          <p:cNvSpPr>
            <a:spLocks noGrp="1" noChangeAspect="1"/>
          </p:cNvSpPr>
          <p:nvPr>
            <p:ph type="chart" sz="quarter" idx="46"/>
          </p:nvPr>
        </p:nvSpPr>
        <p:spPr>
          <a:xfrm>
            <a:off x="6643703" y="1725700"/>
            <a:ext cx="1368000" cy="1368000"/>
          </a:xfrm>
        </p:spPr>
        <p:txBody>
          <a:bodyPr/>
          <a:lstStyle/>
          <a:p>
            <a:endParaRPr lang="en-US"/>
          </a:p>
        </p:txBody>
      </p:sp>
      <p:sp>
        <p:nvSpPr>
          <p:cNvPr id="14" name="Text Placeholder 5">
            <a:extLst>
              <a:ext uri="{FF2B5EF4-FFF2-40B4-BE49-F238E27FC236}">
                <a16:creationId xmlns:a16="http://schemas.microsoft.com/office/drawing/2014/main" id="{9989B54D-209A-40C5-9EE6-40A0DF4DA950}"/>
              </a:ext>
            </a:extLst>
          </p:cNvPr>
          <p:cNvSpPr>
            <a:spLocks noGrp="1"/>
          </p:cNvSpPr>
          <p:nvPr>
            <p:ph type="body" sz="quarter" idx="47" hasCustomPrompt="1"/>
          </p:nvPr>
        </p:nvSpPr>
        <p:spPr>
          <a:xfrm>
            <a:off x="6517703" y="3769298"/>
            <a:ext cx="1620000" cy="1505405"/>
          </a:xfrm>
        </p:spPr>
        <p:txBody>
          <a:bodyPr lIns="0" tIns="0" rIns="0"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16" name="Chart Placeholder 5">
            <a:extLst>
              <a:ext uri="{FF2B5EF4-FFF2-40B4-BE49-F238E27FC236}">
                <a16:creationId xmlns:a16="http://schemas.microsoft.com/office/drawing/2014/main" id="{A5F814F9-1624-48F0-AADA-CD4AA6742C8A}"/>
              </a:ext>
            </a:extLst>
          </p:cNvPr>
          <p:cNvSpPr>
            <a:spLocks noGrp="1" noChangeAspect="1"/>
          </p:cNvSpPr>
          <p:nvPr>
            <p:ph type="chart" sz="quarter" idx="48"/>
          </p:nvPr>
        </p:nvSpPr>
        <p:spPr>
          <a:xfrm>
            <a:off x="8473313" y="1725700"/>
            <a:ext cx="1368000" cy="1368000"/>
          </a:xfrm>
        </p:spPr>
        <p:txBody>
          <a:bodyPr/>
          <a:lstStyle/>
          <a:p>
            <a:endParaRPr lang="en-US"/>
          </a:p>
        </p:txBody>
      </p:sp>
      <p:sp>
        <p:nvSpPr>
          <p:cNvPr id="17" name="Text Placeholder 5">
            <a:extLst>
              <a:ext uri="{FF2B5EF4-FFF2-40B4-BE49-F238E27FC236}">
                <a16:creationId xmlns:a16="http://schemas.microsoft.com/office/drawing/2014/main" id="{08DC8DB0-79EF-4DD9-944D-25643984DA1F}"/>
              </a:ext>
            </a:extLst>
          </p:cNvPr>
          <p:cNvSpPr>
            <a:spLocks noGrp="1"/>
          </p:cNvSpPr>
          <p:nvPr>
            <p:ph type="body" sz="quarter" idx="49" hasCustomPrompt="1"/>
          </p:nvPr>
        </p:nvSpPr>
        <p:spPr>
          <a:xfrm>
            <a:off x="8347313" y="3769298"/>
            <a:ext cx="1620000" cy="1505405"/>
          </a:xfrm>
        </p:spPr>
        <p:txBody>
          <a:bodyPr lIns="0" tIns="0" rIns="0"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18" name="Chart Placeholder 5">
            <a:extLst>
              <a:ext uri="{FF2B5EF4-FFF2-40B4-BE49-F238E27FC236}">
                <a16:creationId xmlns:a16="http://schemas.microsoft.com/office/drawing/2014/main" id="{5D88EFBA-A472-46C2-BF2F-F64484BC4A4C}"/>
              </a:ext>
            </a:extLst>
          </p:cNvPr>
          <p:cNvSpPr>
            <a:spLocks noGrp="1" noChangeAspect="1"/>
          </p:cNvSpPr>
          <p:nvPr>
            <p:ph type="chart" sz="quarter" idx="50"/>
          </p:nvPr>
        </p:nvSpPr>
        <p:spPr>
          <a:xfrm>
            <a:off x="10358038" y="1725700"/>
            <a:ext cx="1368000" cy="1368000"/>
          </a:xfrm>
        </p:spPr>
        <p:txBody>
          <a:bodyPr/>
          <a:lstStyle/>
          <a:p>
            <a:endParaRPr lang="en-US"/>
          </a:p>
        </p:txBody>
      </p:sp>
      <p:sp>
        <p:nvSpPr>
          <p:cNvPr id="19" name="Text Placeholder 5">
            <a:extLst>
              <a:ext uri="{FF2B5EF4-FFF2-40B4-BE49-F238E27FC236}">
                <a16:creationId xmlns:a16="http://schemas.microsoft.com/office/drawing/2014/main" id="{AD908357-70E3-48CF-9AF1-A2D3BBA6E5AE}"/>
              </a:ext>
            </a:extLst>
          </p:cNvPr>
          <p:cNvSpPr>
            <a:spLocks noGrp="1"/>
          </p:cNvSpPr>
          <p:nvPr>
            <p:ph type="body" sz="quarter" idx="51" hasCustomPrompt="1"/>
          </p:nvPr>
        </p:nvSpPr>
        <p:spPr>
          <a:xfrm>
            <a:off x="10237035" y="3769298"/>
            <a:ext cx="1620000" cy="1505405"/>
          </a:xfrm>
        </p:spPr>
        <p:txBody>
          <a:bodyPr lIns="0" tIns="0" rIns="0" anchor="t"/>
          <a:lstStyle>
            <a:lvl1pPr algn="ctr">
              <a:spcBef>
                <a:spcPts val="0"/>
              </a:spcBef>
              <a:defRPr sz="1400" b="0">
                <a:solidFill>
                  <a:schemeClr val="tx1"/>
                </a:solidFill>
              </a:defRPr>
            </a:lvl1pPr>
          </a:lstStyle>
          <a:p>
            <a:pPr lvl="0"/>
            <a:r>
              <a:rPr lang="en-US"/>
              <a:t>Insert text minimum </a:t>
            </a:r>
            <a:br>
              <a:rPr lang="en-US"/>
            </a:br>
            <a:r>
              <a:rPr lang="en-US"/>
              <a:t>14pt with single line spacing</a:t>
            </a:r>
          </a:p>
        </p:txBody>
      </p:sp>
      <p:sp>
        <p:nvSpPr>
          <p:cNvPr id="24" name="Text Placeholder 101">
            <a:extLst>
              <a:ext uri="{FF2B5EF4-FFF2-40B4-BE49-F238E27FC236}">
                <a16:creationId xmlns:a16="http://schemas.microsoft.com/office/drawing/2014/main" id="{8DFED698-B0D0-4FE6-B84E-CCA06B1B4AB7}"/>
              </a:ext>
            </a:extLst>
          </p:cNvPr>
          <p:cNvSpPr>
            <a:spLocks noGrp="1"/>
          </p:cNvSpPr>
          <p:nvPr>
            <p:ph type="body" sz="quarter" idx="52" hasCustomPrompt="1"/>
          </p:nvPr>
        </p:nvSpPr>
        <p:spPr>
          <a:xfrm>
            <a:off x="4660536" y="3233328"/>
            <a:ext cx="1620000" cy="503883"/>
          </a:xfrm>
          <a:prstGeom prst="rect">
            <a:avLst/>
          </a:prstGeom>
        </p:spPr>
        <p:txBody>
          <a:bodyPr anchor="b"/>
          <a:lstStyle>
            <a:lvl1pPr algn="ctr">
              <a:defRPr sz="3600" b="0">
                <a:solidFill>
                  <a:schemeClr val="accent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26" name="Text Placeholder 101">
            <a:extLst>
              <a:ext uri="{FF2B5EF4-FFF2-40B4-BE49-F238E27FC236}">
                <a16:creationId xmlns:a16="http://schemas.microsoft.com/office/drawing/2014/main" id="{7FA9AFAE-A05C-45EE-B59F-C359B081A5D0}"/>
              </a:ext>
            </a:extLst>
          </p:cNvPr>
          <p:cNvSpPr>
            <a:spLocks noGrp="1"/>
          </p:cNvSpPr>
          <p:nvPr>
            <p:ph type="body" sz="quarter" idx="53" hasCustomPrompt="1"/>
          </p:nvPr>
        </p:nvSpPr>
        <p:spPr>
          <a:xfrm>
            <a:off x="6517703" y="3233328"/>
            <a:ext cx="1620000" cy="503883"/>
          </a:xfrm>
          <a:prstGeom prst="rect">
            <a:avLst/>
          </a:prstGeom>
        </p:spPr>
        <p:txBody>
          <a:bodyPr anchor="b"/>
          <a:lstStyle>
            <a:lvl1pPr algn="ctr">
              <a:defRPr sz="3600"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27" name="Text Placeholder 101">
            <a:extLst>
              <a:ext uri="{FF2B5EF4-FFF2-40B4-BE49-F238E27FC236}">
                <a16:creationId xmlns:a16="http://schemas.microsoft.com/office/drawing/2014/main" id="{EE7BDCAC-5C29-4AFF-9039-727B91E7980E}"/>
              </a:ext>
            </a:extLst>
          </p:cNvPr>
          <p:cNvSpPr>
            <a:spLocks noGrp="1"/>
          </p:cNvSpPr>
          <p:nvPr>
            <p:ph type="body" sz="quarter" idx="54" hasCustomPrompt="1"/>
          </p:nvPr>
        </p:nvSpPr>
        <p:spPr>
          <a:xfrm>
            <a:off x="8347313" y="3233328"/>
            <a:ext cx="1620000" cy="503883"/>
          </a:xfrm>
          <a:prstGeom prst="rect">
            <a:avLst/>
          </a:prstGeom>
        </p:spPr>
        <p:txBody>
          <a:bodyPr anchor="b"/>
          <a:lstStyle>
            <a:lvl1pPr algn="ctr">
              <a:defRPr sz="3600" b="0">
                <a:solidFill>
                  <a:schemeClr val="accent3"/>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28" name="Text Placeholder 101">
            <a:extLst>
              <a:ext uri="{FF2B5EF4-FFF2-40B4-BE49-F238E27FC236}">
                <a16:creationId xmlns:a16="http://schemas.microsoft.com/office/drawing/2014/main" id="{5AD810CD-90AC-4363-82DF-EFC41BC21302}"/>
              </a:ext>
            </a:extLst>
          </p:cNvPr>
          <p:cNvSpPr>
            <a:spLocks noGrp="1"/>
          </p:cNvSpPr>
          <p:nvPr>
            <p:ph type="body" sz="quarter" idx="55" hasCustomPrompt="1"/>
          </p:nvPr>
        </p:nvSpPr>
        <p:spPr>
          <a:xfrm>
            <a:off x="10232038" y="3233328"/>
            <a:ext cx="1620000" cy="503883"/>
          </a:xfrm>
          <a:prstGeom prst="rect">
            <a:avLst/>
          </a:prstGeom>
        </p:spPr>
        <p:txBody>
          <a:bodyPr anchor="b"/>
          <a:lstStyle>
            <a:lvl1pPr algn="ctr">
              <a:defRPr sz="3600" b="0">
                <a:solidFill>
                  <a:schemeClr val="accent6"/>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29" name="Title 14">
            <a:extLst>
              <a:ext uri="{FF2B5EF4-FFF2-40B4-BE49-F238E27FC236}">
                <a16:creationId xmlns:a16="http://schemas.microsoft.com/office/drawing/2014/main" id="{D225A883-4672-41A6-ABC5-A73664A88772}"/>
              </a:ext>
            </a:extLst>
          </p:cNvPr>
          <p:cNvSpPr>
            <a:spLocks noGrp="1"/>
          </p:cNvSpPr>
          <p:nvPr>
            <p:ph type="title" hasCustomPrompt="1"/>
          </p:nvPr>
        </p:nvSpPr>
        <p:spPr>
          <a:xfrm>
            <a:off x="345018" y="1763713"/>
            <a:ext cx="3780000" cy="1168672"/>
          </a:xfrm>
        </p:spPr>
        <p:txBody>
          <a:bodyPr/>
          <a:lstStyle>
            <a:lvl1pPr>
              <a:defRPr/>
            </a:lvl1pPr>
          </a:lstStyle>
          <a:p>
            <a:r>
              <a:rPr lang="en-US"/>
              <a:t>Insert main title at 32pt min 30pt</a:t>
            </a:r>
            <a:br>
              <a:rPr lang="en-AU"/>
            </a:br>
            <a:r>
              <a:rPr lang="en-US"/>
              <a:t>maximum 3 lines</a:t>
            </a:r>
          </a:p>
        </p:txBody>
      </p:sp>
      <p:sp>
        <p:nvSpPr>
          <p:cNvPr id="30" name="Text Placeholder 2">
            <a:extLst>
              <a:ext uri="{FF2B5EF4-FFF2-40B4-BE49-F238E27FC236}">
                <a16:creationId xmlns:a16="http://schemas.microsoft.com/office/drawing/2014/main" id="{1DDF013B-CBBC-4B40-AB4E-67CDD0537AE8}"/>
              </a:ext>
            </a:extLst>
          </p:cNvPr>
          <p:cNvSpPr>
            <a:spLocks noGrp="1"/>
          </p:cNvSpPr>
          <p:nvPr>
            <p:ph type="body" sz="quarter" idx="36"/>
          </p:nvPr>
        </p:nvSpPr>
        <p:spPr>
          <a:xfrm>
            <a:off x="336550" y="3222625"/>
            <a:ext cx="3780000" cy="2835275"/>
          </a:xfrm>
        </p:spPr>
        <p:txBody>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16376187"/>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ata 1.13 – 6 charts">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AU"/>
              <a:t>Copyright © 2022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15" name="Title 14"/>
          <p:cNvSpPr>
            <a:spLocks noGrp="1"/>
          </p:cNvSpPr>
          <p:nvPr>
            <p:ph type="title" hasCustomPrompt="1"/>
          </p:nvPr>
        </p:nvSpPr>
        <p:spPr>
          <a:xfrm>
            <a:off x="345018" y="742829"/>
            <a:ext cx="3780000" cy="1168672"/>
          </a:xfrm>
        </p:spPr>
        <p:txBody>
          <a:bodyPr/>
          <a:lstStyle>
            <a:lvl1pPr>
              <a:defRPr/>
            </a:lvl1pPr>
          </a:lstStyle>
          <a:p>
            <a:r>
              <a:rPr lang="en-US"/>
              <a:t>Insert main title at 32pt min 30pt</a:t>
            </a:r>
            <a:br>
              <a:rPr lang="en-AU"/>
            </a:br>
            <a:r>
              <a:rPr lang="en-US"/>
              <a:t>maximum 3 lines</a:t>
            </a:r>
          </a:p>
        </p:txBody>
      </p:sp>
      <p:sp>
        <p:nvSpPr>
          <p:cNvPr id="7" name="Text Placeholder 2">
            <a:extLst>
              <a:ext uri="{FF2B5EF4-FFF2-40B4-BE49-F238E27FC236}">
                <a16:creationId xmlns:a16="http://schemas.microsoft.com/office/drawing/2014/main" id="{4355BA54-C4CA-46D1-B004-6604D8955C0B}"/>
              </a:ext>
            </a:extLst>
          </p:cNvPr>
          <p:cNvSpPr>
            <a:spLocks noGrp="1"/>
          </p:cNvSpPr>
          <p:nvPr>
            <p:ph type="body" sz="quarter" idx="36"/>
          </p:nvPr>
        </p:nvSpPr>
        <p:spPr>
          <a:xfrm>
            <a:off x="336550" y="2201741"/>
            <a:ext cx="3780000" cy="3854572"/>
          </a:xfrm>
        </p:spPr>
        <p:txBody>
          <a:bodyPr/>
          <a:lstStyle>
            <a:lvl1pPr>
              <a:defRPr sz="2000"/>
            </a:lvl1pPr>
          </a:lstStyle>
          <a:p>
            <a:pPr lvl="0"/>
            <a:r>
              <a:rPr lang="en-US"/>
              <a:t>Edit Master text styles</a:t>
            </a:r>
          </a:p>
          <a:p>
            <a:pPr lvl="1"/>
            <a:r>
              <a:rPr lang="en-US"/>
              <a:t>Second level</a:t>
            </a:r>
          </a:p>
          <a:p>
            <a:pPr lvl="2"/>
            <a:r>
              <a:rPr lang="en-US"/>
              <a:t>Third level</a:t>
            </a:r>
          </a:p>
          <a:p>
            <a:pPr lvl="3"/>
            <a:r>
              <a:rPr lang="en-US"/>
              <a:t>Fourth level</a:t>
            </a:r>
          </a:p>
        </p:txBody>
      </p:sp>
      <p:sp>
        <p:nvSpPr>
          <p:cNvPr id="8" name="Chart Placeholder 5">
            <a:extLst>
              <a:ext uri="{FF2B5EF4-FFF2-40B4-BE49-F238E27FC236}">
                <a16:creationId xmlns:a16="http://schemas.microsoft.com/office/drawing/2014/main" id="{1EDC7A07-DD9E-43B1-A097-7057C5337015}"/>
              </a:ext>
            </a:extLst>
          </p:cNvPr>
          <p:cNvSpPr>
            <a:spLocks noGrp="1" noChangeAspect="1"/>
          </p:cNvSpPr>
          <p:nvPr>
            <p:ph type="chart" sz="quarter" idx="37"/>
          </p:nvPr>
        </p:nvSpPr>
        <p:spPr>
          <a:xfrm>
            <a:off x="4994006" y="706493"/>
            <a:ext cx="1656000" cy="1656000"/>
          </a:xfrm>
        </p:spPr>
        <p:txBody>
          <a:bodyPr/>
          <a:lstStyle/>
          <a:p>
            <a:endParaRPr lang="en-US"/>
          </a:p>
        </p:txBody>
      </p:sp>
      <p:sp>
        <p:nvSpPr>
          <p:cNvPr id="10" name="Text Placeholder 5">
            <a:extLst>
              <a:ext uri="{FF2B5EF4-FFF2-40B4-BE49-F238E27FC236}">
                <a16:creationId xmlns:a16="http://schemas.microsoft.com/office/drawing/2014/main" id="{5E9DA5B5-A33D-4295-984D-C1ECB0A8752B}"/>
              </a:ext>
            </a:extLst>
          </p:cNvPr>
          <p:cNvSpPr>
            <a:spLocks noGrp="1"/>
          </p:cNvSpPr>
          <p:nvPr>
            <p:ph type="body" sz="quarter" idx="45" hasCustomPrompt="1"/>
          </p:nvPr>
        </p:nvSpPr>
        <p:spPr>
          <a:xfrm>
            <a:off x="4814006" y="2508786"/>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
        <p:nvSpPr>
          <p:cNvPr id="12" name="Chart Placeholder 5">
            <a:extLst>
              <a:ext uri="{FF2B5EF4-FFF2-40B4-BE49-F238E27FC236}">
                <a16:creationId xmlns:a16="http://schemas.microsoft.com/office/drawing/2014/main" id="{A8E36424-CB6B-4351-94B1-8C00A40EF549}"/>
              </a:ext>
            </a:extLst>
          </p:cNvPr>
          <p:cNvSpPr>
            <a:spLocks noGrp="1" noChangeAspect="1"/>
          </p:cNvSpPr>
          <p:nvPr>
            <p:ph type="chart" sz="quarter" idx="46"/>
          </p:nvPr>
        </p:nvSpPr>
        <p:spPr>
          <a:xfrm>
            <a:off x="7505935" y="706493"/>
            <a:ext cx="1656000" cy="1656000"/>
          </a:xfrm>
        </p:spPr>
        <p:txBody>
          <a:bodyPr/>
          <a:lstStyle/>
          <a:p>
            <a:endParaRPr lang="en-US"/>
          </a:p>
        </p:txBody>
      </p:sp>
      <p:sp>
        <p:nvSpPr>
          <p:cNvPr id="14" name="Text Placeholder 5">
            <a:extLst>
              <a:ext uri="{FF2B5EF4-FFF2-40B4-BE49-F238E27FC236}">
                <a16:creationId xmlns:a16="http://schemas.microsoft.com/office/drawing/2014/main" id="{9989B54D-209A-40C5-9EE6-40A0DF4DA950}"/>
              </a:ext>
            </a:extLst>
          </p:cNvPr>
          <p:cNvSpPr>
            <a:spLocks noGrp="1"/>
          </p:cNvSpPr>
          <p:nvPr>
            <p:ph type="body" sz="quarter" idx="47" hasCustomPrompt="1"/>
          </p:nvPr>
        </p:nvSpPr>
        <p:spPr>
          <a:xfrm>
            <a:off x="7325935" y="2508786"/>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
        <p:nvSpPr>
          <p:cNvPr id="16" name="Chart Placeholder 5">
            <a:extLst>
              <a:ext uri="{FF2B5EF4-FFF2-40B4-BE49-F238E27FC236}">
                <a16:creationId xmlns:a16="http://schemas.microsoft.com/office/drawing/2014/main" id="{A5F814F9-1624-48F0-AADA-CD4AA6742C8A}"/>
              </a:ext>
            </a:extLst>
          </p:cNvPr>
          <p:cNvSpPr>
            <a:spLocks noGrp="1" noChangeAspect="1"/>
          </p:cNvSpPr>
          <p:nvPr>
            <p:ph type="chart" sz="quarter" idx="48"/>
          </p:nvPr>
        </p:nvSpPr>
        <p:spPr>
          <a:xfrm>
            <a:off x="10017863" y="706493"/>
            <a:ext cx="1656000" cy="1656000"/>
          </a:xfrm>
        </p:spPr>
        <p:txBody>
          <a:bodyPr/>
          <a:lstStyle/>
          <a:p>
            <a:endParaRPr lang="en-US"/>
          </a:p>
        </p:txBody>
      </p:sp>
      <p:sp>
        <p:nvSpPr>
          <p:cNvPr id="17" name="Text Placeholder 5">
            <a:extLst>
              <a:ext uri="{FF2B5EF4-FFF2-40B4-BE49-F238E27FC236}">
                <a16:creationId xmlns:a16="http://schemas.microsoft.com/office/drawing/2014/main" id="{08DC8DB0-79EF-4DD9-944D-25643984DA1F}"/>
              </a:ext>
            </a:extLst>
          </p:cNvPr>
          <p:cNvSpPr>
            <a:spLocks noGrp="1"/>
          </p:cNvSpPr>
          <p:nvPr>
            <p:ph type="body" sz="quarter" idx="49" hasCustomPrompt="1"/>
          </p:nvPr>
        </p:nvSpPr>
        <p:spPr>
          <a:xfrm>
            <a:off x="9837863" y="2508786"/>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
        <p:nvSpPr>
          <p:cNvPr id="20" name="Chart Placeholder 5">
            <a:extLst>
              <a:ext uri="{FF2B5EF4-FFF2-40B4-BE49-F238E27FC236}">
                <a16:creationId xmlns:a16="http://schemas.microsoft.com/office/drawing/2014/main" id="{9B6555CE-AB4C-428F-8187-FFDE6E88A07C}"/>
              </a:ext>
            </a:extLst>
          </p:cNvPr>
          <p:cNvSpPr>
            <a:spLocks noGrp="1" noChangeAspect="1"/>
          </p:cNvSpPr>
          <p:nvPr>
            <p:ph type="chart" sz="quarter" idx="50"/>
          </p:nvPr>
        </p:nvSpPr>
        <p:spPr>
          <a:xfrm>
            <a:off x="4994006" y="3621732"/>
            <a:ext cx="1656000" cy="1656000"/>
          </a:xfrm>
        </p:spPr>
        <p:txBody>
          <a:bodyPr/>
          <a:lstStyle/>
          <a:p>
            <a:endParaRPr lang="en-US"/>
          </a:p>
        </p:txBody>
      </p:sp>
      <p:sp>
        <p:nvSpPr>
          <p:cNvPr id="21" name="Text Placeholder 5">
            <a:extLst>
              <a:ext uri="{FF2B5EF4-FFF2-40B4-BE49-F238E27FC236}">
                <a16:creationId xmlns:a16="http://schemas.microsoft.com/office/drawing/2014/main" id="{D7DCDA56-2896-4F73-8DBC-3DB4E3A4C9FE}"/>
              </a:ext>
            </a:extLst>
          </p:cNvPr>
          <p:cNvSpPr>
            <a:spLocks noGrp="1"/>
          </p:cNvSpPr>
          <p:nvPr>
            <p:ph type="body" sz="quarter" idx="51" hasCustomPrompt="1"/>
          </p:nvPr>
        </p:nvSpPr>
        <p:spPr>
          <a:xfrm>
            <a:off x="4814006" y="5405753"/>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
        <p:nvSpPr>
          <p:cNvPr id="22" name="Chart Placeholder 5">
            <a:extLst>
              <a:ext uri="{FF2B5EF4-FFF2-40B4-BE49-F238E27FC236}">
                <a16:creationId xmlns:a16="http://schemas.microsoft.com/office/drawing/2014/main" id="{96FC2006-D20C-4561-A4D6-A5AC4094BE11}"/>
              </a:ext>
            </a:extLst>
          </p:cNvPr>
          <p:cNvSpPr>
            <a:spLocks noGrp="1" noChangeAspect="1"/>
          </p:cNvSpPr>
          <p:nvPr>
            <p:ph type="chart" sz="quarter" idx="52"/>
          </p:nvPr>
        </p:nvSpPr>
        <p:spPr>
          <a:xfrm>
            <a:off x="7505935" y="3621732"/>
            <a:ext cx="1656000" cy="1656000"/>
          </a:xfrm>
        </p:spPr>
        <p:txBody>
          <a:bodyPr/>
          <a:lstStyle/>
          <a:p>
            <a:endParaRPr lang="en-US"/>
          </a:p>
        </p:txBody>
      </p:sp>
      <p:sp>
        <p:nvSpPr>
          <p:cNvPr id="23" name="Text Placeholder 5">
            <a:extLst>
              <a:ext uri="{FF2B5EF4-FFF2-40B4-BE49-F238E27FC236}">
                <a16:creationId xmlns:a16="http://schemas.microsoft.com/office/drawing/2014/main" id="{CABDC7F3-D7EC-46CE-8058-595C3628D4E4}"/>
              </a:ext>
            </a:extLst>
          </p:cNvPr>
          <p:cNvSpPr>
            <a:spLocks noGrp="1"/>
          </p:cNvSpPr>
          <p:nvPr>
            <p:ph type="body" sz="quarter" idx="53" hasCustomPrompt="1"/>
          </p:nvPr>
        </p:nvSpPr>
        <p:spPr>
          <a:xfrm>
            <a:off x="7325935" y="5405753"/>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
        <p:nvSpPr>
          <p:cNvPr id="24" name="Chart Placeholder 5">
            <a:extLst>
              <a:ext uri="{FF2B5EF4-FFF2-40B4-BE49-F238E27FC236}">
                <a16:creationId xmlns:a16="http://schemas.microsoft.com/office/drawing/2014/main" id="{7E98F290-4488-4839-A42A-C70484EB265C}"/>
              </a:ext>
            </a:extLst>
          </p:cNvPr>
          <p:cNvSpPr>
            <a:spLocks noGrp="1" noChangeAspect="1"/>
          </p:cNvSpPr>
          <p:nvPr>
            <p:ph type="chart" sz="quarter" idx="54"/>
          </p:nvPr>
        </p:nvSpPr>
        <p:spPr>
          <a:xfrm>
            <a:off x="10017863" y="3621732"/>
            <a:ext cx="1656000" cy="1656000"/>
          </a:xfrm>
        </p:spPr>
        <p:txBody>
          <a:bodyPr/>
          <a:lstStyle/>
          <a:p>
            <a:endParaRPr lang="en-US"/>
          </a:p>
        </p:txBody>
      </p:sp>
      <p:sp>
        <p:nvSpPr>
          <p:cNvPr id="25" name="Text Placeholder 5">
            <a:extLst>
              <a:ext uri="{FF2B5EF4-FFF2-40B4-BE49-F238E27FC236}">
                <a16:creationId xmlns:a16="http://schemas.microsoft.com/office/drawing/2014/main" id="{EA123460-278D-4C63-9D12-B5FC5D60E4CF}"/>
              </a:ext>
            </a:extLst>
          </p:cNvPr>
          <p:cNvSpPr>
            <a:spLocks noGrp="1"/>
          </p:cNvSpPr>
          <p:nvPr>
            <p:ph type="body" sz="quarter" idx="55" hasCustomPrompt="1"/>
          </p:nvPr>
        </p:nvSpPr>
        <p:spPr>
          <a:xfrm>
            <a:off x="9837863" y="5405753"/>
            <a:ext cx="2016000" cy="648000"/>
          </a:xfrm>
        </p:spPr>
        <p:txBody>
          <a:bodyPr anchor="t"/>
          <a:lstStyle>
            <a:lvl1pPr algn="ctr">
              <a:spcBef>
                <a:spcPts val="0"/>
              </a:spcBef>
              <a:defRPr sz="1400" b="0">
                <a:solidFill>
                  <a:schemeClr val="tx1"/>
                </a:solidFill>
              </a:defRPr>
            </a:lvl1pPr>
          </a:lstStyle>
          <a:p>
            <a:pPr lvl="0"/>
            <a:r>
              <a:rPr lang="en-US"/>
              <a:t>Insert text maximum </a:t>
            </a:r>
            <a:br>
              <a:rPr lang="en-US"/>
            </a:br>
            <a:r>
              <a:rPr lang="en-US"/>
              <a:t>3 lines, minimum 14pt with single line spacing</a:t>
            </a:r>
          </a:p>
        </p:txBody>
      </p:sp>
    </p:spTree>
    <p:extLst>
      <p:ext uri="{BB962C8B-B14F-4D97-AF65-F5344CB8AC3E}">
        <p14:creationId xmlns:p14="http://schemas.microsoft.com/office/powerpoint/2010/main" val="3127374368"/>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ata 1.4 – Two charts w/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708B-81B9-418F-86BD-3FA9146EA259}"/>
              </a:ext>
            </a:extLst>
          </p:cNvPr>
          <p:cNvSpPr>
            <a:spLocks noGrp="1"/>
          </p:cNvSpPr>
          <p:nvPr>
            <p:ph type="title"/>
          </p:nvPr>
        </p:nvSpPr>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B569CAB7-8711-443B-9FA8-B169A7A7A86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587B609-77DA-49EC-9190-36AC375D7305}"/>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Subtitle">
            <a:extLst>
              <a:ext uri="{FF2B5EF4-FFF2-40B4-BE49-F238E27FC236}">
                <a16:creationId xmlns:a16="http://schemas.microsoft.com/office/drawing/2014/main" id="{99071643-4897-4842-97D6-7688E1632E7D}"/>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7" name="Chart Placeholder 6">
            <a:extLst>
              <a:ext uri="{FF2B5EF4-FFF2-40B4-BE49-F238E27FC236}">
                <a16:creationId xmlns:a16="http://schemas.microsoft.com/office/drawing/2014/main" id="{1D9807A7-E6F5-41B2-A9E2-0B56E7804D07}"/>
              </a:ext>
            </a:extLst>
          </p:cNvPr>
          <p:cNvSpPr>
            <a:spLocks noGrp="1"/>
          </p:cNvSpPr>
          <p:nvPr>
            <p:ph type="chart" sz="quarter" idx="37"/>
          </p:nvPr>
        </p:nvSpPr>
        <p:spPr>
          <a:xfrm>
            <a:off x="331788" y="2486582"/>
            <a:ext cx="2624947" cy="2814431"/>
          </a:xfrm>
        </p:spPr>
        <p:txBody>
          <a:bodyPr/>
          <a:lstStyle/>
          <a:p>
            <a:endParaRPr lang="en-AU"/>
          </a:p>
        </p:txBody>
      </p:sp>
      <p:sp>
        <p:nvSpPr>
          <p:cNvPr id="9" name="Text Placeholder 5">
            <a:extLst>
              <a:ext uri="{FF2B5EF4-FFF2-40B4-BE49-F238E27FC236}">
                <a16:creationId xmlns:a16="http://schemas.microsoft.com/office/drawing/2014/main" id="{66E7F1E0-E294-4916-A7A9-38ED45F0E633}"/>
              </a:ext>
            </a:extLst>
          </p:cNvPr>
          <p:cNvSpPr>
            <a:spLocks noGrp="1"/>
          </p:cNvSpPr>
          <p:nvPr>
            <p:ph type="body" sz="quarter" idx="44" hasCustomPrompt="1"/>
          </p:nvPr>
        </p:nvSpPr>
        <p:spPr>
          <a:xfrm>
            <a:off x="3308350" y="2952449"/>
            <a:ext cx="2445975" cy="694879"/>
          </a:xfrm>
        </p:spPr>
        <p:txBody>
          <a:bodyPr anchor="t"/>
          <a:lstStyle>
            <a:lvl1pPr algn="l">
              <a:spcBef>
                <a:spcPts val="0"/>
              </a:spcBef>
              <a:defRPr sz="1600" b="0">
                <a:solidFill>
                  <a:schemeClr val="tx1"/>
                </a:solidFill>
              </a:defRPr>
            </a:lvl1pPr>
          </a:lstStyle>
          <a:p>
            <a:pPr lvl="0"/>
            <a:r>
              <a:rPr lang="en-US"/>
              <a:t>Insert text maximum </a:t>
            </a:r>
            <a:br>
              <a:rPr lang="en-US"/>
            </a:br>
            <a:r>
              <a:rPr lang="en-US"/>
              <a:t>3 lines, minimum 14pt, single line spacing</a:t>
            </a:r>
          </a:p>
        </p:txBody>
      </p:sp>
      <p:sp>
        <p:nvSpPr>
          <p:cNvPr id="10" name="Text Placeholder 101">
            <a:extLst>
              <a:ext uri="{FF2B5EF4-FFF2-40B4-BE49-F238E27FC236}">
                <a16:creationId xmlns:a16="http://schemas.microsoft.com/office/drawing/2014/main" id="{913F18F1-880D-46B5-BA72-46100DE13F6B}"/>
              </a:ext>
            </a:extLst>
          </p:cNvPr>
          <p:cNvSpPr>
            <a:spLocks noGrp="1"/>
          </p:cNvSpPr>
          <p:nvPr>
            <p:ph type="body" sz="quarter" idx="46" hasCustomPrompt="1"/>
          </p:nvPr>
        </p:nvSpPr>
        <p:spPr>
          <a:xfrm>
            <a:off x="3302294" y="2434941"/>
            <a:ext cx="1326081" cy="503883"/>
          </a:xfrm>
          <a:prstGeom prst="rect">
            <a:avLst/>
          </a:prstGeom>
        </p:spPr>
        <p:txBody>
          <a:bodyPr anchor="b"/>
          <a:lstStyle>
            <a:lvl1pPr>
              <a:defRPr sz="3600" b="0">
                <a:solidFill>
                  <a:schemeClr val="accent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11" name="Text Placeholder 5">
            <a:extLst>
              <a:ext uri="{FF2B5EF4-FFF2-40B4-BE49-F238E27FC236}">
                <a16:creationId xmlns:a16="http://schemas.microsoft.com/office/drawing/2014/main" id="{A9B6E109-F636-4F66-81B2-545ED745EA68}"/>
              </a:ext>
            </a:extLst>
          </p:cNvPr>
          <p:cNvSpPr>
            <a:spLocks noGrp="1"/>
          </p:cNvSpPr>
          <p:nvPr>
            <p:ph type="body" sz="quarter" idx="47" hasCustomPrompt="1"/>
          </p:nvPr>
        </p:nvSpPr>
        <p:spPr>
          <a:xfrm>
            <a:off x="3308350" y="4606134"/>
            <a:ext cx="2445975" cy="694879"/>
          </a:xfrm>
        </p:spPr>
        <p:txBody>
          <a:bodyPr anchor="t"/>
          <a:lstStyle>
            <a:lvl1pPr algn="l">
              <a:spcBef>
                <a:spcPts val="0"/>
              </a:spcBef>
              <a:defRPr sz="1600" b="0">
                <a:solidFill>
                  <a:schemeClr val="tx1"/>
                </a:solidFill>
              </a:defRPr>
            </a:lvl1pPr>
          </a:lstStyle>
          <a:p>
            <a:pPr lvl="0"/>
            <a:r>
              <a:rPr lang="en-US"/>
              <a:t>Insert text maximum </a:t>
            </a:r>
            <a:br>
              <a:rPr lang="en-US"/>
            </a:br>
            <a:r>
              <a:rPr lang="en-US"/>
              <a:t>3 lines, minimum 14pt, single line spacing</a:t>
            </a:r>
          </a:p>
        </p:txBody>
      </p:sp>
      <p:sp>
        <p:nvSpPr>
          <p:cNvPr id="12" name="Text Placeholder 101">
            <a:extLst>
              <a:ext uri="{FF2B5EF4-FFF2-40B4-BE49-F238E27FC236}">
                <a16:creationId xmlns:a16="http://schemas.microsoft.com/office/drawing/2014/main" id="{5462E221-863E-46AF-BD44-2083D59FE3DF}"/>
              </a:ext>
            </a:extLst>
          </p:cNvPr>
          <p:cNvSpPr>
            <a:spLocks noGrp="1"/>
          </p:cNvSpPr>
          <p:nvPr>
            <p:ph type="body" sz="quarter" idx="48" hasCustomPrompt="1"/>
          </p:nvPr>
        </p:nvSpPr>
        <p:spPr>
          <a:xfrm>
            <a:off x="3302294" y="4088626"/>
            <a:ext cx="1326081" cy="503883"/>
          </a:xfrm>
          <a:prstGeom prst="rect">
            <a:avLst/>
          </a:prstGeom>
        </p:spPr>
        <p:txBody>
          <a:bodyPr anchor="b"/>
          <a:lstStyle>
            <a:lvl1pPr>
              <a:defRPr sz="3600"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13" name="Chart Placeholder 6">
            <a:extLst>
              <a:ext uri="{FF2B5EF4-FFF2-40B4-BE49-F238E27FC236}">
                <a16:creationId xmlns:a16="http://schemas.microsoft.com/office/drawing/2014/main" id="{E7A6CD9F-B364-4127-8503-10AF9FFC3800}"/>
              </a:ext>
            </a:extLst>
          </p:cNvPr>
          <p:cNvSpPr>
            <a:spLocks noGrp="1"/>
          </p:cNvSpPr>
          <p:nvPr>
            <p:ph type="chart" sz="quarter" idx="49"/>
          </p:nvPr>
        </p:nvSpPr>
        <p:spPr>
          <a:xfrm>
            <a:off x="6275388" y="2486582"/>
            <a:ext cx="2624947" cy="2814431"/>
          </a:xfrm>
        </p:spPr>
        <p:txBody>
          <a:bodyPr/>
          <a:lstStyle/>
          <a:p>
            <a:endParaRPr lang="en-AU"/>
          </a:p>
        </p:txBody>
      </p:sp>
      <p:sp>
        <p:nvSpPr>
          <p:cNvPr id="14" name="Text Placeholder 5">
            <a:extLst>
              <a:ext uri="{FF2B5EF4-FFF2-40B4-BE49-F238E27FC236}">
                <a16:creationId xmlns:a16="http://schemas.microsoft.com/office/drawing/2014/main" id="{7A4329CE-AD54-4B35-AAB5-10C1726D0F1E}"/>
              </a:ext>
            </a:extLst>
          </p:cNvPr>
          <p:cNvSpPr>
            <a:spLocks noGrp="1"/>
          </p:cNvSpPr>
          <p:nvPr>
            <p:ph type="body" sz="quarter" idx="50" hasCustomPrompt="1"/>
          </p:nvPr>
        </p:nvSpPr>
        <p:spPr>
          <a:xfrm>
            <a:off x="9251950" y="2952449"/>
            <a:ext cx="2445975" cy="694879"/>
          </a:xfrm>
        </p:spPr>
        <p:txBody>
          <a:bodyPr anchor="t"/>
          <a:lstStyle>
            <a:lvl1pPr algn="l">
              <a:spcBef>
                <a:spcPts val="0"/>
              </a:spcBef>
              <a:defRPr sz="1600" b="0">
                <a:solidFill>
                  <a:schemeClr val="tx1"/>
                </a:solidFill>
              </a:defRPr>
            </a:lvl1pPr>
          </a:lstStyle>
          <a:p>
            <a:pPr lvl="0"/>
            <a:r>
              <a:rPr lang="en-US"/>
              <a:t>Insert text maximum </a:t>
            </a:r>
            <a:br>
              <a:rPr lang="en-US"/>
            </a:br>
            <a:r>
              <a:rPr lang="en-US"/>
              <a:t>3 lines, minimum 14pt, single line spacing</a:t>
            </a:r>
          </a:p>
        </p:txBody>
      </p:sp>
      <p:sp>
        <p:nvSpPr>
          <p:cNvPr id="15" name="Text Placeholder 101">
            <a:extLst>
              <a:ext uri="{FF2B5EF4-FFF2-40B4-BE49-F238E27FC236}">
                <a16:creationId xmlns:a16="http://schemas.microsoft.com/office/drawing/2014/main" id="{61ABF839-5076-4C9C-9760-7BE9015C9CEC}"/>
              </a:ext>
            </a:extLst>
          </p:cNvPr>
          <p:cNvSpPr>
            <a:spLocks noGrp="1"/>
          </p:cNvSpPr>
          <p:nvPr>
            <p:ph type="body" sz="quarter" idx="51" hasCustomPrompt="1"/>
          </p:nvPr>
        </p:nvSpPr>
        <p:spPr>
          <a:xfrm>
            <a:off x="9245894" y="2434941"/>
            <a:ext cx="1326081" cy="503883"/>
          </a:xfrm>
          <a:prstGeom prst="rect">
            <a:avLst/>
          </a:prstGeom>
        </p:spPr>
        <p:txBody>
          <a:bodyPr anchor="b"/>
          <a:lstStyle>
            <a:lvl1pPr>
              <a:defRPr sz="3600" b="0">
                <a:solidFill>
                  <a:schemeClr val="accent1"/>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
        <p:nvSpPr>
          <p:cNvPr id="16" name="Text Placeholder 5">
            <a:extLst>
              <a:ext uri="{FF2B5EF4-FFF2-40B4-BE49-F238E27FC236}">
                <a16:creationId xmlns:a16="http://schemas.microsoft.com/office/drawing/2014/main" id="{4A359E9A-D4EB-4780-B860-C0DB05101741}"/>
              </a:ext>
            </a:extLst>
          </p:cNvPr>
          <p:cNvSpPr>
            <a:spLocks noGrp="1"/>
          </p:cNvSpPr>
          <p:nvPr>
            <p:ph type="body" sz="quarter" idx="52" hasCustomPrompt="1"/>
          </p:nvPr>
        </p:nvSpPr>
        <p:spPr>
          <a:xfrm>
            <a:off x="9251950" y="4606134"/>
            <a:ext cx="2445975" cy="694879"/>
          </a:xfrm>
        </p:spPr>
        <p:txBody>
          <a:bodyPr anchor="t"/>
          <a:lstStyle>
            <a:lvl1pPr algn="l">
              <a:spcBef>
                <a:spcPts val="0"/>
              </a:spcBef>
              <a:defRPr sz="1600" b="0">
                <a:solidFill>
                  <a:schemeClr val="tx1"/>
                </a:solidFill>
              </a:defRPr>
            </a:lvl1pPr>
          </a:lstStyle>
          <a:p>
            <a:pPr lvl="0"/>
            <a:r>
              <a:rPr lang="en-US"/>
              <a:t>Insert text maximum </a:t>
            </a:r>
            <a:br>
              <a:rPr lang="en-US"/>
            </a:br>
            <a:r>
              <a:rPr lang="en-US"/>
              <a:t>3 lines, minimum 14pt, single line spacing</a:t>
            </a:r>
          </a:p>
        </p:txBody>
      </p:sp>
      <p:sp>
        <p:nvSpPr>
          <p:cNvPr id="17" name="Text Placeholder 101">
            <a:extLst>
              <a:ext uri="{FF2B5EF4-FFF2-40B4-BE49-F238E27FC236}">
                <a16:creationId xmlns:a16="http://schemas.microsoft.com/office/drawing/2014/main" id="{EA9C3B4E-8041-475E-82B5-4B99C3D883B4}"/>
              </a:ext>
            </a:extLst>
          </p:cNvPr>
          <p:cNvSpPr>
            <a:spLocks noGrp="1"/>
          </p:cNvSpPr>
          <p:nvPr>
            <p:ph type="body" sz="quarter" idx="53" hasCustomPrompt="1"/>
          </p:nvPr>
        </p:nvSpPr>
        <p:spPr>
          <a:xfrm>
            <a:off x="9245894" y="4088626"/>
            <a:ext cx="1326081" cy="503883"/>
          </a:xfrm>
          <a:prstGeom prst="rect">
            <a:avLst/>
          </a:prstGeom>
        </p:spPr>
        <p:txBody>
          <a:bodyPr anchor="b"/>
          <a:lstStyle>
            <a:lvl1pPr>
              <a:defRPr sz="3600" b="0">
                <a:solidFill>
                  <a:schemeClr val="accent2"/>
                </a:solidFill>
                <a:latin typeface="+mj-lt"/>
              </a:defRPr>
            </a:lvl1pPr>
            <a:lvl2pPr>
              <a:defRPr>
                <a:solidFill>
                  <a:schemeClr val="bg1"/>
                </a:solidFill>
                <a:latin typeface="Arial Black" panose="020B0A04020102020204" pitchFamily="34" charset="0"/>
              </a:defRPr>
            </a:lvl2pPr>
            <a:lvl3pPr>
              <a:defRPr>
                <a:solidFill>
                  <a:schemeClr val="bg1"/>
                </a:solidFill>
                <a:latin typeface="Arial Black" panose="020B0A04020102020204" pitchFamily="34" charset="0"/>
              </a:defRPr>
            </a:lvl3pPr>
            <a:lvl4pPr>
              <a:defRPr>
                <a:solidFill>
                  <a:schemeClr val="bg1"/>
                </a:solidFill>
                <a:latin typeface="Arial Black" panose="020B0A04020102020204" pitchFamily="34" charset="0"/>
              </a:defRPr>
            </a:lvl4pPr>
            <a:lvl5pPr>
              <a:defRPr>
                <a:solidFill>
                  <a:schemeClr val="bg1"/>
                </a:solidFill>
                <a:latin typeface="Arial Black" panose="020B0A04020102020204" pitchFamily="34" charset="0"/>
              </a:defRPr>
            </a:lvl5pPr>
          </a:lstStyle>
          <a:p>
            <a:pPr lvl="0"/>
            <a:r>
              <a:rPr lang="en-US"/>
              <a:t>00%</a:t>
            </a:r>
          </a:p>
        </p:txBody>
      </p:sp>
    </p:spTree>
    <p:extLst>
      <p:ext uri="{BB962C8B-B14F-4D97-AF65-F5344CB8AC3E}">
        <p14:creationId xmlns:p14="http://schemas.microsoft.com/office/powerpoint/2010/main" val="4176125672"/>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ta 1.2 – 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708B-81B9-418F-86BD-3FA9146EA259}"/>
              </a:ext>
            </a:extLst>
          </p:cNvPr>
          <p:cNvSpPr>
            <a:spLocks noGrp="1"/>
          </p:cNvSpPr>
          <p:nvPr>
            <p:ph type="title"/>
          </p:nvPr>
        </p:nvSpPr>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B569CAB7-8711-443B-9FA8-B169A7A7A86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587B609-77DA-49EC-9190-36AC375D7305}"/>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Subtitle">
            <a:extLst>
              <a:ext uri="{FF2B5EF4-FFF2-40B4-BE49-F238E27FC236}">
                <a16:creationId xmlns:a16="http://schemas.microsoft.com/office/drawing/2014/main" id="{99071643-4897-4842-97D6-7688E1632E7D}"/>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7" name="Chart Placeholder 6">
            <a:extLst>
              <a:ext uri="{FF2B5EF4-FFF2-40B4-BE49-F238E27FC236}">
                <a16:creationId xmlns:a16="http://schemas.microsoft.com/office/drawing/2014/main" id="{1D9807A7-E6F5-41B2-A9E2-0B56E7804D07}"/>
              </a:ext>
            </a:extLst>
          </p:cNvPr>
          <p:cNvSpPr>
            <a:spLocks noGrp="1"/>
          </p:cNvSpPr>
          <p:nvPr>
            <p:ph type="chart" sz="quarter" idx="37"/>
          </p:nvPr>
        </p:nvSpPr>
        <p:spPr>
          <a:xfrm>
            <a:off x="331788" y="2159000"/>
            <a:ext cx="5588000" cy="3897313"/>
          </a:xfrm>
        </p:spPr>
        <p:txBody>
          <a:bodyPr/>
          <a:lstStyle/>
          <a:p>
            <a:endParaRPr lang="en-AU"/>
          </a:p>
        </p:txBody>
      </p:sp>
      <p:sp>
        <p:nvSpPr>
          <p:cNvPr id="8" name="Chart Placeholder 6">
            <a:extLst>
              <a:ext uri="{FF2B5EF4-FFF2-40B4-BE49-F238E27FC236}">
                <a16:creationId xmlns:a16="http://schemas.microsoft.com/office/drawing/2014/main" id="{15F6F1EE-C443-49DD-86B3-169C01E5DFB9}"/>
              </a:ext>
            </a:extLst>
          </p:cNvPr>
          <p:cNvSpPr>
            <a:spLocks noGrp="1"/>
          </p:cNvSpPr>
          <p:nvPr>
            <p:ph type="chart" sz="quarter" idx="38"/>
          </p:nvPr>
        </p:nvSpPr>
        <p:spPr>
          <a:xfrm>
            <a:off x="6265863" y="2159000"/>
            <a:ext cx="5588000" cy="3897313"/>
          </a:xfrm>
        </p:spPr>
        <p:txBody>
          <a:bodyPr/>
          <a:lstStyle/>
          <a:p>
            <a:endParaRPr lang="en-AU"/>
          </a:p>
        </p:txBody>
      </p:sp>
    </p:spTree>
    <p:extLst>
      <p:ext uri="{BB962C8B-B14F-4D97-AF65-F5344CB8AC3E}">
        <p14:creationId xmlns:p14="http://schemas.microsoft.com/office/powerpoint/2010/main" val="2393589475"/>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ta 1.5 – Two chart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708B-81B9-418F-86BD-3FA9146EA259}"/>
              </a:ext>
            </a:extLst>
          </p:cNvPr>
          <p:cNvSpPr>
            <a:spLocks noGrp="1"/>
          </p:cNvSpPr>
          <p:nvPr>
            <p:ph type="title"/>
          </p:nvPr>
        </p:nvSpPr>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B569CAB7-8711-443B-9FA8-B169A7A7A86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587B609-77DA-49EC-9190-36AC375D7305}"/>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7" name="Chart Placeholder 6">
            <a:extLst>
              <a:ext uri="{FF2B5EF4-FFF2-40B4-BE49-F238E27FC236}">
                <a16:creationId xmlns:a16="http://schemas.microsoft.com/office/drawing/2014/main" id="{1D9807A7-E6F5-41B2-A9E2-0B56E7804D07}"/>
              </a:ext>
            </a:extLst>
          </p:cNvPr>
          <p:cNvSpPr>
            <a:spLocks noGrp="1"/>
          </p:cNvSpPr>
          <p:nvPr>
            <p:ph type="chart" sz="quarter" idx="37"/>
          </p:nvPr>
        </p:nvSpPr>
        <p:spPr>
          <a:xfrm>
            <a:off x="331787" y="2313253"/>
            <a:ext cx="7069137" cy="1368000"/>
          </a:xfrm>
        </p:spPr>
        <p:txBody>
          <a:bodyPr/>
          <a:lstStyle/>
          <a:p>
            <a:endParaRPr lang="en-AU"/>
          </a:p>
        </p:txBody>
      </p:sp>
      <p:sp>
        <p:nvSpPr>
          <p:cNvPr id="11" name="Text Placeholder 5">
            <a:extLst>
              <a:ext uri="{FF2B5EF4-FFF2-40B4-BE49-F238E27FC236}">
                <a16:creationId xmlns:a16="http://schemas.microsoft.com/office/drawing/2014/main" id="{3B6290DA-37EF-4A2C-88F1-6499FB9B145E}"/>
              </a:ext>
            </a:extLst>
          </p:cNvPr>
          <p:cNvSpPr>
            <a:spLocks noGrp="1"/>
          </p:cNvSpPr>
          <p:nvPr>
            <p:ph type="body" sz="quarter" idx="45" hasCustomPrompt="1"/>
          </p:nvPr>
        </p:nvSpPr>
        <p:spPr>
          <a:xfrm>
            <a:off x="339724" y="1780358"/>
            <a:ext cx="7053552" cy="439201"/>
          </a:xfrm>
        </p:spPr>
        <p:txBody>
          <a:bodyPr anchor="b"/>
          <a:lstStyle>
            <a:lvl1pPr algn="l">
              <a:spcBef>
                <a:spcPts val="0"/>
              </a:spcBef>
              <a:defRPr sz="1600" b="1">
                <a:solidFill>
                  <a:schemeClr val="tx1"/>
                </a:solidFill>
              </a:defRPr>
            </a:lvl1pPr>
          </a:lstStyle>
          <a:p>
            <a:pPr lvl="0"/>
            <a:r>
              <a:rPr lang="en-US"/>
              <a:t>Insert text here minimum 14pt with single line spacing and maximum number of lines to the bottom of box</a:t>
            </a:r>
          </a:p>
        </p:txBody>
      </p:sp>
      <p:cxnSp>
        <p:nvCxnSpPr>
          <p:cNvPr id="9" name="Straight Connector 8">
            <a:extLst>
              <a:ext uri="{FF2B5EF4-FFF2-40B4-BE49-F238E27FC236}">
                <a16:creationId xmlns:a16="http://schemas.microsoft.com/office/drawing/2014/main" id="{F5B045A6-1C79-4CE6-9F28-0DF0BC3E99E1}"/>
              </a:ext>
            </a:extLst>
          </p:cNvPr>
          <p:cNvCxnSpPr/>
          <p:nvPr userDrawn="1"/>
        </p:nvCxnSpPr>
        <p:spPr>
          <a:xfrm>
            <a:off x="7758113" y="1768475"/>
            <a:ext cx="410368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3BC0E16-519C-4DF1-B4FC-3DAE623A585C}"/>
              </a:ext>
            </a:extLst>
          </p:cNvPr>
          <p:cNvCxnSpPr/>
          <p:nvPr userDrawn="1"/>
        </p:nvCxnSpPr>
        <p:spPr>
          <a:xfrm>
            <a:off x="7758113" y="6056313"/>
            <a:ext cx="410368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Chart Placeholder 6">
            <a:extLst>
              <a:ext uri="{FF2B5EF4-FFF2-40B4-BE49-F238E27FC236}">
                <a16:creationId xmlns:a16="http://schemas.microsoft.com/office/drawing/2014/main" id="{BDDEDD1D-3F32-4FFF-B2B3-ACB447B143BB}"/>
              </a:ext>
            </a:extLst>
          </p:cNvPr>
          <p:cNvSpPr>
            <a:spLocks noGrp="1"/>
          </p:cNvSpPr>
          <p:nvPr>
            <p:ph type="chart" sz="quarter" idx="47"/>
          </p:nvPr>
        </p:nvSpPr>
        <p:spPr>
          <a:xfrm>
            <a:off x="331787" y="4681254"/>
            <a:ext cx="7069137" cy="1368000"/>
          </a:xfrm>
        </p:spPr>
        <p:txBody>
          <a:bodyPr/>
          <a:lstStyle/>
          <a:p>
            <a:endParaRPr lang="en-AU"/>
          </a:p>
        </p:txBody>
      </p:sp>
      <p:sp>
        <p:nvSpPr>
          <p:cNvPr id="16" name="Text Placeholder 5">
            <a:extLst>
              <a:ext uri="{FF2B5EF4-FFF2-40B4-BE49-F238E27FC236}">
                <a16:creationId xmlns:a16="http://schemas.microsoft.com/office/drawing/2014/main" id="{4EA604FB-0283-4F76-9CD7-6D84546EBF88}"/>
              </a:ext>
            </a:extLst>
          </p:cNvPr>
          <p:cNvSpPr>
            <a:spLocks noGrp="1"/>
          </p:cNvSpPr>
          <p:nvPr>
            <p:ph type="body" sz="quarter" idx="48" hasCustomPrompt="1"/>
          </p:nvPr>
        </p:nvSpPr>
        <p:spPr>
          <a:xfrm>
            <a:off x="339724" y="4148359"/>
            <a:ext cx="7053552" cy="439201"/>
          </a:xfrm>
        </p:spPr>
        <p:txBody>
          <a:bodyPr anchor="b"/>
          <a:lstStyle>
            <a:lvl1pPr algn="l">
              <a:spcBef>
                <a:spcPts val="0"/>
              </a:spcBef>
              <a:defRPr sz="1600" b="1">
                <a:solidFill>
                  <a:schemeClr val="tx1"/>
                </a:solidFill>
              </a:defRPr>
            </a:lvl1pPr>
          </a:lstStyle>
          <a:p>
            <a:pPr lvl="0"/>
            <a:r>
              <a:rPr lang="en-US"/>
              <a:t>Insert text here minimum 14pt with single line spacing and maximum number of lines to the bottom of box</a:t>
            </a:r>
          </a:p>
        </p:txBody>
      </p:sp>
      <p:sp>
        <p:nvSpPr>
          <p:cNvPr id="17" name="Text Placeholder 5">
            <a:extLst>
              <a:ext uri="{FF2B5EF4-FFF2-40B4-BE49-F238E27FC236}">
                <a16:creationId xmlns:a16="http://schemas.microsoft.com/office/drawing/2014/main" id="{C7E96FF3-FBCD-48EB-9B40-2C0F4C7E87A7}"/>
              </a:ext>
            </a:extLst>
          </p:cNvPr>
          <p:cNvSpPr>
            <a:spLocks noGrp="1"/>
          </p:cNvSpPr>
          <p:nvPr>
            <p:ph type="body" sz="quarter" idx="46"/>
          </p:nvPr>
        </p:nvSpPr>
        <p:spPr>
          <a:xfrm>
            <a:off x="7758113" y="1768475"/>
            <a:ext cx="4103687" cy="4287837"/>
          </a:xfrm>
        </p:spPr>
        <p:txBody>
          <a:bodyPr tIns="108000" bIns="108000"/>
          <a:lstStyle>
            <a:lvl1pPr>
              <a:defRPr sz="16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2433452"/>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ata 1.7 – Three charts w/t 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708B-81B9-418F-86BD-3FA9146EA259}"/>
              </a:ext>
            </a:extLst>
          </p:cNvPr>
          <p:cNvSpPr>
            <a:spLocks noGrp="1"/>
          </p:cNvSpPr>
          <p:nvPr>
            <p:ph type="title"/>
          </p:nvPr>
        </p:nvSpPr>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B569CAB7-8711-443B-9FA8-B169A7A7A86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587B609-77DA-49EC-9190-36AC375D7305}"/>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7" name="Chart Placeholder 6">
            <a:extLst>
              <a:ext uri="{FF2B5EF4-FFF2-40B4-BE49-F238E27FC236}">
                <a16:creationId xmlns:a16="http://schemas.microsoft.com/office/drawing/2014/main" id="{1D9807A7-E6F5-41B2-A9E2-0B56E7804D07}"/>
              </a:ext>
            </a:extLst>
          </p:cNvPr>
          <p:cNvSpPr>
            <a:spLocks noGrp="1"/>
          </p:cNvSpPr>
          <p:nvPr>
            <p:ph type="chart" sz="quarter" idx="37"/>
          </p:nvPr>
        </p:nvSpPr>
        <p:spPr>
          <a:xfrm>
            <a:off x="331788" y="2367751"/>
            <a:ext cx="3600000" cy="3688562"/>
          </a:xfrm>
        </p:spPr>
        <p:txBody>
          <a:bodyPr/>
          <a:lstStyle/>
          <a:p>
            <a:endParaRPr lang="en-AU"/>
          </a:p>
        </p:txBody>
      </p:sp>
      <p:sp>
        <p:nvSpPr>
          <p:cNvPr id="9" name="Chart Placeholder 6">
            <a:extLst>
              <a:ext uri="{FF2B5EF4-FFF2-40B4-BE49-F238E27FC236}">
                <a16:creationId xmlns:a16="http://schemas.microsoft.com/office/drawing/2014/main" id="{6244B4D9-0508-4939-A8D0-7669084F266E}"/>
              </a:ext>
            </a:extLst>
          </p:cNvPr>
          <p:cNvSpPr>
            <a:spLocks noGrp="1"/>
          </p:cNvSpPr>
          <p:nvPr>
            <p:ph type="chart" sz="quarter" idx="38"/>
          </p:nvPr>
        </p:nvSpPr>
        <p:spPr>
          <a:xfrm>
            <a:off x="4292826" y="2367751"/>
            <a:ext cx="3600000" cy="3688562"/>
          </a:xfrm>
        </p:spPr>
        <p:txBody>
          <a:bodyPr/>
          <a:lstStyle/>
          <a:p>
            <a:endParaRPr lang="en-AU"/>
          </a:p>
        </p:txBody>
      </p:sp>
      <p:sp>
        <p:nvSpPr>
          <p:cNvPr id="10" name="Chart Placeholder 6">
            <a:extLst>
              <a:ext uri="{FF2B5EF4-FFF2-40B4-BE49-F238E27FC236}">
                <a16:creationId xmlns:a16="http://schemas.microsoft.com/office/drawing/2014/main" id="{06B353E5-EEAB-482C-9DB1-97149E7A2A60}"/>
              </a:ext>
            </a:extLst>
          </p:cNvPr>
          <p:cNvSpPr>
            <a:spLocks noGrp="1"/>
          </p:cNvSpPr>
          <p:nvPr>
            <p:ph type="chart" sz="quarter" idx="39"/>
          </p:nvPr>
        </p:nvSpPr>
        <p:spPr>
          <a:xfrm>
            <a:off x="8253863" y="2367751"/>
            <a:ext cx="3600000" cy="3688562"/>
          </a:xfrm>
        </p:spPr>
        <p:txBody>
          <a:bodyPr/>
          <a:lstStyle/>
          <a:p>
            <a:endParaRPr lang="en-AU"/>
          </a:p>
        </p:txBody>
      </p:sp>
      <p:sp>
        <p:nvSpPr>
          <p:cNvPr id="11" name="Text Placeholder 5">
            <a:extLst>
              <a:ext uri="{FF2B5EF4-FFF2-40B4-BE49-F238E27FC236}">
                <a16:creationId xmlns:a16="http://schemas.microsoft.com/office/drawing/2014/main" id="{3B6290DA-37EF-4A2C-88F1-6499FB9B145E}"/>
              </a:ext>
            </a:extLst>
          </p:cNvPr>
          <p:cNvSpPr>
            <a:spLocks noGrp="1"/>
          </p:cNvSpPr>
          <p:nvPr>
            <p:ph type="body" sz="quarter" idx="45" hasCustomPrompt="1"/>
          </p:nvPr>
        </p:nvSpPr>
        <p:spPr>
          <a:xfrm>
            <a:off x="339724" y="1421784"/>
            <a:ext cx="3592063" cy="737216"/>
          </a:xfrm>
        </p:spPr>
        <p:txBody>
          <a:bodyPr anchor="b"/>
          <a:lstStyle>
            <a:lvl1pPr algn="l">
              <a:spcBef>
                <a:spcPts val="0"/>
              </a:spcBef>
              <a:defRPr sz="1600" b="1">
                <a:solidFill>
                  <a:schemeClr val="tx1"/>
                </a:solidFill>
              </a:defRPr>
            </a:lvl1pPr>
          </a:lstStyle>
          <a:p>
            <a:pPr lvl="0"/>
            <a:r>
              <a:rPr lang="en-US"/>
              <a:t>Insert text here minimum 14pt with single line spacing and maximum number of lines to the bottom of box</a:t>
            </a:r>
          </a:p>
        </p:txBody>
      </p:sp>
      <p:sp>
        <p:nvSpPr>
          <p:cNvPr id="12" name="Text Placeholder 5">
            <a:extLst>
              <a:ext uri="{FF2B5EF4-FFF2-40B4-BE49-F238E27FC236}">
                <a16:creationId xmlns:a16="http://schemas.microsoft.com/office/drawing/2014/main" id="{C9E47058-6563-4835-9363-ED56FB9E0C52}"/>
              </a:ext>
            </a:extLst>
          </p:cNvPr>
          <p:cNvSpPr>
            <a:spLocks noGrp="1"/>
          </p:cNvSpPr>
          <p:nvPr>
            <p:ph type="body" sz="quarter" idx="46" hasCustomPrompt="1"/>
          </p:nvPr>
        </p:nvSpPr>
        <p:spPr>
          <a:xfrm>
            <a:off x="4292826" y="1421784"/>
            <a:ext cx="3592063" cy="737216"/>
          </a:xfrm>
        </p:spPr>
        <p:txBody>
          <a:bodyPr anchor="b"/>
          <a:lstStyle>
            <a:lvl1pPr algn="l">
              <a:spcBef>
                <a:spcPts val="0"/>
              </a:spcBef>
              <a:defRPr sz="1600" b="1">
                <a:solidFill>
                  <a:schemeClr val="tx1"/>
                </a:solidFill>
              </a:defRPr>
            </a:lvl1pPr>
          </a:lstStyle>
          <a:p>
            <a:pPr lvl="0"/>
            <a:r>
              <a:rPr lang="en-US"/>
              <a:t>Insert text here minimum 14pt with single line spacing and maximum number of lines to the bottom of box</a:t>
            </a:r>
          </a:p>
        </p:txBody>
      </p:sp>
      <p:sp>
        <p:nvSpPr>
          <p:cNvPr id="13" name="Text Placeholder 5">
            <a:extLst>
              <a:ext uri="{FF2B5EF4-FFF2-40B4-BE49-F238E27FC236}">
                <a16:creationId xmlns:a16="http://schemas.microsoft.com/office/drawing/2014/main" id="{72DD468C-4B0C-499E-BDFC-A2267A9FA70A}"/>
              </a:ext>
            </a:extLst>
          </p:cNvPr>
          <p:cNvSpPr>
            <a:spLocks noGrp="1"/>
          </p:cNvSpPr>
          <p:nvPr>
            <p:ph type="body" sz="quarter" idx="47" hasCustomPrompt="1"/>
          </p:nvPr>
        </p:nvSpPr>
        <p:spPr>
          <a:xfrm>
            <a:off x="8261800" y="1421784"/>
            <a:ext cx="3592063" cy="737216"/>
          </a:xfrm>
        </p:spPr>
        <p:txBody>
          <a:bodyPr anchor="b"/>
          <a:lstStyle>
            <a:lvl1pPr algn="l">
              <a:spcBef>
                <a:spcPts val="0"/>
              </a:spcBef>
              <a:defRPr sz="1600" b="1">
                <a:solidFill>
                  <a:schemeClr val="tx1"/>
                </a:solidFill>
              </a:defRPr>
            </a:lvl1pPr>
          </a:lstStyle>
          <a:p>
            <a:pPr lvl="0"/>
            <a:r>
              <a:rPr lang="en-US"/>
              <a:t>Insert text here minimum 14pt with single line spacing and maximum number of lines to the bottom of box</a:t>
            </a:r>
          </a:p>
        </p:txBody>
      </p:sp>
    </p:spTree>
    <p:extLst>
      <p:ext uri="{BB962C8B-B14F-4D97-AF65-F5344CB8AC3E}">
        <p14:creationId xmlns:p14="http://schemas.microsoft.com/office/powerpoint/2010/main" val="64565355"/>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ata 1.8 – 6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708B-81B9-418F-86BD-3FA9146EA259}"/>
              </a:ext>
            </a:extLst>
          </p:cNvPr>
          <p:cNvSpPr>
            <a:spLocks noGrp="1"/>
          </p:cNvSpPr>
          <p:nvPr>
            <p:ph type="title"/>
          </p:nvPr>
        </p:nvSpPr>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B569CAB7-8711-443B-9FA8-B169A7A7A86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587B609-77DA-49EC-9190-36AC375D7305}"/>
              </a:ext>
            </a:extLst>
          </p:cNvPr>
          <p:cNvSpPr>
            <a:spLocks noGrp="1"/>
          </p:cNvSpPr>
          <p:nvPr>
            <p:ph type="sldNum" sz="quarter" idx="11"/>
          </p:nvPr>
        </p:nvSpPr>
        <p:spPr/>
        <p:txBody>
          <a:bodyPr/>
          <a:lstStyle/>
          <a:p>
            <a:fld id="{FC1BBE33-A891-48E8-970C-4A8D55F96D53}" type="slidenum">
              <a:rPr lang="en-AU" smtClean="0"/>
              <a:pPr/>
              <a:t>‹#›</a:t>
            </a:fld>
            <a:endParaRPr lang="en-AU"/>
          </a:p>
        </p:txBody>
      </p:sp>
      <p:sp>
        <p:nvSpPr>
          <p:cNvPr id="5" name="Subtitle">
            <a:extLst>
              <a:ext uri="{FF2B5EF4-FFF2-40B4-BE49-F238E27FC236}">
                <a16:creationId xmlns:a16="http://schemas.microsoft.com/office/drawing/2014/main" id="{99071643-4897-4842-97D6-7688E1632E7D}"/>
              </a:ext>
            </a:extLst>
          </p:cNvPr>
          <p:cNvSpPr>
            <a:spLocks noGrp="1"/>
          </p:cNvSpPr>
          <p:nvPr>
            <p:ph type="body" sz="quarter" idx="36" hasCustomPrompt="1"/>
          </p:nvPr>
        </p:nvSpPr>
        <p:spPr>
          <a:xfrm>
            <a:off x="334800" y="1030425"/>
            <a:ext cx="10027707"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b="1">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
        <p:nvSpPr>
          <p:cNvPr id="8" name="Text Placeholder 7">
            <a:extLst>
              <a:ext uri="{FF2B5EF4-FFF2-40B4-BE49-F238E27FC236}">
                <a16:creationId xmlns:a16="http://schemas.microsoft.com/office/drawing/2014/main" id="{81A50DDE-0EBE-407B-9F80-3018F05E95EB}"/>
              </a:ext>
            </a:extLst>
          </p:cNvPr>
          <p:cNvSpPr>
            <a:spLocks noGrp="1"/>
          </p:cNvSpPr>
          <p:nvPr>
            <p:ph type="body" sz="quarter" idx="38" hasCustomPrompt="1"/>
          </p:nvPr>
        </p:nvSpPr>
        <p:spPr>
          <a:xfrm>
            <a:off x="334800" y="2310391"/>
            <a:ext cx="807913" cy="276999"/>
          </a:xfrm>
        </p:spPr>
        <p:txBody>
          <a:bodyPr wrap="none" anchor="ctr">
            <a:noAutofit/>
          </a:bodyPr>
          <a:lstStyle>
            <a:lvl1pPr>
              <a:defRPr sz="1400"/>
            </a:lvl1pPr>
            <a:lvl2pPr marL="0" indent="0">
              <a:buNone/>
              <a:defRPr/>
            </a:lvl2pPr>
          </a:lstStyle>
          <a:p>
            <a:pPr lvl="0"/>
            <a:r>
              <a:rPr lang="en-US"/>
              <a:t>Country</a:t>
            </a:r>
          </a:p>
        </p:txBody>
      </p:sp>
      <p:sp>
        <p:nvSpPr>
          <p:cNvPr id="14" name="Text Placeholder 13">
            <a:extLst>
              <a:ext uri="{FF2B5EF4-FFF2-40B4-BE49-F238E27FC236}">
                <a16:creationId xmlns:a16="http://schemas.microsoft.com/office/drawing/2014/main" id="{16DA69D3-033B-470A-A4BD-0FBBF2A6865B}"/>
              </a:ext>
            </a:extLst>
          </p:cNvPr>
          <p:cNvSpPr>
            <a:spLocks noGrp="1"/>
          </p:cNvSpPr>
          <p:nvPr>
            <p:ph type="body" sz="quarter" idx="39" hasCustomPrompt="1"/>
          </p:nvPr>
        </p:nvSpPr>
        <p:spPr>
          <a:xfrm>
            <a:off x="1276350"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7" name="Chart Placeholder 6">
            <a:extLst>
              <a:ext uri="{FF2B5EF4-FFF2-40B4-BE49-F238E27FC236}">
                <a16:creationId xmlns:a16="http://schemas.microsoft.com/office/drawing/2014/main" id="{1D9807A7-E6F5-41B2-A9E2-0B56E7804D07}"/>
              </a:ext>
            </a:extLst>
          </p:cNvPr>
          <p:cNvSpPr>
            <a:spLocks noGrp="1"/>
          </p:cNvSpPr>
          <p:nvPr>
            <p:ph type="chart" sz="quarter" idx="37"/>
          </p:nvPr>
        </p:nvSpPr>
        <p:spPr>
          <a:xfrm>
            <a:off x="1395296" y="2182909"/>
            <a:ext cx="1378182" cy="3727386"/>
          </a:xfrm>
        </p:spPr>
        <p:txBody>
          <a:bodyPr/>
          <a:lstStyle>
            <a:lvl1pPr>
              <a:defRPr sz="1100"/>
            </a:lvl1pPr>
          </a:lstStyle>
          <a:p>
            <a:endParaRPr lang="en-AU"/>
          </a:p>
        </p:txBody>
      </p:sp>
      <p:sp>
        <p:nvSpPr>
          <p:cNvPr id="15" name="Text Placeholder 7">
            <a:extLst>
              <a:ext uri="{FF2B5EF4-FFF2-40B4-BE49-F238E27FC236}">
                <a16:creationId xmlns:a16="http://schemas.microsoft.com/office/drawing/2014/main" id="{9B2036C7-C8F5-4135-AF22-99CE4EF049A6}"/>
              </a:ext>
            </a:extLst>
          </p:cNvPr>
          <p:cNvSpPr>
            <a:spLocks noGrp="1"/>
          </p:cNvSpPr>
          <p:nvPr>
            <p:ph type="body" sz="quarter" idx="40" hasCustomPrompt="1"/>
          </p:nvPr>
        </p:nvSpPr>
        <p:spPr>
          <a:xfrm>
            <a:off x="334800" y="2844137"/>
            <a:ext cx="807913" cy="276999"/>
          </a:xfrm>
        </p:spPr>
        <p:txBody>
          <a:bodyPr wrap="none" anchor="ctr">
            <a:noAutofit/>
          </a:bodyPr>
          <a:lstStyle>
            <a:lvl1pPr>
              <a:defRPr sz="1400"/>
            </a:lvl1pPr>
            <a:lvl2pPr marL="0" indent="0">
              <a:buNone/>
              <a:defRPr/>
            </a:lvl2pPr>
          </a:lstStyle>
          <a:p>
            <a:pPr lvl="0"/>
            <a:r>
              <a:rPr lang="en-US"/>
              <a:t>Country</a:t>
            </a:r>
          </a:p>
        </p:txBody>
      </p:sp>
      <p:sp>
        <p:nvSpPr>
          <p:cNvPr id="16" name="Text Placeholder 7">
            <a:extLst>
              <a:ext uri="{FF2B5EF4-FFF2-40B4-BE49-F238E27FC236}">
                <a16:creationId xmlns:a16="http://schemas.microsoft.com/office/drawing/2014/main" id="{11D62620-0DD4-407A-903D-36C300C8B480}"/>
              </a:ext>
            </a:extLst>
          </p:cNvPr>
          <p:cNvSpPr>
            <a:spLocks noGrp="1"/>
          </p:cNvSpPr>
          <p:nvPr>
            <p:ph type="body" sz="quarter" idx="41" hasCustomPrompt="1"/>
          </p:nvPr>
        </p:nvSpPr>
        <p:spPr>
          <a:xfrm>
            <a:off x="334800" y="3377883"/>
            <a:ext cx="807913" cy="276999"/>
          </a:xfrm>
        </p:spPr>
        <p:txBody>
          <a:bodyPr wrap="none" anchor="ctr">
            <a:noAutofit/>
          </a:bodyPr>
          <a:lstStyle>
            <a:lvl1pPr>
              <a:defRPr sz="1400"/>
            </a:lvl1pPr>
            <a:lvl2pPr marL="0" indent="0">
              <a:buNone/>
              <a:defRPr/>
            </a:lvl2pPr>
          </a:lstStyle>
          <a:p>
            <a:pPr lvl="0"/>
            <a:r>
              <a:rPr lang="en-US"/>
              <a:t>Country</a:t>
            </a:r>
          </a:p>
        </p:txBody>
      </p:sp>
      <p:sp>
        <p:nvSpPr>
          <p:cNvPr id="17" name="Text Placeholder 7">
            <a:extLst>
              <a:ext uri="{FF2B5EF4-FFF2-40B4-BE49-F238E27FC236}">
                <a16:creationId xmlns:a16="http://schemas.microsoft.com/office/drawing/2014/main" id="{AE1DFEC0-715F-48B7-910C-571B2AA7F035}"/>
              </a:ext>
            </a:extLst>
          </p:cNvPr>
          <p:cNvSpPr>
            <a:spLocks noGrp="1"/>
          </p:cNvSpPr>
          <p:nvPr>
            <p:ph type="body" sz="quarter" idx="42" hasCustomPrompt="1"/>
          </p:nvPr>
        </p:nvSpPr>
        <p:spPr>
          <a:xfrm>
            <a:off x="334800" y="3911629"/>
            <a:ext cx="807913" cy="276999"/>
          </a:xfrm>
        </p:spPr>
        <p:txBody>
          <a:bodyPr wrap="none" anchor="ctr">
            <a:noAutofit/>
          </a:bodyPr>
          <a:lstStyle>
            <a:lvl1pPr>
              <a:defRPr sz="1400"/>
            </a:lvl1pPr>
            <a:lvl2pPr marL="0" indent="0">
              <a:buNone/>
              <a:defRPr/>
            </a:lvl2pPr>
          </a:lstStyle>
          <a:p>
            <a:pPr lvl="0"/>
            <a:r>
              <a:rPr lang="en-US"/>
              <a:t>Country</a:t>
            </a:r>
          </a:p>
        </p:txBody>
      </p:sp>
      <p:sp>
        <p:nvSpPr>
          <p:cNvPr id="18" name="Text Placeholder 7">
            <a:extLst>
              <a:ext uri="{FF2B5EF4-FFF2-40B4-BE49-F238E27FC236}">
                <a16:creationId xmlns:a16="http://schemas.microsoft.com/office/drawing/2014/main" id="{915B68EE-1BAE-4129-B71E-E7445BBAD07E}"/>
              </a:ext>
            </a:extLst>
          </p:cNvPr>
          <p:cNvSpPr>
            <a:spLocks noGrp="1"/>
          </p:cNvSpPr>
          <p:nvPr>
            <p:ph type="body" sz="quarter" idx="43" hasCustomPrompt="1"/>
          </p:nvPr>
        </p:nvSpPr>
        <p:spPr>
          <a:xfrm>
            <a:off x="334800" y="4445375"/>
            <a:ext cx="807913" cy="276999"/>
          </a:xfrm>
        </p:spPr>
        <p:txBody>
          <a:bodyPr wrap="none" anchor="ctr">
            <a:noAutofit/>
          </a:bodyPr>
          <a:lstStyle>
            <a:lvl1pPr>
              <a:defRPr sz="1400"/>
            </a:lvl1pPr>
            <a:lvl2pPr marL="0" indent="0">
              <a:buNone/>
              <a:defRPr/>
            </a:lvl2pPr>
          </a:lstStyle>
          <a:p>
            <a:pPr lvl="0"/>
            <a:r>
              <a:rPr lang="en-US"/>
              <a:t>Country</a:t>
            </a:r>
          </a:p>
        </p:txBody>
      </p:sp>
      <p:sp>
        <p:nvSpPr>
          <p:cNvPr id="19" name="Text Placeholder 7">
            <a:extLst>
              <a:ext uri="{FF2B5EF4-FFF2-40B4-BE49-F238E27FC236}">
                <a16:creationId xmlns:a16="http://schemas.microsoft.com/office/drawing/2014/main" id="{B2BE4C7A-29D3-419F-AF7C-806089972476}"/>
              </a:ext>
            </a:extLst>
          </p:cNvPr>
          <p:cNvSpPr>
            <a:spLocks noGrp="1"/>
          </p:cNvSpPr>
          <p:nvPr>
            <p:ph type="body" sz="quarter" idx="44" hasCustomPrompt="1"/>
          </p:nvPr>
        </p:nvSpPr>
        <p:spPr>
          <a:xfrm>
            <a:off x="334800" y="4979121"/>
            <a:ext cx="807913" cy="276999"/>
          </a:xfrm>
        </p:spPr>
        <p:txBody>
          <a:bodyPr wrap="none" anchor="ctr">
            <a:noAutofit/>
          </a:bodyPr>
          <a:lstStyle>
            <a:lvl1pPr>
              <a:defRPr sz="1400"/>
            </a:lvl1pPr>
            <a:lvl2pPr marL="0" indent="0">
              <a:buNone/>
              <a:defRPr/>
            </a:lvl2pPr>
          </a:lstStyle>
          <a:p>
            <a:pPr lvl="0"/>
            <a:r>
              <a:rPr lang="en-US"/>
              <a:t>Country</a:t>
            </a:r>
          </a:p>
        </p:txBody>
      </p:sp>
      <p:sp>
        <p:nvSpPr>
          <p:cNvPr id="20" name="Text Placeholder 7">
            <a:extLst>
              <a:ext uri="{FF2B5EF4-FFF2-40B4-BE49-F238E27FC236}">
                <a16:creationId xmlns:a16="http://schemas.microsoft.com/office/drawing/2014/main" id="{7A8A1A8A-B961-48B5-8074-114D8A9D1369}"/>
              </a:ext>
            </a:extLst>
          </p:cNvPr>
          <p:cNvSpPr>
            <a:spLocks noGrp="1"/>
          </p:cNvSpPr>
          <p:nvPr>
            <p:ph type="body" sz="quarter" idx="45" hasCustomPrompt="1"/>
          </p:nvPr>
        </p:nvSpPr>
        <p:spPr>
          <a:xfrm>
            <a:off x="334800" y="5512867"/>
            <a:ext cx="807913" cy="276999"/>
          </a:xfrm>
        </p:spPr>
        <p:txBody>
          <a:bodyPr wrap="none" anchor="ctr">
            <a:noAutofit/>
          </a:bodyPr>
          <a:lstStyle>
            <a:lvl1pPr>
              <a:defRPr sz="1400"/>
            </a:lvl1pPr>
            <a:lvl2pPr marL="0" indent="0">
              <a:buNone/>
              <a:defRPr/>
            </a:lvl2pPr>
          </a:lstStyle>
          <a:p>
            <a:pPr lvl="0"/>
            <a:r>
              <a:rPr lang="en-US"/>
              <a:t>Country</a:t>
            </a:r>
          </a:p>
        </p:txBody>
      </p:sp>
      <p:sp>
        <p:nvSpPr>
          <p:cNvPr id="21" name="Text Placeholder 13">
            <a:extLst>
              <a:ext uri="{FF2B5EF4-FFF2-40B4-BE49-F238E27FC236}">
                <a16:creationId xmlns:a16="http://schemas.microsoft.com/office/drawing/2014/main" id="{76C0EA70-47FF-4B09-8E1D-F293AFC5E31B}"/>
              </a:ext>
            </a:extLst>
          </p:cNvPr>
          <p:cNvSpPr>
            <a:spLocks noGrp="1"/>
          </p:cNvSpPr>
          <p:nvPr>
            <p:ph type="body" sz="quarter" idx="46" hasCustomPrompt="1"/>
          </p:nvPr>
        </p:nvSpPr>
        <p:spPr>
          <a:xfrm>
            <a:off x="3068638"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22" name="Chart Placeholder 6">
            <a:extLst>
              <a:ext uri="{FF2B5EF4-FFF2-40B4-BE49-F238E27FC236}">
                <a16:creationId xmlns:a16="http://schemas.microsoft.com/office/drawing/2014/main" id="{CED3D488-3C5B-4C00-92CC-0861A26F3D8C}"/>
              </a:ext>
            </a:extLst>
          </p:cNvPr>
          <p:cNvSpPr>
            <a:spLocks noGrp="1"/>
          </p:cNvSpPr>
          <p:nvPr>
            <p:ph type="chart" sz="quarter" idx="47"/>
          </p:nvPr>
        </p:nvSpPr>
        <p:spPr>
          <a:xfrm>
            <a:off x="3187584" y="2182909"/>
            <a:ext cx="1378182" cy="3727386"/>
          </a:xfrm>
        </p:spPr>
        <p:txBody>
          <a:bodyPr/>
          <a:lstStyle>
            <a:lvl1pPr>
              <a:defRPr sz="1100"/>
            </a:lvl1pPr>
          </a:lstStyle>
          <a:p>
            <a:endParaRPr lang="en-AU"/>
          </a:p>
        </p:txBody>
      </p:sp>
      <p:sp>
        <p:nvSpPr>
          <p:cNvPr id="23" name="Text Placeholder 13">
            <a:extLst>
              <a:ext uri="{FF2B5EF4-FFF2-40B4-BE49-F238E27FC236}">
                <a16:creationId xmlns:a16="http://schemas.microsoft.com/office/drawing/2014/main" id="{9288C177-E5EC-463D-8ADC-A73817553BB6}"/>
              </a:ext>
            </a:extLst>
          </p:cNvPr>
          <p:cNvSpPr>
            <a:spLocks noGrp="1"/>
          </p:cNvSpPr>
          <p:nvPr>
            <p:ph type="body" sz="quarter" idx="48" hasCustomPrompt="1"/>
          </p:nvPr>
        </p:nvSpPr>
        <p:spPr>
          <a:xfrm>
            <a:off x="4860926"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24" name="Chart Placeholder 6">
            <a:extLst>
              <a:ext uri="{FF2B5EF4-FFF2-40B4-BE49-F238E27FC236}">
                <a16:creationId xmlns:a16="http://schemas.microsoft.com/office/drawing/2014/main" id="{9DB5564C-650A-4468-8CF4-9435B177522A}"/>
              </a:ext>
            </a:extLst>
          </p:cNvPr>
          <p:cNvSpPr>
            <a:spLocks noGrp="1"/>
          </p:cNvSpPr>
          <p:nvPr>
            <p:ph type="chart" sz="quarter" idx="49"/>
          </p:nvPr>
        </p:nvSpPr>
        <p:spPr>
          <a:xfrm>
            <a:off x="4979872" y="2182909"/>
            <a:ext cx="1378182" cy="3727386"/>
          </a:xfrm>
        </p:spPr>
        <p:txBody>
          <a:bodyPr/>
          <a:lstStyle>
            <a:lvl1pPr>
              <a:defRPr sz="1100"/>
            </a:lvl1pPr>
          </a:lstStyle>
          <a:p>
            <a:endParaRPr lang="en-AU"/>
          </a:p>
        </p:txBody>
      </p:sp>
      <p:sp>
        <p:nvSpPr>
          <p:cNvPr id="25" name="Text Placeholder 13">
            <a:extLst>
              <a:ext uri="{FF2B5EF4-FFF2-40B4-BE49-F238E27FC236}">
                <a16:creationId xmlns:a16="http://schemas.microsoft.com/office/drawing/2014/main" id="{DFB2E83A-8117-4765-A27E-797D2A90D1D4}"/>
              </a:ext>
            </a:extLst>
          </p:cNvPr>
          <p:cNvSpPr>
            <a:spLocks noGrp="1"/>
          </p:cNvSpPr>
          <p:nvPr>
            <p:ph type="body" sz="quarter" idx="50" hasCustomPrompt="1"/>
          </p:nvPr>
        </p:nvSpPr>
        <p:spPr>
          <a:xfrm>
            <a:off x="6653214"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26" name="Chart Placeholder 6">
            <a:extLst>
              <a:ext uri="{FF2B5EF4-FFF2-40B4-BE49-F238E27FC236}">
                <a16:creationId xmlns:a16="http://schemas.microsoft.com/office/drawing/2014/main" id="{3F49E066-468A-4CA8-961C-7BA5AA93D8EF}"/>
              </a:ext>
            </a:extLst>
          </p:cNvPr>
          <p:cNvSpPr>
            <a:spLocks noGrp="1"/>
          </p:cNvSpPr>
          <p:nvPr>
            <p:ph type="chart" sz="quarter" idx="51"/>
          </p:nvPr>
        </p:nvSpPr>
        <p:spPr>
          <a:xfrm>
            <a:off x="6772160" y="2182909"/>
            <a:ext cx="1378182" cy="3727386"/>
          </a:xfrm>
        </p:spPr>
        <p:txBody>
          <a:bodyPr/>
          <a:lstStyle>
            <a:lvl1pPr>
              <a:defRPr sz="1100"/>
            </a:lvl1pPr>
          </a:lstStyle>
          <a:p>
            <a:endParaRPr lang="en-AU"/>
          </a:p>
        </p:txBody>
      </p:sp>
      <p:sp>
        <p:nvSpPr>
          <p:cNvPr id="27" name="Text Placeholder 13">
            <a:extLst>
              <a:ext uri="{FF2B5EF4-FFF2-40B4-BE49-F238E27FC236}">
                <a16:creationId xmlns:a16="http://schemas.microsoft.com/office/drawing/2014/main" id="{B2BE3BCC-636C-474E-B9E7-9E7D087C09CF}"/>
              </a:ext>
            </a:extLst>
          </p:cNvPr>
          <p:cNvSpPr>
            <a:spLocks noGrp="1"/>
          </p:cNvSpPr>
          <p:nvPr>
            <p:ph type="body" sz="quarter" idx="52" hasCustomPrompt="1"/>
          </p:nvPr>
        </p:nvSpPr>
        <p:spPr>
          <a:xfrm>
            <a:off x="8445502"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28" name="Chart Placeholder 6">
            <a:extLst>
              <a:ext uri="{FF2B5EF4-FFF2-40B4-BE49-F238E27FC236}">
                <a16:creationId xmlns:a16="http://schemas.microsoft.com/office/drawing/2014/main" id="{AD574E99-85B4-49E3-9915-68A9F58AF72F}"/>
              </a:ext>
            </a:extLst>
          </p:cNvPr>
          <p:cNvSpPr>
            <a:spLocks noGrp="1"/>
          </p:cNvSpPr>
          <p:nvPr>
            <p:ph type="chart" sz="quarter" idx="53"/>
          </p:nvPr>
        </p:nvSpPr>
        <p:spPr>
          <a:xfrm>
            <a:off x="8564448" y="2182909"/>
            <a:ext cx="1378182" cy="3727386"/>
          </a:xfrm>
        </p:spPr>
        <p:txBody>
          <a:bodyPr/>
          <a:lstStyle>
            <a:lvl1pPr>
              <a:defRPr sz="1100"/>
            </a:lvl1pPr>
          </a:lstStyle>
          <a:p>
            <a:endParaRPr lang="en-AU"/>
          </a:p>
        </p:txBody>
      </p:sp>
      <p:sp>
        <p:nvSpPr>
          <p:cNvPr id="29" name="Text Placeholder 13">
            <a:extLst>
              <a:ext uri="{FF2B5EF4-FFF2-40B4-BE49-F238E27FC236}">
                <a16:creationId xmlns:a16="http://schemas.microsoft.com/office/drawing/2014/main" id="{F943659C-168F-40C8-BBAE-03A95F71B5D4}"/>
              </a:ext>
            </a:extLst>
          </p:cNvPr>
          <p:cNvSpPr>
            <a:spLocks noGrp="1"/>
          </p:cNvSpPr>
          <p:nvPr>
            <p:ph type="body" sz="quarter" idx="54" hasCustomPrompt="1"/>
          </p:nvPr>
        </p:nvSpPr>
        <p:spPr>
          <a:xfrm>
            <a:off x="10237788" y="1768475"/>
            <a:ext cx="1616075" cy="4287838"/>
          </a:xfrm>
          <a:solidFill>
            <a:schemeClr val="tx2">
              <a:lumMod val="20000"/>
              <a:lumOff val="80000"/>
            </a:schemeClr>
          </a:solidFill>
        </p:spPr>
        <p:txBody>
          <a:bodyPr lIns="108000" tIns="72000" rIns="108000" bIns="108000"/>
          <a:lstStyle>
            <a:lvl1pPr algn="ctr">
              <a:defRPr sz="1600" b="1"/>
            </a:lvl1pPr>
          </a:lstStyle>
          <a:p>
            <a:pPr lvl="0"/>
            <a:r>
              <a:rPr lang="en-US"/>
              <a:t>Subhead</a:t>
            </a:r>
          </a:p>
        </p:txBody>
      </p:sp>
      <p:sp>
        <p:nvSpPr>
          <p:cNvPr id="30" name="Chart Placeholder 6">
            <a:extLst>
              <a:ext uri="{FF2B5EF4-FFF2-40B4-BE49-F238E27FC236}">
                <a16:creationId xmlns:a16="http://schemas.microsoft.com/office/drawing/2014/main" id="{953BA0EC-8260-4B90-8345-E01FB00D68E2}"/>
              </a:ext>
            </a:extLst>
          </p:cNvPr>
          <p:cNvSpPr>
            <a:spLocks noGrp="1"/>
          </p:cNvSpPr>
          <p:nvPr>
            <p:ph type="chart" sz="quarter" idx="55"/>
          </p:nvPr>
        </p:nvSpPr>
        <p:spPr>
          <a:xfrm>
            <a:off x="10356734" y="2182909"/>
            <a:ext cx="1378182" cy="3727386"/>
          </a:xfrm>
        </p:spPr>
        <p:txBody>
          <a:bodyPr/>
          <a:lstStyle>
            <a:lvl1pPr>
              <a:defRPr sz="1100"/>
            </a:lvl1pPr>
          </a:lstStyle>
          <a:p>
            <a:endParaRPr lang="en-AU"/>
          </a:p>
        </p:txBody>
      </p:sp>
    </p:spTree>
    <p:extLst>
      <p:ext uri="{BB962C8B-B14F-4D97-AF65-F5344CB8AC3E}">
        <p14:creationId xmlns:p14="http://schemas.microsoft.com/office/powerpoint/2010/main" val="2265055959"/>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acts – 4 imag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AU"/>
              <a:t>Copyright © 2022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pPr/>
              <a:t>‹#›</a:t>
            </a:fld>
            <a:endParaRPr lang="en-GB"/>
          </a:p>
        </p:txBody>
      </p:sp>
      <p:sp>
        <p:nvSpPr>
          <p:cNvPr id="27" name="Picture Placeholder 13">
            <a:extLst>
              <a:ext uri="{FF2B5EF4-FFF2-40B4-BE49-F238E27FC236}">
                <a16:creationId xmlns:a16="http://schemas.microsoft.com/office/drawing/2014/main" id="{D8AC7A02-6FA4-4345-86DC-31EEBF6773FC}"/>
              </a:ext>
            </a:extLst>
          </p:cNvPr>
          <p:cNvSpPr>
            <a:spLocks noGrp="1"/>
          </p:cNvSpPr>
          <p:nvPr>
            <p:ph type="pic" sz="quarter" idx="49" hasCustomPrompt="1"/>
          </p:nvPr>
        </p:nvSpPr>
        <p:spPr>
          <a:xfrm>
            <a:off x="4312957" y="1594450"/>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28" name="Text Placeholder 4">
            <a:extLst>
              <a:ext uri="{FF2B5EF4-FFF2-40B4-BE49-F238E27FC236}">
                <a16:creationId xmlns:a16="http://schemas.microsoft.com/office/drawing/2014/main" id="{6AB7E157-81FF-43BA-BC67-794D480E46F1}"/>
              </a:ext>
            </a:extLst>
          </p:cNvPr>
          <p:cNvSpPr>
            <a:spLocks noGrp="1"/>
          </p:cNvSpPr>
          <p:nvPr>
            <p:ph type="body" sz="quarter" idx="50" hasCustomPrompt="1"/>
          </p:nvPr>
        </p:nvSpPr>
        <p:spPr>
          <a:xfrm>
            <a:off x="5919877" y="1762619"/>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29" name="Text Placeholder 5">
            <a:extLst>
              <a:ext uri="{FF2B5EF4-FFF2-40B4-BE49-F238E27FC236}">
                <a16:creationId xmlns:a16="http://schemas.microsoft.com/office/drawing/2014/main" id="{16359771-6B4A-4B9D-98E0-C6EF47FC8D8B}"/>
              </a:ext>
            </a:extLst>
          </p:cNvPr>
          <p:cNvSpPr>
            <a:spLocks noGrp="1"/>
          </p:cNvSpPr>
          <p:nvPr>
            <p:ph type="body" sz="quarter" idx="51" hasCustomPrompt="1"/>
          </p:nvPr>
        </p:nvSpPr>
        <p:spPr>
          <a:xfrm>
            <a:off x="5919507" y="2478326"/>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30" name="Picture Placeholder 13">
            <a:extLst>
              <a:ext uri="{FF2B5EF4-FFF2-40B4-BE49-F238E27FC236}">
                <a16:creationId xmlns:a16="http://schemas.microsoft.com/office/drawing/2014/main" id="{0DA3A018-7E8D-4C1E-83DF-65FFBE5CAE05}"/>
              </a:ext>
            </a:extLst>
          </p:cNvPr>
          <p:cNvSpPr>
            <a:spLocks noGrp="1"/>
          </p:cNvSpPr>
          <p:nvPr>
            <p:ph type="pic" sz="quarter" idx="52" hasCustomPrompt="1"/>
          </p:nvPr>
        </p:nvSpPr>
        <p:spPr>
          <a:xfrm>
            <a:off x="8290951" y="1594450"/>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1" name="Text Placeholder 4">
            <a:extLst>
              <a:ext uri="{FF2B5EF4-FFF2-40B4-BE49-F238E27FC236}">
                <a16:creationId xmlns:a16="http://schemas.microsoft.com/office/drawing/2014/main" id="{69FE0416-6290-4CA2-943C-8E1947B5AD69}"/>
              </a:ext>
            </a:extLst>
          </p:cNvPr>
          <p:cNvSpPr>
            <a:spLocks noGrp="1"/>
          </p:cNvSpPr>
          <p:nvPr>
            <p:ph type="body" sz="quarter" idx="53" hasCustomPrompt="1"/>
          </p:nvPr>
        </p:nvSpPr>
        <p:spPr>
          <a:xfrm>
            <a:off x="9897871" y="1762619"/>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32" name="Text Placeholder 5">
            <a:extLst>
              <a:ext uri="{FF2B5EF4-FFF2-40B4-BE49-F238E27FC236}">
                <a16:creationId xmlns:a16="http://schemas.microsoft.com/office/drawing/2014/main" id="{DEF924C3-F2E4-4B28-9ABB-25B329FD0218}"/>
              </a:ext>
            </a:extLst>
          </p:cNvPr>
          <p:cNvSpPr>
            <a:spLocks noGrp="1"/>
          </p:cNvSpPr>
          <p:nvPr>
            <p:ph type="body" sz="quarter" idx="54" hasCustomPrompt="1"/>
          </p:nvPr>
        </p:nvSpPr>
        <p:spPr>
          <a:xfrm>
            <a:off x="9897501" y="2478326"/>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40" name="Picture Placeholder 13">
            <a:extLst>
              <a:ext uri="{FF2B5EF4-FFF2-40B4-BE49-F238E27FC236}">
                <a16:creationId xmlns:a16="http://schemas.microsoft.com/office/drawing/2014/main" id="{D18CF009-4CDE-43DD-8422-21A829F41C3F}"/>
              </a:ext>
            </a:extLst>
          </p:cNvPr>
          <p:cNvSpPr>
            <a:spLocks noGrp="1"/>
          </p:cNvSpPr>
          <p:nvPr>
            <p:ph type="pic" sz="quarter" idx="58" hasCustomPrompt="1"/>
          </p:nvPr>
        </p:nvSpPr>
        <p:spPr>
          <a:xfrm>
            <a:off x="4312957" y="3825636"/>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1" name="Text Placeholder 4">
            <a:extLst>
              <a:ext uri="{FF2B5EF4-FFF2-40B4-BE49-F238E27FC236}">
                <a16:creationId xmlns:a16="http://schemas.microsoft.com/office/drawing/2014/main" id="{A20148E7-AB27-46D2-A5CA-9EB833E7F449}"/>
              </a:ext>
            </a:extLst>
          </p:cNvPr>
          <p:cNvSpPr>
            <a:spLocks noGrp="1"/>
          </p:cNvSpPr>
          <p:nvPr>
            <p:ph type="body" sz="quarter" idx="59" hasCustomPrompt="1"/>
          </p:nvPr>
        </p:nvSpPr>
        <p:spPr>
          <a:xfrm>
            <a:off x="5919877" y="3993805"/>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42" name="Text Placeholder 5">
            <a:extLst>
              <a:ext uri="{FF2B5EF4-FFF2-40B4-BE49-F238E27FC236}">
                <a16:creationId xmlns:a16="http://schemas.microsoft.com/office/drawing/2014/main" id="{36D3D9FF-456C-4FF9-B2A0-1B51E7449906}"/>
              </a:ext>
            </a:extLst>
          </p:cNvPr>
          <p:cNvSpPr>
            <a:spLocks noGrp="1"/>
          </p:cNvSpPr>
          <p:nvPr>
            <p:ph type="body" sz="quarter" idx="60" hasCustomPrompt="1"/>
          </p:nvPr>
        </p:nvSpPr>
        <p:spPr>
          <a:xfrm>
            <a:off x="5919507" y="4709512"/>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43" name="Picture Placeholder 13">
            <a:extLst>
              <a:ext uri="{FF2B5EF4-FFF2-40B4-BE49-F238E27FC236}">
                <a16:creationId xmlns:a16="http://schemas.microsoft.com/office/drawing/2014/main" id="{4BA20B98-DD96-4A8A-B459-2F06012F8BC0}"/>
              </a:ext>
            </a:extLst>
          </p:cNvPr>
          <p:cNvSpPr>
            <a:spLocks noGrp="1"/>
          </p:cNvSpPr>
          <p:nvPr>
            <p:ph type="pic" sz="quarter" idx="61" hasCustomPrompt="1"/>
          </p:nvPr>
        </p:nvSpPr>
        <p:spPr>
          <a:xfrm>
            <a:off x="8290951" y="3825636"/>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4" name="Text Placeholder 4">
            <a:extLst>
              <a:ext uri="{FF2B5EF4-FFF2-40B4-BE49-F238E27FC236}">
                <a16:creationId xmlns:a16="http://schemas.microsoft.com/office/drawing/2014/main" id="{C5D5BEFF-DB41-4E3F-8D8F-C6D8969E046B}"/>
              </a:ext>
            </a:extLst>
          </p:cNvPr>
          <p:cNvSpPr>
            <a:spLocks noGrp="1"/>
          </p:cNvSpPr>
          <p:nvPr>
            <p:ph type="body" sz="quarter" idx="62" hasCustomPrompt="1"/>
          </p:nvPr>
        </p:nvSpPr>
        <p:spPr>
          <a:xfrm>
            <a:off x="9897871" y="3993805"/>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45" name="Text Placeholder 5">
            <a:extLst>
              <a:ext uri="{FF2B5EF4-FFF2-40B4-BE49-F238E27FC236}">
                <a16:creationId xmlns:a16="http://schemas.microsoft.com/office/drawing/2014/main" id="{FB201400-8244-45D9-9C7B-395C31096CD8}"/>
              </a:ext>
            </a:extLst>
          </p:cNvPr>
          <p:cNvSpPr>
            <a:spLocks noGrp="1"/>
          </p:cNvSpPr>
          <p:nvPr>
            <p:ph type="body" sz="quarter" idx="63" hasCustomPrompt="1"/>
          </p:nvPr>
        </p:nvSpPr>
        <p:spPr>
          <a:xfrm>
            <a:off x="9897501" y="4709512"/>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2" name="Title 1">
            <a:extLst>
              <a:ext uri="{FF2B5EF4-FFF2-40B4-BE49-F238E27FC236}">
                <a16:creationId xmlns:a16="http://schemas.microsoft.com/office/drawing/2014/main" id="{8F12D735-BC2E-4E4B-8565-6BFEA8AE67A7}"/>
              </a:ext>
            </a:extLst>
          </p:cNvPr>
          <p:cNvSpPr>
            <a:spLocks noGrp="1"/>
          </p:cNvSpPr>
          <p:nvPr>
            <p:ph type="title" hasCustomPrompt="1"/>
          </p:nvPr>
        </p:nvSpPr>
        <p:spPr>
          <a:xfrm>
            <a:off x="317805" y="1949050"/>
            <a:ext cx="3146120" cy="777600"/>
          </a:xfrm>
        </p:spPr>
        <p:txBody>
          <a:bodyPr/>
          <a:lstStyle>
            <a:lvl1pPr>
              <a:defRPr sz="5600"/>
            </a:lvl1pPr>
          </a:lstStyle>
          <a:p>
            <a:r>
              <a:rPr lang="en-US"/>
              <a:t>contact</a:t>
            </a:r>
            <a:endParaRPr lang="en-AU"/>
          </a:p>
        </p:txBody>
      </p:sp>
      <p:sp>
        <p:nvSpPr>
          <p:cNvPr id="7" name="Text Placeholder 6">
            <a:extLst>
              <a:ext uri="{FF2B5EF4-FFF2-40B4-BE49-F238E27FC236}">
                <a16:creationId xmlns:a16="http://schemas.microsoft.com/office/drawing/2014/main" id="{D2A3DAD3-407A-4981-8D2A-4EB289CC93CE}"/>
              </a:ext>
            </a:extLst>
          </p:cNvPr>
          <p:cNvSpPr>
            <a:spLocks noGrp="1"/>
          </p:cNvSpPr>
          <p:nvPr>
            <p:ph type="body" sz="quarter" idx="64" hasCustomPrompt="1"/>
          </p:nvPr>
        </p:nvSpPr>
        <p:spPr>
          <a:xfrm>
            <a:off x="339725" y="1594450"/>
            <a:ext cx="3124200" cy="344488"/>
          </a:xfrm>
        </p:spPr>
        <p:txBody>
          <a:bodyPr anchor="b"/>
          <a:lstStyle>
            <a:lvl1pPr>
              <a:defRPr sz="2400" b="1">
                <a:solidFill>
                  <a:schemeClr val="tx1"/>
                </a:solidFill>
              </a:defRPr>
            </a:lvl1pPr>
          </a:lstStyle>
          <a:p>
            <a:pPr lvl="0"/>
            <a:r>
              <a:rPr lang="en-US"/>
              <a:t>For more information</a:t>
            </a:r>
          </a:p>
        </p:txBody>
      </p:sp>
    </p:spTree>
    <p:extLst>
      <p:ext uri="{BB962C8B-B14F-4D97-AF65-F5344CB8AC3E}">
        <p14:creationId xmlns:p14="http://schemas.microsoft.com/office/powerpoint/2010/main" val="1975207594"/>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acts – 6">
    <p:spTree>
      <p:nvGrpSpPr>
        <p:cNvPr id="1" name=""/>
        <p:cNvGrpSpPr/>
        <p:nvPr/>
      </p:nvGrpSpPr>
      <p:grpSpPr>
        <a:xfrm>
          <a:off x="0" y="0"/>
          <a:ext cx="0" cy="0"/>
          <a:chOff x="0" y="0"/>
          <a:chExt cx="0" cy="0"/>
        </a:xfrm>
      </p:grpSpPr>
      <p:sp>
        <p:nvSpPr>
          <p:cNvPr id="46" name="Picture Placeholder 13"/>
          <p:cNvSpPr>
            <a:spLocks noGrp="1"/>
          </p:cNvSpPr>
          <p:nvPr>
            <p:ph type="pic" sz="quarter" idx="24" hasCustomPrompt="1"/>
          </p:nvPr>
        </p:nvSpPr>
        <p:spPr>
          <a:xfrm>
            <a:off x="334963" y="1594450"/>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9" name="Text Placeholder 4"/>
          <p:cNvSpPr>
            <a:spLocks noGrp="1"/>
          </p:cNvSpPr>
          <p:nvPr>
            <p:ph type="body" sz="quarter" idx="32" hasCustomPrompt="1"/>
          </p:nvPr>
        </p:nvSpPr>
        <p:spPr>
          <a:xfrm>
            <a:off x="1941883" y="1762619"/>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6" name="Text Placeholder 5">
            <a:extLst>
              <a:ext uri="{FF2B5EF4-FFF2-40B4-BE49-F238E27FC236}">
                <a16:creationId xmlns:a16="http://schemas.microsoft.com/office/drawing/2014/main" id="{67782EB7-1480-4D3C-BB63-2D2E9A775472}"/>
              </a:ext>
            </a:extLst>
          </p:cNvPr>
          <p:cNvSpPr>
            <a:spLocks noGrp="1"/>
          </p:cNvSpPr>
          <p:nvPr>
            <p:ph type="body" sz="quarter" idx="48" hasCustomPrompt="1"/>
          </p:nvPr>
        </p:nvSpPr>
        <p:spPr>
          <a:xfrm>
            <a:off x="1941513" y="2478326"/>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3" name="Footer Placeholder 2"/>
          <p:cNvSpPr>
            <a:spLocks noGrp="1"/>
          </p:cNvSpPr>
          <p:nvPr>
            <p:ph type="ftr" sz="quarter" idx="10"/>
          </p:nvPr>
        </p:nvSpPr>
        <p:spPr/>
        <p:txBody>
          <a:bodyPr/>
          <a:lstStyle/>
          <a:p>
            <a:r>
              <a:rPr lang="en-AU"/>
              <a:t>Copyright © 2022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pPr/>
              <a:t>‹#›</a:t>
            </a:fld>
            <a:endParaRPr lang="en-GB"/>
          </a:p>
        </p:txBody>
      </p:sp>
      <p:sp>
        <p:nvSpPr>
          <p:cNvPr id="27" name="Picture Placeholder 13">
            <a:extLst>
              <a:ext uri="{FF2B5EF4-FFF2-40B4-BE49-F238E27FC236}">
                <a16:creationId xmlns:a16="http://schemas.microsoft.com/office/drawing/2014/main" id="{D8AC7A02-6FA4-4345-86DC-31EEBF6773FC}"/>
              </a:ext>
            </a:extLst>
          </p:cNvPr>
          <p:cNvSpPr>
            <a:spLocks noGrp="1"/>
          </p:cNvSpPr>
          <p:nvPr>
            <p:ph type="pic" sz="quarter" idx="49" hasCustomPrompt="1"/>
          </p:nvPr>
        </p:nvSpPr>
        <p:spPr>
          <a:xfrm>
            <a:off x="4312957" y="1594450"/>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28" name="Text Placeholder 4">
            <a:extLst>
              <a:ext uri="{FF2B5EF4-FFF2-40B4-BE49-F238E27FC236}">
                <a16:creationId xmlns:a16="http://schemas.microsoft.com/office/drawing/2014/main" id="{6AB7E157-81FF-43BA-BC67-794D480E46F1}"/>
              </a:ext>
            </a:extLst>
          </p:cNvPr>
          <p:cNvSpPr>
            <a:spLocks noGrp="1"/>
          </p:cNvSpPr>
          <p:nvPr>
            <p:ph type="body" sz="quarter" idx="50" hasCustomPrompt="1"/>
          </p:nvPr>
        </p:nvSpPr>
        <p:spPr>
          <a:xfrm>
            <a:off x="5919877" y="1762619"/>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29" name="Text Placeholder 5">
            <a:extLst>
              <a:ext uri="{FF2B5EF4-FFF2-40B4-BE49-F238E27FC236}">
                <a16:creationId xmlns:a16="http://schemas.microsoft.com/office/drawing/2014/main" id="{16359771-6B4A-4B9D-98E0-C6EF47FC8D8B}"/>
              </a:ext>
            </a:extLst>
          </p:cNvPr>
          <p:cNvSpPr>
            <a:spLocks noGrp="1"/>
          </p:cNvSpPr>
          <p:nvPr>
            <p:ph type="body" sz="quarter" idx="51" hasCustomPrompt="1"/>
          </p:nvPr>
        </p:nvSpPr>
        <p:spPr>
          <a:xfrm>
            <a:off x="5919507" y="2478326"/>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30" name="Picture Placeholder 13">
            <a:extLst>
              <a:ext uri="{FF2B5EF4-FFF2-40B4-BE49-F238E27FC236}">
                <a16:creationId xmlns:a16="http://schemas.microsoft.com/office/drawing/2014/main" id="{0DA3A018-7E8D-4C1E-83DF-65FFBE5CAE05}"/>
              </a:ext>
            </a:extLst>
          </p:cNvPr>
          <p:cNvSpPr>
            <a:spLocks noGrp="1"/>
          </p:cNvSpPr>
          <p:nvPr>
            <p:ph type="pic" sz="quarter" idx="52" hasCustomPrompt="1"/>
          </p:nvPr>
        </p:nvSpPr>
        <p:spPr>
          <a:xfrm>
            <a:off x="8290951" y="1594450"/>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1" name="Text Placeholder 4">
            <a:extLst>
              <a:ext uri="{FF2B5EF4-FFF2-40B4-BE49-F238E27FC236}">
                <a16:creationId xmlns:a16="http://schemas.microsoft.com/office/drawing/2014/main" id="{69FE0416-6290-4CA2-943C-8E1947B5AD69}"/>
              </a:ext>
            </a:extLst>
          </p:cNvPr>
          <p:cNvSpPr>
            <a:spLocks noGrp="1"/>
          </p:cNvSpPr>
          <p:nvPr>
            <p:ph type="body" sz="quarter" idx="53" hasCustomPrompt="1"/>
          </p:nvPr>
        </p:nvSpPr>
        <p:spPr>
          <a:xfrm>
            <a:off x="9897871" y="1762619"/>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32" name="Text Placeholder 5">
            <a:extLst>
              <a:ext uri="{FF2B5EF4-FFF2-40B4-BE49-F238E27FC236}">
                <a16:creationId xmlns:a16="http://schemas.microsoft.com/office/drawing/2014/main" id="{DEF924C3-F2E4-4B28-9ABB-25B329FD0218}"/>
              </a:ext>
            </a:extLst>
          </p:cNvPr>
          <p:cNvSpPr>
            <a:spLocks noGrp="1"/>
          </p:cNvSpPr>
          <p:nvPr>
            <p:ph type="body" sz="quarter" idx="54" hasCustomPrompt="1"/>
          </p:nvPr>
        </p:nvSpPr>
        <p:spPr>
          <a:xfrm>
            <a:off x="9897501" y="2478326"/>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37" name="Picture Placeholder 13">
            <a:extLst>
              <a:ext uri="{FF2B5EF4-FFF2-40B4-BE49-F238E27FC236}">
                <a16:creationId xmlns:a16="http://schemas.microsoft.com/office/drawing/2014/main" id="{F79C44C1-2183-4431-837E-83BADECA5F01}"/>
              </a:ext>
            </a:extLst>
          </p:cNvPr>
          <p:cNvSpPr>
            <a:spLocks noGrp="1"/>
          </p:cNvSpPr>
          <p:nvPr>
            <p:ph type="pic" sz="quarter" idx="55" hasCustomPrompt="1"/>
          </p:nvPr>
        </p:nvSpPr>
        <p:spPr>
          <a:xfrm>
            <a:off x="334963" y="3825636"/>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8" name="Text Placeholder 4">
            <a:extLst>
              <a:ext uri="{FF2B5EF4-FFF2-40B4-BE49-F238E27FC236}">
                <a16:creationId xmlns:a16="http://schemas.microsoft.com/office/drawing/2014/main" id="{58D659C7-B9AF-4B1E-86E0-760192734F25}"/>
              </a:ext>
            </a:extLst>
          </p:cNvPr>
          <p:cNvSpPr>
            <a:spLocks noGrp="1"/>
          </p:cNvSpPr>
          <p:nvPr>
            <p:ph type="body" sz="quarter" idx="56" hasCustomPrompt="1"/>
          </p:nvPr>
        </p:nvSpPr>
        <p:spPr>
          <a:xfrm>
            <a:off x="1941883" y="3993805"/>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39" name="Text Placeholder 5">
            <a:extLst>
              <a:ext uri="{FF2B5EF4-FFF2-40B4-BE49-F238E27FC236}">
                <a16:creationId xmlns:a16="http://schemas.microsoft.com/office/drawing/2014/main" id="{1C051C9A-5249-422E-AC1E-83FA1419991B}"/>
              </a:ext>
            </a:extLst>
          </p:cNvPr>
          <p:cNvSpPr>
            <a:spLocks noGrp="1"/>
          </p:cNvSpPr>
          <p:nvPr>
            <p:ph type="body" sz="quarter" idx="57" hasCustomPrompt="1"/>
          </p:nvPr>
        </p:nvSpPr>
        <p:spPr>
          <a:xfrm>
            <a:off x="1941513" y="4709512"/>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40" name="Picture Placeholder 13">
            <a:extLst>
              <a:ext uri="{FF2B5EF4-FFF2-40B4-BE49-F238E27FC236}">
                <a16:creationId xmlns:a16="http://schemas.microsoft.com/office/drawing/2014/main" id="{D18CF009-4CDE-43DD-8422-21A829F41C3F}"/>
              </a:ext>
            </a:extLst>
          </p:cNvPr>
          <p:cNvSpPr>
            <a:spLocks noGrp="1"/>
          </p:cNvSpPr>
          <p:nvPr>
            <p:ph type="pic" sz="quarter" idx="58" hasCustomPrompt="1"/>
          </p:nvPr>
        </p:nvSpPr>
        <p:spPr>
          <a:xfrm>
            <a:off x="4312957" y="3825636"/>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1" name="Text Placeholder 4">
            <a:extLst>
              <a:ext uri="{FF2B5EF4-FFF2-40B4-BE49-F238E27FC236}">
                <a16:creationId xmlns:a16="http://schemas.microsoft.com/office/drawing/2014/main" id="{A20148E7-AB27-46D2-A5CA-9EB833E7F449}"/>
              </a:ext>
            </a:extLst>
          </p:cNvPr>
          <p:cNvSpPr>
            <a:spLocks noGrp="1"/>
          </p:cNvSpPr>
          <p:nvPr>
            <p:ph type="body" sz="quarter" idx="59" hasCustomPrompt="1"/>
          </p:nvPr>
        </p:nvSpPr>
        <p:spPr>
          <a:xfrm>
            <a:off x="5919877" y="3993805"/>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42" name="Text Placeholder 5">
            <a:extLst>
              <a:ext uri="{FF2B5EF4-FFF2-40B4-BE49-F238E27FC236}">
                <a16:creationId xmlns:a16="http://schemas.microsoft.com/office/drawing/2014/main" id="{36D3D9FF-456C-4FF9-B2A0-1B51E7449906}"/>
              </a:ext>
            </a:extLst>
          </p:cNvPr>
          <p:cNvSpPr>
            <a:spLocks noGrp="1"/>
          </p:cNvSpPr>
          <p:nvPr>
            <p:ph type="body" sz="quarter" idx="60" hasCustomPrompt="1"/>
          </p:nvPr>
        </p:nvSpPr>
        <p:spPr>
          <a:xfrm>
            <a:off x="5919507" y="4709512"/>
            <a:ext cx="1955800" cy="554038"/>
          </a:xfrm>
        </p:spPr>
        <p:txBody>
          <a:bodyPr/>
          <a:lstStyle>
            <a:lvl1pPr>
              <a:spcBef>
                <a:spcPts val="0"/>
              </a:spcBef>
              <a:defRPr sz="1400" b="0"/>
            </a:lvl1pPr>
          </a:lstStyle>
          <a:p>
            <a:pPr lvl="0"/>
            <a:r>
              <a:rPr lang="en-US"/>
              <a:t>Job position</a:t>
            </a:r>
            <a:br>
              <a:rPr lang="en-US"/>
            </a:br>
            <a:r>
              <a:rPr lang="en-US"/>
              <a:t>Accenture Strategy</a:t>
            </a:r>
          </a:p>
        </p:txBody>
      </p:sp>
      <p:sp>
        <p:nvSpPr>
          <p:cNvPr id="43" name="Picture Placeholder 13">
            <a:extLst>
              <a:ext uri="{FF2B5EF4-FFF2-40B4-BE49-F238E27FC236}">
                <a16:creationId xmlns:a16="http://schemas.microsoft.com/office/drawing/2014/main" id="{4BA20B98-DD96-4A8A-B459-2F06012F8BC0}"/>
              </a:ext>
            </a:extLst>
          </p:cNvPr>
          <p:cNvSpPr>
            <a:spLocks noGrp="1"/>
          </p:cNvSpPr>
          <p:nvPr>
            <p:ph type="pic" sz="quarter" idx="61" hasCustomPrompt="1"/>
          </p:nvPr>
        </p:nvSpPr>
        <p:spPr>
          <a:xfrm>
            <a:off x="8290951" y="3825636"/>
            <a:ext cx="1440000" cy="144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4" name="Text Placeholder 4">
            <a:extLst>
              <a:ext uri="{FF2B5EF4-FFF2-40B4-BE49-F238E27FC236}">
                <a16:creationId xmlns:a16="http://schemas.microsoft.com/office/drawing/2014/main" id="{C5D5BEFF-DB41-4E3F-8D8F-C6D8969E046B}"/>
              </a:ext>
            </a:extLst>
          </p:cNvPr>
          <p:cNvSpPr>
            <a:spLocks noGrp="1"/>
          </p:cNvSpPr>
          <p:nvPr>
            <p:ph type="body" sz="quarter" idx="62" hasCustomPrompt="1"/>
          </p:nvPr>
        </p:nvSpPr>
        <p:spPr>
          <a:xfrm>
            <a:off x="9897871" y="3993805"/>
            <a:ext cx="1955800" cy="498598"/>
          </a:xfrm>
        </p:spPr>
        <p:txBody>
          <a:bodyPr anchor="b" anchorCtr="0">
            <a:spAutoFit/>
          </a:bodyPr>
          <a:lstStyle>
            <a:lvl1pPr>
              <a:lnSpc>
                <a:spcPct val="90000"/>
              </a:lnSpc>
              <a:spcBef>
                <a:spcPts val="0"/>
              </a:spcBef>
              <a:spcAft>
                <a:spcPts val="0"/>
              </a:spcAft>
              <a:defRPr sz="1800" b="1" cap="none" baseline="0">
                <a:solidFill>
                  <a:schemeClr val="accent1"/>
                </a:solidFill>
                <a:latin typeface="+mn-lt"/>
              </a:defRPr>
            </a:lvl1pPr>
          </a:lstStyle>
          <a:p>
            <a:pPr lvl="0"/>
            <a:r>
              <a:rPr lang="en-US"/>
              <a:t>First name</a:t>
            </a:r>
            <a:br>
              <a:rPr lang="en-US"/>
            </a:br>
            <a:r>
              <a:rPr lang="en-US"/>
              <a:t>Last name</a:t>
            </a:r>
          </a:p>
        </p:txBody>
      </p:sp>
      <p:sp>
        <p:nvSpPr>
          <p:cNvPr id="45" name="Text Placeholder 5">
            <a:extLst>
              <a:ext uri="{FF2B5EF4-FFF2-40B4-BE49-F238E27FC236}">
                <a16:creationId xmlns:a16="http://schemas.microsoft.com/office/drawing/2014/main" id="{FB201400-8244-45D9-9C7B-395C31096CD8}"/>
              </a:ext>
            </a:extLst>
          </p:cNvPr>
          <p:cNvSpPr>
            <a:spLocks noGrp="1"/>
          </p:cNvSpPr>
          <p:nvPr>
            <p:ph type="body" sz="quarter" idx="63" hasCustomPrompt="1"/>
          </p:nvPr>
        </p:nvSpPr>
        <p:spPr>
          <a:xfrm>
            <a:off x="9897501" y="4709512"/>
            <a:ext cx="1955800" cy="554038"/>
          </a:xfrm>
        </p:spPr>
        <p:txBody>
          <a:bodyPr/>
          <a:lstStyle>
            <a:lvl1pPr>
              <a:spcBef>
                <a:spcPts val="0"/>
              </a:spcBef>
              <a:defRPr sz="1400" b="0"/>
            </a:lvl1pPr>
          </a:lstStyle>
          <a:p>
            <a:pPr lvl="0"/>
            <a:r>
              <a:rPr lang="en-US"/>
              <a:t>Job position</a:t>
            </a:r>
            <a:br>
              <a:rPr lang="en-US"/>
            </a:br>
            <a:r>
              <a:rPr lang="en-US"/>
              <a:t>Accenture Strategy</a:t>
            </a:r>
          </a:p>
        </p:txBody>
      </p:sp>
    </p:spTree>
    <p:extLst>
      <p:ext uri="{BB962C8B-B14F-4D97-AF65-F5344CB8AC3E}">
        <p14:creationId xmlns:p14="http://schemas.microsoft.com/office/powerpoint/2010/main" val="288054253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0_Cover_Master Bran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65A2222E-6F06-403F-9BB7-59C622079F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418" t="-21" r="4418" b="8857"/>
          <a:stretch/>
        </p:blipFill>
        <p:spPr>
          <a:xfrm flipH="1">
            <a:off x="0" y="0"/>
            <a:ext cx="12192000" cy="6858000"/>
          </a:xfrm>
          <a:prstGeom prst="rect">
            <a:avLst/>
          </a:prstGeom>
        </p:spPr>
      </p:pic>
      <p:sp>
        <p:nvSpPr>
          <p:cNvPr id="26" name="Subtitle (3rd Level)">
            <a:extLst>
              <a:ext uri="{FF2B5EF4-FFF2-40B4-BE49-F238E27FC236}">
                <a16:creationId xmlns:a16="http://schemas.microsoft.com/office/drawing/2014/main" id="{638DF190-7DA4-4BBC-AA6D-B54B5EC64B1A}"/>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7" name="Long Subline">
            <a:extLst>
              <a:ext uri="{FF2B5EF4-FFF2-40B4-BE49-F238E27FC236}">
                <a16:creationId xmlns:a16="http://schemas.microsoft.com/office/drawing/2014/main" id="{2FAE2CC9-E3B2-41E2-A79F-D61C5EF55878}"/>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9" name="MasterTitle">
            <a:extLst>
              <a:ext uri="{FF2B5EF4-FFF2-40B4-BE49-F238E27FC236}">
                <a16:creationId xmlns:a16="http://schemas.microsoft.com/office/drawing/2014/main" id="{AC147F59-5E8B-4627-A563-B72519E775E6}"/>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7"/>
          <a:stretch>
            <a:fillRect/>
          </a:stretch>
        </p:blipFill>
        <p:spPr>
          <a:xfrm>
            <a:off x="6967077" y="530394"/>
            <a:ext cx="4885196" cy="347826"/>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8"/>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10"/>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1"/>
          <a:stretch>
            <a:fillRect/>
          </a:stretch>
        </p:blipFill>
        <p:spPr>
          <a:xfrm>
            <a:off x="7751739" y="374650"/>
            <a:ext cx="1663200" cy="445737"/>
          </a:xfrm>
          <a:prstGeom prst="rect">
            <a:avLst/>
          </a:prstGeom>
        </p:spPr>
      </p:pic>
      <p:pic>
        <p:nvPicPr>
          <p:cNvPr id="28" name="Acc_Applied_Intell_Wordmark_BLK Colour Positive">
            <a:extLst>
              <a:ext uri="{FF2B5EF4-FFF2-40B4-BE49-F238E27FC236}">
                <a16:creationId xmlns:a16="http://schemas.microsoft.com/office/drawing/2014/main" id="{19075430-4F64-4069-B75C-0CFF8B56277E}"/>
              </a:ext>
            </a:extLst>
          </p:cNvPr>
          <p:cNvPicPr>
            <a:picLocks noChangeAspect="1"/>
          </p:cNvPicPr>
          <p:nvPr userDrawn="1"/>
        </p:nvPicPr>
        <p:blipFill>
          <a:blip r:embed="rId7">
            <a:biLevel thresh="75000"/>
          </a:blip>
          <a:stretch>
            <a:fillRect/>
          </a:stretch>
        </p:blipFill>
        <p:spPr>
          <a:xfrm>
            <a:off x="1461439" y="716491"/>
            <a:ext cx="4885196" cy="347826"/>
          </a:xfrm>
          <a:prstGeom prst="rect">
            <a:avLst/>
          </a:prstGeom>
        </p:spPr>
      </p:pic>
    </p:spTree>
    <p:extLst>
      <p:ext uri="{BB962C8B-B14F-4D97-AF65-F5344CB8AC3E}">
        <p14:creationId xmlns:p14="http://schemas.microsoft.com/office/powerpoint/2010/main" val="401225139"/>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One Key Point 1.1 – (Right) – Image ">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A0CACF59-9EB2-4C8F-8B0F-47BAAF9BED83}"/>
              </a:ext>
            </a:extLst>
          </p:cNvPr>
          <p:cNvSpPr>
            <a:spLocks noGrp="1"/>
          </p:cNvSpPr>
          <p:nvPr>
            <p:ph type="pic" sz="quarter" idx="12" hasCustomPrompt="1"/>
          </p:nvPr>
        </p:nvSpPr>
        <p:spPr>
          <a:xfrm>
            <a:off x="0" y="0"/>
            <a:ext cx="12192001" cy="6874525"/>
          </a:xfrm>
          <a:prstGeom prst="rect">
            <a:avLst/>
          </a:prstGeom>
          <a:solidFill>
            <a:schemeClr val="bg1">
              <a:lumMod val="95000"/>
            </a:schemeClr>
          </a:solidFill>
        </p:spPr>
        <p:txBody>
          <a:bodyPr lIns="720000" tIns="0" rIns="720000" bIns="3708000" anchor="ctr" anchorCtr="0"/>
          <a:lstStyle>
            <a:lvl1pPr algn="l">
              <a:defRPr sz="1600" b="0" cap="none" baseline="0">
                <a:solidFill>
                  <a:schemeClr val="tx2"/>
                </a:solidFill>
              </a:defRPr>
            </a:lvl1pPr>
          </a:lstStyle>
          <a:p>
            <a:r>
              <a:rPr lang="en-US"/>
              <a:t>Click on the icon to insert image in placeholder and </a:t>
            </a:r>
            <a:br>
              <a:rPr lang="en-US"/>
            </a:br>
            <a:r>
              <a:rPr lang="en-US"/>
              <a:t>use the crop tool to center the image</a:t>
            </a:r>
          </a:p>
        </p:txBody>
      </p:sp>
      <p:sp>
        <p:nvSpPr>
          <p:cNvPr id="4" name="Footer Placeholder 3"/>
          <p:cNvSpPr>
            <a:spLocks noGrp="1"/>
          </p:cNvSpPr>
          <p:nvPr>
            <p:ph type="ftr" sz="quarter" idx="31"/>
          </p:nvPr>
        </p:nvSpPr>
        <p:spPr/>
        <p:txBody>
          <a:bodyPr/>
          <a:lstStyle/>
          <a:p>
            <a:r>
              <a:rPr lang="en-AU"/>
              <a:t>Copyright © 2022 Accenture. All rights reserved.</a:t>
            </a:r>
          </a:p>
        </p:txBody>
      </p:sp>
      <p:sp>
        <p:nvSpPr>
          <p:cNvPr id="9" name="Slide Number Placeholder 8"/>
          <p:cNvSpPr>
            <a:spLocks noGrp="1"/>
          </p:cNvSpPr>
          <p:nvPr>
            <p:ph type="sldNum" sz="quarter" idx="32"/>
          </p:nvPr>
        </p:nvSpPr>
        <p:spPr/>
        <p:txBody>
          <a:bodyPr/>
          <a:lstStyle/>
          <a:p>
            <a:pPr>
              <a:defRPr/>
            </a:pPr>
            <a:fld id="{90CBDC3A-D49F-4631-A8C7-55D59B33E5FA}" type="slidenum">
              <a:rPr lang="en-US" smtClean="0"/>
              <a:pPr>
                <a:defRPr/>
              </a:pPr>
              <a:t>‹#›</a:t>
            </a:fld>
            <a:endParaRPr lang="en-US"/>
          </a:p>
        </p:txBody>
      </p:sp>
      <p:sp>
        <p:nvSpPr>
          <p:cNvPr id="5" name="Text Placeholder 7"/>
          <p:cNvSpPr>
            <a:spLocks noGrp="1"/>
          </p:cNvSpPr>
          <p:nvPr>
            <p:ph type="body" sz="quarter" idx="11" hasCustomPrompt="1"/>
          </p:nvPr>
        </p:nvSpPr>
        <p:spPr>
          <a:xfrm>
            <a:off x="671513" y="1428628"/>
            <a:ext cx="5568950" cy="4096970"/>
          </a:xfrm>
        </p:spPr>
        <p:txBody>
          <a:bodyPr vert="horz" lIns="0" tIns="0" rIns="0" bIns="0" rtlCol="0" anchor="ctr">
            <a:noAutofit/>
          </a:bodyPr>
          <a:lstStyle>
            <a:lvl1pPr>
              <a:lnSpc>
                <a:spcPct val="80000"/>
              </a:lnSpc>
              <a:defRPr lang="en-US" sz="4999" cap="none" baseline="0" dirty="0" smtClean="0">
                <a:solidFill>
                  <a:schemeClr val="accent1"/>
                </a:solidFill>
                <a:latin typeface="+mj-lt"/>
              </a:defRPr>
            </a:lvl1pPr>
            <a:lvl2pPr marL="0" indent="0">
              <a:spcAft>
                <a:spcPts val="800"/>
              </a:spcAft>
              <a:buNone/>
              <a:defRPr lang="en-US" sz="2000" b="1" dirty="0" smtClean="0"/>
            </a:lvl2pPr>
            <a:lvl3pPr marL="180939" indent="-180939">
              <a:spcBef>
                <a:spcPts val="0"/>
              </a:spcBef>
              <a:buFont typeface="Arial" panose="020B0604020202020204" pitchFamily="34" charset="0"/>
              <a:buChar char="•"/>
              <a:defRPr lang="en-US" sz="1800" b="0" i="0" kern="1200" cap="none" baseline="0" dirty="0">
                <a:solidFill>
                  <a:schemeClr val="tx1"/>
                </a:solidFill>
                <a:latin typeface="+mn-lt"/>
                <a:ea typeface="Arial Black" charset="0"/>
                <a:cs typeface="Arial Black" charset="0"/>
              </a:defRPr>
            </a:lvl3pPr>
            <a:lvl4pPr marL="468626" indent="-285750">
              <a:buFont typeface="Arial" panose="020B0604020202020204" pitchFamily="34" charset="0"/>
              <a:buChar char="–"/>
              <a:defRPr lang="en-US" sz="1800" dirty="0" smtClean="0"/>
            </a:lvl4pPr>
            <a:lvl5pPr marL="638047" indent="-192050">
              <a:buFont typeface="Arial" panose="020B0604020202020204" pitchFamily="34" charset="0"/>
              <a:buChar char="•"/>
              <a:defRPr lang="en-US" sz="1800" dirty="0"/>
            </a:lvl5pPr>
            <a:lvl6pPr marL="903107" indent="-265060">
              <a:buFont typeface="Arial" panose="020B0604020202020204" pitchFamily="34" charset="0"/>
              <a:buChar char="–"/>
              <a:defRPr sz="1800"/>
            </a:lvl6pPr>
          </a:lstStyle>
          <a:p>
            <a:pPr lvl="0"/>
            <a:r>
              <a:rPr lang="en-US"/>
              <a:t>Heading</a:t>
            </a:r>
          </a:p>
          <a:p>
            <a:pPr lvl="1"/>
            <a:r>
              <a:rPr lang="en-US"/>
              <a:t>Edit Master text styles</a:t>
            </a:r>
          </a:p>
          <a:p>
            <a:pPr lvl="2"/>
            <a:r>
              <a:rPr lang="en-US"/>
              <a:t>Second level</a:t>
            </a:r>
          </a:p>
          <a:p>
            <a:pPr marL="365751" lvl="2" indent="-182875" algn="l" defTabSz="1734634" rtl="0" eaLnBrk="1" latinLnBrk="0" hangingPunct="1">
              <a:lnSpc>
                <a:spcPct val="100000"/>
              </a:lnSpc>
              <a:spcBef>
                <a:spcPts val="800"/>
              </a:spcBef>
              <a:buFont typeface="Arial" panose="020B0604020202020204" pitchFamily="34" charset="0"/>
              <a:buChar char="‒"/>
            </a:pPr>
            <a:r>
              <a:rPr lang="en-US"/>
              <a:t>Third level</a:t>
            </a:r>
          </a:p>
        </p:txBody>
      </p:sp>
    </p:spTree>
    <p:extLst>
      <p:ext uri="{BB962C8B-B14F-4D97-AF65-F5344CB8AC3E}">
        <p14:creationId xmlns:p14="http://schemas.microsoft.com/office/powerpoint/2010/main" val="2333194198"/>
      </p:ext>
    </p:extLst>
  </p:cSld>
  <p:clrMapOvr>
    <a:masterClrMapping/>
  </p:clrMapOvr>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acts – 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423200" y="6382054"/>
            <a:ext cx="4114800" cy="163513"/>
          </a:xfrm>
        </p:spPr>
        <p:txBody>
          <a:bodyPr/>
          <a:lstStyle/>
          <a:p>
            <a:r>
              <a:rPr lang="en-AU"/>
              <a:t>Copyright © 2022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pPr/>
              <a:t>‹#›</a:t>
            </a:fld>
            <a:endParaRPr lang="en-GB"/>
          </a:p>
        </p:txBody>
      </p:sp>
      <p:sp>
        <p:nvSpPr>
          <p:cNvPr id="46" name="Picture Placeholder 13"/>
          <p:cNvSpPr>
            <a:spLocks noGrp="1"/>
          </p:cNvSpPr>
          <p:nvPr>
            <p:ph type="pic" sz="quarter" idx="24" hasCustomPrompt="1"/>
          </p:nvPr>
        </p:nvSpPr>
        <p:spPr>
          <a:xfrm>
            <a:off x="334963" y="720724"/>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8" name="Text Placeholder 24"/>
          <p:cNvSpPr>
            <a:spLocks noGrp="1"/>
          </p:cNvSpPr>
          <p:nvPr>
            <p:ph type="body" sz="quarter" idx="25" hasCustomPrompt="1"/>
          </p:nvPr>
        </p:nvSpPr>
        <p:spPr>
          <a:xfrm>
            <a:off x="1917525" y="1554057"/>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49" name="Text Placeholder 4"/>
          <p:cNvSpPr>
            <a:spLocks noGrp="1"/>
          </p:cNvSpPr>
          <p:nvPr>
            <p:ph type="body" sz="quarter" idx="32" hasCustomPrompt="1"/>
          </p:nvPr>
        </p:nvSpPr>
        <p:spPr>
          <a:xfrm>
            <a:off x="1917525" y="949150"/>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23" name="Picture Placeholder 13">
            <a:extLst>
              <a:ext uri="{FF2B5EF4-FFF2-40B4-BE49-F238E27FC236}">
                <a16:creationId xmlns:a16="http://schemas.microsoft.com/office/drawing/2014/main" id="{82943577-52CD-45C0-BA4D-976D5E0A11BE}"/>
              </a:ext>
            </a:extLst>
          </p:cNvPr>
          <p:cNvSpPr>
            <a:spLocks noGrp="1"/>
          </p:cNvSpPr>
          <p:nvPr>
            <p:ph type="pic" sz="quarter" idx="33" hasCustomPrompt="1"/>
          </p:nvPr>
        </p:nvSpPr>
        <p:spPr>
          <a:xfrm>
            <a:off x="4326198" y="720724"/>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24" name="Text Placeholder 24">
            <a:extLst>
              <a:ext uri="{FF2B5EF4-FFF2-40B4-BE49-F238E27FC236}">
                <a16:creationId xmlns:a16="http://schemas.microsoft.com/office/drawing/2014/main" id="{8070DC40-9899-4A4A-BAAD-05904D3E316F}"/>
              </a:ext>
            </a:extLst>
          </p:cNvPr>
          <p:cNvSpPr>
            <a:spLocks noGrp="1"/>
          </p:cNvSpPr>
          <p:nvPr>
            <p:ph type="body" sz="quarter" idx="34" hasCustomPrompt="1"/>
          </p:nvPr>
        </p:nvSpPr>
        <p:spPr>
          <a:xfrm>
            <a:off x="5908759" y="1554057"/>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25" name="Text Placeholder 4">
            <a:extLst>
              <a:ext uri="{FF2B5EF4-FFF2-40B4-BE49-F238E27FC236}">
                <a16:creationId xmlns:a16="http://schemas.microsoft.com/office/drawing/2014/main" id="{B1FA9F3D-AEBD-4D84-AF7F-B1CE1B502204}"/>
              </a:ext>
            </a:extLst>
          </p:cNvPr>
          <p:cNvSpPr>
            <a:spLocks noGrp="1"/>
          </p:cNvSpPr>
          <p:nvPr>
            <p:ph type="body" sz="quarter" idx="35" hasCustomPrompt="1"/>
          </p:nvPr>
        </p:nvSpPr>
        <p:spPr>
          <a:xfrm>
            <a:off x="5908759" y="949150"/>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26" name="Picture Placeholder 13">
            <a:extLst>
              <a:ext uri="{FF2B5EF4-FFF2-40B4-BE49-F238E27FC236}">
                <a16:creationId xmlns:a16="http://schemas.microsoft.com/office/drawing/2014/main" id="{61CCB29D-81E4-474A-9E60-64969F0BF5D9}"/>
              </a:ext>
            </a:extLst>
          </p:cNvPr>
          <p:cNvSpPr>
            <a:spLocks noGrp="1"/>
          </p:cNvSpPr>
          <p:nvPr>
            <p:ph type="pic" sz="quarter" idx="36" hasCustomPrompt="1"/>
          </p:nvPr>
        </p:nvSpPr>
        <p:spPr>
          <a:xfrm>
            <a:off x="8318676" y="720724"/>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27" name="Text Placeholder 24">
            <a:extLst>
              <a:ext uri="{FF2B5EF4-FFF2-40B4-BE49-F238E27FC236}">
                <a16:creationId xmlns:a16="http://schemas.microsoft.com/office/drawing/2014/main" id="{67FD3F74-CC98-41F6-89DD-523764841EF9}"/>
              </a:ext>
            </a:extLst>
          </p:cNvPr>
          <p:cNvSpPr>
            <a:spLocks noGrp="1"/>
          </p:cNvSpPr>
          <p:nvPr>
            <p:ph type="body" sz="quarter" idx="37" hasCustomPrompt="1"/>
          </p:nvPr>
        </p:nvSpPr>
        <p:spPr>
          <a:xfrm>
            <a:off x="9901237" y="1554057"/>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28" name="Text Placeholder 4">
            <a:extLst>
              <a:ext uri="{FF2B5EF4-FFF2-40B4-BE49-F238E27FC236}">
                <a16:creationId xmlns:a16="http://schemas.microsoft.com/office/drawing/2014/main" id="{3238998E-59EA-4ED0-AA88-76878FC3636A}"/>
              </a:ext>
            </a:extLst>
          </p:cNvPr>
          <p:cNvSpPr>
            <a:spLocks noGrp="1"/>
          </p:cNvSpPr>
          <p:nvPr>
            <p:ph type="body" sz="quarter" idx="38" hasCustomPrompt="1"/>
          </p:nvPr>
        </p:nvSpPr>
        <p:spPr>
          <a:xfrm>
            <a:off x="9901237" y="949150"/>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29" name="Picture Placeholder 13">
            <a:extLst>
              <a:ext uri="{FF2B5EF4-FFF2-40B4-BE49-F238E27FC236}">
                <a16:creationId xmlns:a16="http://schemas.microsoft.com/office/drawing/2014/main" id="{58AB748D-3F81-4557-B3D7-F03C7DBB1F7A}"/>
              </a:ext>
            </a:extLst>
          </p:cNvPr>
          <p:cNvSpPr>
            <a:spLocks noGrp="1"/>
          </p:cNvSpPr>
          <p:nvPr>
            <p:ph type="pic" sz="quarter" idx="39" hasCustomPrompt="1"/>
          </p:nvPr>
        </p:nvSpPr>
        <p:spPr>
          <a:xfrm>
            <a:off x="334963" y="2669381"/>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0" name="Text Placeholder 24">
            <a:extLst>
              <a:ext uri="{FF2B5EF4-FFF2-40B4-BE49-F238E27FC236}">
                <a16:creationId xmlns:a16="http://schemas.microsoft.com/office/drawing/2014/main" id="{F085331F-0069-4021-A782-2F81017BAA00}"/>
              </a:ext>
            </a:extLst>
          </p:cNvPr>
          <p:cNvSpPr>
            <a:spLocks noGrp="1"/>
          </p:cNvSpPr>
          <p:nvPr>
            <p:ph type="body" sz="quarter" idx="40" hasCustomPrompt="1"/>
          </p:nvPr>
        </p:nvSpPr>
        <p:spPr>
          <a:xfrm>
            <a:off x="1917525" y="3502714"/>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31" name="Text Placeholder 4">
            <a:extLst>
              <a:ext uri="{FF2B5EF4-FFF2-40B4-BE49-F238E27FC236}">
                <a16:creationId xmlns:a16="http://schemas.microsoft.com/office/drawing/2014/main" id="{69E29FD6-D6A8-4DF8-BA60-CA2F4E0A9726}"/>
              </a:ext>
            </a:extLst>
          </p:cNvPr>
          <p:cNvSpPr>
            <a:spLocks noGrp="1"/>
          </p:cNvSpPr>
          <p:nvPr>
            <p:ph type="body" sz="quarter" idx="41" hasCustomPrompt="1"/>
          </p:nvPr>
        </p:nvSpPr>
        <p:spPr>
          <a:xfrm>
            <a:off x="1917525" y="2897807"/>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32" name="Picture Placeholder 13">
            <a:extLst>
              <a:ext uri="{FF2B5EF4-FFF2-40B4-BE49-F238E27FC236}">
                <a16:creationId xmlns:a16="http://schemas.microsoft.com/office/drawing/2014/main" id="{7E73CFAA-2290-4A3B-ACB0-46E756C8C069}"/>
              </a:ext>
            </a:extLst>
          </p:cNvPr>
          <p:cNvSpPr>
            <a:spLocks noGrp="1"/>
          </p:cNvSpPr>
          <p:nvPr>
            <p:ph type="pic" sz="quarter" idx="42" hasCustomPrompt="1"/>
          </p:nvPr>
        </p:nvSpPr>
        <p:spPr>
          <a:xfrm>
            <a:off x="4326198" y="2669381"/>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3" name="Text Placeholder 24">
            <a:extLst>
              <a:ext uri="{FF2B5EF4-FFF2-40B4-BE49-F238E27FC236}">
                <a16:creationId xmlns:a16="http://schemas.microsoft.com/office/drawing/2014/main" id="{B533CE63-3C39-4F28-8FD6-C3421467A1C8}"/>
              </a:ext>
            </a:extLst>
          </p:cNvPr>
          <p:cNvSpPr>
            <a:spLocks noGrp="1"/>
          </p:cNvSpPr>
          <p:nvPr>
            <p:ph type="body" sz="quarter" idx="43" hasCustomPrompt="1"/>
          </p:nvPr>
        </p:nvSpPr>
        <p:spPr>
          <a:xfrm>
            <a:off x="5908759" y="3502714"/>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34" name="Text Placeholder 4">
            <a:extLst>
              <a:ext uri="{FF2B5EF4-FFF2-40B4-BE49-F238E27FC236}">
                <a16:creationId xmlns:a16="http://schemas.microsoft.com/office/drawing/2014/main" id="{DC636ABB-A70F-4EB3-A49C-E87CB670A517}"/>
              </a:ext>
            </a:extLst>
          </p:cNvPr>
          <p:cNvSpPr>
            <a:spLocks noGrp="1"/>
          </p:cNvSpPr>
          <p:nvPr>
            <p:ph type="body" sz="quarter" idx="44" hasCustomPrompt="1"/>
          </p:nvPr>
        </p:nvSpPr>
        <p:spPr>
          <a:xfrm>
            <a:off x="5908759" y="2897807"/>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35" name="Picture Placeholder 13">
            <a:extLst>
              <a:ext uri="{FF2B5EF4-FFF2-40B4-BE49-F238E27FC236}">
                <a16:creationId xmlns:a16="http://schemas.microsoft.com/office/drawing/2014/main" id="{6ADA8BDF-9581-477C-B393-E3BF58BBA4E7}"/>
              </a:ext>
            </a:extLst>
          </p:cNvPr>
          <p:cNvSpPr>
            <a:spLocks noGrp="1"/>
          </p:cNvSpPr>
          <p:nvPr>
            <p:ph type="pic" sz="quarter" idx="45" hasCustomPrompt="1"/>
          </p:nvPr>
        </p:nvSpPr>
        <p:spPr>
          <a:xfrm>
            <a:off x="8318676" y="2669381"/>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6" name="Text Placeholder 24">
            <a:extLst>
              <a:ext uri="{FF2B5EF4-FFF2-40B4-BE49-F238E27FC236}">
                <a16:creationId xmlns:a16="http://schemas.microsoft.com/office/drawing/2014/main" id="{CCC041D0-7C7F-453C-A761-5E1659FEE9A2}"/>
              </a:ext>
            </a:extLst>
          </p:cNvPr>
          <p:cNvSpPr>
            <a:spLocks noGrp="1"/>
          </p:cNvSpPr>
          <p:nvPr>
            <p:ph type="body" sz="quarter" idx="46" hasCustomPrompt="1"/>
          </p:nvPr>
        </p:nvSpPr>
        <p:spPr>
          <a:xfrm>
            <a:off x="9901237" y="3502714"/>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37" name="Text Placeholder 4">
            <a:extLst>
              <a:ext uri="{FF2B5EF4-FFF2-40B4-BE49-F238E27FC236}">
                <a16:creationId xmlns:a16="http://schemas.microsoft.com/office/drawing/2014/main" id="{62CFD299-FBDA-4420-B6BC-30CC52023409}"/>
              </a:ext>
            </a:extLst>
          </p:cNvPr>
          <p:cNvSpPr>
            <a:spLocks noGrp="1"/>
          </p:cNvSpPr>
          <p:nvPr>
            <p:ph type="body" sz="quarter" idx="47" hasCustomPrompt="1"/>
          </p:nvPr>
        </p:nvSpPr>
        <p:spPr>
          <a:xfrm>
            <a:off x="9901237" y="2897807"/>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38" name="Picture Placeholder 13">
            <a:extLst>
              <a:ext uri="{FF2B5EF4-FFF2-40B4-BE49-F238E27FC236}">
                <a16:creationId xmlns:a16="http://schemas.microsoft.com/office/drawing/2014/main" id="{355D49B8-7F32-4C57-BBDB-413CF5045BEB}"/>
              </a:ext>
            </a:extLst>
          </p:cNvPr>
          <p:cNvSpPr>
            <a:spLocks noGrp="1"/>
          </p:cNvSpPr>
          <p:nvPr>
            <p:ph type="pic" sz="quarter" idx="48" hasCustomPrompt="1"/>
          </p:nvPr>
        </p:nvSpPr>
        <p:spPr>
          <a:xfrm>
            <a:off x="334963" y="4618038"/>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39" name="Text Placeholder 24">
            <a:extLst>
              <a:ext uri="{FF2B5EF4-FFF2-40B4-BE49-F238E27FC236}">
                <a16:creationId xmlns:a16="http://schemas.microsoft.com/office/drawing/2014/main" id="{A7ED62E9-DEF3-4C61-AFA9-7ADD19C83A68}"/>
              </a:ext>
            </a:extLst>
          </p:cNvPr>
          <p:cNvSpPr>
            <a:spLocks noGrp="1"/>
          </p:cNvSpPr>
          <p:nvPr>
            <p:ph type="body" sz="quarter" idx="49" hasCustomPrompt="1"/>
          </p:nvPr>
        </p:nvSpPr>
        <p:spPr>
          <a:xfrm>
            <a:off x="1917525" y="5451371"/>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40" name="Text Placeholder 4">
            <a:extLst>
              <a:ext uri="{FF2B5EF4-FFF2-40B4-BE49-F238E27FC236}">
                <a16:creationId xmlns:a16="http://schemas.microsoft.com/office/drawing/2014/main" id="{D79B3D2F-B98A-4D21-81D2-AF0177DC6F8D}"/>
              </a:ext>
            </a:extLst>
          </p:cNvPr>
          <p:cNvSpPr>
            <a:spLocks noGrp="1"/>
          </p:cNvSpPr>
          <p:nvPr>
            <p:ph type="body" sz="quarter" idx="50" hasCustomPrompt="1"/>
          </p:nvPr>
        </p:nvSpPr>
        <p:spPr>
          <a:xfrm>
            <a:off x="1917525" y="4846464"/>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41" name="Picture Placeholder 13">
            <a:extLst>
              <a:ext uri="{FF2B5EF4-FFF2-40B4-BE49-F238E27FC236}">
                <a16:creationId xmlns:a16="http://schemas.microsoft.com/office/drawing/2014/main" id="{D1938073-7751-426B-AFFE-ACF2734516B4}"/>
              </a:ext>
            </a:extLst>
          </p:cNvPr>
          <p:cNvSpPr>
            <a:spLocks noGrp="1"/>
          </p:cNvSpPr>
          <p:nvPr>
            <p:ph type="pic" sz="quarter" idx="51" hasCustomPrompt="1"/>
          </p:nvPr>
        </p:nvSpPr>
        <p:spPr>
          <a:xfrm>
            <a:off x="4326198" y="4618038"/>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2" name="Text Placeholder 24">
            <a:extLst>
              <a:ext uri="{FF2B5EF4-FFF2-40B4-BE49-F238E27FC236}">
                <a16:creationId xmlns:a16="http://schemas.microsoft.com/office/drawing/2014/main" id="{9E982510-020D-4762-86E1-D71B756C88F7}"/>
              </a:ext>
            </a:extLst>
          </p:cNvPr>
          <p:cNvSpPr>
            <a:spLocks noGrp="1"/>
          </p:cNvSpPr>
          <p:nvPr>
            <p:ph type="body" sz="quarter" idx="52" hasCustomPrompt="1"/>
          </p:nvPr>
        </p:nvSpPr>
        <p:spPr>
          <a:xfrm>
            <a:off x="5908759" y="5451371"/>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43" name="Text Placeholder 4">
            <a:extLst>
              <a:ext uri="{FF2B5EF4-FFF2-40B4-BE49-F238E27FC236}">
                <a16:creationId xmlns:a16="http://schemas.microsoft.com/office/drawing/2014/main" id="{3C30BEF2-8119-4CC1-9E0B-B2B7F085A19E}"/>
              </a:ext>
            </a:extLst>
          </p:cNvPr>
          <p:cNvSpPr>
            <a:spLocks noGrp="1"/>
          </p:cNvSpPr>
          <p:nvPr>
            <p:ph type="body" sz="quarter" idx="53" hasCustomPrompt="1"/>
          </p:nvPr>
        </p:nvSpPr>
        <p:spPr>
          <a:xfrm>
            <a:off x="5908759" y="4846464"/>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44" name="Picture Placeholder 13">
            <a:extLst>
              <a:ext uri="{FF2B5EF4-FFF2-40B4-BE49-F238E27FC236}">
                <a16:creationId xmlns:a16="http://schemas.microsoft.com/office/drawing/2014/main" id="{9AF96F25-0EA5-4D8F-88CA-69687FA5B2BC}"/>
              </a:ext>
            </a:extLst>
          </p:cNvPr>
          <p:cNvSpPr>
            <a:spLocks noGrp="1"/>
          </p:cNvSpPr>
          <p:nvPr>
            <p:ph type="pic" sz="quarter" idx="54" hasCustomPrompt="1"/>
          </p:nvPr>
        </p:nvSpPr>
        <p:spPr>
          <a:xfrm>
            <a:off x="8318676" y="4618038"/>
            <a:ext cx="1440000" cy="1438275"/>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5" name="Text Placeholder 24">
            <a:extLst>
              <a:ext uri="{FF2B5EF4-FFF2-40B4-BE49-F238E27FC236}">
                <a16:creationId xmlns:a16="http://schemas.microsoft.com/office/drawing/2014/main" id="{89F59911-9C77-4CB7-8C32-DDA375212A1B}"/>
              </a:ext>
            </a:extLst>
          </p:cNvPr>
          <p:cNvSpPr>
            <a:spLocks noGrp="1"/>
          </p:cNvSpPr>
          <p:nvPr>
            <p:ph type="body" sz="quarter" idx="55" hasCustomPrompt="1"/>
          </p:nvPr>
        </p:nvSpPr>
        <p:spPr>
          <a:xfrm>
            <a:off x="9901237" y="5451371"/>
            <a:ext cx="1955178"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47" name="Text Placeholder 4">
            <a:extLst>
              <a:ext uri="{FF2B5EF4-FFF2-40B4-BE49-F238E27FC236}">
                <a16:creationId xmlns:a16="http://schemas.microsoft.com/office/drawing/2014/main" id="{60B45FD9-1C56-474E-BF09-A9B543D140B2}"/>
              </a:ext>
            </a:extLst>
          </p:cNvPr>
          <p:cNvSpPr>
            <a:spLocks noGrp="1"/>
          </p:cNvSpPr>
          <p:nvPr>
            <p:ph type="body" sz="quarter" idx="56" hasCustomPrompt="1"/>
          </p:nvPr>
        </p:nvSpPr>
        <p:spPr>
          <a:xfrm>
            <a:off x="9901237" y="4846464"/>
            <a:ext cx="1955800" cy="387798"/>
          </a:xfrm>
        </p:spPr>
        <p:txBody>
          <a:bodyPr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Tree>
    <p:extLst>
      <p:ext uri="{BB962C8B-B14F-4D97-AF65-F5344CB8AC3E}">
        <p14:creationId xmlns:p14="http://schemas.microsoft.com/office/powerpoint/2010/main" val="739830820"/>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acts – 1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423200" y="6382054"/>
            <a:ext cx="4114800" cy="163513"/>
          </a:xfrm>
        </p:spPr>
        <p:txBody>
          <a:bodyPr/>
          <a:lstStyle/>
          <a:p>
            <a:r>
              <a:rPr lang="en-AU"/>
              <a:t>Copyright © 2022 Accenture. All rights reserved.</a:t>
            </a:r>
            <a:endParaRPr lang="en-GB"/>
          </a:p>
        </p:txBody>
      </p:sp>
      <p:sp>
        <p:nvSpPr>
          <p:cNvPr id="4" name="Slide Number Placeholder 3"/>
          <p:cNvSpPr>
            <a:spLocks noGrp="1"/>
          </p:cNvSpPr>
          <p:nvPr>
            <p:ph type="sldNum" sz="quarter" idx="11"/>
          </p:nvPr>
        </p:nvSpPr>
        <p:spPr/>
        <p:txBody>
          <a:bodyPr/>
          <a:lstStyle/>
          <a:p>
            <a:fld id="{17D800ED-CB1B-4EBC-A0D2-2190AF4D8872}" type="slidenum">
              <a:rPr lang="en-GB" smtClean="0"/>
              <a:pPr/>
              <a:t>‹#›</a:t>
            </a:fld>
            <a:endParaRPr lang="en-GB"/>
          </a:p>
        </p:txBody>
      </p:sp>
      <p:sp>
        <p:nvSpPr>
          <p:cNvPr id="46" name="Picture Placeholder 13"/>
          <p:cNvSpPr>
            <a:spLocks noGrp="1" noChangeAspect="1"/>
          </p:cNvSpPr>
          <p:nvPr>
            <p:ph type="pic" sz="quarter" idx="24" hasCustomPrompt="1"/>
          </p:nvPr>
        </p:nvSpPr>
        <p:spPr>
          <a:xfrm>
            <a:off x="334964" y="720724"/>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48" name="Text Placeholder 24"/>
          <p:cNvSpPr>
            <a:spLocks noGrp="1"/>
          </p:cNvSpPr>
          <p:nvPr>
            <p:ph type="body" sz="quarter" idx="25" hasCustomPrompt="1"/>
          </p:nvPr>
        </p:nvSpPr>
        <p:spPr>
          <a:xfrm>
            <a:off x="1536143" y="1373730"/>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49" name="Text Placeholder 4"/>
          <p:cNvSpPr>
            <a:spLocks noGrp="1"/>
          </p:cNvSpPr>
          <p:nvPr>
            <p:ph type="body" sz="quarter" idx="32" hasCustomPrompt="1"/>
          </p:nvPr>
        </p:nvSpPr>
        <p:spPr>
          <a:xfrm>
            <a:off x="1536143" y="872926"/>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57" name="Picture Placeholder 13">
            <a:extLst>
              <a:ext uri="{FF2B5EF4-FFF2-40B4-BE49-F238E27FC236}">
                <a16:creationId xmlns:a16="http://schemas.microsoft.com/office/drawing/2014/main" id="{1B61C72F-A61A-475F-B708-7778DD3D5ECB}"/>
              </a:ext>
            </a:extLst>
          </p:cNvPr>
          <p:cNvSpPr>
            <a:spLocks noGrp="1" noChangeAspect="1"/>
          </p:cNvSpPr>
          <p:nvPr>
            <p:ph type="pic" sz="quarter" idx="33" hasCustomPrompt="1"/>
          </p:nvPr>
        </p:nvSpPr>
        <p:spPr>
          <a:xfrm>
            <a:off x="3263654" y="720724"/>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58" name="Text Placeholder 24">
            <a:extLst>
              <a:ext uri="{FF2B5EF4-FFF2-40B4-BE49-F238E27FC236}">
                <a16:creationId xmlns:a16="http://schemas.microsoft.com/office/drawing/2014/main" id="{CD0B6CB8-8AE2-4F75-8D8C-F39538888015}"/>
              </a:ext>
            </a:extLst>
          </p:cNvPr>
          <p:cNvSpPr>
            <a:spLocks noGrp="1"/>
          </p:cNvSpPr>
          <p:nvPr>
            <p:ph type="body" sz="quarter" idx="34" hasCustomPrompt="1"/>
          </p:nvPr>
        </p:nvSpPr>
        <p:spPr>
          <a:xfrm>
            <a:off x="4464833" y="1373730"/>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59" name="Text Placeholder 4">
            <a:extLst>
              <a:ext uri="{FF2B5EF4-FFF2-40B4-BE49-F238E27FC236}">
                <a16:creationId xmlns:a16="http://schemas.microsoft.com/office/drawing/2014/main" id="{9B6AFF4F-7D8C-44B1-AEA5-B6422CD6D561}"/>
              </a:ext>
            </a:extLst>
          </p:cNvPr>
          <p:cNvSpPr>
            <a:spLocks noGrp="1"/>
          </p:cNvSpPr>
          <p:nvPr>
            <p:ph type="body" sz="quarter" idx="35" hasCustomPrompt="1"/>
          </p:nvPr>
        </p:nvSpPr>
        <p:spPr>
          <a:xfrm>
            <a:off x="4464833" y="872926"/>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60" name="Picture Placeholder 13">
            <a:extLst>
              <a:ext uri="{FF2B5EF4-FFF2-40B4-BE49-F238E27FC236}">
                <a16:creationId xmlns:a16="http://schemas.microsoft.com/office/drawing/2014/main" id="{1AA993C1-EAAC-47C0-8C17-188D335F0613}"/>
              </a:ext>
            </a:extLst>
          </p:cNvPr>
          <p:cNvSpPr>
            <a:spLocks noGrp="1" noChangeAspect="1"/>
          </p:cNvSpPr>
          <p:nvPr>
            <p:ph type="pic" sz="quarter" idx="36" hasCustomPrompt="1"/>
          </p:nvPr>
        </p:nvSpPr>
        <p:spPr>
          <a:xfrm>
            <a:off x="6192344" y="720724"/>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61" name="Text Placeholder 24">
            <a:extLst>
              <a:ext uri="{FF2B5EF4-FFF2-40B4-BE49-F238E27FC236}">
                <a16:creationId xmlns:a16="http://schemas.microsoft.com/office/drawing/2014/main" id="{B62B03C9-8C90-471A-B8F0-55639A3CA7B3}"/>
              </a:ext>
            </a:extLst>
          </p:cNvPr>
          <p:cNvSpPr>
            <a:spLocks noGrp="1"/>
          </p:cNvSpPr>
          <p:nvPr>
            <p:ph type="body" sz="quarter" idx="37" hasCustomPrompt="1"/>
          </p:nvPr>
        </p:nvSpPr>
        <p:spPr>
          <a:xfrm>
            <a:off x="7393523" y="1373730"/>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62" name="Text Placeholder 4">
            <a:extLst>
              <a:ext uri="{FF2B5EF4-FFF2-40B4-BE49-F238E27FC236}">
                <a16:creationId xmlns:a16="http://schemas.microsoft.com/office/drawing/2014/main" id="{93B713DE-8A30-4CC3-9D84-54EE3E4AB993}"/>
              </a:ext>
            </a:extLst>
          </p:cNvPr>
          <p:cNvSpPr>
            <a:spLocks noGrp="1"/>
          </p:cNvSpPr>
          <p:nvPr>
            <p:ph type="body" sz="quarter" idx="38" hasCustomPrompt="1"/>
          </p:nvPr>
        </p:nvSpPr>
        <p:spPr>
          <a:xfrm>
            <a:off x="7393523" y="872926"/>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63" name="Picture Placeholder 13">
            <a:extLst>
              <a:ext uri="{FF2B5EF4-FFF2-40B4-BE49-F238E27FC236}">
                <a16:creationId xmlns:a16="http://schemas.microsoft.com/office/drawing/2014/main" id="{5939760F-25C2-457E-960A-5FC5A26651F1}"/>
              </a:ext>
            </a:extLst>
          </p:cNvPr>
          <p:cNvSpPr>
            <a:spLocks noGrp="1" noChangeAspect="1"/>
          </p:cNvSpPr>
          <p:nvPr>
            <p:ph type="pic" sz="quarter" idx="39" hasCustomPrompt="1"/>
          </p:nvPr>
        </p:nvSpPr>
        <p:spPr>
          <a:xfrm>
            <a:off x="9121034" y="720724"/>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64" name="Text Placeholder 24">
            <a:extLst>
              <a:ext uri="{FF2B5EF4-FFF2-40B4-BE49-F238E27FC236}">
                <a16:creationId xmlns:a16="http://schemas.microsoft.com/office/drawing/2014/main" id="{4E7CB804-79F4-407D-B5CB-3E0BCEC0ECA1}"/>
              </a:ext>
            </a:extLst>
          </p:cNvPr>
          <p:cNvSpPr>
            <a:spLocks noGrp="1"/>
          </p:cNvSpPr>
          <p:nvPr>
            <p:ph type="body" sz="quarter" idx="40" hasCustomPrompt="1"/>
          </p:nvPr>
        </p:nvSpPr>
        <p:spPr>
          <a:xfrm>
            <a:off x="10322213" y="1373730"/>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65" name="Text Placeholder 4">
            <a:extLst>
              <a:ext uri="{FF2B5EF4-FFF2-40B4-BE49-F238E27FC236}">
                <a16:creationId xmlns:a16="http://schemas.microsoft.com/office/drawing/2014/main" id="{B4C4FC8E-415C-4661-BD7E-7D8F7499EE4F}"/>
              </a:ext>
            </a:extLst>
          </p:cNvPr>
          <p:cNvSpPr>
            <a:spLocks noGrp="1"/>
          </p:cNvSpPr>
          <p:nvPr>
            <p:ph type="body" sz="quarter" idx="41" hasCustomPrompt="1"/>
          </p:nvPr>
        </p:nvSpPr>
        <p:spPr>
          <a:xfrm>
            <a:off x="10322213" y="872926"/>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66" name="Picture Placeholder 13">
            <a:extLst>
              <a:ext uri="{FF2B5EF4-FFF2-40B4-BE49-F238E27FC236}">
                <a16:creationId xmlns:a16="http://schemas.microsoft.com/office/drawing/2014/main" id="{DF5EBCCA-DF47-4B32-B4BC-C45F0CD379DB}"/>
              </a:ext>
            </a:extLst>
          </p:cNvPr>
          <p:cNvSpPr>
            <a:spLocks noGrp="1" noChangeAspect="1"/>
          </p:cNvSpPr>
          <p:nvPr>
            <p:ph type="pic" sz="quarter" idx="42" hasCustomPrompt="1"/>
          </p:nvPr>
        </p:nvSpPr>
        <p:spPr>
          <a:xfrm>
            <a:off x="334964" y="2839422"/>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67" name="Text Placeholder 24">
            <a:extLst>
              <a:ext uri="{FF2B5EF4-FFF2-40B4-BE49-F238E27FC236}">
                <a16:creationId xmlns:a16="http://schemas.microsoft.com/office/drawing/2014/main" id="{6FD81168-D0F0-436F-8695-8EAFC676A4FD}"/>
              </a:ext>
            </a:extLst>
          </p:cNvPr>
          <p:cNvSpPr>
            <a:spLocks noGrp="1"/>
          </p:cNvSpPr>
          <p:nvPr>
            <p:ph type="body" sz="quarter" idx="43" hasCustomPrompt="1"/>
          </p:nvPr>
        </p:nvSpPr>
        <p:spPr>
          <a:xfrm>
            <a:off x="1536143" y="3492428"/>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68" name="Text Placeholder 4">
            <a:extLst>
              <a:ext uri="{FF2B5EF4-FFF2-40B4-BE49-F238E27FC236}">
                <a16:creationId xmlns:a16="http://schemas.microsoft.com/office/drawing/2014/main" id="{C73AADAA-4652-4A18-BC80-568D199EA6F0}"/>
              </a:ext>
            </a:extLst>
          </p:cNvPr>
          <p:cNvSpPr>
            <a:spLocks noGrp="1"/>
          </p:cNvSpPr>
          <p:nvPr>
            <p:ph type="body" sz="quarter" idx="44" hasCustomPrompt="1"/>
          </p:nvPr>
        </p:nvSpPr>
        <p:spPr>
          <a:xfrm>
            <a:off x="1536143" y="2991624"/>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69" name="Picture Placeholder 13">
            <a:extLst>
              <a:ext uri="{FF2B5EF4-FFF2-40B4-BE49-F238E27FC236}">
                <a16:creationId xmlns:a16="http://schemas.microsoft.com/office/drawing/2014/main" id="{3CD38AFD-BDF5-4F59-891C-0F1D847E7064}"/>
              </a:ext>
            </a:extLst>
          </p:cNvPr>
          <p:cNvSpPr>
            <a:spLocks noGrp="1" noChangeAspect="1"/>
          </p:cNvSpPr>
          <p:nvPr>
            <p:ph type="pic" sz="quarter" idx="45" hasCustomPrompt="1"/>
          </p:nvPr>
        </p:nvSpPr>
        <p:spPr>
          <a:xfrm>
            <a:off x="3263654" y="2839422"/>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70" name="Text Placeholder 24">
            <a:extLst>
              <a:ext uri="{FF2B5EF4-FFF2-40B4-BE49-F238E27FC236}">
                <a16:creationId xmlns:a16="http://schemas.microsoft.com/office/drawing/2014/main" id="{E4CC263A-A86A-4262-87B5-785369FB0C7A}"/>
              </a:ext>
            </a:extLst>
          </p:cNvPr>
          <p:cNvSpPr>
            <a:spLocks noGrp="1"/>
          </p:cNvSpPr>
          <p:nvPr>
            <p:ph type="body" sz="quarter" idx="46" hasCustomPrompt="1"/>
          </p:nvPr>
        </p:nvSpPr>
        <p:spPr>
          <a:xfrm>
            <a:off x="4464833" y="3492428"/>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71" name="Text Placeholder 4">
            <a:extLst>
              <a:ext uri="{FF2B5EF4-FFF2-40B4-BE49-F238E27FC236}">
                <a16:creationId xmlns:a16="http://schemas.microsoft.com/office/drawing/2014/main" id="{6D106DB1-7399-4791-BE40-3A30E77A34E3}"/>
              </a:ext>
            </a:extLst>
          </p:cNvPr>
          <p:cNvSpPr>
            <a:spLocks noGrp="1"/>
          </p:cNvSpPr>
          <p:nvPr>
            <p:ph type="body" sz="quarter" idx="47" hasCustomPrompt="1"/>
          </p:nvPr>
        </p:nvSpPr>
        <p:spPr>
          <a:xfrm>
            <a:off x="4464833" y="2991624"/>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72" name="Picture Placeholder 13">
            <a:extLst>
              <a:ext uri="{FF2B5EF4-FFF2-40B4-BE49-F238E27FC236}">
                <a16:creationId xmlns:a16="http://schemas.microsoft.com/office/drawing/2014/main" id="{1967F17D-4411-48E0-903E-87D73376D5F8}"/>
              </a:ext>
            </a:extLst>
          </p:cNvPr>
          <p:cNvSpPr>
            <a:spLocks noGrp="1" noChangeAspect="1"/>
          </p:cNvSpPr>
          <p:nvPr>
            <p:ph type="pic" sz="quarter" idx="48" hasCustomPrompt="1"/>
          </p:nvPr>
        </p:nvSpPr>
        <p:spPr>
          <a:xfrm>
            <a:off x="6192344" y="2839422"/>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73" name="Text Placeholder 24">
            <a:extLst>
              <a:ext uri="{FF2B5EF4-FFF2-40B4-BE49-F238E27FC236}">
                <a16:creationId xmlns:a16="http://schemas.microsoft.com/office/drawing/2014/main" id="{C19CB072-BD90-4445-ABEB-172BCE0406BE}"/>
              </a:ext>
            </a:extLst>
          </p:cNvPr>
          <p:cNvSpPr>
            <a:spLocks noGrp="1"/>
          </p:cNvSpPr>
          <p:nvPr>
            <p:ph type="body" sz="quarter" idx="49" hasCustomPrompt="1"/>
          </p:nvPr>
        </p:nvSpPr>
        <p:spPr>
          <a:xfrm>
            <a:off x="7393523" y="3492428"/>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74" name="Text Placeholder 4">
            <a:extLst>
              <a:ext uri="{FF2B5EF4-FFF2-40B4-BE49-F238E27FC236}">
                <a16:creationId xmlns:a16="http://schemas.microsoft.com/office/drawing/2014/main" id="{C097DCF5-477B-475F-BE75-09C3B186C85C}"/>
              </a:ext>
            </a:extLst>
          </p:cNvPr>
          <p:cNvSpPr>
            <a:spLocks noGrp="1"/>
          </p:cNvSpPr>
          <p:nvPr>
            <p:ph type="body" sz="quarter" idx="50" hasCustomPrompt="1"/>
          </p:nvPr>
        </p:nvSpPr>
        <p:spPr>
          <a:xfrm>
            <a:off x="7393523" y="2991624"/>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75" name="Picture Placeholder 13">
            <a:extLst>
              <a:ext uri="{FF2B5EF4-FFF2-40B4-BE49-F238E27FC236}">
                <a16:creationId xmlns:a16="http://schemas.microsoft.com/office/drawing/2014/main" id="{0214CBEE-8AD8-49A0-BCBB-0E9C0B3B1C18}"/>
              </a:ext>
            </a:extLst>
          </p:cNvPr>
          <p:cNvSpPr>
            <a:spLocks noGrp="1" noChangeAspect="1"/>
          </p:cNvSpPr>
          <p:nvPr>
            <p:ph type="pic" sz="quarter" idx="51" hasCustomPrompt="1"/>
          </p:nvPr>
        </p:nvSpPr>
        <p:spPr>
          <a:xfrm>
            <a:off x="9121034" y="2839422"/>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76" name="Text Placeholder 24">
            <a:extLst>
              <a:ext uri="{FF2B5EF4-FFF2-40B4-BE49-F238E27FC236}">
                <a16:creationId xmlns:a16="http://schemas.microsoft.com/office/drawing/2014/main" id="{64F539D2-CF35-472E-9FAA-0945E9764008}"/>
              </a:ext>
            </a:extLst>
          </p:cNvPr>
          <p:cNvSpPr>
            <a:spLocks noGrp="1"/>
          </p:cNvSpPr>
          <p:nvPr>
            <p:ph type="body" sz="quarter" idx="52" hasCustomPrompt="1"/>
          </p:nvPr>
        </p:nvSpPr>
        <p:spPr>
          <a:xfrm>
            <a:off x="10322213" y="3492428"/>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77" name="Text Placeholder 4">
            <a:extLst>
              <a:ext uri="{FF2B5EF4-FFF2-40B4-BE49-F238E27FC236}">
                <a16:creationId xmlns:a16="http://schemas.microsoft.com/office/drawing/2014/main" id="{83C22CBD-241C-4080-B6AB-2E4F1513F8F7}"/>
              </a:ext>
            </a:extLst>
          </p:cNvPr>
          <p:cNvSpPr>
            <a:spLocks noGrp="1"/>
          </p:cNvSpPr>
          <p:nvPr>
            <p:ph type="body" sz="quarter" idx="53" hasCustomPrompt="1"/>
          </p:nvPr>
        </p:nvSpPr>
        <p:spPr>
          <a:xfrm>
            <a:off x="10322213" y="2991624"/>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78" name="Picture Placeholder 13">
            <a:extLst>
              <a:ext uri="{FF2B5EF4-FFF2-40B4-BE49-F238E27FC236}">
                <a16:creationId xmlns:a16="http://schemas.microsoft.com/office/drawing/2014/main" id="{2CC73019-12A4-40AE-BA6D-62AF606686B9}"/>
              </a:ext>
            </a:extLst>
          </p:cNvPr>
          <p:cNvSpPr>
            <a:spLocks noGrp="1" noChangeAspect="1"/>
          </p:cNvSpPr>
          <p:nvPr>
            <p:ph type="pic" sz="quarter" idx="54" hasCustomPrompt="1"/>
          </p:nvPr>
        </p:nvSpPr>
        <p:spPr>
          <a:xfrm>
            <a:off x="334964" y="4958121"/>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79" name="Text Placeholder 24">
            <a:extLst>
              <a:ext uri="{FF2B5EF4-FFF2-40B4-BE49-F238E27FC236}">
                <a16:creationId xmlns:a16="http://schemas.microsoft.com/office/drawing/2014/main" id="{51B111CD-F89E-4890-B7DA-54E2455BC454}"/>
              </a:ext>
            </a:extLst>
          </p:cNvPr>
          <p:cNvSpPr>
            <a:spLocks noGrp="1"/>
          </p:cNvSpPr>
          <p:nvPr>
            <p:ph type="body" sz="quarter" idx="55" hasCustomPrompt="1"/>
          </p:nvPr>
        </p:nvSpPr>
        <p:spPr>
          <a:xfrm>
            <a:off x="1536143" y="5611127"/>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80" name="Text Placeholder 4">
            <a:extLst>
              <a:ext uri="{FF2B5EF4-FFF2-40B4-BE49-F238E27FC236}">
                <a16:creationId xmlns:a16="http://schemas.microsoft.com/office/drawing/2014/main" id="{A721DA67-480B-4A4A-BB8A-C5A186217DCD}"/>
              </a:ext>
            </a:extLst>
          </p:cNvPr>
          <p:cNvSpPr>
            <a:spLocks noGrp="1"/>
          </p:cNvSpPr>
          <p:nvPr>
            <p:ph type="body" sz="quarter" idx="56" hasCustomPrompt="1"/>
          </p:nvPr>
        </p:nvSpPr>
        <p:spPr>
          <a:xfrm>
            <a:off x="1536143" y="5110323"/>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81" name="Picture Placeholder 13">
            <a:extLst>
              <a:ext uri="{FF2B5EF4-FFF2-40B4-BE49-F238E27FC236}">
                <a16:creationId xmlns:a16="http://schemas.microsoft.com/office/drawing/2014/main" id="{5620DBE2-E4E6-43DE-ACFC-BFAA793ACFEB}"/>
              </a:ext>
            </a:extLst>
          </p:cNvPr>
          <p:cNvSpPr>
            <a:spLocks noGrp="1" noChangeAspect="1"/>
          </p:cNvSpPr>
          <p:nvPr>
            <p:ph type="pic" sz="quarter" idx="57" hasCustomPrompt="1"/>
          </p:nvPr>
        </p:nvSpPr>
        <p:spPr>
          <a:xfrm>
            <a:off x="3263654" y="4958121"/>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82" name="Text Placeholder 24">
            <a:extLst>
              <a:ext uri="{FF2B5EF4-FFF2-40B4-BE49-F238E27FC236}">
                <a16:creationId xmlns:a16="http://schemas.microsoft.com/office/drawing/2014/main" id="{2A2AFE4B-6C34-4FCD-99E0-0E34E4502CD1}"/>
              </a:ext>
            </a:extLst>
          </p:cNvPr>
          <p:cNvSpPr>
            <a:spLocks noGrp="1"/>
          </p:cNvSpPr>
          <p:nvPr>
            <p:ph type="body" sz="quarter" idx="58" hasCustomPrompt="1"/>
          </p:nvPr>
        </p:nvSpPr>
        <p:spPr>
          <a:xfrm>
            <a:off x="4464833" y="5611127"/>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83" name="Text Placeholder 4">
            <a:extLst>
              <a:ext uri="{FF2B5EF4-FFF2-40B4-BE49-F238E27FC236}">
                <a16:creationId xmlns:a16="http://schemas.microsoft.com/office/drawing/2014/main" id="{C4B200D6-E924-480F-8B0C-53EA2B4911DA}"/>
              </a:ext>
            </a:extLst>
          </p:cNvPr>
          <p:cNvSpPr>
            <a:spLocks noGrp="1"/>
          </p:cNvSpPr>
          <p:nvPr>
            <p:ph type="body" sz="quarter" idx="59" hasCustomPrompt="1"/>
          </p:nvPr>
        </p:nvSpPr>
        <p:spPr>
          <a:xfrm>
            <a:off x="4464833" y="5110323"/>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84" name="Picture Placeholder 13">
            <a:extLst>
              <a:ext uri="{FF2B5EF4-FFF2-40B4-BE49-F238E27FC236}">
                <a16:creationId xmlns:a16="http://schemas.microsoft.com/office/drawing/2014/main" id="{70C222E9-15CA-4FCC-8951-A913ED090B19}"/>
              </a:ext>
            </a:extLst>
          </p:cNvPr>
          <p:cNvSpPr>
            <a:spLocks noGrp="1" noChangeAspect="1"/>
          </p:cNvSpPr>
          <p:nvPr>
            <p:ph type="pic" sz="quarter" idx="60" hasCustomPrompt="1"/>
          </p:nvPr>
        </p:nvSpPr>
        <p:spPr>
          <a:xfrm>
            <a:off x="6192344" y="4958121"/>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85" name="Text Placeholder 24">
            <a:extLst>
              <a:ext uri="{FF2B5EF4-FFF2-40B4-BE49-F238E27FC236}">
                <a16:creationId xmlns:a16="http://schemas.microsoft.com/office/drawing/2014/main" id="{5A4FC691-3E74-4AA4-A425-43D9479B337E}"/>
              </a:ext>
            </a:extLst>
          </p:cNvPr>
          <p:cNvSpPr>
            <a:spLocks noGrp="1"/>
          </p:cNvSpPr>
          <p:nvPr>
            <p:ph type="body" sz="quarter" idx="61" hasCustomPrompt="1"/>
          </p:nvPr>
        </p:nvSpPr>
        <p:spPr>
          <a:xfrm>
            <a:off x="7393523" y="5611127"/>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86" name="Text Placeholder 4">
            <a:extLst>
              <a:ext uri="{FF2B5EF4-FFF2-40B4-BE49-F238E27FC236}">
                <a16:creationId xmlns:a16="http://schemas.microsoft.com/office/drawing/2014/main" id="{468C5127-E96C-4A46-93C4-C2E40BB508DF}"/>
              </a:ext>
            </a:extLst>
          </p:cNvPr>
          <p:cNvSpPr>
            <a:spLocks noGrp="1"/>
          </p:cNvSpPr>
          <p:nvPr>
            <p:ph type="body" sz="quarter" idx="62" hasCustomPrompt="1"/>
          </p:nvPr>
        </p:nvSpPr>
        <p:spPr>
          <a:xfrm>
            <a:off x="7393523" y="5110323"/>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
        <p:nvSpPr>
          <p:cNvPr id="87" name="Picture Placeholder 13">
            <a:extLst>
              <a:ext uri="{FF2B5EF4-FFF2-40B4-BE49-F238E27FC236}">
                <a16:creationId xmlns:a16="http://schemas.microsoft.com/office/drawing/2014/main" id="{43CFB757-873A-467F-B051-5F444340FC36}"/>
              </a:ext>
            </a:extLst>
          </p:cNvPr>
          <p:cNvSpPr>
            <a:spLocks noGrp="1" noChangeAspect="1"/>
          </p:cNvSpPr>
          <p:nvPr>
            <p:ph type="pic" sz="quarter" idx="63" hasCustomPrompt="1"/>
          </p:nvPr>
        </p:nvSpPr>
        <p:spPr>
          <a:xfrm>
            <a:off x="9121034" y="4958121"/>
            <a:ext cx="1081295" cy="1080000"/>
          </a:xfrm>
          <a:prstGeom prst="ellipse">
            <a:avLst/>
          </a:prstGeom>
          <a:solidFill>
            <a:schemeClr val="tx2">
              <a:lumMod val="20000"/>
              <a:lumOff val="80000"/>
            </a:schemeClr>
          </a:solidFill>
        </p:spPr>
        <p:txBody>
          <a:bodyPr anchor="ctr" anchorCtr="0"/>
          <a:lstStyle>
            <a:lvl1pPr marL="0" marR="0" indent="0" algn="ctr" defTabSz="1734634" rtl="0" eaLnBrk="1" fontAlgn="auto" latinLnBrk="0" hangingPunct="1">
              <a:lnSpc>
                <a:spcPct val="100000"/>
              </a:lnSpc>
              <a:spcBef>
                <a:spcPts val="0"/>
              </a:spcBef>
              <a:spcAft>
                <a:spcPts val="0"/>
              </a:spcAft>
              <a:buClrTx/>
              <a:buSzTx/>
              <a:buFont typeface="Arial" charset="0"/>
              <a:buNone/>
              <a:tabLst/>
              <a:defRPr sz="1000" b="0" cap="none" baseline="0"/>
            </a:lvl1pPr>
          </a:lstStyle>
          <a:p>
            <a:r>
              <a:rPr lang="en-US"/>
              <a:t>Click icon to insert headshot</a:t>
            </a:r>
            <a:endParaRPr lang="en-AU"/>
          </a:p>
        </p:txBody>
      </p:sp>
      <p:sp>
        <p:nvSpPr>
          <p:cNvPr id="88" name="Text Placeholder 24">
            <a:extLst>
              <a:ext uri="{FF2B5EF4-FFF2-40B4-BE49-F238E27FC236}">
                <a16:creationId xmlns:a16="http://schemas.microsoft.com/office/drawing/2014/main" id="{BEBE714F-0553-4921-B2A4-7837388171EA}"/>
              </a:ext>
            </a:extLst>
          </p:cNvPr>
          <p:cNvSpPr>
            <a:spLocks noGrp="1"/>
          </p:cNvSpPr>
          <p:nvPr>
            <p:ph type="body" sz="quarter" idx="64" hasCustomPrompt="1"/>
          </p:nvPr>
        </p:nvSpPr>
        <p:spPr>
          <a:xfrm>
            <a:off x="10322213" y="5611127"/>
            <a:ext cx="1524919" cy="350770"/>
          </a:xfrm>
        </p:spPr>
        <p:txBody>
          <a:bodyPr vert="horz" wrap="square" lIns="0" tIns="45626" rIns="0" bIns="0" rtlCol="0">
            <a:spAutoFit/>
          </a:bodyPr>
          <a:lstStyle>
            <a:lvl1pPr>
              <a:lnSpc>
                <a:spcPct val="90000"/>
              </a:lnSpc>
              <a:spcAft>
                <a:spcPts val="0"/>
              </a:spcAft>
              <a:defRPr lang="en-US" sz="1100" b="0" cap="none" baseline="0" dirty="0" smtClean="0">
                <a:ea typeface="Roboto Light" panose="02000000000000000000" pitchFamily="2" charset="0"/>
                <a:cs typeface="Arial" pitchFamily="34" charset="0"/>
              </a:defRPr>
            </a:lvl1pPr>
          </a:lstStyle>
          <a:p>
            <a:pPr lvl="0" defTabSz="912517" fontAlgn="base">
              <a:spcBef>
                <a:spcPts val="0"/>
              </a:spcBef>
              <a:spcAft>
                <a:spcPct val="0"/>
              </a:spcAft>
              <a:buFont typeface="Arial" pitchFamily="34" charset="0"/>
            </a:pPr>
            <a:r>
              <a:rPr lang="en-US"/>
              <a:t>Job position</a:t>
            </a:r>
            <a:br>
              <a:rPr lang="en-US"/>
            </a:br>
            <a:r>
              <a:rPr lang="en-US"/>
              <a:t>Accenture Strategy</a:t>
            </a:r>
          </a:p>
        </p:txBody>
      </p:sp>
      <p:sp>
        <p:nvSpPr>
          <p:cNvPr id="89" name="Text Placeholder 4">
            <a:extLst>
              <a:ext uri="{FF2B5EF4-FFF2-40B4-BE49-F238E27FC236}">
                <a16:creationId xmlns:a16="http://schemas.microsoft.com/office/drawing/2014/main" id="{7F41EC93-9ADC-4855-8282-05590F730681}"/>
              </a:ext>
            </a:extLst>
          </p:cNvPr>
          <p:cNvSpPr>
            <a:spLocks noGrp="1"/>
          </p:cNvSpPr>
          <p:nvPr>
            <p:ph type="body" sz="quarter" idx="65" hasCustomPrompt="1"/>
          </p:nvPr>
        </p:nvSpPr>
        <p:spPr>
          <a:xfrm>
            <a:off x="10322213" y="5110323"/>
            <a:ext cx="1524919" cy="387798"/>
          </a:xfrm>
        </p:spPr>
        <p:txBody>
          <a:bodyPr wrap="square" anchor="b" anchorCtr="0">
            <a:spAutoFit/>
          </a:bodyPr>
          <a:lstStyle>
            <a:lvl1pPr>
              <a:lnSpc>
                <a:spcPct val="90000"/>
              </a:lnSpc>
              <a:spcBef>
                <a:spcPts val="0"/>
              </a:spcBef>
              <a:spcAft>
                <a:spcPts val="0"/>
              </a:spcAft>
              <a:defRPr sz="1400" b="1" cap="none" baseline="0">
                <a:solidFill>
                  <a:schemeClr val="accent1"/>
                </a:solidFill>
                <a:latin typeface="+mn-lt"/>
              </a:defRPr>
            </a:lvl1pPr>
          </a:lstStyle>
          <a:p>
            <a:pPr lvl="0"/>
            <a:r>
              <a:rPr lang="en-US"/>
              <a:t>First name</a:t>
            </a:r>
            <a:br>
              <a:rPr lang="en-US"/>
            </a:br>
            <a:r>
              <a:rPr lang="en-US"/>
              <a:t>Last name</a:t>
            </a:r>
          </a:p>
        </p:txBody>
      </p:sp>
    </p:spTree>
    <p:extLst>
      <p:ext uri="{BB962C8B-B14F-4D97-AF65-F5344CB8AC3E}">
        <p14:creationId xmlns:p14="http://schemas.microsoft.com/office/powerpoint/2010/main" val="2098648243"/>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1.4 – w/t Image (Dark)">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1B9CF3DD-5DC4-45C0-A261-BBF43711E8E1}"/>
              </a:ext>
            </a:extLst>
          </p:cNvPr>
          <p:cNvSpPr>
            <a:spLocks noGrp="1"/>
          </p:cNvSpPr>
          <p:nvPr>
            <p:ph type="pic" sz="quarter" idx="12" hasCustomPrompt="1"/>
          </p:nvPr>
        </p:nvSpPr>
        <p:spPr>
          <a:xfrm>
            <a:off x="0" y="0"/>
            <a:ext cx="12192001" cy="6874525"/>
          </a:xfrm>
          <a:prstGeom prst="rect">
            <a:avLst/>
          </a:prstGeom>
          <a:solidFill>
            <a:schemeClr val="bg2"/>
          </a:solidFill>
        </p:spPr>
        <p:txBody>
          <a:bodyPr lIns="720000" tIns="0" rIns="720000" bIns="900000" anchor="ctr" anchorCtr="0"/>
          <a:lstStyle>
            <a:lvl1pPr algn="ctr">
              <a:defRPr sz="1600" b="0" cap="none" baseline="0">
                <a:solidFill>
                  <a:schemeClr val="tx2"/>
                </a:solidFill>
              </a:defRPr>
            </a:lvl1pPr>
          </a:lstStyle>
          <a:p>
            <a:r>
              <a:rPr lang="en-US"/>
              <a:t>Click on the icon to insert image in placeholder and </a:t>
            </a:r>
            <a:br>
              <a:rPr lang="en-US"/>
            </a:br>
            <a:r>
              <a:rPr lang="en-US"/>
              <a:t>use the crop tool to center the image</a:t>
            </a:r>
          </a:p>
        </p:txBody>
      </p:sp>
      <p:sp>
        <p:nvSpPr>
          <p:cNvPr id="2" name="Title 1">
            <a:extLst>
              <a:ext uri="{FF2B5EF4-FFF2-40B4-BE49-F238E27FC236}">
                <a16:creationId xmlns:a16="http://schemas.microsoft.com/office/drawing/2014/main" id="{E0F80826-A7D7-4F3F-ACE9-2F388BD096D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a:p>
        </p:txBody>
      </p:sp>
      <p:sp>
        <p:nvSpPr>
          <p:cNvPr id="7" name="Footer Placeholder 6">
            <a:extLst>
              <a:ext uri="{FF2B5EF4-FFF2-40B4-BE49-F238E27FC236}">
                <a16:creationId xmlns:a16="http://schemas.microsoft.com/office/drawing/2014/main" id="{CAFF5546-AE35-4C7F-AF06-30931F8FFF15}"/>
              </a:ext>
            </a:extLst>
          </p:cNvPr>
          <p:cNvSpPr>
            <a:spLocks noGrp="1"/>
          </p:cNvSpPr>
          <p:nvPr>
            <p:ph type="ftr" sz="quarter" idx="10"/>
          </p:nvPr>
        </p:nvSpPr>
        <p:spPr/>
        <p:txBody>
          <a:bodyPr/>
          <a:lstStyle>
            <a:lvl1pPr>
              <a:defRPr>
                <a:solidFill>
                  <a:schemeClr val="bg1">
                    <a:alpha val="50000"/>
                  </a:schemeClr>
                </a:solidFill>
              </a:defRPr>
            </a:lvl1pPr>
          </a:lstStyle>
          <a:p>
            <a:r>
              <a:rPr lang="en-AU"/>
              <a:t>Copyright © 2022 Accenture. All rights reserved.</a:t>
            </a:r>
          </a:p>
        </p:txBody>
      </p:sp>
      <p:sp>
        <p:nvSpPr>
          <p:cNvPr id="8" name="Slide Number Placeholder 7">
            <a:extLst>
              <a:ext uri="{FF2B5EF4-FFF2-40B4-BE49-F238E27FC236}">
                <a16:creationId xmlns:a16="http://schemas.microsoft.com/office/drawing/2014/main" id="{BF61DA7F-EC1D-415C-8A25-1CF5DBF4CF54}"/>
              </a:ext>
            </a:extLst>
          </p:cNvPr>
          <p:cNvSpPr>
            <a:spLocks noGrp="1"/>
          </p:cNvSpPr>
          <p:nvPr>
            <p:ph type="sldNum" sz="quarter" idx="11"/>
          </p:nvPr>
        </p:nvSpPr>
        <p:spPr/>
        <p:txBody>
          <a:bodyPr/>
          <a:lstStyle>
            <a:lvl1pPr>
              <a:defRPr>
                <a:solidFill>
                  <a:schemeClr val="bg1">
                    <a:alpha val="50000"/>
                  </a:schemeClr>
                </a:solidFill>
              </a:defRPr>
            </a:lvl1pPr>
          </a:lstStyle>
          <a:p>
            <a:fld id="{FC1BBE33-A891-48E8-970C-4A8D55F96D53}" type="slidenum">
              <a:rPr lang="en-AU" smtClean="0"/>
              <a:pPr/>
              <a:t>‹#›</a:t>
            </a:fld>
            <a:endParaRPr lang="en-AU"/>
          </a:p>
        </p:txBody>
      </p:sp>
    </p:spTree>
    <p:extLst>
      <p:ext uri="{BB962C8B-B14F-4D97-AF65-F5344CB8AC3E}">
        <p14:creationId xmlns:p14="http://schemas.microsoft.com/office/powerpoint/2010/main" val="3640098036"/>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purple">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a:blip r:embed="rId2"/>
          <a:stretch>
            <a:fillRect/>
          </a:stretch>
        </p:blipFill>
        <p:spPr>
          <a:xfrm>
            <a:off x="1623" y="-1"/>
            <a:ext cx="12190377" cy="686793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6" name="Slide Number Placeholder 9">
            <a:extLst>
              <a:ext uri="{FF2B5EF4-FFF2-40B4-BE49-F238E27FC236}">
                <a16:creationId xmlns:a16="http://schemas.microsoft.com/office/drawing/2014/main" id="{642CD454-5B0E-414B-80BE-3135B7CD57F2}"/>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170305551"/>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Key Message Mid Purpl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E994B6-7668-6B4A-8CA4-0C1BDD5E4800}"/>
              </a:ext>
            </a:extLst>
          </p:cNvPr>
          <p:cNvSpPr/>
          <p:nvPr userDrawn="1"/>
        </p:nvSpPr>
        <p:spPr>
          <a:xfrm>
            <a:off x="0" y="2858844"/>
            <a:ext cx="12192000" cy="399915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571739970"/>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A804E5-D7E8-6745-AD8B-1947FB8F2DA5}"/>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25106"/>
            <a:ext cx="12236631" cy="6883104"/>
          </a:xfrm>
          <a:prstGeom prst="rect">
            <a:avLst/>
          </a:prstGeom>
        </p:spPr>
      </p:pic>
      <p:sp>
        <p:nvSpPr>
          <p:cNvPr id="41" name="Rectangle 40">
            <a:extLst>
              <a:ext uri="{FF2B5EF4-FFF2-40B4-BE49-F238E27FC236}">
                <a16:creationId xmlns:a16="http://schemas.microsoft.com/office/drawing/2014/main" id="{5EDB7DBF-7703-4E60-9253-904736BFCEA4}"/>
              </a:ext>
            </a:extLst>
          </p:cNvPr>
          <p:cNvSpPr/>
          <p:nvPr userDrawn="1"/>
        </p:nvSpPr>
        <p:spPr>
          <a:xfrm>
            <a:off x="381001" y="1549387"/>
            <a:ext cx="5517995" cy="2919289"/>
          </a:xfrm>
          <a:prstGeom prst="rect">
            <a:avLst/>
          </a:prstGeom>
          <a:solidFill>
            <a:srgbClr val="4600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1" fontAlgn="auto">
              <a:spcBef>
                <a:spcPts val="0"/>
              </a:spcBef>
              <a:spcAft>
                <a:spcPts val="0"/>
              </a:spcAft>
            </a:pPr>
            <a:endParaRPr lang="en-US" sz="1799">
              <a:solidFill>
                <a:srgbClr val="FFFFFF"/>
              </a:solidFill>
              <a:latin typeface="Graphik"/>
            </a:endParaRPr>
          </a:p>
        </p:txBody>
      </p:sp>
      <p:sp>
        <p:nvSpPr>
          <p:cNvPr id="42" name="Rectangle 41">
            <a:extLst>
              <a:ext uri="{FF2B5EF4-FFF2-40B4-BE49-F238E27FC236}">
                <a16:creationId xmlns:a16="http://schemas.microsoft.com/office/drawing/2014/main" id="{400D0B16-1E73-4452-9375-E3ED618D8C46}"/>
              </a:ext>
            </a:extLst>
          </p:cNvPr>
          <p:cNvSpPr/>
          <p:nvPr userDrawn="1"/>
        </p:nvSpPr>
        <p:spPr>
          <a:xfrm>
            <a:off x="571505" y="1359000"/>
            <a:ext cx="5517995" cy="2919289"/>
          </a:xfrm>
          <a:prstGeom prst="rect">
            <a:avLst/>
          </a:prstGeom>
          <a:solidFill>
            <a:srgbClr val="A1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1" fontAlgn="auto">
              <a:spcBef>
                <a:spcPts val="0"/>
              </a:spcBef>
              <a:spcAft>
                <a:spcPts val="0"/>
              </a:spcAft>
            </a:pPr>
            <a:endParaRPr lang="en-US" sz="1799">
              <a:solidFill>
                <a:srgbClr val="FFFFFF"/>
              </a:solidFill>
              <a:latin typeface="Graphik"/>
            </a:endParaRPr>
          </a:p>
        </p:txBody>
      </p:sp>
      <p:sp>
        <p:nvSpPr>
          <p:cNvPr id="5" name="Slide Number Placeholder 4">
            <a:extLst>
              <a:ext uri="{FF2B5EF4-FFF2-40B4-BE49-F238E27FC236}">
                <a16:creationId xmlns:a16="http://schemas.microsoft.com/office/drawing/2014/main" id="{55C492DE-8D91-4779-A035-3E73EA34D45A}"/>
              </a:ext>
            </a:extLst>
          </p:cNvPr>
          <p:cNvSpPr>
            <a:spLocks noGrp="1"/>
          </p:cNvSpPr>
          <p:nvPr>
            <p:ph type="sldNum" sz="quarter" idx="11"/>
          </p:nvPr>
        </p:nvSpPr>
        <p:spPr>
          <a:xfrm flipH="1">
            <a:off x="11617001" y="6537474"/>
            <a:ext cx="216084" cy="161888"/>
          </a:xfrm>
          <a:prstGeom prst="rect">
            <a:avLst/>
          </a:prstGeom>
        </p:spPr>
        <p:txBody>
          <a:bodyPr/>
          <a:lstStyle/>
          <a:p>
            <a:fld id="{EF2F7A32-C1EA-4F7E-B0A2-7FCB5BFE90DE}" type="slidenum">
              <a:rPr lang="en-AU" smtClean="0"/>
              <a:pPr/>
              <a:t>‹#›</a:t>
            </a:fld>
            <a:endParaRPr lang="en-AU"/>
          </a:p>
        </p:txBody>
      </p:sp>
      <p:sp>
        <p:nvSpPr>
          <p:cNvPr id="16" name="Rectangle 15">
            <a:extLst>
              <a:ext uri="{FF2B5EF4-FFF2-40B4-BE49-F238E27FC236}">
                <a16:creationId xmlns:a16="http://schemas.microsoft.com/office/drawing/2014/main" id="{6310CDFC-2181-4A81-8A72-31EDA9018814}"/>
              </a:ext>
            </a:extLst>
          </p:cNvPr>
          <p:cNvSpPr/>
          <p:nvPr userDrawn="1"/>
        </p:nvSpPr>
        <p:spPr>
          <a:xfrm>
            <a:off x="2" y="6073787"/>
            <a:ext cx="12191999" cy="78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1" fontAlgn="auto">
              <a:spcBef>
                <a:spcPts val="0"/>
              </a:spcBef>
              <a:spcAft>
                <a:spcPts val="0"/>
              </a:spcAft>
              <a:defRPr/>
            </a:pPr>
            <a:endParaRPr lang="en-US" sz="1799" b="1" spc="-150">
              <a:solidFill>
                <a:srgbClr val="000000"/>
              </a:solidFill>
              <a:latin typeface="Graphik"/>
            </a:endParaRPr>
          </a:p>
        </p:txBody>
      </p:sp>
      <p:pic>
        <p:nvPicPr>
          <p:cNvPr id="17" name="Picture 16" descr="A picture containing drawing&#10;&#10;Description automatically generated">
            <a:extLst>
              <a:ext uri="{FF2B5EF4-FFF2-40B4-BE49-F238E27FC236}">
                <a16:creationId xmlns:a16="http://schemas.microsoft.com/office/drawing/2014/main" id="{E837E9AE-0967-45A9-86D4-76EA53E94C51}"/>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tretch>
            <a:fillRect/>
          </a:stretch>
        </p:blipFill>
        <p:spPr>
          <a:xfrm>
            <a:off x="10808504" y="6314013"/>
            <a:ext cx="355600" cy="355379"/>
          </a:xfrm>
          <a:prstGeom prst="rect">
            <a:avLst/>
          </a:prstGeom>
        </p:spPr>
      </p:pic>
      <p:sp>
        <p:nvSpPr>
          <p:cNvPr id="18" name="TextBox 17">
            <a:extLst>
              <a:ext uri="{FF2B5EF4-FFF2-40B4-BE49-F238E27FC236}">
                <a16:creationId xmlns:a16="http://schemas.microsoft.com/office/drawing/2014/main" id="{DC60AE1A-7EA6-4A3B-97B7-4FBAA86B25C6}"/>
              </a:ext>
            </a:extLst>
          </p:cNvPr>
          <p:cNvSpPr txBox="1"/>
          <p:nvPr userDrawn="1"/>
        </p:nvSpPr>
        <p:spPr>
          <a:xfrm>
            <a:off x="10243035" y="6368093"/>
            <a:ext cx="543697" cy="538274"/>
          </a:xfrm>
          <a:prstGeom prst="rect">
            <a:avLst/>
          </a:prstGeom>
          <a:noFill/>
        </p:spPr>
        <p:txBody>
          <a:bodyPr wrap="square" lIns="0" tIns="0" rIns="0" bIns="45691" rtlCol="0">
            <a:spAutoFit/>
          </a:bodyPr>
          <a:lstStyle/>
          <a:p>
            <a:pPr defTabSz="913851" fontAlgn="auto">
              <a:spcBef>
                <a:spcPts val="0"/>
              </a:spcBef>
              <a:spcAft>
                <a:spcPts val="0"/>
              </a:spcAft>
              <a:defRPr/>
            </a:pPr>
            <a:r>
              <a:rPr lang="en-US" sz="1599" b="1">
                <a:solidFill>
                  <a:srgbClr val="000000"/>
                </a:solidFill>
                <a:latin typeface="Graphik" panose="020B0503030202060203" pitchFamily="34" charset="77"/>
                <a:cs typeface="+mn-cs"/>
              </a:rPr>
              <a:t>NOW</a:t>
            </a:r>
          </a:p>
          <a:p>
            <a:pPr defTabSz="913851" fontAlgn="auto">
              <a:spcBef>
                <a:spcPts val="0"/>
              </a:spcBef>
              <a:spcAft>
                <a:spcPts val="0"/>
              </a:spcAft>
              <a:defRPr/>
            </a:pPr>
            <a:endParaRPr lang="en-US" sz="1599">
              <a:solidFill>
                <a:srgbClr val="000000"/>
              </a:solidFill>
              <a:latin typeface="Graphik"/>
              <a:cs typeface="+mn-cs"/>
            </a:endParaRPr>
          </a:p>
        </p:txBody>
      </p:sp>
      <p:sp>
        <p:nvSpPr>
          <p:cNvPr id="22" name="TextBox 21">
            <a:extLst>
              <a:ext uri="{FF2B5EF4-FFF2-40B4-BE49-F238E27FC236}">
                <a16:creationId xmlns:a16="http://schemas.microsoft.com/office/drawing/2014/main" id="{F51A8008-0ED1-4C14-8D15-3B27BB606051}"/>
              </a:ext>
            </a:extLst>
          </p:cNvPr>
          <p:cNvSpPr txBox="1"/>
          <p:nvPr userDrawn="1"/>
        </p:nvSpPr>
        <p:spPr>
          <a:xfrm>
            <a:off x="11203743" y="6368936"/>
            <a:ext cx="1049217" cy="538274"/>
          </a:xfrm>
          <a:prstGeom prst="rect">
            <a:avLst/>
          </a:prstGeom>
          <a:noFill/>
        </p:spPr>
        <p:txBody>
          <a:bodyPr wrap="square" lIns="0" tIns="0" rIns="0" bIns="45691" rtlCol="0">
            <a:spAutoFit/>
          </a:bodyPr>
          <a:lstStyle/>
          <a:p>
            <a:pPr defTabSz="913851" fontAlgn="auto">
              <a:spcBef>
                <a:spcPts val="0"/>
              </a:spcBef>
              <a:spcAft>
                <a:spcPts val="0"/>
              </a:spcAft>
              <a:defRPr/>
            </a:pPr>
            <a:r>
              <a:rPr lang="en-US" sz="1599" b="1">
                <a:solidFill>
                  <a:srgbClr val="000000"/>
                </a:solidFill>
                <a:latin typeface="Graphik" panose="020B0503030202060203" pitchFamily="34" charset="77"/>
                <a:cs typeface="+mn-cs"/>
              </a:rPr>
              <a:t>NEXT</a:t>
            </a:r>
          </a:p>
          <a:p>
            <a:pPr defTabSz="913851" fontAlgn="auto">
              <a:spcBef>
                <a:spcPts val="0"/>
              </a:spcBef>
              <a:spcAft>
                <a:spcPts val="0"/>
              </a:spcAft>
              <a:defRPr/>
            </a:pPr>
            <a:endParaRPr lang="en-US" sz="1599">
              <a:solidFill>
                <a:srgbClr val="000000"/>
              </a:solidFill>
              <a:latin typeface="Graphik"/>
              <a:cs typeface="+mn-cs"/>
            </a:endParaRPr>
          </a:p>
        </p:txBody>
      </p:sp>
      <p:sp>
        <p:nvSpPr>
          <p:cNvPr id="36" name="Text Placeholder 2">
            <a:extLst>
              <a:ext uri="{FF2B5EF4-FFF2-40B4-BE49-F238E27FC236}">
                <a16:creationId xmlns:a16="http://schemas.microsoft.com/office/drawing/2014/main" id="{EEABC1D2-E529-4489-B4F6-A79AB16100F2}"/>
              </a:ext>
            </a:extLst>
          </p:cNvPr>
          <p:cNvSpPr>
            <a:spLocks noGrp="1"/>
          </p:cNvSpPr>
          <p:nvPr>
            <p:ph type="body" sz="quarter" idx="18" hasCustomPrompt="1"/>
          </p:nvPr>
        </p:nvSpPr>
        <p:spPr>
          <a:xfrm>
            <a:off x="901942" y="3763515"/>
            <a:ext cx="5048084" cy="314713"/>
          </a:xfrm>
        </p:spPr>
        <p:txBody>
          <a:bodyPr wrap="square" anchor="t">
            <a:noAutofit/>
          </a:bodyPr>
          <a:lstStyle>
            <a:lvl1pPr marL="14282" algn="l" defTabSz="914011" rtl="0" fontAlgn="auto">
              <a:lnSpc>
                <a:spcPct val="85000"/>
              </a:lnSpc>
              <a:spcBef>
                <a:spcPts val="0"/>
              </a:spcBef>
              <a:spcAft>
                <a:spcPts val="1200"/>
              </a:spcAft>
              <a:defRPr lang="en-US" sz="1399" kern="0">
                <a:solidFill>
                  <a:srgbClr val="FFFFFF"/>
                </a:solidFill>
                <a:latin typeface="Graphik"/>
                <a:ea typeface="+mn-ea"/>
                <a:cs typeface="+mn-cs"/>
              </a:defRPr>
            </a:lvl1pPr>
          </a:lstStyle>
          <a:p>
            <a:pPr marL="14285" defTabSz="914194">
              <a:lnSpc>
                <a:spcPct val="85000"/>
              </a:lnSpc>
              <a:spcAft>
                <a:spcPts val="1200"/>
              </a:spcAft>
              <a:defRPr/>
            </a:pPr>
            <a:r>
              <a:rPr lang="en-GB" sz="1400" kern="0">
                <a:solidFill>
                  <a:srgbClr val="FFFFFF"/>
                </a:solidFill>
                <a:latin typeface="Graphik"/>
              </a:rPr>
              <a:t>Navigating the human and business impact of COVID-19</a:t>
            </a:r>
          </a:p>
        </p:txBody>
      </p:sp>
      <p:sp>
        <p:nvSpPr>
          <p:cNvPr id="20" name="Rectangle 19">
            <a:extLst>
              <a:ext uri="{FF2B5EF4-FFF2-40B4-BE49-F238E27FC236}">
                <a16:creationId xmlns:a16="http://schemas.microsoft.com/office/drawing/2014/main" id="{F39E52E9-0A3F-4B0F-91ED-5019858A76F5}"/>
              </a:ext>
            </a:extLst>
          </p:cNvPr>
          <p:cNvSpPr/>
          <p:nvPr userDrawn="1"/>
        </p:nvSpPr>
        <p:spPr>
          <a:xfrm>
            <a:off x="479000" y="4655240"/>
            <a:ext cx="1089185" cy="307577"/>
          </a:xfrm>
          <a:prstGeom prst="rect">
            <a:avLst/>
          </a:prstGeom>
        </p:spPr>
        <p:txBody>
          <a:bodyPr wrap="none">
            <a:spAutoFit/>
          </a:bodyPr>
          <a:lstStyle/>
          <a:p>
            <a:pPr lvl="0" algn="l"/>
            <a:r>
              <a:rPr lang="en-US" sz="1399" b="0" i="0" kern="1200">
                <a:solidFill>
                  <a:schemeClr val="accent3"/>
                </a:solidFill>
                <a:latin typeface="Graphik"/>
                <a:ea typeface="+mn-ea"/>
                <a:cs typeface="+mn-cs"/>
              </a:rPr>
              <a:t>April 2020</a:t>
            </a:r>
          </a:p>
        </p:txBody>
      </p:sp>
      <p:sp>
        <p:nvSpPr>
          <p:cNvPr id="21" name="Text Placeholder 2">
            <a:extLst>
              <a:ext uri="{FF2B5EF4-FFF2-40B4-BE49-F238E27FC236}">
                <a16:creationId xmlns:a16="http://schemas.microsoft.com/office/drawing/2014/main" id="{83994645-B5E3-410B-99D9-38CCC3EE004D}"/>
              </a:ext>
            </a:extLst>
          </p:cNvPr>
          <p:cNvSpPr>
            <a:spLocks noGrp="1"/>
          </p:cNvSpPr>
          <p:nvPr>
            <p:ph type="body" sz="quarter" idx="16" hasCustomPrompt="1"/>
          </p:nvPr>
        </p:nvSpPr>
        <p:spPr>
          <a:xfrm>
            <a:off x="904191" y="1860548"/>
            <a:ext cx="5048084" cy="1099775"/>
          </a:xfrm>
        </p:spPr>
        <p:txBody>
          <a:bodyPr anchor="t"/>
          <a:lstStyle>
            <a:lvl1pPr>
              <a:lnSpc>
                <a:spcPct val="80000"/>
              </a:lnSpc>
              <a:spcBef>
                <a:spcPts val="0"/>
              </a:spcBef>
              <a:defRPr lang="en-US" sz="4399" b="1" kern="1200" spc="-150" dirty="0" smtClean="0">
                <a:solidFill>
                  <a:srgbClr val="FFFFFF"/>
                </a:solidFill>
                <a:latin typeface="+mj-lt"/>
                <a:ea typeface="+mn-ea"/>
                <a:cs typeface="Arial" panose="020B0604020202020204" pitchFamily="34" charset="0"/>
              </a:defRPr>
            </a:lvl1pPr>
          </a:lstStyle>
          <a:p>
            <a:pPr lvl="0"/>
            <a:r>
              <a:rPr lang="en-US"/>
              <a:t>Insert Headline</a:t>
            </a:r>
            <a:endParaRPr lang="en-GB"/>
          </a:p>
        </p:txBody>
      </p:sp>
      <p:sp>
        <p:nvSpPr>
          <p:cNvPr id="23" name="Text Placeholder 2">
            <a:extLst>
              <a:ext uri="{FF2B5EF4-FFF2-40B4-BE49-F238E27FC236}">
                <a16:creationId xmlns:a16="http://schemas.microsoft.com/office/drawing/2014/main" id="{79C2AD10-B753-4329-928C-0E702DF43B25}"/>
              </a:ext>
            </a:extLst>
          </p:cNvPr>
          <p:cNvSpPr>
            <a:spLocks noGrp="1"/>
          </p:cNvSpPr>
          <p:nvPr>
            <p:ph type="body" sz="quarter" idx="17" hasCustomPrompt="1"/>
          </p:nvPr>
        </p:nvSpPr>
        <p:spPr>
          <a:xfrm>
            <a:off x="904191" y="3009533"/>
            <a:ext cx="5048084" cy="596164"/>
          </a:xfrm>
        </p:spPr>
        <p:txBody>
          <a:bodyPr anchor="t"/>
          <a:lstStyle>
            <a:lvl1pPr>
              <a:lnSpc>
                <a:spcPct val="80000"/>
              </a:lnSpc>
              <a:spcBef>
                <a:spcPts val="0"/>
              </a:spcBef>
              <a:defRPr lang="en-GB" sz="1999" b="1" kern="0" dirty="0">
                <a:solidFill>
                  <a:srgbClr val="FFFFFF"/>
                </a:solidFill>
                <a:latin typeface="Graphik"/>
                <a:ea typeface="+mn-ea"/>
                <a:cs typeface="+mn-cs"/>
              </a:defRPr>
            </a:lvl1pPr>
          </a:lstStyle>
          <a:p>
            <a:pPr lvl="0"/>
            <a:r>
              <a:rPr lang="en-US" err="1"/>
              <a:t>Subheader</a:t>
            </a:r>
            <a:endParaRPr lang="en-GB"/>
          </a:p>
        </p:txBody>
      </p:sp>
      <p:sp>
        <p:nvSpPr>
          <p:cNvPr id="24" name="Rectangle 23">
            <a:extLst>
              <a:ext uri="{FF2B5EF4-FFF2-40B4-BE49-F238E27FC236}">
                <a16:creationId xmlns:a16="http://schemas.microsoft.com/office/drawing/2014/main" id="{F9166C2D-2D31-4DF9-A861-937BD4315BD7}"/>
              </a:ext>
            </a:extLst>
          </p:cNvPr>
          <p:cNvSpPr/>
          <p:nvPr userDrawn="1"/>
        </p:nvSpPr>
        <p:spPr>
          <a:xfrm>
            <a:off x="332081" y="6311145"/>
            <a:ext cx="5074423" cy="349465"/>
          </a:xfrm>
          <a:prstGeom prst="rect">
            <a:avLst/>
          </a:prstGeom>
        </p:spPr>
        <p:txBody>
          <a:bodyPr wrap="none" lIns="35978" tIns="35978" rIns="35978" bIns="35978">
            <a:spAutoFit/>
          </a:bodyPr>
          <a:lstStyle/>
          <a:p>
            <a:pPr defTabSz="913851" fontAlgn="auto">
              <a:spcBef>
                <a:spcPts val="0"/>
              </a:spcBef>
              <a:spcAft>
                <a:spcPts val="0"/>
              </a:spcAft>
              <a:defRPr/>
            </a:pPr>
            <a:r>
              <a:rPr lang="en-US" sz="1799" b="1">
                <a:solidFill>
                  <a:srgbClr val="000000"/>
                </a:solidFill>
                <a:latin typeface="Graphik" panose="020B0503030202060203" pitchFamily="34" charset="77"/>
                <a:cs typeface="+mn-cs"/>
              </a:rPr>
              <a:t>COVID-19: What to do Now, What to do Next</a:t>
            </a:r>
          </a:p>
        </p:txBody>
      </p:sp>
      <p:pic>
        <p:nvPicPr>
          <p:cNvPr id="19" name="Picture 18">
            <a:extLst>
              <a:ext uri="{FF2B5EF4-FFF2-40B4-BE49-F238E27FC236}">
                <a16:creationId xmlns:a16="http://schemas.microsoft.com/office/drawing/2014/main" id="{E28649DE-C738-4345-9965-2EE23D7E572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1001" y="407357"/>
            <a:ext cx="1471061" cy="386880"/>
          </a:xfrm>
          <a:prstGeom prst="rect">
            <a:avLst/>
          </a:prstGeom>
        </p:spPr>
      </p:pic>
    </p:spTree>
    <p:extLst>
      <p:ext uri="{BB962C8B-B14F-4D97-AF65-F5344CB8AC3E}">
        <p14:creationId xmlns:p14="http://schemas.microsoft.com/office/powerpoint/2010/main" val="68659893"/>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line only on white">
    <p:bg>
      <p:bgPr>
        <a:solidFill>
          <a:schemeClr val="bg1"/>
        </a:solidFill>
        <a:effectLst/>
      </p:bgPr>
    </p:bg>
    <p:spTree>
      <p:nvGrpSpPr>
        <p:cNvPr id="1" name=""/>
        <p:cNvGrpSpPr/>
        <p:nvPr/>
      </p:nvGrpSpPr>
      <p:grpSpPr>
        <a:xfrm>
          <a:off x="0" y="0"/>
          <a:ext cx="0" cy="0"/>
          <a:chOff x="0" y="0"/>
          <a:chExt cx="0" cy="0"/>
        </a:xfrm>
      </p:grpSpPr>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5" name="Slide Number Placeholder 9">
            <a:extLst>
              <a:ext uri="{FF2B5EF4-FFF2-40B4-BE49-F238E27FC236}">
                <a16:creationId xmlns:a16="http://schemas.microsoft.com/office/drawing/2014/main" id="{C1C6ABCE-5174-4BF1-9E26-3123CD29E1C7}"/>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8" name="Title Placeholder 1">
            <a:extLst>
              <a:ext uri="{FF2B5EF4-FFF2-40B4-BE49-F238E27FC236}">
                <a16:creationId xmlns:a16="http://schemas.microsoft.com/office/drawing/2014/main" id="{76783A2C-0823-402C-88A0-B02019A16C5A}"/>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671962947"/>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Headline only on white">
    <p:bg>
      <p:bgPr>
        <a:solidFill>
          <a:schemeClr val="bg1"/>
        </a:solidFill>
        <a:effectLst/>
      </p:bgPr>
    </p:bg>
    <p:spTree>
      <p:nvGrpSpPr>
        <p:cNvPr id="1" name=""/>
        <p:cNvGrpSpPr/>
        <p:nvPr/>
      </p:nvGrpSpPr>
      <p:grpSpPr>
        <a:xfrm>
          <a:off x="0" y="0"/>
          <a:ext cx="0" cy="0"/>
          <a:chOff x="0" y="0"/>
          <a:chExt cx="0" cy="0"/>
        </a:xfrm>
      </p:grpSpPr>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5" name="Slide Number Placeholder 9">
            <a:extLst>
              <a:ext uri="{FF2B5EF4-FFF2-40B4-BE49-F238E27FC236}">
                <a16:creationId xmlns:a16="http://schemas.microsoft.com/office/drawing/2014/main" id="{C1C6ABCE-5174-4BF1-9E26-3123CD29E1C7}"/>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6" name="Text Placeholder 2">
            <a:extLst>
              <a:ext uri="{FF2B5EF4-FFF2-40B4-BE49-F238E27FC236}">
                <a16:creationId xmlns:a16="http://schemas.microsoft.com/office/drawing/2014/main" id="{31098322-3D58-4AD2-82A6-99C5E182CBE9}"/>
              </a:ext>
            </a:extLst>
          </p:cNvPr>
          <p:cNvSpPr>
            <a:spLocks noGrp="1"/>
          </p:cNvSpPr>
          <p:nvPr>
            <p:ph type="body" sz="quarter" idx="35"/>
          </p:nvPr>
        </p:nvSpPr>
        <p:spPr>
          <a:xfrm>
            <a:off x="349386" y="1781094"/>
            <a:ext cx="7562629" cy="4180175"/>
          </a:xfrm>
        </p:spPr>
        <p:txBody>
          <a:bodyPr/>
          <a:lstStyle>
            <a:lvl1pPr>
              <a:defRPr b="1"/>
            </a:lvl1pPr>
            <a:lvl2pPr marL="0" indent="0">
              <a:buNone/>
              <a:defRPr lang="en-US" sz="1600" b="0" i="0" kern="1200" dirty="0" smtClean="0">
                <a:solidFill>
                  <a:schemeClr val="tx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400"/>
            </a:lvl3pPr>
            <a:lvl4pPr marL="360291" indent="-182526">
              <a:buFont typeface="Graphik" panose="020B0503030202060203" pitchFamily="34" charset="0"/>
              <a:buChar char="–"/>
              <a:defRPr sz="1400"/>
            </a:lvl4pPr>
            <a:lvl5pPr marL="715820" indent="-355529">
              <a:buFont typeface="Courier New" panose="02070309020205020404" pitchFamily="49" charset="0"/>
              <a:buChar char="o"/>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Placeholder 1">
            <a:extLst>
              <a:ext uri="{FF2B5EF4-FFF2-40B4-BE49-F238E27FC236}">
                <a16:creationId xmlns:a16="http://schemas.microsoft.com/office/drawing/2014/main" id="{EAF037D9-8309-4BE9-B789-137A2DEA1300}"/>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110059997"/>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line only on purple">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a:blip r:embed="rId2"/>
          <a:stretch>
            <a:fillRect/>
          </a:stretch>
        </p:blipFill>
        <p:spPr>
          <a:xfrm>
            <a:off x="1623" y="-1"/>
            <a:ext cx="12190377" cy="686793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929E68E-92F2-47A9-9D6F-5F5FFAE31961}"/>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1B6E25F8-64C9-455F-8F86-2BD5B8480CF1}"/>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72940669"/>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Cover_AAI">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CA54501-3213-484C-A670-51CB69C413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141" b="6142"/>
          <a:stretch/>
        </p:blipFill>
        <p:spPr>
          <a:xfrm>
            <a:off x="0" y="0"/>
            <a:ext cx="12192000" cy="6858000"/>
          </a:xfrm>
          <a:prstGeom prst="rect">
            <a:avLst/>
          </a:prstGeom>
        </p:spPr>
      </p:pic>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3"/>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4"/>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5"/>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6"/>
          <a:stretch>
            <a:fillRect/>
          </a:stretch>
        </p:blipFill>
        <p:spPr>
          <a:xfrm>
            <a:off x="6962313" y="536683"/>
            <a:ext cx="4885200" cy="340009"/>
          </a:xfrm>
          <a:prstGeom prst="rect">
            <a:avLst/>
          </a:prstGeom>
        </p:spPr>
      </p:pic>
      <p:pic>
        <p:nvPicPr>
          <p:cNvPr id="292" name="Acc_CoreBrand_GTS_Dimensional" hidden="1">
            <a:extLst>
              <a:ext uri="{FF2B5EF4-FFF2-40B4-BE49-F238E27FC236}">
                <a16:creationId xmlns:a16="http://schemas.microsoft.com/office/drawing/2014/main" id="{F7DAA011-51F1-4317-92D4-329036D5F9B7}"/>
              </a:ext>
            </a:extLst>
          </p:cNvPr>
          <p:cNvPicPr>
            <a:picLocks noChangeAspect="1"/>
          </p:cNvPicPr>
          <p:nvPr/>
        </p:nvPicPr>
        <p:blipFill>
          <a:blip r:embed="rId7"/>
          <a:stretch>
            <a:fillRect/>
          </a:stretch>
        </p:blipFill>
        <p:spPr>
          <a:xfrm>
            <a:off x="4575617" y="913419"/>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0"/>
          <a:stretch>
            <a:fillRect/>
          </a:stretch>
        </p:blipFill>
        <p:spPr>
          <a:xfrm>
            <a:off x="7751739" y="374650"/>
            <a:ext cx="1663200" cy="445737"/>
          </a:xfrm>
          <a:prstGeom prst="rect">
            <a:avLst/>
          </a:prstGeom>
        </p:spPr>
      </p:pic>
      <p:pic>
        <p:nvPicPr>
          <p:cNvPr id="304" name="Acc_CoreBrand_Logo_Black_Purple" hidden="1">
            <a:extLst>
              <a:ext uri="{FF2B5EF4-FFF2-40B4-BE49-F238E27FC236}">
                <a16:creationId xmlns:a16="http://schemas.microsoft.com/office/drawing/2014/main" id="{079A257B-549F-4450-95A9-7265440209B9}"/>
              </a:ext>
            </a:extLst>
          </p:cNvPr>
          <p:cNvPicPr>
            <a:picLocks noChangeAspect="1"/>
          </p:cNvPicPr>
          <p:nvPr/>
        </p:nvPicPr>
        <p:blipFill>
          <a:blip r:embed="rId11"/>
          <a:stretch>
            <a:fillRect/>
          </a:stretch>
        </p:blipFill>
        <p:spPr>
          <a:xfrm>
            <a:off x="7751739" y="374650"/>
            <a:ext cx="1663200" cy="445738"/>
          </a:xfrm>
          <a:prstGeom prst="rect">
            <a:avLst/>
          </a:prstGeom>
        </p:spPr>
      </p:pic>
      <p:sp>
        <p:nvSpPr>
          <p:cNvPr id="20" name="Subtitle (3rd Level)">
            <a:extLst>
              <a:ext uri="{FF2B5EF4-FFF2-40B4-BE49-F238E27FC236}">
                <a16:creationId xmlns:a16="http://schemas.microsoft.com/office/drawing/2014/main" id="{D4688A87-6374-4FEF-B878-C60AC8E6B62A}"/>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1" name="Long Subline">
            <a:extLst>
              <a:ext uri="{FF2B5EF4-FFF2-40B4-BE49-F238E27FC236}">
                <a16:creationId xmlns:a16="http://schemas.microsoft.com/office/drawing/2014/main" id="{B3FEE09D-8573-438B-9DA5-B6D9F9C559AE}"/>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2" name="MasterTitle">
            <a:extLst>
              <a:ext uri="{FF2B5EF4-FFF2-40B4-BE49-F238E27FC236}">
                <a16:creationId xmlns:a16="http://schemas.microsoft.com/office/drawing/2014/main" id="{A5FE72C4-8613-4C59-9FE2-9538E5031F45}"/>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pic>
        <p:nvPicPr>
          <p:cNvPr id="17" name="Acc_Applied_Intell_Wordmark_BLK Colour Positive">
            <a:extLst>
              <a:ext uri="{FF2B5EF4-FFF2-40B4-BE49-F238E27FC236}">
                <a16:creationId xmlns:a16="http://schemas.microsoft.com/office/drawing/2014/main" id="{BD88DD9C-710C-40A6-B14E-984157A75D1F}"/>
              </a:ext>
            </a:extLst>
          </p:cNvPr>
          <p:cNvPicPr>
            <a:picLocks noChangeAspect="1"/>
          </p:cNvPicPr>
          <p:nvPr userDrawn="1"/>
        </p:nvPicPr>
        <p:blipFill>
          <a:blip r:embed="rId12">
            <a:biLevel thresh="75000"/>
          </a:blip>
          <a:stretch>
            <a:fillRect/>
          </a:stretch>
        </p:blipFill>
        <p:spPr>
          <a:xfrm>
            <a:off x="1461439" y="716491"/>
            <a:ext cx="4885196" cy="347826"/>
          </a:xfrm>
          <a:prstGeom prst="rect">
            <a:avLst/>
          </a:prstGeom>
        </p:spPr>
      </p:pic>
    </p:spTree>
    <p:extLst>
      <p:ext uri="{BB962C8B-B14F-4D97-AF65-F5344CB8AC3E}">
        <p14:creationId xmlns:p14="http://schemas.microsoft.com/office/powerpoint/2010/main" val="343064193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Headline only on purple">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a:blip r:embed="rId2"/>
          <a:stretch>
            <a:fillRect/>
          </a:stretch>
        </p:blipFill>
        <p:spPr>
          <a:xfrm>
            <a:off x="1623" y="-1"/>
            <a:ext cx="12190377" cy="686793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929E68E-92F2-47A9-9D6F-5F5FFAE31961}"/>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1B6E25F8-64C9-455F-8F86-2BD5B8480CF1}"/>
              </a:ext>
            </a:extLst>
          </p:cNvPr>
          <p:cNvSpPr>
            <a:spLocks noGrp="1"/>
          </p:cNvSpPr>
          <p:nvPr>
            <p:ph type="title" hasCustomPrompt="1"/>
          </p:nvPr>
        </p:nvSpPr>
        <p:spPr>
          <a:xfrm>
            <a:off x="6239726" y="580220"/>
            <a:ext cx="5162143"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
        <p:nvSpPr>
          <p:cNvPr id="6" name="object 8">
            <a:extLst>
              <a:ext uri="{FF2B5EF4-FFF2-40B4-BE49-F238E27FC236}">
                <a16:creationId xmlns:a16="http://schemas.microsoft.com/office/drawing/2014/main" id="{E90D5222-8060-476B-BD0F-CF21D3218850}"/>
              </a:ext>
            </a:extLst>
          </p:cNvPr>
          <p:cNvSpPr/>
          <p:nvPr userDrawn="1"/>
        </p:nvSpPr>
        <p:spPr>
          <a:xfrm>
            <a:off x="176575" y="696236"/>
            <a:ext cx="5703944" cy="5611673"/>
          </a:xfrm>
          <a:prstGeom prst="rect">
            <a:avLst/>
          </a:prstGeom>
          <a:blipFill>
            <a:blip r:embed="rId3" cstate="screen">
              <a:alphaModFix/>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9" name="Text Placeholder 2">
            <a:extLst>
              <a:ext uri="{FF2B5EF4-FFF2-40B4-BE49-F238E27FC236}">
                <a16:creationId xmlns:a16="http://schemas.microsoft.com/office/drawing/2014/main" id="{CF2887AC-B9DD-4346-A6FB-56288D7EBF34}"/>
              </a:ext>
            </a:extLst>
          </p:cNvPr>
          <p:cNvSpPr>
            <a:spLocks noGrp="1"/>
          </p:cNvSpPr>
          <p:nvPr>
            <p:ph type="body" sz="quarter" idx="35"/>
          </p:nvPr>
        </p:nvSpPr>
        <p:spPr>
          <a:xfrm>
            <a:off x="6226890" y="1776001"/>
            <a:ext cx="5162142" cy="4185268"/>
          </a:xfrm>
        </p:spPr>
        <p:txBody>
          <a:bodyPr/>
          <a:lstStyle>
            <a:lvl1pPr>
              <a:defRPr b="0">
                <a:solidFill>
                  <a:schemeClr val="bg1"/>
                </a:solidFill>
              </a:defRPr>
            </a:lvl1pPr>
            <a:lvl2pPr marL="0" indent="0">
              <a:buNone/>
              <a:defRPr lang="en-US" sz="1600" b="0" i="0" kern="1200" dirty="0" smtClean="0">
                <a:solidFill>
                  <a:schemeClr val="bg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400" b="0">
                <a:solidFill>
                  <a:schemeClr val="bg1"/>
                </a:solidFill>
              </a:defRPr>
            </a:lvl3pPr>
            <a:lvl4pPr marL="360291" indent="-182526">
              <a:buFont typeface="Graphik" panose="020B0503030202060203" pitchFamily="34" charset="0"/>
              <a:buChar char="–"/>
              <a:defRPr sz="1400" b="0">
                <a:solidFill>
                  <a:schemeClr val="bg1"/>
                </a:solidFill>
              </a:defRPr>
            </a:lvl4pPr>
            <a:lvl5pPr marL="715820" indent="-355529">
              <a:buFont typeface="Courier New" panose="02070309020205020404" pitchFamily="49" charset="0"/>
              <a:buChar char="o"/>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51746105"/>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Headline only on purple">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a:blip r:embed="rId2"/>
          <a:stretch>
            <a:fillRect/>
          </a:stretch>
        </p:blipFill>
        <p:spPr>
          <a:xfrm>
            <a:off x="1623" y="-1"/>
            <a:ext cx="12190377" cy="686793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929E68E-92F2-47A9-9D6F-5F5FFAE31961}"/>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7" name="Text Placeholder 2">
            <a:extLst>
              <a:ext uri="{FF2B5EF4-FFF2-40B4-BE49-F238E27FC236}">
                <a16:creationId xmlns:a16="http://schemas.microsoft.com/office/drawing/2014/main" id="{10011489-1632-4ACA-A888-9510BAE8E657}"/>
              </a:ext>
            </a:extLst>
          </p:cNvPr>
          <p:cNvSpPr>
            <a:spLocks noGrp="1"/>
          </p:cNvSpPr>
          <p:nvPr>
            <p:ph type="body" sz="quarter" idx="35"/>
          </p:nvPr>
        </p:nvSpPr>
        <p:spPr>
          <a:xfrm>
            <a:off x="349386" y="1781094"/>
            <a:ext cx="7562629" cy="4112260"/>
          </a:xfrm>
        </p:spPr>
        <p:txBody>
          <a:bodyPr/>
          <a:lstStyle>
            <a:lvl1pPr>
              <a:defRPr b="1">
                <a:solidFill>
                  <a:schemeClr val="bg1"/>
                </a:solidFill>
              </a:defRPr>
            </a:lvl1pPr>
            <a:lvl2pPr marL="0" indent="0">
              <a:buNone/>
              <a:defRPr lang="en-US" sz="1600" b="0" i="0" kern="1200" dirty="0" smtClean="0">
                <a:solidFill>
                  <a:schemeClr val="bg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400">
                <a:solidFill>
                  <a:schemeClr val="bg1"/>
                </a:solidFill>
              </a:defRPr>
            </a:lvl3pPr>
            <a:lvl4pPr marL="360291" indent="-182526">
              <a:buFont typeface="Graphik" panose="020B0503030202060203" pitchFamily="34" charset="0"/>
              <a:buChar char="–"/>
              <a:defRPr sz="1400">
                <a:solidFill>
                  <a:schemeClr val="bg1"/>
                </a:solidFill>
              </a:defRPr>
            </a:lvl4pPr>
            <a:lvl5pPr marL="715820" indent="-355529">
              <a:buFont typeface="Courier New" panose="02070309020205020404" pitchFamily="49" charset="0"/>
              <a:buChar char="o"/>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Placeholder 1">
            <a:extLst>
              <a:ext uri="{FF2B5EF4-FFF2-40B4-BE49-F238E27FC236}">
                <a16:creationId xmlns:a16="http://schemas.microsoft.com/office/drawing/2014/main" id="{3888005D-B155-4C19-8713-85DD33D7FE4C}"/>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1892941649"/>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only purple&amp;white 1">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28081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AE5CCF8-BD44-4D16-9871-DB0EDB36942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709FF9BD-B2B8-43A7-AD71-044FDCD53859}"/>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pic>
        <p:nvPicPr>
          <p:cNvPr id="9" name="Picture 8">
            <a:extLst>
              <a:ext uri="{FF2B5EF4-FFF2-40B4-BE49-F238E27FC236}">
                <a16:creationId xmlns:a16="http://schemas.microsoft.com/office/drawing/2014/main" id="{79251715-E222-4F0B-B94A-B70097F009E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623" y="6042119"/>
            <a:ext cx="12190377" cy="815881"/>
          </a:xfrm>
          <a:prstGeom prst="rect">
            <a:avLst/>
          </a:prstGeom>
        </p:spPr>
      </p:pic>
    </p:spTree>
    <p:extLst>
      <p:ext uri="{BB962C8B-B14F-4D97-AF65-F5344CB8AC3E}">
        <p14:creationId xmlns:p14="http://schemas.microsoft.com/office/powerpoint/2010/main" val="3773985567"/>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Headline only purple&amp;white 1">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28081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AE5CCF8-BD44-4D16-9871-DB0EDB36942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709FF9BD-B2B8-43A7-AD71-044FDCD53859}"/>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pic>
        <p:nvPicPr>
          <p:cNvPr id="9" name="Picture 8">
            <a:extLst>
              <a:ext uri="{FF2B5EF4-FFF2-40B4-BE49-F238E27FC236}">
                <a16:creationId xmlns:a16="http://schemas.microsoft.com/office/drawing/2014/main" id="{79251715-E222-4F0B-B94A-B70097F009E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623" y="5393411"/>
            <a:ext cx="12190377" cy="1464590"/>
          </a:xfrm>
          <a:prstGeom prst="rect">
            <a:avLst/>
          </a:prstGeom>
        </p:spPr>
      </p:pic>
    </p:spTree>
    <p:extLst>
      <p:ext uri="{BB962C8B-B14F-4D97-AF65-F5344CB8AC3E}">
        <p14:creationId xmlns:p14="http://schemas.microsoft.com/office/powerpoint/2010/main" val="3663029457"/>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Headline only purple&amp;white 1">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280817"/>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solidFill>
                <a:latin typeface="+mn-lt"/>
              </a:defRPr>
            </a:lvl1pPr>
          </a:lstStyle>
          <a:p>
            <a:r>
              <a:rPr lang="en-GB"/>
              <a:t>Copyright © 2022 Accenture. All rights reserved.</a:t>
            </a:r>
          </a:p>
        </p:txBody>
      </p:sp>
      <p:sp>
        <p:nvSpPr>
          <p:cNvPr id="8" name="Slide Number Placeholder 9">
            <a:extLst>
              <a:ext uri="{FF2B5EF4-FFF2-40B4-BE49-F238E27FC236}">
                <a16:creationId xmlns:a16="http://schemas.microsoft.com/office/drawing/2014/main" id="{4AE5CCF8-BD44-4D16-9871-DB0EDB36942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709FF9BD-B2B8-43A7-AD71-044FDCD53859}"/>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3115824991"/>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line only purple&amp;white 2">
    <p:bg>
      <p:bgPr>
        <a:solidFill>
          <a:schemeClr val="bg1"/>
        </a:solidFill>
        <a:effectLst/>
      </p:bgPr>
    </p:bg>
    <p:spTree>
      <p:nvGrpSpPr>
        <p:cNvPr id="1" name=""/>
        <p:cNvGrpSpPr/>
        <p:nvPr/>
      </p:nvGrpSpPr>
      <p:grpSpPr>
        <a:xfrm>
          <a:off x="0" y="0"/>
          <a:ext cx="0" cy="0"/>
          <a:chOff x="0" y="0"/>
          <a:chExt cx="0" cy="0"/>
        </a:xfrm>
      </p:grpSpPr>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pic>
        <p:nvPicPr>
          <p:cNvPr id="6" name="Picture 5">
            <a:extLst>
              <a:ext uri="{FF2B5EF4-FFF2-40B4-BE49-F238E27FC236}">
                <a16:creationId xmlns:a16="http://schemas.microsoft.com/office/drawing/2014/main" id="{673E3D42-4CDB-41E8-88C3-DFA5E25197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3" y="1280817"/>
            <a:ext cx="12190377" cy="4781156"/>
          </a:xfrm>
          <a:prstGeom prst="rect">
            <a:avLst/>
          </a:prstGeom>
        </p:spPr>
      </p:pic>
      <p:sp>
        <p:nvSpPr>
          <p:cNvPr id="8" name="Slide Number Placeholder 9">
            <a:extLst>
              <a:ext uri="{FF2B5EF4-FFF2-40B4-BE49-F238E27FC236}">
                <a16:creationId xmlns:a16="http://schemas.microsoft.com/office/drawing/2014/main" id="{E81F58E5-3727-4781-ABB3-46EE51C0F819}"/>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1ECD65CD-0F85-45D1-B1D7-DD8C9D4F3925}"/>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3344916974"/>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Headline only purple&amp;white 2">
    <p:bg>
      <p:bgPr>
        <a:solidFill>
          <a:schemeClr val="bg1"/>
        </a:solidFill>
        <a:effectLst/>
      </p:bgPr>
    </p:bg>
    <p:spTree>
      <p:nvGrpSpPr>
        <p:cNvPr id="1" name=""/>
        <p:cNvGrpSpPr/>
        <p:nvPr/>
      </p:nvGrpSpPr>
      <p:grpSpPr>
        <a:xfrm>
          <a:off x="0" y="0"/>
          <a:ext cx="0" cy="0"/>
          <a:chOff x="0" y="0"/>
          <a:chExt cx="0" cy="0"/>
        </a:xfrm>
      </p:grpSpPr>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pic>
        <p:nvPicPr>
          <p:cNvPr id="6" name="Picture 5">
            <a:extLst>
              <a:ext uri="{FF2B5EF4-FFF2-40B4-BE49-F238E27FC236}">
                <a16:creationId xmlns:a16="http://schemas.microsoft.com/office/drawing/2014/main" id="{673E3D42-4CDB-41E8-88C3-DFA5E25197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3" y="1776413"/>
            <a:ext cx="12190377" cy="4285560"/>
          </a:xfrm>
          <a:prstGeom prst="rect">
            <a:avLst/>
          </a:prstGeom>
        </p:spPr>
      </p:pic>
      <p:sp>
        <p:nvSpPr>
          <p:cNvPr id="8" name="Slide Number Placeholder 9">
            <a:extLst>
              <a:ext uri="{FF2B5EF4-FFF2-40B4-BE49-F238E27FC236}">
                <a16:creationId xmlns:a16="http://schemas.microsoft.com/office/drawing/2014/main" id="{E81F58E5-3727-4781-ABB3-46EE51C0F819}"/>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7" name="Title Placeholder 1">
            <a:extLst>
              <a:ext uri="{FF2B5EF4-FFF2-40B4-BE49-F238E27FC236}">
                <a16:creationId xmlns:a16="http://schemas.microsoft.com/office/drawing/2014/main" id="{1ECD65CD-0F85-45D1-B1D7-DD8C9D4F3925}"/>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943440648"/>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line &amp; Subtitle">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12190377" cy="5961271"/>
          </a:xfrm>
          <a:prstGeom prst="rect">
            <a:avLst/>
          </a:prstGeom>
        </p:spPr>
      </p:pic>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7" name="Text Placeholder 3">
            <a:extLst>
              <a:ext uri="{FF2B5EF4-FFF2-40B4-BE49-F238E27FC236}">
                <a16:creationId xmlns:a16="http://schemas.microsoft.com/office/drawing/2014/main" id="{AE1FD52F-2990-45D5-855D-4B152F297FB0}"/>
              </a:ext>
            </a:extLst>
          </p:cNvPr>
          <p:cNvSpPr>
            <a:spLocks noGrp="1"/>
          </p:cNvSpPr>
          <p:nvPr>
            <p:ph type="body" sz="quarter" idx="36" hasCustomPrompt="1"/>
          </p:nvPr>
        </p:nvSpPr>
        <p:spPr>
          <a:xfrm>
            <a:off x="363680" y="1390328"/>
            <a:ext cx="11463761" cy="423917"/>
          </a:xfrm>
        </p:spPr>
        <p:txBody>
          <a:bodyPr/>
          <a:lstStyle>
            <a:lvl1pPr>
              <a:defRPr sz="2000" b="1">
                <a:solidFill>
                  <a:schemeClr val="bg1"/>
                </a:solidFill>
                <a:latin typeface="+mj-lt"/>
              </a:defRPr>
            </a:lvl1pPr>
          </a:lstStyle>
          <a:p>
            <a:pPr lvl="0"/>
            <a:r>
              <a:rPr lang="en-US"/>
              <a:t>Insert sub-title at 20 </a:t>
            </a:r>
            <a:r>
              <a:rPr lang="en-US" err="1"/>
              <a:t>pt</a:t>
            </a:r>
            <a:endParaRPr lang="en-US"/>
          </a:p>
        </p:txBody>
      </p:sp>
      <p:sp>
        <p:nvSpPr>
          <p:cNvPr id="8" name="Slide Number Placeholder 9">
            <a:extLst>
              <a:ext uri="{FF2B5EF4-FFF2-40B4-BE49-F238E27FC236}">
                <a16:creationId xmlns:a16="http://schemas.microsoft.com/office/drawing/2014/main" id="{88224DFA-DD95-44F3-A353-73514AB00ACA}"/>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9" name="Title Placeholder 1">
            <a:extLst>
              <a:ext uri="{FF2B5EF4-FFF2-40B4-BE49-F238E27FC236}">
                <a16:creationId xmlns:a16="http://schemas.microsoft.com/office/drawing/2014/main" id="{F25BE286-CCF2-484A-ACCA-2C87905A8828}"/>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383057358"/>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line &amp; copy 1">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3989288" cy="6867937"/>
          </a:xfrm>
          <a:prstGeom prst="rect">
            <a:avLst/>
          </a:prstGeom>
        </p:spPr>
      </p:pic>
      <p:sp>
        <p:nvSpPr>
          <p:cNvPr id="11" name="Text Placeholder 4">
            <a:extLst>
              <a:ext uri="{FF2B5EF4-FFF2-40B4-BE49-F238E27FC236}">
                <a16:creationId xmlns:a16="http://schemas.microsoft.com/office/drawing/2014/main" id="{EA83C94C-17E1-4BF1-81BB-03E62993FF34}"/>
              </a:ext>
            </a:extLst>
          </p:cNvPr>
          <p:cNvSpPr>
            <a:spLocks noGrp="1"/>
          </p:cNvSpPr>
          <p:nvPr>
            <p:ph type="body" sz="quarter" idx="36" hasCustomPrompt="1"/>
          </p:nvPr>
        </p:nvSpPr>
        <p:spPr>
          <a:xfrm>
            <a:off x="373877" y="1776003"/>
            <a:ext cx="3617034" cy="4185747"/>
          </a:xfrm>
        </p:spPr>
        <p:txBody>
          <a:bodyPr tIns="0" rIns="360000" anchor="t"/>
          <a:lstStyle>
            <a:lvl1pPr>
              <a:defRPr sz="1400" b="0" i="0">
                <a:solidFill>
                  <a:schemeClr val="bg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0" name="Footer Placeholder 6">
            <a:extLst>
              <a:ext uri="{FF2B5EF4-FFF2-40B4-BE49-F238E27FC236}">
                <a16:creationId xmlns:a16="http://schemas.microsoft.com/office/drawing/2014/main" id="{B4776A50-1F38-4575-A686-C0C03843BF23}"/>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0" name="Slide Number Placeholder 9">
            <a:extLst>
              <a:ext uri="{FF2B5EF4-FFF2-40B4-BE49-F238E27FC236}">
                <a16:creationId xmlns:a16="http://schemas.microsoft.com/office/drawing/2014/main" id="{72D929BD-333E-494A-B69F-69CC38B593E5}"/>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8" name="Title Placeholder 1">
            <a:extLst>
              <a:ext uri="{FF2B5EF4-FFF2-40B4-BE49-F238E27FC236}">
                <a16:creationId xmlns:a16="http://schemas.microsoft.com/office/drawing/2014/main" id="{90FD9CF8-0E87-4831-B4B7-0810BAC11F17}"/>
              </a:ext>
            </a:extLst>
          </p:cNvPr>
          <p:cNvSpPr>
            <a:spLocks noGrp="1"/>
          </p:cNvSpPr>
          <p:nvPr>
            <p:ph type="title" hasCustomPrompt="1"/>
          </p:nvPr>
        </p:nvSpPr>
        <p:spPr>
          <a:xfrm>
            <a:off x="4281572" y="580220"/>
            <a:ext cx="7548208"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4248983035"/>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line &amp; copy 2">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7876" y="-1"/>
            <a:ext cx="4103661" cy="6867937"/>
          </a:xfrm>
          <a:prstGeom prst="rect">
            <a:avLst/>
          </a:prstGeom>
        </p:spPr>
      </p:pic>
      <p:sp>
        <p:nvSpPr>
          <p:cNvPr id="33" name="Footer Placeholder 6">
            <a:extLst>
              <a:ext uri="{FF2B5EF4-FFF2-40B4-BE49-F238E27FC236}">
                <a16:creationId xmlns:a16="http://schemas.microsoft.com/office/drawing/2014/main" id="{9734D606-D53A-472F-A5DE-71547FB5E90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29" name="Text Placeholder 4">
            <a:extLst>
              <a:ext uri="{FF2B5EF4-FFF2-40B4-BE49-F238E27FC236}">
                <a16:creationId xmlns:a16="http://schemas.microsoft.com/office/drawing/2014/main" id="{EDBF1BA0-3187-43BF-8769-857821415FEB}"/>
              </a:ext>
            </a:extLst>
          </p:cNvPr>
          <p:cNvSpPr>
            <a:spLocks noGrp="1"/>
          </p:cNvSpPr>
          <p:nvPr>
            <p:ph type="body" sz="quarter" idx="36" hasCustomPrompt="1"/>
          </p:nvPr>
        </p:nvSpPr>
        <p:spPr>
          <a:xfrm>
            <a:off x="8633124" y="1776002"/>
            <a:ext cx="3183843" cy="3896121"/>
          </a:xfrm>
        </p:spPr>
        <p:txBody>
          <a:bodyPr tIns="0" anchor="t"/>
          <a:lstStyle>
            <a:lvl1pPr>
              <a:defRPr sz="1400" b="0" i="0">
                <a:solidFill>
                  <a:schemeClr val="bg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0" name="Slide Number Placeholder 9">
            <a:extLst>
              <a:ext uri="{FF2B5EF4-FFF2-40B4-BE49-F238E27FC236}">
                <a16:creationId xmlns:a16="http://schemas.microsoft.com/office/drawing/2014/main" id="{7D881815-918C-468E-B514-C30DB6E3EDD2}"/>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1" name="Text Placeholder 2">
            <a:extLst>
              <a:ext uri="{FF2B5EF4-FFF2-40B4-BE49-F238E27FC236}">
                <a16:creationId xmlns:a16="http://schemas.microsoft.com/office/drawing/2014/main" id="{2FDEA52C-EA68-4BD3-89A8-7270550FBB9C}"/>
              </a:ext>
            </a:extLst>
          </p:cNvPr>
          <p:cNvSpPr>
            <a:spLocks noGrp="1"/>
          </p:cNvSpPr>
          <p:nvPr>
            <p:ph type="body" sz="quarter" idx="35"/>
          </p:nvPr>
        </p:nvSpPr>
        <p:spPr>
          <a:xfrm>
            <a:off x="349386" y="1781094"/>
            <a:ext cx="7541601" cy="4112260"/>
          </a:xfrm>
        </p:spPr>
        <p:txBody>
          <a:bodyPr/>
          <a:lstStyle>
            <a:lvl1pPr>
              <a:defRPr b="1"/>
            </a:lvl1pPr>
            <a:lvl2pPr marL="0" indent="0">
              <a:buNone/>
              <a:defRPr lang="en-US" sz="1600" b="0" i="0" kern="1200" dirty="0" smtClean="0">
                <a:solidFill>
                  <a:schemeClr val="tx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400"/>
            </a:lvl3pPr>
            <a:lvl4pPr marL="360291" indent="-182526">
              <a:buFont typeface="Graphik" panose="020B0503030202060203" pitchFamily="34" charset="0"/>
              <a:buChar char="–"/>
              <a:defRPr sz="1400"/>
            </a:lvl4pPr>
            <a:lvl5pPr marL="715820" indent="-355529">
              <a:buFont typeface="Courier New" panose="02070309020205020404" pitchFamily="49" charset="0"/>
              <a:buChar char="o"/>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Placeholder 1">
            <a:extLst>
              <a:ext uri="{FF2B5EF4-FFF2-40B4-BE49-F238E27FC236}">
                <a16:creationId xmlns:a16="http://schemas.microsoft.com/office/drawing/2014/main" id="{9CF93764-4413-48D3-B1C9-9C408CC3C5F1}"/>
              </a:ext>
            </a:extLst>
          </p:cNvPr>
          <p:cNvSpPr>
            <a:spLocks noGrp="1"/>
          </p:cNvSpPr>
          <p:nvPr>
            <p:ph type="title" hasCustomPrompt="1"/>
          </p:nvPr>
        </p:nvSpPr>
        <p:spPr>
          <a:xfrm>
            <a:off x="370415" y="580220"/>
            <a:ext cx="7541601"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310399488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_Master Brand">
    <p:spTree>
      <p:nvGrpSpPr>
        <p:cNvPr id="1" name=""/>
        <p:cNvGrpSpPr/>
        <p:nvPr/>
      </p:nvGrpSpPr>
      <p:grpSpPr>
        <a:xfrm>
          <a:off x="0" y="0"/>
          <a:ext cx="0" cy="0"/>
          <a:chOff x="0" y="0"/>
          <a:chExt cx="0" cy="0"/>
        </a:xfrm>
      </p:grpSpPr>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2"/>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3"/>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4"/>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5"/>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6"/>
          <a:stretch>
            <a:fillRect/>
          </a:stretch>
        </p:blipFill>
        <p:spPr>
          <a:xfrm>
            <a:off x="6967077" y="530394"/>
            <a:ext cx="4885196" cy="347826"/>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7"/>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9"/>
          <a:stretch>
            <a:fillRect/>
          </a:stretch>
        </p:blipFill>
        <p:spPr>
          <a:xfrm>
            <a:off x="7751739" y="374650"/>
            <a:ext cx="1663200" cy="445737"/>
          </a:xfrm>
          <a:prstGeom prst="rect">
            <a:avLst/>
          </a:prstGeom>
        </p:spPr>
      </p:pic>
      <p:pic>
        <p:nvPicPr>
          <p:cNvPr id="21" name="Acc_CoreBrand_Logo_Black_Purple">
            <a:extLst>
              <a:ext uri="{FF2B5EF4-FFF2-40B4-BE49-F238E27FC236}">
                <a16:creationId xmlns:a16="http://schemas.microsoft.com/office/drawing/2014/main" id="{FAB30264-1DB0-444E-8439-97B7E1F89775}"/>
              </a:ext>
            </a:extLst>
          </p:cNvPr>
          <p:cNvPicPr>
            <a:picLocks noChangeAspect="1"/>
          </p:cNvPicPr>
          <p:nvPr userDrawn="1"/>
        </p:nvPicPr>
        <p:blipFill>
          <a:blip r:embed="rId10"/>
          <a:stretch>
            <a:fillRect/>
          </a:stretch>
        </p:blipFill>
        <p:spPr>
          <a:xfrm>
            <a:off x="1461439" y="556663"/>
            <a:ext cx="1663200" cy="445738"/>
          </a:xfrm>
          <a:prstGeom prst="rect">
            <a:avLst/>
          </a:prstGeom>
        </p:spPr>
      </p:pic>
      <p:sp>
        <p:nvSpPr>
          <p:cNvPr id="22" name="Subtitle (3rd Level)">
            <a:extLst>
              <a:ext uri="{FF2B5EF4-FFF2-40B4-BE49-F238E27FC236}">
                <a16:creationId xmlns:a16="http://schemas.microsoft.com/office/drawing/2014/main" id="{62B5990A-9798-4C41-BD4F-8886FBFEB40B}"/>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3" name="Long Subline">
            <a:extLst>
              <a:ext uri="{FF2B5EF4-FFF2-40B4-BE49-F238E27FC236}">
                <a16:creationId xmlns:a16="http://schemas.microsoft.com/office/drawing/2014/main" id="{0EB69C56-7B40-45A9-8988-D7B9D4782D3E}"/>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4" name="MasterTitle">
            <a:extLst>
              <a:ext uri="{FF2B5EF4-FFF2-40B4-BE49-F238E27FC236}">
                <a16:creationId xmlns:a16="http://schemas.microsoft.com/office/drawing/2014/main" id="{471BDF8D-36DA-4683-8BF6-42B61466AE09}"/>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3344255250"/>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and image 1">
    <p:bg>
      <p:bgPr>
        <a:solidFill>
          <a:schemeClr val="accent2"/>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2" y="-1"/>
            <a:ext cx="7910393" cy="6867937"/>
          </a:xfrm>
          <a:prstGeom prst="rect">
            <a:avLst/>
          </a:prstGeom>
        </p:spPr>
      </p:pic>
      <p:sp>
        <p:nvSpPr>
          <p:cNvPr id="131" name="Picture Placeholder 130">
            <a:extLst>
              <a:ext uri="{FF2B5EF4-FFF2-40B4-BE49-F238E27FC236}">
                <a16:creationId xmlns:a16="http://schemas.microsoft.com/office/drawing/2014/main" id="{E9D0D34D-4E46-440B-869C-42693DC96CCC}"/>
              </a:ext>
            </a:extLst>
          </p:cNvPr>
          <p:cNvSpPr>
            <a:spLocks noGrp="1"/>
          </p:cNvSpPr>
          <p:nvPr userDrawn="1">
            <p:ph type="pic" sz="quarter" idx="10"/>
          </p:nvPr>
        </p:nvSpPr>
        <p:spPr>
          <a:xfrm>
            <a:off x="7912015" y="0"/>
            <a:ext cx="4279985" cy="6867936"/>
          </a:xfrm>
          <a:solidFill>
            <a:schemeClr val="bg2">
              <a:lumMod val="40000"/>
              <a:lumOff val="60000"/>
            </a:schemeClr>
          </a:solidFill>
        </p:spPr>
        <p:txBody>
          <a:bodyPr anchor="ctr"/>
          <a:lstStyle>
            <a:lvl1pPr algn="ctr">
              <a:defRPr/>
            </a:lvl1pPr>
          </a:lstStyle>
          <a:p>
            <a:endParaRPr lang="en-GB"/>
          </a:p>
        </p:txBody>
      </p:sp>
      <p:sp>
        <p:nvSpPr>
          <p:cNvPr id="10" name="Footer Placeholder 6">
            <a:extLst>
              <a:ext uri="{FF2B5EF4-FFF2-40B4-BE49-F238E27FC236}">
                <a16:creationId xmlns:a16="http://schemas.microsoft.com/office/drawing/2014/main" id="{238965A2-05DC-4C65-84C7-B16B52D4D723}"/>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1" name="Slide Number Placeholder 9">
            <a:extLst>
              <a:ext uri="{FF2B5EF4-FFF2-40B4-BE49-F238E27FC236}">
                <a16:creationId xmlns:a16="http://schemas.microsoft.com/office/drawing/2014/main" id="{E0022291-E361-4165-9F69-40A13475E678}"/>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3" name="Text Placeholder 2">
            <a:extLst>
              <a:ext uri="{FF2B5EF4-FFF2-40B4-BE49-F238E27FC236}">
                <a16:creationId xmlns:a16="http://schemas.microsoft.com/office/drawing/2014/main" id="{BB7AC10D-2198-4878-B72F-DEF7E97D3121}"/>
              </a:ext>
            </a:extLst>
          </p:cNvPr>
          <p:cNvSpPr>
            <a:spLocks noGrp="1"/>
          </p:cNvSpPr>
          <p:nvPr>
            <p:ph type="body" sz="quarter" idx="36"/>
          </p:nvPr>
        </p:nvSpPr>
        <p:spPr>
          <a:xfrm>
            <a:off x="357328" y="1776002"/>
            <a:ext cx="7289998" cy="4185268"/>
          </a:xfrm>
        </p:spPr>
        <p:txBody>
          <a:bodyPr/>
          <a:lstStyle>
            <a:lvl1pPr>
              <a:defRPr lang="en-US" sz="1800" b="1" i="0" kern="1200" dirty="0" smtClean="0">
                <a:solidFill>
                  <a:schemeClr val="bg1"/>
                </a:solidFill>
                <a:latin typeface="+mn-lt"/>
                <a:ea typeface="Roboto" panose="02000000000000000000" pitchFamily="2" charset="0"/>
                <a:cs typeface="Arial" panose="020B0604020202020204" pitchFamily="34" charset="0"/>
              </a:defRPr>
            </a:lvl1pPr>
            <a:lvl2pPr marL="0" indent="0">
              <a:buNone/>
              <a:defRPr lang="en-US" sz="1600" b="0" i="0" kern="1200" dirty="0" smtClean="0">
                <a:solidFill>
                  <a:schemeClr val="bg1"/>
                </a:solidFill>
                <a:latin typeface="+mn-lt"/>
                <a:ea typeface="Roboto" panose="02000000000000000000" pitchFamily="2" charset="0"/>
                <a:cs typeface="Arial" panose="020B0604020202020204" pitchFamily="34" charset="0"/>
              </a:defRPr>
            </a:lvl2pPr>
            <a:lvl3pPr>
              <a:defRPr lang="en-US" sz="1400" b="0" i="0" kern="1200" dirty="0" smtClean="0">
                <a:solidFill>
                  <a:schemeClr val="bg1"/>
                </a:solidFill>
                <a:latin typeface="+mn-lt"/>
                <a:ea typeface="Roboto" panose="02000000000000000000" pitchFamily="2" charset="0"/>
                <a:cs typeface="Arial" panose="020B0604020202020204" pitchFamily="34" charset="0"/>
              </a:defRPr>
            </a:lvl3pPr>
            <a:lvl4pPr>
              <a:defRPr lang="en-US" sz="1400" b="0" i="0" kern="1200" dirty="0" smtClean="0">
                <a:solidFill>
                  <a:schemeClr val="bg1"/>
                </a:solidFill>
                <a:latin typeface="+mn-lt"/>
                <a:ea typeface="Roboto" panose="02000000000000000000" pitchFamily="2" charset="0"/>
                <a:cs typeface="Arial" panose="020B0604020202020204" pitchFamily="34" charset="0"/>
              </a:defRPr>
            </a:lvl4pPr>
            <a:lvl5pPr>
              <a:defRPr lang="en-GB" sz="1400" b="0" i="0" kern="1200" dirty="0">
                <a:solidFill>
                  <a:schemeClr val="bg1"/>
                </a:solidFill>
                <a:latin typeface="+mn-lt"/>
                <a:ea typeface="Roboto" panose="02000000000000000000" pitchFamily="2" charset="0"/>
                <a:cs typeface="Arial" panose="020B0604020202020204" pitchFamily="34" charset="0"/>
              </a:defRPr>
            </a:lvl5pPr>
          </a:lstStyle>
          <a:p>
            <a:pPr lvl="0"/>
            <a:r>
              <a:rPr lang="en-US"/>
              <a:t>Click to edit Master text styles</a:t>
            </a:r>
          </a:p>
          <a:p>
            <a:pPr marL="215957" lvl="1" indent="-215957" algn="l" rtl="0" eaLnBrk="1" fontAlgn="base" hangingPunct="1">
              <a:lnSpc>
                <a:spcPct val="100000"/>
              </a:lnSpc>
              <a:spcBef>
                <a:spcPts val="600"/>
              </a:spcBef>
              <a:spcAft>
                <a:spcPct val="0"/>
              </a:spcAft>
            </a:pPr>
            <a:r>
              <a:rPr lang="en-US"/>
              <a:t>Second level</a:t>
            </a:r>
          </a:p>
          <a:p>
            <a:pPr lvl="2"/>
            <a:r>
              <a:rPr lang="en-US"/>
              <a:t>Third level</a:t>
            </a:r>
          </a:p>
          <a:p>
            <a:pPr lvl="3"/>
            <a:r>
              <a:rPr lang="en-US"/>
              <a:t>Fourth level</a:t>
            </a:r>
          </a:p>
          <a:p>
            <a:pPr lvl="4"/>
            <a:r>
              <a:rPr lang="en-US"/>
              <a:t>Fifth level</a:t>
            </a:r>
            <a:endParaRPr lang="en-GB"/>
          </a:p>
        </p:txBody>
      </p:sp>
      <p:sp>
        <p:nvSpPr>
          <p:cNvPr id="8" name="Title Placeholder 1">
            <a:extLst>
              <a:ext uri="{FF2B5EF4-FFF2-40B4-BE49-F238E27FC236}">
                <a16:creationId xmlns:a16="http://schemas.microsoft.com/office/drawing/2014/main" id="{C8E81A19-E044-4724-8049-162337A32D74}"/>
              </a:ext>
            </a:extLst>
          </p:cNvPr>
          <p:cNvSpPr>
            <a:spLocks noGrp="1"/>
          </p:cNvSpPr>
          <p:nvPr>
            <p:ph type="title" hasCustomPrompt="1"/>
          </p:nvPr>
        </p:nvSpPr>
        <p:spPr>
          <a:xfrm>
            <a:off x="370415" y="580220"/>
            <a:ext cx="7276911"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583280651"/>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image 4">
    <p:bg>
      <p:bgPr>
        <a:solidFill>
          <a:schemeClr val="bg1"/>
        </a:solidFill>
        <a:effectLst/>
      </p:bgPr>
    </p:bg>
    <p:spTree>
      <p:nvGrpSpPr>
        <p:cNvPr id="1" name=""/>
        <p:cNvGrpSpPr/>
        <p:nvPr/>
      </p:nvGrpSpPr>
      <p:grpSpPr>
        <a:xfrm>
          <a:off x="0" y="0"/>
          <a:ext cx="0" cy="0"/>
          <a:chOff x="0" y="0"/>
          <a:chExt cx="0" cy="0"/>
        </a:xfrm>
      </p:grpSpPr>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7920740" y="0"/>
            <a:ext cx="427125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9" name="Footer Placeholder 6">
            <a:extLst>
              <a:ext uri="{FF2B5EF4-FFF2-40B4-BE49-F238E27FC236}">
                <a16:creationId xmlns:a16="http://schemas.microsoft.com/office/drawing/2014/main" id="{4FEC0032-14D8-4D66-A9C0-35F333FA36EF}"/>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0" name="Slide Number Placeholder 9">
            <a:extLst>
              <a:ext uri="{FF2B5EF4-FFF2-40B4-BE49-F238E27FC236}">
                <a16:creationId xmlns:a16="http://schemas.microsoft.com/office/drawing/2014/main" id="{93325387-6078-451F-B0BA-F102EA18629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 name="Text Placeholder 2">
            <a:extLst>
              <a:ext uri="{FF2B5EF4-FFF2-40B4-BE49-F238E27FC236}">
                <a16:creationId xmlns:a16="http://schemas.microsoft.com/office/drawing/2014/main" id="{9BD9692F-6881-4384-B53D-3540D5D17F37}"/>
              </a:ext>
            </a:extLst>
          </p:cNvPr>
          <p:cNvSpPr>
            <a:spLocks noGrp="1"/>
          </p:cNvSpPr>
          <p:nvPr>
            <p:ph type="body" sz="quarter" idx="35"/>
          </p:nvPr>
        </p:nvSpPr>
        <p:spPr>
          <a:xfrm>
            <a:off x="349386" y="1781094"/>
            <a:ext cx="7286296" cy="4112260"/>
          </a:xfrm>
        </p:spPr>
        <p:txBody>
          <a:bodyPr/>
          <a:lstStyle>
            <a:lvl1pPr>
              <a:defRPr b="1"/>
            </a:lvl1pPr>
            <a:lvl2pPr marL="0" indent="0">
              <a:buNone/>
              <a:defRPr lang="en-US" sz="1600" b="0" i="0" kern="1200" dirty="0" smtClean="0">
                <a:solidFill>
                  <a:schemeClr val="tx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400"/>
            </a:lvl3pPr>
            <a:lvl4pPr marL="360291" indent="-182526">
              <a:buFont typeface="Graphik" panose="020B0503030202060203" pitchFamily="34" charset="0"/>
              <a:buChar char="–"/>
              <a:defRPr sz="1400"/>
            </a:lvl4pPr>
            <a:lvl5pPr marL="538055" indent="-177764">
              <a:buFont typeface="Courier New" panose="02070309020205020404" pitchFamily="49" charset="0"/>
              <a:buChar char="o"/>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a:extLst>
              <a:ext uri="{FF2B5EF4-FFF2-40B4-BE49-F238E27FC236}">
                <a16:creationId xmlns:a16="http://schemas.microsoft.com/office/drawing/2014/main" id="{F990E0A4-71BA-43E4-8940-1CDB7CAD0BA8}"/>
              </a:ext>
            </a:extLst>
          </p:cNvPr>
          <p:cNvSpPr>
            <a:spLocks noGrp="1"/>
          </p:cNvSpPr>
          <p:nvPr>
            <p:ph type="title" hasCustomPrompt="1"/>
          </p:nvPr>
        </p:nvSpPr>
        <p:spPr>
          <a:xfrm>
            <a:off x="370415" y="580220"/>
            <a:ext cx="7265268"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316838704"/>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7920740" y="0"/>
            <a:ext cx="427125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48" name="Text Placeholder 4">
            <a:extLst>
              <a:ext uri="{FF2B5EF4-FFF2-40B4-BE49-F238E27FC236}">
                <a16:creationId xmlns:a16="http://schemas.microsoft.com/office/drawing/2014/main" id="{43B0BC01-1C0B-4D8A-BFBD-D2D893AFE465}"/>
              </a:ext>
            </a:extLst>
          </p:cNvPr>
          <p:cNvSpPr>
            <a:spLocks noGrp="1"/>
          </p:cNvSpPr>
          <p:nvPr>
            <p:ph type="body" sz="quarter" idx="33" hasCustomPrompt="1"/>
          </p:nvPr>
        </p:nvSpPr>
        <p:spPr>
          <a:xfrm>
            <a:off x="641807" y="2658417"/>
            <a:ext cx="6310750" cy="840748"/>
          </a:xfrm>
        </p:spPr>
        <p:txBody>
          <a:bodyPr wrap="square" t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aximum font size 20 </a:t>
            </a:r>
            <a:r>
              <a:rPr lang="en-US" err="1"/>
              <a:t>pt</a:t>
            </a:r>
            <a:endParaRPr lang="en-US"/>
          </a:p>
        </p:txBody>
      </p:sp>
      <p:sp>
        <p:nvSpPr>
          <p:cNvPr id="149" name="Text Placeholder 4">
            <a:extLst>
              <a:ext uri="{FF2B5EF4-FFF2-40B4-BE49-F238E27FC236}">
                <a16:creationId xmlns:a16="http://schemas.microsoft.com/office/drawing/2014/main" id="{229D9079-1E6F-412B-ABAA-5530E94D0DD3}"/>
              </a:ext>
            </a:extLst>
          </p:cNvPr>
          <p:cNvSpPr>
            <a:spLocks noGrp="1"/>
          </p:cNvSpPr>
          <p:nvPr>
            <p:ph type="body" sz="quarter" idx="34" hasCustomPrompt="1"/>
          </p:nvPr>
        </p:nvSpPr>
        <p:spPr>
          <a:xfrm>
            <a:off x="640819" y="3615243"/>
            <a:ext cx="6322213" cy="1864175"/>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0" name="Footer Placeholder 6">
            <a:extLst>
              <a:ext uri="{FF2B5EF4-FFF2-40B4-BE49-F238E27FC236}">
                <a16:creationId xmlns:a16="http://schemas.microsoft.com/office/drawing/2014/main" id="{AC2A5633-8AAF-46EB-A446-7E0A317F8394}"/>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1" name="Slide Number Placeholder 9">
            <a:extLst>
              <a:ext uri="{FF2B5EF4-FFF2-40B4-BE49-F238E27FC236}">
                <a16:creationId xmlns:a16="http://schemas.microsoft.com/office/drawing/2014/main" id="{301275DC-7EC8-437E-AD91-3F86A05862E9}"/>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9" name="Title Placeholder 1">
            <a:extLst>
              <a:ext uri="{FF2B5EF4-FFF2-40B4-BE49-F238E27FC236}">
                <a16:creationId xmlns:a16="http://schemas.microsoft.com/office/drawing/2014/main" id="{6DB207AC-0B2C-460C-8AB2-B72AF748232F}"/>
              </a:ext>
            </a:extLst>
          </p:cNvPr>
          <p:cNvSpPr>
            <a:spLocks noGrp="1"/>
          </p:cNvSpPr>
          <p:nvPr>
            <p:ph type="title" hasCustomPrompt="1"/>
          </p:nvPr>
        </p:nvSpPr>
        <p:spPr>
          <a:xfrm>
            <a:off x="370415" y="580220"/>
            <a:ext cx="72900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351467290"/>
      </p:ext>
    </p:extLst>
  </p:cSld>
  <p:clrMapOvr>
    <a:masterClrMapping/>
  </p:clrMapOvr>
  <p:hf hdr="0" dt="0"/>
  <p:extLst>
    <p:ext uri="{DCECCB84-F9BA-43D5-87BE-67443E8EF086}">
      <p15:sldGuideLst xmlns:p15="http://schemas.microsoft.com/office/powerpoint/2012/main">
        <p15:guide id="1" pos="383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image 5">
    <p:bg>
      <p:bgPr>
        <a:solidFill>
          <a:schemeClr val="bg1"/>
        </a:solidFill>
        <a:effectLst/>
      </p:bgPr>
    </p:bg>
    <p:spTree>
      <p:nvGrpSpPr>
        <p:cNvPr id="1" name=""/>
        <p:cNvGrpSpPr/>
        <p:nvPr/>
      </p:nvGrpSpPr>
      <p:grpSpPr>
        <a:xfrm>
          <a:off x="0" y="0"/>
          <a:ext cx="0" cy="0"/>
          <a:chOff x="0" y="0"/>
          <a:chExt cx="0" cy="0"/>
        </a:xfrm>
      </p:grpSpPr>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7920740" y="0"/>
            <a:ext cx="427125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0" name="Text Placeholder 4">
            <a:extLst>
              <a:ext uri="{FF2B5EF4-FFF2-40B4-BE49-F238E27FC236}">
                <a16:creationId xmlns:a16="http://schemas.microsoft.com/office/drawing/2014/main" id="{2FFDA93E-A825-498D-BE80-028F68479305}"/>
              </a:ext>
            </a:extLst>
          </p:cNvPr>
          <p:cNvSpPr>
            <a:spLocks noGrp="1"/>
          </p:cNvSpPr>
          <p:nvPr>
            <p:ph type="body" sz="quarter" idx="33" hasCustomPrompt="1"/>
          </p:nvPr>
        </p:nvSpPr>
        <p:spPr>
          <a:xfrm>
            <a:off x="370912" y="1878415"/>
            <a:ext cx="935885" cy="1035560"/>
          </a:xfrm>
        </p:spPr>
        <p:txBody>
          <a:bodyPr wrap="square" tIns="0" anchor="t">
            <a:noAutofit/>
          </a:bodyPr>
          <a:lstStyle>
            <a:lvl1pPr>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1" name="Text Placeholder 4">
            <a:extLst>
              <a:ext uri="{FF2B5EF4-FFF2-40B4-BE49-F238E27FC236}">
                <a16:creationId xmlns:a16="http://schemas.microsoft.com/office/drawing/2014/main" id="{8899C32B-8302-426F-AE49-FA06F7075BB0}"/>
              </a:ext>
            </a:extLst>
          </p:cNvPr>
          <p:cNvSpPr>
            <a:spLocks noGrp="1"/>
          </p:cNvSpPr>
          <p:nvPr>
            <p:ph type="body" sz="quarter" idx="36" hasCustomPrompt="1"/>
          </p:nvPr>
        </p:nvSpPr>
        <p:spPr>
          <a:xfrm>
            <a:off x="1412973" y="1878415"/>
            <a:ext cx="6231080" cy="1035560"/>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4" name="Text Placeholder 4">
            <a:extLst>
              <a:ext uri="{FF2B5EF4-FFF2-40B4-BE49-F238E27FC236}">
                <a16:creationId xmlns:a16="http://schemas.microsoft.com/office/drawing/2014/main" id="{9FBE9166-8BD3-41E7-8F11-B6667CA62849}"/>
              </a:ext>
            </a:extLst>
          </p:cNvPr>
          <p:cNvSpPr>
            <a:spLocks noGrp="1"/>
          </p:cNvSpPr>
          <p:nvPr>
            <p:ph type="body" sz="quarter" idx="37" hasCustomPrompt="1"/>
          </p:nvPr>
        </p:nvSpPr>
        <p:spPr>
          <a:xfrm>
            <a:off x="370912" y="3004163"/>
            <a:ext cx="935885" cy="1035560"/>
          </a:xfrm>
        </p:spPr>
        <p:txBody>
          <a:bodyPr wrap="square" tIns="0" anchor="t">
            <a:noAutofit/>
          </a:bodyPr>
          <a:lstStyle>
            <a:lvl1pPr>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5" name="Text Placeholder 4">
            <a:extLst>
              <a:ext uri="{FF2B5EF4-FFF2-40B4-BE49-F238E27FC236}">
                <a16:creationId xmlns:a16="http://schemas.microsoft.com/office/drawing/2014/main" id="{79AA130A-72D6-4213-A6EE-EE88BE8B6DDB}"/>
              </a:ext>
            </a:extLst>
          </p:cNvPr>
          <p:cNvSpPr>
            <a:spLocks noGrp="1"/>
          </p:cNvSpPr>
          <p:nvPr>
            <p:ph type="body" sz="quarter" idx="38" hasCustomPrompt="1"/>
          </p:nvPr>
        </p:nvSpPr>
        <p:spPr>
          <a:xfrm>
            <a:off x="1412973" y="3004163"/>
            <a:ext cx="6231080" cy="1035560"/>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6" name="Text Placeholder 4">
            <a:extLst>
              <a:ext uri="{FF2B5EF4-FFF2-40B4-BE49-F238E27FC236}">
                <a16:creationId xmlns:a16="http://schemas.microsoft.com/office/drawing/2014/main" id="{5B947E69-A507-4CAF-B486-CDF15E25F5DF}"/>
              </a:ext>
            </a:extLst>
          </p:cNvPr>
          <p:cNvSpPr>
            <a:spLocks noGrp="1"/>
          </p:cNvSpPr>
          <p:nvPr>
            <p:ph type="body" sz="quarter" idx="39" hasCustomPrompt="1"/>
          </p:nvPr>
        </p:nvSpPr>
        <p:spPr>
          <a:xfrm>
            <a:off x="370912" y="4129912"/>
            <a:ext cx="935885" cy="1035560"/>
          </a:xfrm>
        </p:spPr>
        <p:txBody>
          <a:bodyPr wrap="square" tIns="0" anchor="t">
            <a:noAutofit/>
          </a:bodyPr>
          <a:lstStyle>
            <a:lvl1pPr>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7" name="Text Placeholder 4">
            <a:extLst>
              <a:ext uri="{FF2B5EF4-FFF2-40B4-BE49-F238E27FC236}">
                <a16:creationId xmlns:a16="http://schemas.microsoft.com/office/drawing/2014/main" id="{40658CCE-9E8F-4225-AE13-BECBD6197336}"/>
              </a:ext>
            </a:extLst>
          </p:cNvPr>
          <p:cNvSpPr>
            <a:spLocks noGrp="1"/>
          </p:cNvSpPr>
          <p:nvPr>
            <p:ph type="body" sz="quarter" idx="40" hasCustomPrompt="1"/>
          </p:nvPr>
        </p:nvSpPr>
        <p:spPr>
          <a:xfrm>
            <a:off x="1412973" y="4129912"/>
            <a:ext cx="6231080" cy="1035560"/>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8" name="Text Placeholder 4">
            <a:extLst>
              <a:ext uri="{FF2B5EF4-FFF2-40B4-BE49-F238E27FC236}">
                <a16:creationId xmlns:a16="http://schemas.microsoft.com/office/drawing/2014/main" id="{2C554A5A-15E2-4C69-8630-B916BAF061EA}"/>
              </a:ext>
            </a:extLst>
          </p:cNvPr>
          <p:cNvSpPr>
            <a:spLocks noGrp="1"/>
          </p:cNvSpPr>
          <p:nvPr>
            <p:ph type="body" sz="quarter" idx="41" hasCustomPrompt="1"/>
          </p:nvPr>
        </p:nvSpPr>
        <p:spPr>
          <a:xfrm>
            <a:off x="370912" y="5255660"/>
            <a:ext cx="935885" cy="1035560"/>
          </a:xfrm>
        </p:spPr>
        <p:txBody>
          <a:bodyPr wrap="square" tIns="0" anchor="t">
            <a:noAutofit/>
          </a:bodyPr>
          <a:lstStyle>
            <a:lvl1pPr>
              <a:lnSpc>
                <a:spcPct val="80000"/>
              </a:lnSpc>
              <a:spcBef>
                <a:spcPts val="0"/>
              </a:spcBef>
              <a:defRPr sz="4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9" name="Text Placeholder 4">
            <a:extLst>
              <a:ext uri="{FF2B5EF4-FFF2-40B4-BE49-F238E27FC236}">
                <a16:creationId xmlns:a16="http://schemas.microsoft.com/office/drawing/2014/main" id="{E020AF65-986F-45C7-A80F-E06D6359B2DC}"/>
              </a:ext>
            </a:extLst>
          </p:cNvPr>
          <p:cNvSpPr>
            <a:spLocks noGrp="1"/>
          </p:cNvSpPr>
          <p:nvPr>
            <p:ph type="body" sz="quarter" idx="42" hasCustomPrompt="1"/>
          </p:nvPr>
        </p:nvSpPr>
        <p:spPr>
          <a:xfrm>
            <a:off x="1412973" y="5255660"/>
            <a:ext cx="6231080" cy="1035560"/>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20" name="Footer Placeholder 6">
            <a:extLst>
              <a:ext uri="{FF2B5EF4-FFF2-40B4-BE49-F238E27FC236}">
                <a16:creationId xmlns:a16="http://schemas.microsoft.com/office/drawing/2014/main" id="{95B87224-A2C6-4FAC-A8C9-2268B6DBBE5E}"/>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21" name="Slide Number Placeholder 9">
            <a:extLst>
              <a:ext uri="{FF2B5EF4-FFF2-40B4-BE49-F238E27FC236}">
                <a16:creationId xmlns:a16="http://schemas.microsoft.com/office/drawing/2014/main" id="{C9E19A75-C4DA-4A9A-8785-5F5E56C305E9}"/>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22" name="Title Placeholder 1">
            <a:extLst>
              <a:ext uri="{FF2B5EF4-FFF2-40B4-BE49-F238E27FC236}">
                <a16:creationId xmlns:a16="http://schemas.microsoft.com/office/drawing/2014/main" id="{3072AD5B-DE78-4611-A8E2-659D890BF459}"/>
              </a:ext>
            </a:extLst>
          </p:cNvPr>
          <p:cNvSpPr>
            <a:spLocks noGrp="1"/>
          </p:cNvSpPr>
          <p:nvPr>
            <p:ph type="title" hasCustomPrompt="1"/>
          </p:nvPr>
        </p:nvSpPr>
        <p:spPr>
          <a:xfrm>
            <a:off x="370415" y="580220"/>
            <a:ext cx="7273638"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924582035"/>
      </p:ext>
    </p:extLst>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ight picture layout">
    <p:bg>
      <p:bgPr>
        <a:solidFill>
          <a:schemeClr val="bg1"/>
        </a:solidFill>
        <a:effectLst/>
      </p:bgPr>
    </p:bg>
    <p:spTree>
      <p:nvGrpSpPr>
        <p:cNvPr id="1" name=""/>
        <p:cNvGrpSpPr/>
        <p:nvPr/>
      </p:nvGrpSpPr>
      <p:grpSpPr>
        <a:xfrm>
          <a:off x="0" y="0"/>
          <a:ext cx="0" cy="0"/>
          <a:chOff x="0" y="0"/>
          <a:chExt cx="0" cy="0"/>
        </a:xfrm>
      </p:grpSpPr>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1" y="0"/>
            <a:ext cx="1219199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49" name="Text Placeholder 4">
            <a:extLst>
              <a:ext uri="{FF2B5EF4-FFF2-40B4-BE49-F238E27FC236}">
                <a16:creationId xmlns:a16="http://schemas.microsoft.com/office/drawing/2014/main" id="{229D9079-1E6F-412B-ABAA-5530E94D0DD3}"/>
              </a:ext>
            </a:extLst>
          </p:cNvPr>
          <p:cNvSpPr>
            <a:spLocks noGrp="1"/>
          </p:cNvSpPr>
          <p:nvPr>
            <p:ph type="body" sz="quarter" idx="34" hasCustomPrompt="1"/>
          </p:nvPr>
        </p:nvSpPr>
        <p:spPr>
          <a:xfrm>
            <a:off x="370913" y="2686937"/>
            <a:ext cx="5264646" cy="3418534"/>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1" name="Text Placeholder 4">
            <a:extLst>
              <a:ext uri="{FF2B5EF4-FFF2-40B4-BE49-F238E27FC236}">
                <a16:creationId xmlns:a16="http://schemas.microsoft.com/office/drawing/2014/main" id="{E4751275-39D2-4B86-B055-542F2783AA24}"/>
              </a:ext>
            </a:extLst>
          </p:cNvPr>
          <p:cNvSpPr>
            <a:spLocks noGrp="1"/>
          </p:cNvSpPr>
          <p:nvPr>
            <p:ph type="body" sz="quarter" idx="33" hasCustomPrompt="1"/>
          </p:nvPr>
        </p:nvSpPr>
        <p:spPr>
          <a:xfrm>
            <a:off x="370913" y="1878415"/>
            <a:ext cx="5264647" cy="706108"/>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aximum font size 20 </a:t>
            </a:r>
            <a:r>
              <a:rPr lang="en-US" err="1"/>
              <a:t>pt</a:t>
            </a:r>
            <a:endParaRPr lang="en-US"/>
          </a:p>
        </p:txBody>
      </p:sp>
      <p:sp>
        <p:nvSpPr>
          <p:cNvPr id="9" name="Footer Placeholder 6">
            <a:extLst>
              <a:ext uri="{FF2B5EF4-FFF2-40B4-BE49-F238E27FC236}">
                <a16:creationId xmlns:a16="http://schemas.microsoft.com/office/drawing/2014/main" id="{AEFC576A-625D-4B21-BF9A-958ED87ACECB}"/>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0" name="Slide Number Placeholder 9">
            <a:extLst>
              <a:ext uri="{FF2B5EF4-FFF2-40B4-BE49-F238E27FC236}">
                <a16:creationId xmlns:a16="http://schemas.microsoft.com/office/drawing/2014/main" id="{C911C495-3F25-4753-B082-6588AE0326F6}"/>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8" name="Title Placeholder 1">
            <a:extLst>
              <a:ext uri="{FF2B5EF4-FFF2-40B4-BE49-F238E27FC236}">
                <a16:creationId xmlns:a16="http://schemas.microsoft.com/office/drawing/2014/main" id="{FD78EB82-D3B0-43BF-BDF7-996B1A68CD5D}"/>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260662958"/>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rk picture layout">
    <p:bg>
      <p:bgPr>
        <a:solidFill>
          <a:schemeClr val="bg1"/>
        </a:solidFill>
        <a:effectLst/>
      </p:bgPr>
    </p:bg>
    <p:spTree>
      <p:nvGrpSpPr>
        <p:cNvPr id="1" name=""/>
        <p:cNvGrpSpPr/>
        <p:nvPr/>
      </p:nvGrpSpPr>
      <p:grpSpPr>
        <a:xfrm>
          <a:off x="0" y="0"/>
          <a:ext cx="0" cy="0"/>
          <a:chOff x="0" y="0"/>
          <a:chExt cx="0" cy="0"/>
        </a:xfrm>
      </p:grpSpPr>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1" y="0"/>
            <a:ext cx="1219199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49" name="Text Placeholder 4">
            <a:extLst>
              <a:ext uri="{FF2B5EF4-FFF2-40B4-BE49-F238E27FC236}">
                <a16:creationId xmlns:a16="http://schemas.microsoft.com/office/drawing/2014/main" id="{229D9079-1E6F-412B-ABAA-5530E94D0DD3}"/>
              </a:ext>
            </a:extLst>
          </p:cNvPr>
          <p:cNvSpPr>
            <a:spLocks noGrp="1"/>
          </p:cNvSpPr>
          <p:nvPr>
            <p:ph type="body" sz="quarter" idx="34" hasCustomPrompt="1"/>
          </p:nvPr>
        </p:nvSpPr>
        <p:spPr>
          <a:xfrm>
            <a:off x="370913" y="2686937"/>
            <a:ext cx="5264646" cy="3418534"/>
          </a:xfrm>
        </p:spPr>
        <p:txBody>
          <a:bodyPr tIns="0" anchor="t"/>
          <a:lstStyle>
            <a:lvl1pPr>
              <a:defRPr sz="1400" b="0" i="0">
                <a:solidFill>
                  <a:schemeClr val="bg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1" name="Text Placeholder 4">
            <a:extLst>
              <a:ext uri="{FF2B5EF4-FFF2-40B4-BE49-F238E27FC236}">
                <a16:creationId xmlns:a16="http://schemas.microsoft.com/office/drawing/2014/main" id="{E4751275-39D2-4B86-B055-542F2783AA24}"/>
              </a:ext>
            </a:extLst>
          </p:cNvPr>
          <p:cNvSpPr>
            <a:spLocks noGrp="1"/>
          </p:cNvSpPr>
          <p:nvPr>
            <p:ph type="body" sz="quarter" idx="33" hasCustomPrompt="1"/>
          </p:nvPr>
        </p:nvSpPr>
        <p:spPr>
          <a:xfrm>
            <a:off x="370913" y="1878415"/>
            <a:ext cx="5264647" cy="706108"/>
          </a:xfrm>
        </p:spPr>
        <p:txBody>
          <a:bodyPr wrap="square" tIns="0" anchor="t">
            <a:noAutofit/>
          </a:bodyPr>
          <a:lstStyle>
            <a:lvl1pPr>
              <a:lnSpc>
                <a:spcPct val="80000"/>
              </a:lnSpc>
              <a:spcBef>
                <a:spcPts val="0"/>
              </a:spcBef>
              <a:defRPr sz="2000" b="1" i="0" baseline="0">
                <a:solidFill>
                  <a:schemeClr val="bg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sub-title maximum font size 20 </a:t>
            </a:r>
            <a:r>
              <a:rPr lang="en-US" err="1"/>
              <a:t>pt</a:t>
            </a:r>
            <a:endParaRPr lang="en-US"/>
          </a:p>
        </p:txBody>
      </p:sp>
      <p:sp>
        <p:nvSpPr>
          <p:cNvPr id="9" name="Footer Placeholder 6">
            <a:extLst>
              <a:ext uri="{FF2B5EF4-FFF2-40B4-BE49-F238E27FC236}">
                <a16:creationId xmlns:a16="http://schemas.microsoft.com/office/drawing/2014/main" id="{58425147-1380-4115-A945-6CCB98FB23E4}"/>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0" name="Slide Number Placeholder 9">
            <a:extLst>
              <a:ext uri="{FF2B5EF4-FFF2-40B4-BE49-F238E27FC236}">
                <a16:creationId xmlns:a16="http://schemas.microsoft.com/office/drawing/2014/main" id="{B7C08BAB-E177-454A-8F1C-5CE8A8CBF087}"/>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8" name="Title Placeholder 1">
            <a:extLst>
              <a:ext uri="{FF2B5EF4-FFF2-40B4-BE49-F238E27FC236}">
                <a16:creationId xmlns:a16="http://schemas.microsoft.com/office/drawing/2014/main" id="{03A393A8-DCB9-48AB-8924-002A9B9DDBF0}"/>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181486475"/>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picture &amp; bullets">
    <p:bg>
      <p:bgPr>
        <a:solidFill>
          <a:schemeClr val="bg1"/>
        </a:solidFill>
        <a:effectLst/>
      </p:bgPr>
    </p:bg>
    <p:spTree>
      <p:nvGrpSpPr>
        <p:cNvPr id="1" name=""/>
        <p:cNvGrpSpPr/>
        <p:nvPr/>
      </p:nvGrpSpPr>
      <p:grpSpPr>
        <a:xfrm>
          <a:off x="0" y="0"/>
          <a:ext cx="0" cy="0"/>
          <a:chOff x="0" y="0"/>
          <a:chExt cx="0" cy="0"/>
        </a:xfrm>
      </p:grpSpPr>
      <p:sp>
        <p:nvSpPr>
          <p:cNvPr id="135" name="Picture Placeholder 130">
            <a:extLst>
              <a:ext uri="{FF2B5EF4-FFF2-40B4-BE49-F238E27FC236}">
                <a16:creationId xmlns:a16="http://schemas.microsoft.com/office/drawing/2014/main" id="{DBFEFB54-E993-4614-B42F-5047F9D28F62}"/>
              </a:ext>
            </a:extLst>
          </p:cNvPr>
          <p:cNvSpPr>
            <a:spLocks noGrp="1"/>
          </p:cNvSpPr>
          <p:nvPr>
            <p:ph type="pic" sz="quarter" idx="10"/>
          </p:nvPr>
        </p:nvSpPr>
        <p:spPr>
          <a:xfrm>
            <a:off x="1" y="0"/>
            <a:ext cx="12191999" cy="6867936"/>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7" name="Text Placeholder 4">
            <a:extLst>
              <a:ext uri="{FF2B5EF4-FFF2-40B4-BE49-F238E27FC236}">
                <a16:creationId xmlns:a16="http://schemas.microsoft.com/office/drawing/2014/main" id="{E88A88B1-6F3E-4076-889C-A8C53BEF219F}"/>
              </a:ext>
            </a:extLst>
          </p:cNvPr>
          <p:cNvSpPr>
            <a:spLocks noGrp="1"/>
          </p:cNvSpPr>
          <p:nvPr>
            <p:ph type="body" sz="quarter" idx="33" hasCustomPrompt="1"/>
          </p:nvPr>
        </p:nvSpPr>
        <p:spPr>
          <a:xfrm>
            <a:off x="586017" y="2487045"/>
            <a:ext cx="2472009" cy="2158656"/>
          </a:xfrm>
          <a:noFill/>
        </p:spPr>
        <p:txBody>
          <a:bodyPr wrap="square" lIns="180000" tIns="180000" rIns="180000" bIns="18000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8" name="Text Placeholder 4">
            <a:extLst>
              <a:ext uri="{FF2B5EF4-FFF2-40B4-BE49-F238E27FC236}">
                <a16:creationId xmlns:a16="http://schemas.microsoft.com/office/drawing/2014/main" id="{3C834E18-55CF-4329-9486-2E9C93DAE351}"/>
              </a:ext>
            </a:extLst>
          </p:cNvPr>
          <p:cNvSpPr>
            <a:spLocks noGrp="1"/>
          </p:cNvSpPr>
          <p:nvPr>
            <p:ph type="body" sz="quarter" idx="36" hasCustomPrompt="1"/>
          </p:nvPr>
        </p:nvSpPr>
        <p:spPr>
          <a:xfrm>
            <a:off x="3392391" y="2487045"/>
            <a:ext cx="2472009" cy="2158656"/>
          </a:xfrm>
          <a:noFill/>
        </p:spPr>
        <p:txBody>
          <a:bodyPr wrap="square" lIns="180000" tIns="180000" rIns="180000" bIns="18000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9" name="Text Placeholder 4">
            <a:extLst>
              <a:ext uri="{FF2B5EF4-FFF2-40B4-BE49-F238E27FC236}">
                <a16:creationId xmlns:a16="http://schemas.microsoft.com/office/drawing/2014/main" id="{FA1ACA75-18E2-439C-A60E-3C7AC518CA84}"/>
              </a:ext>
            </a:extLst>
          </p:cNvPr>
          <p:cNvSpPr>
            <a:spLocks noGrp="1"/>
          </p:cNvSpPr>
          <p:nvPr>
            <p:ph type="body" sz="quarter" idx="37" hasCustomPrompt="1"/>
          </p:nvPr>
        </p:nvSpPr>
        <p:spPr>
          <a:xfrm>
            <a:off x="6198765" y="2487045"/>
            <a:ext cx="2472009" cy="2158656"/>
          </a:xfrm>
          <a:noFill/>
        </p:spPr>
        <p:txBody>
          <a:bodyPr wrap="square" lIns="180000" tIns="180000" rIns="180000" bIns="18000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20" name="Text Placeholder 4">
            <a:extLst>
              <a:ext uri="{FF2B5EF4-FFF2-40B4-BE49-F238E27FC236}">
                <a16:creationId xmlns:a16="http://schemas.microsoft.com/office/drawing/2014/main" id="{E8670D0B-3BB4-414A-BFEE-228C1F426D87}"/>
              </a:ext>
            </a:extLst>
          </p:cNvPr>
          <p:cNvSpPr>
            <a:spLocks noGrp="1"/>
          </p:cNvSpPr>
          <p:nvPr>
            <p:ph type="body" sz="quarter" idx="38" hasCustomPrompt="1"/>
          </p:nvPr>
        </p:nvSpPr>
        <p:spPr>
          <a:xfrm>
            <a:off x="9005140" y="2487045"/>
            <a:ext cx="2472009" cy="2158656"/>
          </a:xfrm>
          <a:noFill/>
        </p:spPr>
        <p:txBody>
          <a:bodyPr wrap="square" lIns="180000" tIns="180000" rIns="180000" bIns="18000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1" name="Footer Placeholder 6">
            <a:extLst>
              <a:ext uri="{FF2B5EF4-FFF2-40B4-BE49-F238E27FC236}">
                <a16:creationId xmlns:a16="http://schemas.microsoft.com/office/drawing/2014/main" id="{C6BE30C1-A730-4D60-9741-25CDC53032E4}"/>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2" name="Slide Number Placeholder 9">
            <a:extLst>
              <a:ext uri="{FF2B5EF4-FFF2-40B4-BE49-F238E27FC236}">
                <a16:creationId xmlns:a16="http://schemas.microsoft.com/office/drawing/2014/main" id="{1F97EB38-4568-4916-91D7-540313511EC5}"/>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0" name="Title Placeholder 1">
            <a:extLst>
              <a:ext uri="{FF2B5EF4-FFF2-40B4-BE49-F238E27FC236}">
                <a16:creationId xmlns:a16="http://schemas.microsoft.com/office/drawing/2014/main" id="{B03B6843-4EE0-41C8-B6B0-FCDEEC26DE32}"/>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4115697018"/>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s and images">
    <p:bg>
      <p:bgPr>
        <a:solidFill>
          <a:schemeClr val="bg1"/>
        </a:solidFill>
        <a:effectLst/>
      </p:bgPr>
    </p:bg>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E88A88B1-6F3E-4076-889C-A8C53BEF219F}"/>
              </a:ext>
            </a:extLst>
          </p:cNvPr>
          <p:cNvSpPr>
            <a:spLocks noGrp="1"/>
          </p:cNvSpPr>
          <p:nvPr>
            <p:ph type="body" sz="quarter" idx="33" hasCustomPrompt="1"/>
          </p:nvPr>
        </p:nvSpPr>
        <p:spPr>
          <a:xfrm>
            <a:off x="412620" y="1657392"/>
            <a:ext cx="3678990" cy="225424"/>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15" name="Picture Placeholder 130">
            <a:extLst>
              <a:ext uri="{FF2B5EF4-FFF2-40B4-BE49-F238E27FC236}">
                <a16:creationId xmlns:a16="http://schemas.microsoft.com/office/drawing/2014/main" id="{84A2A414-7E15-4953-B17A-BC5ED8E29264}"/>
              </a:ext>
            </a:extLst>
          </p:cNvPr>
          <p:cNvSpPr>
            <a:spLocks noGrp="1"/>
          </p:cNvSpPr>
          <p:nvPr>
            <p:ph type="pic" sz="quarter" idx="10"/>
          </p:nvPr>
        </p:nvSpPr>
        <p:spPr>
          <a:xfrm>
            <a:off x="435408" y="1975703"/>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6" name="Text Placeholder 4">
            <a:extLst>
              <a:ext uri="{FF2B5EF4-FFF2-40B4-BE49-F238E27FC236}">
                <a16:creationId xmlns:a16="http://schemas.microsoft.com/office/drawing/2014/main" id="{642F44DA-0ADC-46FC-B9C9-DD247685B07B}"/>
              </a:ext>
            </a:extLst>
          </p:cNvPr>
          <p:cNvSpPr>
            <a:spLocks noGrp="1"/>
          </p:cNvSpPr>
          <p:nvPr>
            <p:ph type="body" sz="quarter" idx="34" hasCustomPrompt="1"/>
          </p:nvPr>
        </p:nvSpPr>
        <p:spPr>
          <a:xfrm>
            <a:off x="370415" y="3163706"/>
            <a:ext cx="3678990"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33" name="Slide Number Placeholder 9">
            <a:extLst>
              <a:ext uri="{FF2B5EF4-FFF2-40B4-BE49-F238E27FC236}">
                <a16:creationId xmlns:a16="http://schemas.microsoft.com/office/drawing/2014/main" id="{09771F32-4707-4641-A5EE-85A0B38EFBCE}"/>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5" name="Title Placeholder 1">
            <a:extLst>
              <a:ext uri="{FF2B5EF4-FFF2-40B4-BE49-F238E27FC236}">
                <a16:creationId xmlns:a16="http://schemas.microsoft.com/office/drawing/2014/main" id="{662B0241-5DE3-4DC8-85F4-5029817E6AD2}"/>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
        <p:nvSpPr>
          <p:cNvPr id="54" name="Picture Placeholder 130">
            <a:extLst>
              <a:ext uri="{FF2B5EF4-FFF2-40B4-BE49-F238E27FC236}">
                <a16:creationId xmlns:a16="http://schemas.microsoft.com/office/drawing/2014/main" id="{60F0B8D2-F7C9-7542-B606-828541487BFD}"/>
              </a:ext>
            </a:extLst>
          </p:cNvPr>
          <p:cNvSpPr>
            <a:spLocks noGrp="1"/>
          </p:cNvSpPr>
          <p:nvPr>
            <p:ph type="pic" sz="quarter" idx="36"/>
          </p:nvPr>
        </p:nvSpPr>
        <p:spPr>
          <a:xfrm>
            <a:off x="4402822" y="1975703"/>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55" name="Text Placeholder 4">
            <a:extLst>
              <a:ext uri="{FF2B5EF4-FFF2-40B4-BE49-F238E27FC236}">
                <a16:creationId xmlns:a16="http://schemas.microsoft.com/office/drawing/2014/main" id="{A00B1A6B-ED28-D640-94BC-9DD257636FD8}"/>
              </a:ext>
            </a:extLst>
          </p:cNvPr>
          <p:cNvSpPr>
            <a:spLocks noGrp="1"/>
          </p:cNvSpPr>
          <p:nvPr>
            <p:ph type="body" sz="quarter" idx="37" hasCustomPrompt="1"/>
          </p:nvPr>
        </p:nvSpPr>
        <p:spPr>
          <a:xfrm>
            <a:off x="4337829" y="3163706"/>
            <a:ext cx="3678990"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58" name="Picture Placeholder 130">
            <a:extLst>
              <a:ext uri="{FF2B5EF4-FFF2-40B4-BE49-F238E27FC236}">
                <a16:creationId xmlns:a16="http://schemas.microsoft.com/office/drawing/2014/main" id="{1D759E29-0CF1-3F44-94E4-E530BA14A9AB}"/>
              </a:ext>
            </a:extLst>
          </p:cNvPr>
          <p:cNvSpPr>
            <a:spLocks noGrp="1"/>
          </p:cNvSpPr>
          <p:nvPr>
            <p:ph type="pic" sz="quarter" idx="39"/>
          </p:nvPr>
        </p:nvSpPr>
        <p:spPr>
          <a:xfrm>
            <a:off x="8368445" y="1975703"/>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59" name="Text Placeholder 4">
            <a:extLst>
              <a:ext uri="{FF2B5EF4-FFF2-40B4-BE49-F238E27FC236}">
                <a16:creationId xmlns:a16="http://schemas.microsoft.com/office/drawing/2014/main" id="{1F97330E-CE58-C543-B2B4-12E38FE87774}"/>
              </a:ext>
            </a:extLst>
          </p:cNvPr>
          <p:cNvSpPr>
            <a:spLocks noGrp="1"/>
          </p:cNvSpPr>
          <p:nvPr>
            <p:ph type="body" sz="quarter" idx="40" hasCustomPrompt="1"/>
          </p:nvPr>
        </p:nvSpPr>
        <p:spPr>
          <a:xfrm>
            <a:off x="8303454" y="3163706"/>
            <a:ext cx="3678988"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23" name="Text Placeholder 4">
            <a:extLst>
              <a:ext uri="{FF2B5EF4-FFF2-40B4-BE49-F238E27FC236}">
                <a16:creationId xmlns:a16="http://schemas.microsoft.com/office/drawing/2014/main" id="{13AB40B2-2832-B641-830C-C5FAA091D653}"/>
              </a:ext>
            </a:extLst>
          </p:cNvPr>
          <p:cNvSpPr>
            <a:spLocks noGrp="1"/>
          </p:cNvSpPr>
          <p:nvPr>
            <p:ph type="body" sz="quarter" idx="41" hasCustomPrompt="1"/>
          </p:nvPr>
        </p:nvSpPr>
        <p:spPr>
          <a:xfrm>
            <a:off x="412620" y="4069610"/>
            <a:ext cx="3678990" cy="225424"/>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124" name="Picture Placeholder 130">
            <a:extLst>
              <a:ext uri="{FF2B5EF4-FFF2-40B4-BE49-F238E27FC236}">
                <a16:creationId xmlns:a16="http://schemas.microsoft.com/office/drawing/2014/main" id="{0E172600-BDC7-8F4D-B8A5-54417A04E36C}"/>
              </a:ext>
            </a:extLst>
          </p:cNvPr>
          <p:cNvSpPr>
            <a:spLocks noGrp="1"/>
          </p:cNvSpPr>
          <p:nvPr>
            <p:ph type="pic" sz="quarter" idx="42"/>
          </p:nvPr>
        </p:nvSpPr>
        <p:spPr>
          <a:xfrm>
            <a:off x="435408" y="4387921"/>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25" name="Text Placeholder 4">
            <a:extLst>
              <a:ext uri="{FF2B5EF4-FFF2-40B4-BE49-F238E27FC236}">
                <a16:creationId xmlns:a16="http://schemas.microsoft.com/office/drawing/2014/main" id="{75EA38BA-A22B-D849-9509-407EB03D0AB9}"/>
              </a:ext>
            </a:extLst>
          </p:cNvPr>
          <p:cNvSpPr>
            <a:spLocks noGrp="1"/>
          </p:cNvSpPr>
          <p:nvPr>
            <p:ph type="body" sz="quarter" idx="43" hasCustomPrompt="1"/>
          </p:nvPr>
        </p:nvSpPr>
        <p:spPr>
          <a:xfrm>
            <a:off x="370415" y="5575924"/>
            <a:ext cx="3678990"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27" name="Picture Placeholder 130">
            <a:extLst>
              <a:ext uri="{FF2B5EF4-FFF2-40B4-BE49-F238E27FC236}">
                <a16:creationId xmlns:a16="http://schemas.microsoft.com/office/drawing/2014/main" id="{1C54366C-C2FC-7947-ABD2-7A22FA5677B4}"/>
              </a:ext>
            </a:extLst>
          </p:cNvPr>
          <p:cNvSpPr>
            <a:spLocks noGrp="1"/>
          </p:cNvSpPr>
          <p:nvPr>
            <p:ph type="pic" sz="quarter" idx="44"/>
          </p:nvPr>
        </p:nvSpPr>
        <p:spPr>
          <a:xfrm>
            <a:off x="4402822" y="4387921"/>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28" name="Text Placeholder 4">
            <a:extLst>
              <a:ext uri="{FF2B5EF4-FFF2-40B4-BE49-F238E27FC236}">
                <a16:creationId xmlns:a16="http://schemas.microsoft.com/office/drawing/2014/main" id="{F48685A2-3CD1-5147-9839-CE2E137F9258}"/>
              </a:ext>
            </a:extLst>
          </p:cNvPr>
          <p:cNvSpPr>
            <a:spLocks noGrp="1"/>
          </p:cNvSpPr>
          <p:nvPr>
            <p:ph type="body" sz="quarter" idx="45" hasCustomPrompt="1"/>
          </p:nvPr>
        </p:nvSpPr>
        <p:spPr>
          <a:xfrm>
            <a:off x="4337829" y="5575924"/>
            <a:ext cx="3678990"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31" name="Text Placeholder 4">
            <a:extLst>
              <a:ext uri="{FF2B5EF4-FFF2-40B4-BE49-F238E27FC236}">
                <a16:creationId xmlns:a16="http://schemas.microsoft.com/office/drawing/2014/main" id="{18FB4CDA-A13E-144E-A3B2-D3B303571C05}"/>
              </a:ext>
            </a:extLst>
          </p:cNvPr>
          <p:cNvSpPr>
            <a:spLocks noGrp="1"/>
          </p:cNvSpPr>
          <p:nvPr>
            <p:ph type="body" sz="quarter" idx="47" hasCustomPrompt="1"/>
          </p:nvPr>
        </p:nvSpPr>
        <p:spPr>
          <a:xfrm>
            <a:off x="8303454" y="5575924"/>
            <a:ext cx="3678988"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6" name="Picture Placeholder 130">
            <a:extLst>
              <a:ext uri="{FF2B5EF4-FFF2-40B4-BE49-F238E27FC236}">
                <a16:creationId xmlns:a16="http://schemas.microsoft.com/office/drawing/2014/main" id="{FAB31D52-EC3C-8B4B-909D-0EF8CF47801B}"/>
              </a:ext>
            </a:extLst>
          </p:cNvPr>
          <p:cNvSpPr>
            <a:spLocks noGrp="1"/>
          </p:cNvSpPr>
          <p:nvPr>
            <p:ph type="pic" sz="quarter" idx="48"/>
          </p:nvPr>
        </p:nvSpPr>
        <p:spPr>
          <a:xfrm>
            <a:off x="8339391" y="4387921"/>
            <a:ext cx="3613997" cy="1081600"/>
          </a:xfrm>
          <a:solidFill>
            <a:schemeClr val="bg2">
              <a:lumMod val="40000"/>
              <a:lumOff val="60000"/>
            </a:schemeClr>
          </a:solidFill>
        </p:spPr>
        <p:txBody>
          <a:bodyPr anchor="ctr"/>
          <a:lstStyle>
            <a:lvl1pPr algn="ctr">
              <a:defRPr>
                <a:solidFill>
                  <a:schemeClr val="tx1"/>
                </a:solidFill>
              </a:defRPr>
            </a:lvl1pPr>
          </a:lstStyle>
          <a:p>
            <a:endParaRPr lang="en-GB"/>
          </a:p>
        </p:txBody>
      </p:sp>
    </p:spTree>
    <p:extLst>
      <p:ext uri="{BB962C8B-B14F-4D97-AF65-F5344CB8AC3E}">
        <p14:creationId xmlns:p14="http://schemas.microsoft.com/office/powerpoint/2010/main" val="2230393002"/>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ullets and images">
    <p:bg>
      <p:bgPr>
        <a:solidFill>
          <a:schemeClr val="bg1"/>
        </a:solidFill>
        <a:effectLst/>
      </p:bgPr>
    </p:bg>
    <p:spTree>
      <p:nvGrpSpPr>
        <p:cNvPr id="1" name=""/>
        <p:cNvGrpSpPr/>
        <p:nvPr/>
      </p:nvGrpSpPr>
      <p:grpSpPr>
        <a:xfrm>
          <a:off x="0" y="0"/>
          <a:ext cx="0" cy="0"/>
          <a:chOff x="0" y="0"/>
          <a:chExt cx="0" cy="0"/>
        </a:xfrm>
      </p:grpSpPr>
      <p:sp>
        <p:nvSpPr>
          <p:cNvPr id="13" name="object 13">
            <a:extLst>
              <a:ext uri="{FF2B5EF4-FFF2-40B4-BE49-F238E27FC236}">
                <a16:creationId xmlns:a16="http://schemas.microsoft.com/office/drawing/2014/main" id="{4069CAB6-F448-4857-8D59-AD9877E739FA}"/>
              </a:ext>
            </a:extLst>
          </p:cNvPr>
          <p:cNvSpPr/>
          <p:nvPr userDrawn="1"/>
        </p:nvSpPr>
        <p:spPr>
          <a:xfrm>
            <a:off x="298072" y="1268134"/>
            <a:ext cx="2660810" cy="1845225"/>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17" name="Text Placeholder 4">
            <a:extLst>
              <a:ext uri="{FF2B5EF4-FFF2-40B4-BE49-F238E27FC236}">
                <a16:creationId xmlns:a16="http://schemas.microsoft.com/office/drawing/2014/main" id="{E88A88B1-6F3E-4076-889C-A8C53BEF219F}"/>
              </a:ext>
            </a:extLst>
          </p:cNvPr>
          <p:cNvSpPr>
            <a:spLocks noGrp="1"/>
          </p:cNvSpPr>
          <p:nvPr>
            <p:ph type="body" sz="quarter" idx="33" hasCustomPrompt="1"/>
          </p:nvPr>
        </p:nvSpPr>
        <p:spPr>
          <a:xfrm>
            <a:off x="363066"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15" name="Picture Placeholder 130">
            <a:extLst>
              <a:ext uri="{FF2B5EF4-FFF2-40B4-BE49-F238E27FC236}">
                <a16:creationId xmlns:a16="http://schemas.microsoft.com/office/drawing/2014/main" id="{84A2A414-7E15-4953-B17A-BC5ED8E29264}"/>
              </a:ext>
            </a:extLst>
          </p:cNvPr>
          <p:cNvSpPr>
            <a:spLocks noGrp="1"/>
          </p:cNvSpPr>
          <p:nvPr>
            <p:ph type="pic" sz="quarter" idx="10"/>
          </p:nvPr>
        </p:nvSpPr>
        <p:spPr>
          <a:xfrm>
            <a:off x="363065" y="1217877"/>
            <a:ext cx="2669364" cy="1838075"/>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6" name="Text Placeholder 4">
            <a:extLst>
              <a:ext uri="{FF2B5EF4-FFF2-40B4-BE49-F238E27FC236}">
                <a16:creationId xmlns:a16="http://schemas.microsoft.com/office/drawing/2014/main" id="{642F44DA-0ADC-46FC-B9C9-DD247685B07B}"/>
              </a:ext>
            </a:extLst>
          </p:cNvPr>
          <p:cNvSpPr>
            <a:spLocks noGrp="1"/>
          </p:cNvSpPr>
          <p:nvPr>
            <p:ph type="body" sz="quarter" idx="34" hasCustomPrompt="1"/>
          </p:nvPr>
        </p:nvSpPr>
        <p:spPr>
          <a:xfrm>
            <a:off x="363065"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1" name="object 13">
            <a:extLst>
              <a:ext uri="{FF2B5EF4-FFF2-40B4-BE49-F238E27FC236}">
                <a16:creationId xmlns:a16="http://schemas.microsoft.com/office/drawing/2014/main" id="{F96C0034-8289-48EA-9460-A98B07BFECA8}"/>
              </a:ext>
            </a:extLst>
          </p:cNvPr>
          <p:cNvSpPr/>
          <p:nvPr userDrawn="1"/>
        </p:nvSpPr>
        <p:spPr>
          <a:xfrm>
            <a:off x="3232153" y="1268134"/>
            <a:ext cx="2660810" cy="1845225"/>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22" name="Text Placeholder 4">
            <a:extLst>
              <a:ext uri="{FF2B5EF4-FFF2-40B4-BE49-F238E27FC236}">
                <a16:creationId xmlns:a16="http://schemas.microsoft.com/office/drawing/2014/main" id="{EC57B869-78EA-4E27-81D5-8283FA21D825}"/>
              </a:ext>
            </a:extLst>
          </p:cNvPr>
          <p:cNvSpPr>
            <a:spLocks noGrp="1"/>
          </p:cNvSpPr>
          <p:nvPr>
            <p:ph type="body" sz="quarter" idx="36" hasCustomPrompt="1"/>
          </p:nvPr>
        </p:nvSpPr>
        <p:spPr>
          <a:xfrm>
            <a:off x="3297147"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23" name="Picture Placeholder 130">
            <a:extLst>
              <a:ext uri="{FF2B5EF4-FFF2-40B4-BE49-F238E27FC236}">
                <a16:creationId xmlns:a16="http://schemas.microsoft.com/office/drawing/2014/main" id="{9A5A6D61-9538-48A8-AB57-82E6117FB601}"/>
              </a:ext>
            </a:extLst>
          </p:cNvPr>
          <p:cNvSpPr>
            <a:spLocks noGrp="1"/>
          </p:cNvSpPr>
          <p:nvPr>
            <p:ph type="pic" sz="quarter" idx="37"/>
          </p:nvPr>
        </p:nvSpPr>
        <p:spPr>
          <a:xfrm>
            <a:off x="3297146" y="1217877"/>
            <a:ext cx="2669364" cy="1838075"/>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24" name="Text Placeholder 4">
            <a:extLst>
              <a:ext uri="{FF2B5EF4-FFF2-40B4-BE49-F238E27FC236}">
                <a16:creationId xmlns:a16="http://schemas.microsoft.com/office/drawing/2014/main" id="{A3BED61F-0E82-4CB3-92BE-F5A1F422FEBB}"/>
              </a:ext>
            </a:extLst>
          </p:cNvPr>
          <p:cNvSpPr>
            <a:spLocks noGrp="1"/>
          </p:cNvSpPr>
          <p:nvPr>
            <p:ph type="body" sz="quarter" idx="38" hasCustomPrompt="1"/>
          </p:nvPr>
        </p:nvSpPr>
        <p:spPr>
          <a:xfrm>
            <a:off x="3297146"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5" name="object 13">
            <a:extLst>
              <a:ext uri="{FF2B5EF4-FFF2-40B4-BE49-F238E27FC236}">
                <a16:creationId xmlns:a16="http://schemas.microsoft.com/office/drawing/2014/main" id="{FC5258C5-24E6-4BB6-8FC9-482411D80E3D}"/>
              </a:ext>
            </a:extLst>
          </p:cNvPr>
          <p:cNvSpPr/>
          <p:nvPr userDrawn="1"/>
        </p:nvSpPr>
        <p:spPr>
          <a:xfrm>
            <a:off x="6166234" y="1268134"/>
            <a:ext cx="2660810" cy="1845225"/>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26" name="Text Placeholder 4">
            <a:extLst>
              <a:ext uri="{FF2B5EF4-FFF2-40B4-BE49-F238E27FC236}">
                <a16:creationId xmlns:a16="http://schemas.microsoft.com/office/drawing/2014/main" id="{F8E4FDFE-332E-413C-B52C-9DE602C1E80C}"/>
              </a:ext>
            </a:extLst>
          </p:cNvPr>
          <p:cNvSpPr>
            <a:spLocks noGrp="1"/>
          </p:cNvSpPr>
          <p:nvPr>
            <p:ph type="body" sz="quarter" idx="39" hasCustomPrompt="1"/>
          </p:nvPr>
        </p:nvSpPr>
        <p:spPr>
          <a:xfrm>
            <a:off x="6231228"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27" name="Picture Placeholder 130">
            <a:extLst>
              <a:ext uri="{FF2B5EF4-FFF2-40B4-BE49-F238E27FC236}">
                <a16:creationId xmlns:a16="http://schemas.microsoft.com/office/drawing/2014/main" id="{A6C16625-C629-4973-A356-B5661C491697}"/>
              </a:ext>
            </a:extLst>
          </p:cNvPr>
          <p:cNvSpPr>
            <a:spLocks noGrp="1"/>
          </p:cNvSpPr>
          <p:nvPr>
            <p:ph type="pic" sz="quarter" idx="40"/>
          </p:nvPr>
        </p:nvSpPr>
        <p:spPr>
          <a:xfrm>
            <a:off x="6231227" y="1217877"/>
            <a:ext cx="2669364" cy="1838075"/>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28" name="Text Placeholder 4">
            <a:extLst>
              <a:ext uri="{FF2B5EF4-FFF2-40B4-BE49-F238E27FC236}">
                <a16:creationId xmlns:a16="http://schemas.microsoft.com/office/drawing/2014/main" id="{527973DE-8CEC-47C6-B358-CE6780DC85A5}"/>
              </a:ext>
            </a:extLst>
          </p:cNvPr>
          <p:cNvSpPr>
            <a:spLocks noGrp="1"/>
          </p:cNvSpPr>
          <p:nvPr>
            <p:ph type="body" sz="quarter" idx="41" hasCustomPrompt="1"/>
          </p:nvPr>
        </p:nvSpPr>
        <p:spPr>
          <a:xfrm>
            <a:off x="6231227"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9" name="object 13">
            <a:extLst>
              <a:ext uri="{FF2B5EF4-FFF2-40B4-BE49-F238E27FC236}">
                <a16:creationId xmlns:a16="http://schemas.microsoft.com/office/drawing/2014/main" id="{B9B7769A-A06C-4C75-A14B-6E204C2CF884}"/>
              </a:ext>
            </a:extLst>
          </p:cNvPr>
          <p:cNvSpPr/>
          <p:nvPr userDrawn="1"/>
        </p:nvSpPr>
        <p:spPr>
          <a:xfrm>
            <a:off x="9100316" y="1268134"/>
            <a:ext cx="2660810" cy="1845225"/>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30" name="Text Placeholder 4">
            <a:extLst>
              <a:ext uri="{FF2B5EF4-FFF2-40B4-BE49-F238E27FC236}">
                <a16:creationId xmlns:a16="http://schemas.microsoft.com/office/drawing/2014/main" id="{407CD314-ED43-43F5-9F13-1AAF4E5603F2}"/>
              </a:ext>
            </a:extLst>
          </p:cNvPr>
          <p:cNvSpPr>
            <a:spLocks noGrp="1"/>
          </p:cNvSpPr>
          <p:nvPr>
            <p:ph type="body" sz="quarter" idx="42" hasCustomPrompt="1"/>
          </p:nvPr>
        </p:nvSpPr>
        <p:spPr>
          <a:xfrm>
            <a:off x="9165310"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31" name="Picture Placeholder 130">
            <a:extLst>
              <a:ext uri="{FF2B5EF4-FFF2-40B4-BE49-F238E27FC236}">
                <a16:creationId xmlns:a16="http://schemas.microsoft.com/office/drawing/2014/main" id="{E9F9EBD7-9B3E-4FAC-A388-52A3FCCC3C1E}"/>
              </a:ext>
            </a:extLst>
          </p:cNvPr>
          <p:cNvSpPr>
            <a:spLocks noGrp="1"/>
          </p:cNvSpPr>
          <p:nvPr>
            <p:ph type="pic" sz="quarter" idx="43"/>
          </p:nvPr>
        </p:nvSpPr>
        <p:spPr>
          <a:xfrm>
            <a:off x="9165309" y="1217877"/>
            <a:ext cx="2669364" cy="1838075"/>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32" name="Text Placeholder 4">
            <a:extLst>
              <a:ext uri="{FF2B5EF4-FFF2-40B4-BE49-F238E27FC236}">
                <a16:creationId xmlns:a16="http://schemas.microsoft.com/office/drawing/2014/main" id="{860E3613-C96B-4300-AA3D-856E3892412E}"/>
              </a:ext>
            </a:extLst>
          </p:cNvPr>
          <p:cNvSpPr>
            <a:spLocks noGrp="1"/>
          </p:cNvSpPr>
          <p:nvPr>
            <p:ph type="body" sz="quarter" idx="44" hasCustomPrompt="1"/>
          </p:nvPr>
        </p:nvSpPr>
        <p:spPr>
          <a:xfrm>
            <a:off x="9165309"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33" name="Slide Number Placeholder 9">
            <a:extLst>
              <a:ext uri="{FF2B5EF4-FFF2-40B4-BE49-F238E27FC236}">
                <a16:creationId xmlns:a16="http://schemas.microsoft.com/office/drawing/2014/main" id="{09771F32-4707-4641-A5EE-85A0B38EFBCE}"/>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5" name="Title Placeholder 1">
            <a:extLst>
              <a:ext uri="{FF2B5EF4-FFF2-40B4-BE49-F238E27FC236}">
                <a16:creationId xmlns:a16="http://schemas.microsoft.com/office/drawing/2014/main" id="{662B0241-5DE3-4DC8-85F4-5029817E6AD2}"/>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041895194"/>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Bullets and images">
    <p:bg>
      <p:bgPr>
        <a:solidFill>
          <a:schemeClr val="bg1"/>
        </a:solidFill>
        <a:effectLst/>
      </p:bgPr>
    </p:bg>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634B63A-0A7D-1D48-B95B-BC02862335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314202" cy="1280817"/>
          </a:xfrm>
          <a:prstGeom prst="rect">
            <a:avLst/>
          </a:prstGeom>
        </p:spPr>
      </p:pic>
      <p:pic>
        <p:nvPicPr>
          <p:cNvPr id="37" name="Picture 36">
            <a:extLst>
              <a:ext uri="{FF2B5EF4-FFF2-40B4-BE49-F238E27FC236}">
                <a16:creationId xmlns:a16="http://schemas.microsoft.com/office/drawing/2014/main" id="{99AC0EB3-48BC-A24B-BA56-717660282F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054679"/>
            <a:ext cx="12314202" cy="803321"/>
          </a:xfrm>
          <a:prstGeom prst="rect">
            <a:avLst/>
          </a:prstGeom>
        </p:spPr>
      </p:pic>
      <p:sp>
        <p:nvSpPr>
          <p:cNvPr id="27" name="Picture Placeholder 130">
            <a:extLst>
              <a:ext uri="{FF2B5EF4-FFF2-40B4-BE49-F238E27FC236}">
                <a16:creationId xmlns:a16="http://schemas.microsoft.com/office/drawing/2014/main" id="{A6C16625-C629-4973-A356-B5661C491697}"/>
              </a:ext>
            </a:extLst>
          </p:cNvPr>
          <p:cNvSpPr>
            <a:spLocks noGrp="1"/>
          </p:cNvSpPr>
          <p:nvPr>
            <p:ph type="pic" sz="quarter" idx="40"/>
          </p:nvPr>
        </p:nvSpPr>
        <p:spPr>
          <a:xfrm>
            <a:off x="6511100" y="1564445"/>
            <a:ext cx="1632254" cy="112394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31" name="Picture Placeholder 130">
            <a:extLst>
              <a:ext uri="{FF2B5EF4-FFF2-40B4-BE49-F238E27FC236}">
                <a16:creationId xmlns:a16="http://schemas.microsoft.com/office/drawing/2014/main" id="{E9F9EBD7-9B3E-4FAC-A388-52A3FCCC3C1E}"/>
              </a:ext>
            </a:extLst>
          </p:cNvPr>
          <p:cNvSpPr>
            <a:spLocks noGrp="1"/>
          </p:cNvSpPr>
          <p:nvPr>
            <p:ph type="pic" sz="quarter" idx="43"/>
          </p:nvPr>
        </p:nvSpPr>
        <p:spPr>
          <a:xfrm>
            <a:off x="9445182" y="1564445"/>
            <a:ext cx="1632254" cy="112394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7" name="Text Placeholder 4">
            <a:extLst>
              <a:ext uri="{FF2B5EF4-FFF2-40B4-BE49-F238E27FC236}">
                <a16:creationId xmlns:a16="http://schemas.microsoft.com/office/drawing/2014/main" id="{E88A88B1-6F3E-4076-889C-A8C53BEF219F}"/>
              </a:ext>
            </a:extLst>
          </p:cNvPr>
          <p:cNvSpPr>
            <a:spLocks noGrp="1"/>
          </p:cNvSpPr>
          <p:nvPr>
            <p:ph type="body" sz="quarter" idx="33" hasCustomPrompt="1"/>
          </p:nvPr>
        </p:nvSpPr>
        <p:spPr>
          <a:xfrm>
            <a:off x="363066"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15" name="Picture Placeholder 130">
            <a:extLst>
              <a:ext uri="{FF2B5EF4-FFF2-40B4-BE49-F238E27FC236}">
                <a16:creationId xmlns:a16="http://schemas.microsoft.com/office/drawing/2014/main" id="{84A2A414-7E15-4953-B17A-BC5ED8E29264}"/>
              </a:ext>
            </a:extLst>
          </p:cNvPr>
          <p:cNvSpPr>
            <a:spLocks noGrp="1"/>
          </p:cNvSpPr>
          <p:nvPr>
            <p:ph type="pic" sz="quarter" idx="10"/>
          </p:nvPr>
        </p:nvSpPr>
        <p:spPr>
          <a:xfrm>
            <a:off x="642938" y="1564445"/>
            <a:ext cx="1632254" cy="112394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16" name="Text Placeholder 4">
            <a:extLst>
              <a:ext uri="{FF2B5EF4-FFF2-40B4-BE49-F238E27FC236}">
                <a16:creationId xmlns:a16="http://schemas.microsoft.com/office/drawing/2014/main" id="{642F44DA-0ADC-46FC-B9C9-DD247685B07B}"/>
              </a:ext>
            </a:extLst>
          </p:cNvPr>
          <p:cNvSpPr>
            <a:spLocks noGrp="1"/>
          </p:cNvSpPr>
          <p:nvPr>
            <p:ph type="body" sz="quarter" idx="34" hasCustomPrompt="1"/>
          </p:nvPr>
        </p:nvSpPr>
        <p:spPr>
          <a:xfrm>
            <a:off x="363065"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2" name="Text Placeholder 4">
            <a:extLst>
              <a:ext uri="{FF2B5EF4-FFF2-40B4-BE49-F238E27FC236}">
                <a16:creationId xmlns:a16="http://schemas.microsoft.com/office/drawing/2014/main" id="{EC57B869-78EA-4E27-81D5-8283FA21D825}"/>
              </a:ext>
            </a:extLst>
          </p:cNvPr>
          <p:cNvSpPr>
            <a:spLocks noGrp="1"/>
          </p:cNvSpPr>
          <p:nvPr>
            <p:ph type="body" sz="quarter" idx="36" hasCustomPrompt="1"/>
          </p:nvPr>
        </p:nvSpPr>
        <p:spPr>
          <a:xfrm>
            <a:off x="3297147"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23" name="Picture Placeholder 130">
            <a:extLst>
              <a:ext uri="{FF2B5EF4-FFF2-40B4-BE49-F238E27FC236}">
                <a16:creationId xmlns:a16="http://schemas.microsoft.com/office/drawing/2014/main" id="{9A5A6D61-9538-48A8-AB57-82E6117FB601}"/>
              </a:ext>
            </a:extLst>
          </p:cNvPr>
          <p:cNvSpPr>
            <a:spLocks noGrp="1"/>
          </p:cNvSpPr>
          <p:nvPr>
            <p:ph type="pic" sz="quarter" idx="37"/>
          </p:nvPr>
        </p:nvSpPr>
        <p:spPr>
          <a:xfrm>
            <a:off x="3577019" y="1564445"/>
            <a:ext cx="1632254" cy="1123940"/>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24" name="Text Placeholder 4">
            <a:extLst>
              <a:ext uri="{FF2B5EF4-FFF2-40B4-BE49-F238E27FC236}">
                <a16:creationId xmlns:a16="http://schemas.microsoft.com/office/drawing/2014/main" id="{A3BED61F-0E82-4CB3-92BE-F5A1F422FEBB}"/>
              </a:ext>
            </a:extLst>
          </p:cNvPr>
          <p:cNvSpPr>
            <a:spLocks noGrp="1"/>
          </p:cNvSpPr>
          <p:nvPr>
            <p:ph type="body" sz="quarter" idx="38" hasCustomPrompt="1"/>
          </p:nvPr>
        </p:nvSpPr>
        <p:spPr>
          <a:xfrm>
            <a:off x="3297146"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6" name="Text Placeholder 4">
            <a:extLst>
              <a:ext uri="{FF2B5EF4-FFF2-40B4-BE49-F238E27FC236}">
                <a16:creationId xmlns:a16="http://schemas.microsoft.com/office/drawing/2014/main" id="{F8E4FDFE-332E-413C-B52C-9DE602C1E80C}"/>
              </a:ext>
            </a:extLst>
          </p:cNvPr>
          <p:cNvSpPr>
            <a:spLocks noGrp="1"/>
          </p:cNvSpPr>
          <p:nvPr>
            <p:ph type="body" sz="quarter" idx="39" hasCustomPrompt="1"/>
          </p:nvPr>
        </p:nvSpPr>
        <p:spPr>
          <a:xfrm>
            <a:off x="6231228"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28" name="Text Placeholder 4">
            <a:extLst>
              <a:ext uri="{FF2B5EF4-FFF2-40B4-BE49-F238E27FC236}">
                <a16:creationId xmlns:a16="http://schemas.microsoft.com/office/drawing/2014/main" id="{527973DE-8CEC-47C6-B358-CE6780DC85A5}"/>
              </a:ext>
            </a:extLst>
          </p:cNvPr>
          <p:cNvSpPr>
            <a:spLocks noGrp="1"/>
          </p:cNvSpPr>
          <p:nvPr>
            <p:ph type="body" sz="quarter" idx="41" hasCustomPrompt="1"/>
          </p:nvPr>
        </p:nvSpPr>
        <p:spPr>
          <a:xfrm>
            <a:off x="6231227"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0" name="Text Placeholder 4">
            <a:extLst>
              <a:ext uri="{FF2B5EF4-FFF2-40B4-BE49-F238E27FC236}">
                <a16:creationId xmlns:a16="http://schemas.microsoft.com/office/drawing/2014/main" id="{407CD314-ED43-43F5-9F13-1AAF4E5603F2}"/>
              </a:ext>
            </a:extLst>
          </p:cNvPr>
          <p:cNvSpPr>
            <a:spLocks noGrp="1"/>
          </p:cNvSpPr>
          <p:nvPr>
            <p:ph type="body" sz="quarter" idx="42" hasCustomPrompt="1"/>
          </p:nvPr>
        </p:nvSpPr>
        <p:spPr>
          <a:xfrm>
            <a:off x="9165310" y="3266772"/>
            <a:ext cx="2532997" cy="645755"/>
          </a:xfrm>
          <a:solidFill>
            <a:schemeClr val="bg1"/>
          </a:solidFill>
        </p:spPr>
        <p:txBody>
          <a:bodyPr wrap="square" lIns="0" tIns="0" rIns="0" bIns="0" anchor="t">
            <a:noAutofit/>
          </a:bodyPr>
          <a:lstStyle>
            <a:lvl1pPr>
              <a:lnSpc>
                <a:spcPct val="80000"/>
              </a:lnSpc>
              <a:spcBef>
                <a:spcPts val="0"/>
              </a:spcBef>
              <a:defRPr sz="2000"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0 </a:t>
            </a:r>
            <a:r>
              <a:rPr lang="en-US" err="1"/>
              <a:t>pt</a:t>
            </a:r>
            <a:endParaRPr lang="en-US"/>
          </a:p>
        </p:txBody>
      </p:sp>
      <p:sp>
        <p:nvSpPr>
          <p:cNvPr id="32" name="Text Placeholder 4">
            <a:extLst>
              <a:ext uri="{FF2B5EF4-FFF2-40B4-BE49-F238E27FC236}">
                <a16:creationId xmlns:a16="http://schemas.microsoft.com/office/drawing/2014/main" id="{860E3613-C96B-4300-AA3D-856E3892412E}"/>
              </a:ext>
            </a:extLst>
          </p:cNvPr>
          <p:cNvSpPr>
            <a:spLocks noGrp="1"/>
          </p:cNvSpPr>
          <p:nvPr>
            <p:ph type="body" sz="quarter" idx="44" hasCustomPrompt="1"/>
          </p:nvPr>
        </p:nvSpPr>
        <p:spPr>
          <a:xfrm>
            <a:off x="9165309" y="3964348"/>
            <a:ext cx="2532997" cy="850612"/>
          </a:xfrm>
        </p:spPr>
        <p:txBody>
          <a:bodyPr tIns="0" anchor="t"/>
          <a:lstStyle>
            <a:lvl1pPr>
              <a:defRPr sz="12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4" name="Footer Placeholder 6">
            <a:extLst>
              <a:ext uri="{FF2B5EF4-FFF2-40B4-BE49-F238E27FC236}">
                <a16:creationId xmlns:a16="http://schemas.microsoft.com/office/drawing/2014/main" id="{E8AEB6AD-4DA8-4CA8-A165-E7A3CC29336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33" name="Slide Number Placeholder 9">
            <a:extLst>
              <a:ext uri="{FF2B5EF4-FFF2-40B4-BE49-F238E27FC236}">
                <a16:creationId xmlns:a16="http://schemas.microsoft.com/office/drawing/2014/main" id="{09771F32-4707-4641-A5EE-85A0B38EFBCE}"/>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35" name="Title Placeholder 1">
            <a:extLst>
              <a:ext uri="{FF2B5EF4-FFF2-40B4-BE49-F238E27FC236}">
                <a16:creationId xmlns:a16="http://schemas.microsoft.com/office/drawing/2014/main" id="{662B0241-5DE3-4DC8-85F4-5029817E6AD2}"/>
              </a:ext>
            </a:extLst>
          </p:cNvPr>
          <p:cNvSpPr>
            <a:spLocks noGrp="1"/>
          </p:cNvSpPr>
          <p:nvPr>
            <p:ph type="title" hasCustomPrompt="1"/>
          </p:nvPr>
        </p:nvSpPr>
        <p:spPr>
          <a:xfrm>
            <a:off x="370414" y="41187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spTree>
    <p:extLst>
      <p:ext uri="{BB962C8B-B14F-4D97-AF65-F5344CB8AC3E}">
        <p14:creationId xmlns:p14="http://schemas.microsoft.com/office/powerpoint/2010/main" val="2930560995"/>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Cover_Master Brand">
    <p:spTree>
      <p:nvGrpSpPr>
        <p:cNvPr id="1" name=""/>
        <p:cNvGrpSpPr/>
        <p:nvPr/>
      </p:nvGrpSpPr>
      <p:grpSpPr>
        <a:xfrm>
          <a:off x="0" y="0"/>
          <a:ext cx="0" cy="0"/>
          <a:chOff x="0" y="0"/>
          <a:chExt cx="0" cy="0"/>
        </a:xfrm>
      </p:grpSpPr>
      <p:pic>
        <p:nvPicPr>
          <p:cNvPr id="252" name="Acc_Digital_GTS_Dimensional" hidden="1">
            <a:extLst>
              <a:ext uri="{FF2B5EF4-FFF2-40B4-BE49-F238E27FC236}">
                <a16:creationId xmlns:a16="http://schemas.microsoft.com/office/drawing/2014/main" id="{1CDEFD3E-D011-491D-8FF0-FAAD0D1DAB87}"/>
              </a:ext>
            </a:extLst>
          </p:cNvPr>
          <p:cNvPicPr>
            <a:picLocks noChangeAspect="1"/>
          </p:cNvPicPr>
          <p:nvPr/>
        </p:nvPicPr>
        <p:blipFill>
          <a:blip r:embed="rId2"/>
          <a:stretch>
            <a:fillRect/>
          </a:stretch>
        </p:blipFill>
        <p:spPr>
          <a:xfrm>
            <a:off x="4586417" y="912059"/>
            <a:ext cx="4313143" cy="4528800"/>
          </a:xfrm>
          <a:prstGeom prst="rect">
            <a:avLst/>
          </a:prstGeom>
        </p:spPr>
      </p:pic>
      <p:pic>
        <p:nvPicPr>
          <p:cNvPr id="257" name="Acc_Applied_Intell_Wordmark_ALL_WHT" hidden="1">
            <a:extLst>
              <a:ext uri="{FF2B5EF4-FFF2-40B4-BE49-F238E27FC236}">
                <a16:creationId xmlns:a16="http://schemas.microsoft.com/office/drawing/2014/main" id="{E041CD07-16D8-4747-BB54-EC93BB2E8782}"/>
              </a:ext>
            </a:extLst>
          </p:cNvPr>
          <p:cNvPicPr>
            <a:picLocks noChangeAspect="1"/>
          </p:cNvPicPr>
          <p:nvPr/>
        </p:nvPicPr>
        <p:blipFill>
          <a:blip r:embed="rId3"/>
          <a:stretch>
            <a:fillRect/>
          </a:stretch>
        </p:blipFill>
        <p:spPr>
          <a:xfrm>
            <a:off x="6962313" y="537825"/>
            <a:ext cx="4884592" cy="338013"/>
          </a:xfrm>
          <a:prstGeom prst="rect">
            <a:avLst/>
          </a:prstGeom>
        </p:spPr>
      </p:pic>
      <p:pic>
        <p:nvPicPr>
          <p:cNvPr id="258" name="Acc_Applied_Intell_Wordmark_ALL_BLK" hidden="1">
            <a:extLst>
              <a:ext uri="{FF2B5EF4-FFF2-40B4-BE49-F238E27FC236}">
                <a16:creationId xmlns:a16="http://schemas.microsoft.com/office/drawing/2014/main" id="{F1050526-20CD-415A-BF68-8D06F41D3081}"/>
              </a:ext>
            </a:extLst>
          </p:cNvPr>
          <p:cNvPicPr>
            <a:picLocks noChangeAspect="1"/>
          </p:cNvPicPr>
          <p:nvPr/>
        </p:nvPicPr>
        <p:blipFill>
          <a:blip r:embed="rId4"/>
          <a:stretch>
            <a:fillRect/>
          </a:stretch>
        </p:blipFill>
        <p:spPr>
          <a:xfrm>
            <a:off x="6962314" y="537825"/>
            <a:ext cx="4884595" cy="338014"/>
          </a:xfrm>
          <a:prstGeom prst="rect">
            <a:avLst/>
          </a:prstGeom>
        </p:spPr>
      </p:pic>
      <p:pic>
        <p:nvPicPr>
          <p:cNvPr id="259" name="Acc_Applied_Intell_Wordmark_WHT Colour Reversed" hidden="1">
            <a:extLst>
              <a:ext uri="{FF2B5EF4-FFF2-40B4-BE49-F238E27FC236}">
                <a16:creationId xmlns:a16="http://schemas.microsoft.com/office/drawing/2014/main" id="{153B4086-5DDF-40BF-A48F-C6D35A160D44}"/>
              </a:ext>
            </a:extLst>
          </p:cNvPr>
          <p:cNvPicPr>
            <a:picLocks noChangeAspect="1"/>
          </p:cNvPicPr>
          <p:nvPr/>
        </p:nvPicPr>
        <p:blipFill>
          <a:blip r:embed="rId5"/>
          <a:stretch>
            <a:fillRect/>
          </a:stretch>
        </p:blipFill>
        <p:spPr>
          <a:xfrm>
            <a:off x="6962313" y="536683"/>
            <a:ext cx="4885200" cy="340009"/>
          </a:xfrm>
          <a:prstGeom prst="rect">
            <a:avLst/>
          </a:prstGeom>
        </p:spPr>
      </p:pic>
      <p:pic>
        <p:nvPicPr>
          <p:cNvPr id="260" name="Acc_Applied_Intell_Wordmark_BLK Colour Positive" hidden="1">
            <a:extLst>
              <a:ext uri="{FF2B5EF4-FFF2-40B4-BE49-F238E27FC236}">
                <a16:creationId xmlns:a16="http://schemas.microsoft.com/office/drawing/2014/main" id="{7C628039-844B-4270-9649-C5679BFC043D}"/>
              </a:ext>
            </a:extLst>
          </p:cNvPr>
          <p:cNvPicPr>
            <a:picLocks noChangeAspect="1"/>
          </p:cNvPicPr>
          <p:nvPr/>
        </p:nvPicPr>
        <p:blipFill>
          <a:blip r:embed="rId6"/>
          <a:stretch>
            <a:fillRect/>
          </a:stretch>
        </p:blipFill>
        <p:spPr>
          <a:xfrm>
            <a:off x="6967077" y="530394"/>
            <a:ext cx="4885196" cy="347826"/>
          </a:xfrm>
          <a:prstGeom prst="rect">
            <a:avLst/>
          </a:prstGeom>
        </p:spPr>
      </p:pic>
      <p:pic>
        <p:nvPicPr>
          <p:cNvPr id="292" name="Acc_CoreBrand_GTS_Dimensional">
            <a:extLst>
              <a:ext uri="{FF2B5EF4-FFF2-40B4-BE49-F238E27FC236}">
                <a16:creationId xmlns:a16="http://schemas.microsoft.com/office/drawing/2014/main" id="{F7DAA011-51F1-4317-92D4-329036D5F9B7}"/>
              </a:ext>
            </a:extLst>
          </p:cNvPr>
          <p:cNvPicPr>
            <a:picLocks noChangeAspect="1"/>
          </p:cNvPicPr>
          <p:nvPr/>
        </p:nvPicPr>
        <p:blipFill>
          <a:blip r:embed="rId7"/>
          <a:stretch>
            <a:fillRect/>
          </a:stretch>
        </p:blipFill>
        <p:spPr>
          <a:xfrm>
            <a:off x="4575617" y="1314602"/>
            <a:ext cx="4320000" cy="4536000"/>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8"/>
          <a:stretch>
            <a:fillRect/>
          </a:stretch>
        </p:blipFill>
        <p:spPr>
          <a:xfrm>
            <a:off x="7751739" y="377883"/>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9"/>
          <a:stretch>
            <a:fillRect/>
          </a:stretch>
        </p:blipFill>
        <p:spPr>
          <a:xfrm>
            <a:off x="7751739" y="377883"/>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10"/>
          <a:stretch>
            <a:fillRect/>
          </a:stretch>
        </p:blipFill>
        <p:spPr>
          <a:xfrm>
            <a:off x="7751739" y="374650"/>
            <a:ext cx="1663200" cy="445737"/>
          </a:xfrm>
          <a:prstGeom prst="rect">
            <a:avLst/>
          </a:prstGeom>
        </p:spPr>
      </p:pic>
      <p:pic>
        <p:nvPicPr>
          <p:cNvPr id="21" name="Acc_CoreBrand_Logo_Black_Purple">
            <a:extLst>
              <a:ext uri="{FF2B5EF4-FFF2-40B4-BE49-F238E27FC236}">
                <a16:creationId xmlns:a16="http://schemas.microsoft.com/office/drawing/2014/main" id="{FAB30264-1DB0-444E-8439-97B7E1F89775}"/>
              </a:ext>
            </a:extLst>
          </p:cNvPr>
          <p:cNvPicPr>
            <a:picLocks noChangeAspect="1"/>
          </p:cNvPicPr>
          <p:nvPr userDrawn="1"/>
        </p:nvPicPr>
        <p:blipFill>
          <a:blip r:embed="rId11"/>
          <a:stretch>
            <a:fillRect/>
          </a:stretch>
        </p:blipFill>
        <p:spPr>
          <a:xfrm>
            <a:off x="1461439" y="556663"/>
            <a:ext cx="1663200" cy="445738"/>
          </a:xfrm>
          <a:prstGeom prst="rect">
            <a:avLst/>
          </a:prstGeom>
        </p:spPr>
      </p:pic>
      <p:sp>
        <p:nvSpPr>
          <p:cNvPr id="22" name="Subtitle (3rd Level)">
            <a:extLst>
              <a:ext uri="{FF2B5EF4-FFF2-40B4-BE49-F238E27FC236}">
                <a16:creationId xmlns:a16="http://schemas.microsoft.com/office/drawing/2014/main" id="{62B5990A-9798-4C41-BD4F-8886FBFEB40B}"/>
              </a:ext>
            </a:extLst>
          </p:cNvPr>
          <p:cNvSpPr>
            <a:spLocks noGrp="1"/>
          </p:cNvSpPr>
          <p:nvPr>
            <p:ph type="body" sz="quarter" idx="13" hasCustomPrompt="1"/>
          </p:nvPr>
        </p:nvSpPr>
        <p:spPr>
          <a:xfrm>
            <a:off x="1474367" y="5825518"/>
            <a:ext cx="594720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a:t>Subtitle third level</a:t>
            </a:r>
          </a:p>
        </p:txBody>
      </p:sp>
      <p:sp>
        <p:nvSpPr>
          <p:cNvPr id="23" name="Long Subline">
            <a:extLst>
              <a:ext uri="{FF2B5EF4-FFF2-40B4-BE49-F238E27FC236}">
                <a16:creationId xmlns:a16="http://schemas.microsoft.com/office/drawing/2014/main" id="{0EB69C56-7B40-45A9-8988-D7B9D4782D3E}"/>
              </a:ext>
            </a:extLst>
          </p:cNvPr>
          <p:cNvSpPr>
            <a:spLocks noGrp="1"/>
          </p:cNvSpPr>
          <p:nvPr>
            <p:ph type="body" sz="quarter" idx="12" hasCustomPrompt="1"/>
          </p:nvPr>
        </p:nvSpPr>
        <p:spPr>
          <a:xfrm>
            <a:off x="1474368" y="5046962"/>
            <a:ext cx="5947459"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a:t>Long subline or second-level text to go with primary headlines</a:t>
            </a:r>
          </a:p>
        </p:txBody>
      </p:sp>
      <p:sp>
        <p:nvSpPr>
          <p:cNvPr id="24" name="MasterTitle">
            <a:extLst>
              <a:ext uri="{FF2B5EF4-FFF2-40B4-BE49-F238E27FC236}">
                <a16:creationId xmlns:a16="http://schemas.microsoft.com/office/drawing/2014/main" id="{471BDF8D-36DA-4683-8BF6-42B61466AE09}"/>
              </a:ext>
            </a:extLst>
          </p:cNvPr>
          <p:cNvSpPr>
            <a:spLocks noGrp="1"/>
          </p:cNvSpPr>
          <p:nvPr>
            <p:ph type="title" hasCustomPrompt="1"/>
          </p:nvPr>
        </p:nvSpPr>
        <p:spPr>
          <a:xfrm>
            <a:off x="1428973" y="1944290"/>
            <a:ext cx="6007183" cy="2969420"/>
          </a:xfrm>
        </p:spPr>
        <p:txBody>
          <a:bodyPr tIns="252000" anchor="ctr"/>
          <a:lstStyle>
            <a:lvl1pPr>
              <a:lnSpc>
                <a:spcPct val="70000"/>
              </a:lnSpc>
              <a:defRPr sz="8100" cap="all" spc="-150" baseline="0">
                <a:solidFill>
                  <a:schemeClr val="tx1"/>
                </a:solidFill>
              </a:defRPr>
            </a:lvl1pPr>
          </a:lstStyle>
          <a:p>
            <a:r>
              <a:rPr lang="en-US"/>
              <a:t>Click </a:t>
            </a:r>
            <a:br>
              <a:rPr lang="en-US"/>
            </a:br>
            <a:r>
              <a:rPr lang="en-US"/>
              <a:t>to edit headline</a:t>
            </a:r>
            <a:endParaRPr lang="en-AU"/>
          </a:p>
        </p:txBody>
      </p:sp>
    </p:spTree>
    <p:extLst>
      <p:ext uri="{BB962C8B-B14F-4D97-AF65-F5344CB8AC3E}">
        <p14:creationId xmlns:p14="http://schemas.microsoft.com/office/powerpoint/2010/main" val="1829984202"/>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line &amp; copy 3">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1"/>
            <a:ext cx="3989288" cy="6867937"/>
          </a:xfrm>
          <a:prstGeom prst="rect">
            <a:avLst/>
          </a:prstGeom>
        </p:spPr>
      </p:pic>
      <p:sp>
        <p:nvSpPr>
          <p:cNvPr id="134" name="Text Placeholder 4">
            <a:extLst>
              <a:ext uri="{FF2B5EF4-FFF2-40B4-BE49-F238E27FC236}">
                <a16:creationId xmlns:a16="http://schemas.microsoft.com/office/drawing/2014/main" id="{D2D3CF6E-CA87-4237-86F5-8AC58EC6D777}"/>
              </a:ext>
            </a:extLst>
          </p:cNvPr>
          <p:cNvSpPr>
            <a:spLocks noGrp="1"/>
          </p:cNvSpPr>
          <p:nvPr userDrawn="1">
            <p:ph type="body" sz="quarter" idx="34" hasCustomPrompt="1"/>
          </p:nvPr>
        </p:nvSpPr>
        <p:spPr>
          <a:xfrm>
            <a:off x="4293542" y="1776002"/>
            <a:ext cx="3618474" cy="4185748"/>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1" name="Text Placeholder 4">
            <a:extLst>
              <a:ext uri="{FF2B5EF4-FFF2-40B4-BE49-F238E27FC236}">
                <a16:creationId xmlns:a16="http://schemas.microsoft.com/office/drawing/2014/main" id="{EA83C94C-17E1-4BF1-81BB-03E62993FF34}"/>
              </a:ext>
            </a:extLst>
          </p:cNvPr>
          <p:cNvSpPr>
            <a:spLocks noGrp="1"/>
          </p:cNvSpPr>
          <p:nvPr>
            <p:ph type="body" sz="quarter" idx="36" hasCustomPrompt="1"/>
          </p:nvPr>
        </p:nvSpPr>
        <p:spPr>
          <a:xfrm>
            <a:off x="373877" y="1776003"/>
            <a:ext cx="3617034" cy="4185747"/>
          </a:xfrm>
        </p:spPr>
        <p:txBody>
          <a:bodyPr tIns="0" rIns="360000" anchor="t"/>
          <a:lstStyle>
            <a:lvl1pPr>
              <a:defRPr sz="1400" b="0" i="0">
                <a:solidFill>
                  <a:schemeClr val="bg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2" name="Text Placeholder 4">
            <a:extLst>
              <a:ext uri="{FF2B5EF4-FFF2-40B4-BE49-F238E27FC236}">
                <a16:creationId xmlns:a16="http://schemas.microsoft.com/office/drawing/2014/main" id="{F3705112-18B7-400C-BF9A-FF969BC05A6D}"/>
              </a:ext>
            </a:extLst>
          </p:cNvPr>
          <p:cNvSpPr>
            <a:spLocks noGrp="1"/>
          </p:cNvSpPr>
          <p:nvPr>
            <p:ph type="body" sz="quarter" idx="33" hasCustomPrompt="1"/>
          </p:nvPr>
        </p:nvSpPr>
        <p:spPr>
          <a:xfrm>
            <a:off x="8196473" y="1788227"/>
            <a:ext cx="935885" cy="393370"/>
          </a:xfrm>
        </p:spPr>
        <p:txBody>
          <a:bodyPr wrap="square" tIns="0" anchor="t">
            <a:noAutofit/>
          </a:bodyPr>
          <a:lstStyle>
            <a:lvl1pPr>
              <a:lnSpc>
                <a:spcPct val="80000"/>
              </a:lnSpc>
              <a:spcBef>
                <a:spcPts val="0"/>
              </a:spcBef>
              <a:defRPr sz="31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3" name="Text Placeholder 4">
            <a:extLst>
              <a:ext uri="{FF2B5EF4-FFF2-40B4-BE49-F238E27FC236}">
                <a16:creationId xmlns:a16="http://schemas.microsoft.com/office/drawing/2014/main" id="{1FF9FC79-7CDA-4C05-81AD-5F1C9A6CECF3}"/>
              </a:ext>
            </a:extLst>
          </p:cNvPr>
          <p:cNvSpPr>
            <a:spLocks noGrp="1"/>
          </p:cNvSpPr>
          <p:nvPr>
            <p:ph type="body" sz="quarter" idx="37" hasCustomPrompt="1"/>
          </p:nvPr>
        </p:nvSpPr>
        <p:spPr>
          <a:xfrm>
            <a:off x="8196472" y="2248347"/>
            <a:ext cx="3621651" cy="821753"/>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6" name="Text Placeholder 4">
            <a:extLst>
              <a:ext uri="{FF2B5EF4-FFF2-40B4-BE49-F238E27FC236}">
                <a16:creationId xmlns:a16="http://schemas.microsoft.com/office/drawing/2014/main" id="{F03A8931-E5DB-4EA6-BF14-B4FFAE74AD1E}"/>
              </a:ext>
            </a:extLst>
          </p:cNvPr>
          <p:cNvSpPr>
            <a:spLocks noGrp="1"/>
          </p:cNvSpPr>
          <p:nvPr>
            <p:ph type="body" sz="quarter" idx="38" hasCustomPrompt="1"/>
          </p:nvPr>
        </p:nvSpPr>
        <p:spPr>
          <a:xfrm>
            <a:off x="8196473" y="3235834"/>
            <a:ext cx="935885" cy="393370"/>
          </a:xfrm>
        </p:spPr>
        <p:txBody>
          <a:bodyPr wrap="square" tIns="0" anchor="t">
            <a:noAutofit/>
          </a:bodyPr>
          <a:lstStyle>
            <a:lvl1pPr>
              <a:lnSpc>
                <a:spcPct val="80000"/>
              </a:lnSpc>
              <a:spcBef>
                <a:spcPts val="0"/>
              </a:spcBef>
              <a:defRPr sz="31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7" name="Text Placeholder 4">
            <a:extLst>
              <a:ext uri="{FF2B5EF4-FFF2-40B4-BE49-F238E27FC236}">
                <a16:creationId xmlns:a16="http://schemas.microsoft.com/office/drawing/2014/main" id="{1262596D-33F3-4253-B71D-D1AD5A0C5D91}"/>
              </a:ext>
            </a:extLst>
          </p:cNvPr>
          <p:cNvSpPr>
            <a:spLocks noGrp="1"/>
          </p:cNvSpPr>
          <p:nvPr>
            <p:ph type="body" sz="quarter" idx="39" hasCustomPrompt="1"/>
          </p:nvPr>
        </p:nvSpPr>
        <p:spPr>
          <a:xfrm>
            <a:off x="8196472" y="3696942"/>
            <a:ext cx="3621651" cy="821753"/>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18" name="Text Placeholder 4">
            <a:extLst>
              <a:ext uri="{FF2B5EF4-FFF2-40B4-BE49-F238E27FC236}">
                <a16:creationId xmlns:a16="http://schemas.microsoft.com/office/drawing/2014/main" id="{06B70403-517E-4720-9FBA-26E340451733}"/>
              </a:ext>
            </a:extLst>
          </p:cNvPr>
          <p:cNvSpPr>
            <a:spLocks noGrp="1"/>
          </p:cNvSpPr>
          <p:nvPr>
            <p:ph type="body" sz="quarter" idx="40" hasCustomPrompt="1"/>
          </p:nvPr>
        </p:nvSpPr>
        <p:spPr>
          <a:xfrm>
            <a:off x="8196473" y="4683441"/>
            <a:ext cx="935885" cy="393370"/>
          </a:xfrm>
        </p:spPr>
        <p:txBody>
          <a:bodyPr wrap="square" tIns="0" anchor="t">
            <a:noAutofit/>
          </a:bodyPr>
          <a:lstStyle>
            <a:lvl1pPr>
              <a:lnSpc>
                <a:spcPct val="80000"/>
              </a:lnSpc>
              <a:spcBef>
                <a:spcPts val="0"/>
              </a:spcBef>
              <a:defRPr sz="31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19" name="Text Placeholder 4">
            <a:extLst>
              <a:ext uri="{FF2B5EF4-FFF2-40B4-BE49-F238E27FC236}">
                <a16:creationId xmlns:a16="http://schemas.microsoft.com/office/drawing/2014/main" id="{68D93A4E-6880-4C3E-AE19-59E7B12C2E17}"/>
              </a:ext>
            </a:extLst>
          </p:cNvPr>
          <p:cNvSpPr>
            <a:spLocks noGrp="1"/>
          </p:cNvSpPr>
          <p:nvPr>
            <p:ph type="body" sz="quarter" idx="41" hasCustomPrompt="1"/>
          </p:nvPr>
        </p:nvSpPr>
        <p:spPr>
          <a:xfrm>
            <a:off x="8196472" y="5145538"/>
            <a:ext cx="3621651" cy="821753"/>
          </a:xfrm>
        </p:spPr>
        <p:txBody>
          <a:bodyPr wrap="square" tIns="0" anchor="t">
            <a:noAutofit/>
          </a:bodyPr>
          <a:lstStyle>
            <a:lvl1pPr>
              <a:lnSpc>
                <a:spcPct val="80000"/>
              </a:lnSpc>
              <a:spcBef>
                <a:spcPts val="0"/>
              </a:spcBef>
              <a:defRPr sz="20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 font size 20 </a:t>
            </a:r>
            <a:r>
              <a:rPr lang="en-US" err="1"/>
              <a:t>pt</a:t>
            </a:r>
            <a:endParaRPr lang="en-US"/>
          </a:p>
        </p:txBody>
      </p:sp>
      <p:sp>
        <p:nvSpPr>
          <p:cNvPr id="20" name="Footer Placeholder 6">
            <a:extLst>
              <a:ext uri="{FF2B5EF4-FFF2-40B4-BE49-F238E27FC236}">
                <a16:creationId xmlns:a16="http://schemas.microsoft.com/office/drawing/2014/main" id="{B4776A50-1F38-4575-A686-C0C03843BF23}"/>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21" name="Slide Number Placeholder 9">
            <a:extLst>
              <a:ext uri="{FF2B5EF4-FFF2-40B4-BE49-F238E27FC236}">
                <a16:creationId xmlns:a16="http://schemas.microsoft.com/office/drawing/2014/main" id="{F79537CC-BD7A-4DCE-9C53-204B9C332F1C}"/>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15" name="Title Placeholder 1">
            <a:extLst>
              <a:ext uri="{FF2B5EF4-FFF2-40B4-BE49-F238E27FC236}">
                <a16:creationId xmlns:a16="http://schemas.microsoft.com/office/drawing/2014/main" id="{7CE23733-CC29-4034-9DAB-5C2A29992226}"/>
              </a:ext>
            </a:extLst>
          </p:cNvPr>
          <p:cNvSpPr>
            <a:spLocks noGrp="1"/>
          </p:cNvSpPr>
          <p:nvPr>
            <p:ph type="title" hasCustomPrompt="1"/>
          </p:nvPr>
        </p:nvSpPr>
        <p:spPr>
          <a:xfrm>
            <a:off x="4293541" y="580220"/>
            <a:ext cx="7536240"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4072634004"/>
      </p:ext>
    </p:extLst>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line &amp; copy 4">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20" name="Rectangle 19">
            <a:extLst>
              <a:ext uri="{FF2B5EF4-FFF2-40B4-BE49-F238E27FC236}">
                <a16:creationId xmlns:a16="http://schemas.microsoft.com/office/drawing/2014/main" id="{1BA1ABFB-7FCA-4D2A-ABD1-48ED2F332C16}"/>
              </a:ext>
            </a:extLst>
          </p:cNvPr>
          <p:cNvSpPr/>
          <p:nvPr userDrawn="1"/>
        </p:nvSpPr>
        <p:spPr>
          <a:xfrm>
            <a:off x="5952275" y="1772828"/>
            <a:ext cx="5882398" cy="4425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Text Placeholder 4">
            <a:extLst>
              <a:ext uri="{FF2B5EF4-FFF2-40B4-BE49-F238E27FC236}">
                <a16:creationId xmlns:a16="http://schemas.microsoft.com/office/drawing/2014/main" id="{8899C32B-8302-426F-AE49-FA06F7075BB0}"/>
              </a:ext>
            </a:extLst>
          </p:cNvPr>
          <p:cNvSpPr>
            <a:spLocks noGrp="1"/>
          </p:cNvSpPr>
          <p:nvPr>
            <p:ph type="body" sz="quarter" idx="36" hasCustomPrompt="1"/>
          </p:nvPr>
        </p:nvSpPr>
        <p:spPr>
          <a:xfrm>
            <a:off x="6909189" y="2088496"/>
            <a:ext cx="4684666" cy="864321"/>
          </a:xfrm>
        </p:spPr>
        <p:txBody>
          <a:bodyPr wrap="square" tIns="0" anchor="t">
            <a:noAutofit/>
          </a:bodyPr>
          <a:lstStyle>
            <a:lvl1pPr>
              <a:lnSpc>
                <a:spcPct val="80000"/>
              </a:lnSpc>
              <a:spcBef>
                <a:spcPts val="0"/>
              </a:spcBef>
              <a:defRPr sz="1800" b="0"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8 </a:t>
            </a:r>
            <a:r>
              <a:rPr lang="en-US" err="1"/>
              <a:t>pt</a:t>
            </a:r>
            <a:endParaRPr lang="en-US"/>
          </a:p>
        </p:txBody>
      </p:sp>
      <p:sp>
        <p:nvSpPr>
          <p:cNvPr id="15" name="Text Placeholder 4">
            <a:extLst>
              <a:ext uri="{FF2B5EF4-FFF2-40B4-BE49-F238E27FC236}">
                <a16:creationId xmlns:a16="http://schemas.microsoft.com/office/drawing/2014/main" id="{79AA130A-72D6-4213-A6EE-EE88BE8B6DDB}"/>
              </a:ext>
            </a:extLst>
          </p:cNvPr>
          <p:cNvSpPr>
            <a:spLocks noGrp="1"/>
          </p:cNvSpPr>
          <p:nvPr>
            <p:ph type="body" sz="quarter" idx="38" hasCustomPrompt="1"/>
          </p:nvPr>
        </p:nvSpPr>
        <p:spPr>
          <a:xfrm>
            <a:off x="6909189" y="3095732"/>
            <a:ext cx="4684666" cy="864321"/>
          </a:xfrm>
        </p:spPr>
        <p:txBody>
          <a:bodyPr wrap="square" tIns="0" anchor="t">
            <a:noAutofit/>
          </a:bodyPr>
          <a:lstStyle>
            <a:lvl1pPr>
              <a:lnSpc>
                <a:spcPct val="80000"/>
              </a:lnSpc>
              <a:spcBef>
                <a:spcPts val="0"/>
              </a:spcBef>
              <a:defRPr sz="1800" b="0"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8 </a:t>
            </a:r>
            <a:r>
              <a:rPr lang="en-US" err="1"/>
              <a:t>pt</a:t>
            </a:r>
            <a:endParaRPr lang="en-US"/>
          </a:p>
        </p:txBody>
      </p:sp>
      <p:sp>
        <p:nvSpPr>
          <p:cNvPr id="17" name="Text Placeholder 4">
            <a:extLst>
              <a:ext uri="{FF2B5EF4-FFF2-40B4-BE49-F238E27FC236}">
                <a16:creationId xmlns:a16="http://schemas.microsoft.com/office/drawing/2014/main" id="{40658CCE-9E8F-4225-AE13-BECBD6197336}"/>
              </a:ext>
            </a:extLst>
          </p:cNvPr>
          <p:cNvSpPr>
            <a:spLocks noGrp="1"/>
          </p:cNvSpPr>
          <p:nvPr>
            <p:ph type="body" sz="quarter" idx="40" hasCustomPrompt="1"/>
          </p:nvPr>
        </p:nvSpPr>
        <p:spPr>
          <a:xfrm>
            <a:off x="6909189" y="4102967"/>
            <a:ext cx="4684666" cy="864321"/>
          </a:xfrm>
        </p:spPr>
        <p:txBody>
          <a:bodyPr wrap="square" tIns="0" anchor="t">
            <a:noAutofit/>
          </a:bodyPr>
          <a:lstStyle>
            <a:lvl1pPr>
              <a:lnSpc>
                <a:spcPct val="80000"/>
              </a:lnSpc>
              <a:spcBef>
                <a:spcPts val="0"/>
              </a:spcBef>
              <a:defRPr sz="1800" b="0"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8 </a:t>
            </a:r>
            <a:r>
              <a:rPr lang="en-US" err="1"/>
              <a:t>pt</a:t>
            </a:r>
            <a:endParaRPr lang="en-US"/>
          </a:p>
        </p:txBody>
      </p:sp>
      <p:sp>
        <p:nvSpPr>
          <p:cNvPr id="19" name="Text Placeholder 4">
            <a:extLst>
              <a:ext uri="{FF2B5EF4-FFF2-40B4-BE49-F238E27FC236}">
                <a16:creationId xmlns:a16="http://schemas.microsoft.com/office/drawing/2014/main" id="{E020AF65-986F-45C7-A80F-E06D6359B2DC}"/>
              </a:ext>
            </a:extLst>
          </p:cNvPr>
          <p:cNvSpPr>
            <a:spLocks noGrp="1"/>
          </p:cNvSpPr>
          <p:nvPr>
            <p:ph type="body" sz="quarter" idx="42" hasCustomPrompt="1"/>
          </p:nvPr>
        </p:nvSpPr>
        <p:spPr>
          <a:xfrm>
            <a:off x="6909189" y="5110203"/>
            <a:ext cx="4684666" cy="864321"/>
          </a:xfrm>
        </p:spPr>
        <p:txBody>
          <a:bodyPr wrap="square" tIns="0" anchor="t">
            <a:noAutofit/>
          </a:bodyPr>
          <a:lstStyle>
            <a:lvl1pPr>
              <a:lnSpc>
                <a:spcPct val="80000"/>
              </a:lnSpc>
              <a:spcBef>
                <a:spcPts val="0"/>
              </a:spcBef>
              <a:defRPr sz="1800" b="0" i="0" baseline="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8 </a:t>
            </a:r>
            <a:r>
              <a:rPr lang="en-US" err="1"/>
              <a:t>pt</a:t>
            </a:r>
            <a:endParaRPr lang="en-US"/>
          </a:p>
        </p:txBody>
      </p:sp>
      <p:sp>
        <p:nvSpPr>
          <p:cNvPr id="21" name="Text Placeholder 4">
            <a:extLst>
              <a:ext uri="{FF2B5EF4-FFF2-40B4-BE49-F238E27FC236}">
                <a16:creationId xmlns:a16="http://schemas.microsoft.com/office/drawing/2014/main" id="{9B67AA63-7A8B-4FB1-880B-FBB18F5DE201}"/>
              </a:ext>
            </a:extLst>
          </p:cNvPr>
          <p:cNvSpPr>
            <a:spLocks noGrp="1"/>
          </p:cNvSpPr>
          <p:nvPr>
            <p:ph type="body" sz="quarter" idx="33" hasCustomPrompt="1"/>
          </p:nvPr>
        </p:nvSpPr>
        <p:spPr>
          <a:xfrm>
            <a:off x="598144" y="3095732"/>
            <a:ext cx="5354131" cy="1655277"/>
          </a:xfrm>
        </p:spPr>
        <p:txBody>
          <a:bodyPr wrap="square" tIns="0" anchor="ctr">
            <a:noAutofit/>
          </a:bodyPr>
          <a:lstStyle>
            <a:lvl1pPr defTabSz="457109">
              <a:lnSpc>
                <a:spcPct val="80000"/>
              </a:lnSpc>
              <a:spcBef>
                <a:spcPts val="0"/>
              </a:spcBef>
              <a:defRPr lang="en-US" sz="3733" b="0" kern="1200">
                <a:solidFill>
                  <a:schemeClr val="tx1"/>
                </a:solidFill>
                <a:latin typeface="Graphik Bold"/>
                <a:ea typeface="Graphik Bold"/>
                <a:cs typeface="Graphik Bold"/>
                <a:sym typeface="Graphik Bold"/>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defTabSz="457200">
              <a:defRPr sz="3733" b="0">
                <a:latin typeface="Graphik Bold"/>
                <a:ea typeface="Graphik Bold"/>
                <a:cs typeface="Graphik Bold"/>
                <a:sym typeface="Graphik Bold"/>
              </a:defRPr>
            </a:pPr>
            <a:r>
              <a:rPr lang="en-GB" sz="2799" b="1">
                <a:latin typeface="+mj-lt"/>
              </a:rPr>
              <a:t>Lorem ipsum </a:t>
            </a:r>
            <a:r>
              <a:rPr lang="en-GB" sz="2799" b="1" err="1">
                <a:latin typeface="+mj-lt"/>
              </a:rPr>
              <a:t>dolor</a:t>
            </a:r>
            <a:r>
              <a:rPr lang="en-GB" sz="2799" b="1">
                <a:latin typeface="+mj-lt"/>
              </a:rPr>
              <a:t> sit </a:t>
            </a:r>
            <a:r>
              <a:rPr lang="en-GB" sz="2799" b="1" err="1">
                <a:latin typeface="+mj-lt"/>
              </a:rPr>
              <a:t>amet</a:t>
            </a:r>
            <a:r>
              <a:rPr lang="en-GB" sz="2799" b="1">
                <a:latin typeface="+mj-lt"/>
              </a:rPr>
              <a:t> </a:t>
            </a:r>
            <a:r>
              <a:rPr lang="en-GB" sz="2799" b="1" err="1">
                <a:latin typeface="+mj-lt"/>
              </a:rPr>
              <a:t>consectetur</a:t>
            </a:r>
            <a:r>
              <a:rPr lang="en-GB" sz="2799" b="1">
                <a:latin typeface="+mj-lt"/>
              </a:rPr>
              <a:t> </a:t>
            </a:r>
            <a:r>
              <a:rPr lang="en-GB" sz="2799" b="1" err="1">
                <a:latin typeface="+mj-lt"/>
              </a:rPr>
              <a:t>adipiscing</a:t>
            </a:r>
            <a:r>
              <a:rPr lang="en-GB" sz="2799" b="1">
                <a:latin typeface="+mj-lt"/>
              </a:rPr>
              <a:t> </a:t>
            </a:r>
            <a:r>
              <a:rPr lang="en-GB" sz="2799" b="1" err="1">
                <a:latin typeface="+mj-lt"/>
              </a:rPr>
              <a:t>elit</a:t>
            </a:r>
            <a:r>
              <a:rPr lang="en-GB" sz="2799" b="1">
                <a:latin typeface="+mj-lt"/>
              </a:rPr>
              <a:t> </a:t>
            </a:r>
            <a:r>
              <a:rPr lang="en-GB" sz="2799" b="1" err="1">
                <a:latin typeface="+mj-lt"/>
              </a:rPr>
              <a:t>sed</a:t>
            </a:r>
            <a:r>
              <a:rPr lang="en-GB" sz="2799" b="1">
                <a:latin typeface="+mj-lt"/>
              </a:rPr>
              <a:t> do </a:t>
            </a:r>
            <a:r>
              <a:rPr lang="en-GB" sz="2799" b="1" err="1">
                <a:latin typeface="+mj-lt"/>
              </a:rPr>
              <a:t>eiusmod</a:t>
            </a:r>
            <a:r>
              <a:rPr lang="en-GB" sz="2799" b="1">
                <a:latin typeface="+mj-lt"/>
              </a:rPr>
              <a:t> </a:t>
            </a:r>
            <a:r>
              <a:rPr lang="en-GB" sz="2799" b="1" err="1">
                <a:latin typeface="+mj-lt"/>
              </a:rPr>
              <a:t>tempor</a:t>
            </a:r>
            <a:r>
              <a:rPr lang="en-GB" sz="2799" b="1">
                <a:latin typeface="+mj-lt"/>
              </a:rPr>
              <a:t> </a:t>
            </a:r>
          </a:p>
        </p:txBody>
      </p:sp>
      <p:sp>
        <p:nvSpPr>
          <p:cNvPr id="13" name="Footer Placeholder 6">
            <a:extLst>
              <a:ext uri="{FF2B5EF4-FFF2-40B4-BE49-F238E27FC236}">
                <a16:creationId xmlns:a16="http://schemas.microsoft.com/office/drawing/2014/main" id="{BB6FA1C0-CA14-41C6-9FB5-7F7A6FFBEB97}"/>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4" name="Slide Number Placeholder 9">
            <a:extLst>
              <a:ext uri="{FF2B5EF4-FFF2-40B4-BE49-F238E27FC236}">
                <a16:creationId xmlns:a16="http://schemas.microsoft.com/office/drawing/2014/main" id="{72C49A9D-FD87-4BBC-BD63-9D1F351B2190}"/>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2" name="Title Placeholder 1">
            <a:extLst>
              <a:ext uri="{FF2B5EF4-FFF2-40B4-BE49-F238E27FC236}">
                <a16:creationId xmlns:a16="http://schemas.microsoft.com/office/drawing/2014/main" id="{7DA2588E-DB15-4BC1-962F-E3ED92944D06}"/>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4130259955"/>
      </p:ext>
    </p:extLst>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line &amp; copy 5">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13" name="Text Placeholder 4">
            <a:extLst>
              <a:ext uri="{FF2B5EF4-FFF2-40B4-BE49-F238E27FC236}">
                <a16:creationId xmlns:a16="http://schemas.microsoft.com/office/drawing/2014/main" id="{8DE8BB80-C43D-4481-B6B8-AE733A218F4C}"/>
              </a:ext>
            </a:extLst>
          </p:cNvPr>
          <p:cNvSpPr>
            <a:spLocks noGrp="1"/>
          </p:cNvSpPr>
          <p:nvPr>
            <p:ph type="body" sz="quarter" idx="34" hasCustomPrompt="1"/>
          </p:nvPr>
        </p:nvSpPr>
        <p:spPr>
          <a:xfrm>
            <a:off x="370912" y="2017291"/>
            <a:ext cx="5868814" cy="3462126"/>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6" name="Text Placeholder 4">
            <a:extLst>
              <a:ext uri="{FF2B5EF4-FFF2-40B4-BE49-F238E27FC236}">
                <a16:creationId xmlns:a16="http://schemas.microsoft.com/office/drawing/2014/main" id="{FD0A4FD5-B177-4B63-9F39-A9B985D8D3E5}"/>
              </a:ext>
            </a:extLst>
          </p:cNvPr>
          <p:cNvSpPr>
            <a:spLocks noGrp="1"/>
          </p:cNvSpPr>
          <p:nvPr>
            <p:ph type="body" sz="quarter" idx="33" hasCustomPrompt="1"/>
          </p:nvPr>
        </p:nvSpPr>
        <p:spPr>
          <a:xfrm>
            <a:off x="6870393" y="2384351"/>
            <a:ext cx="607056" cy="1035560"/>
          </a:xfrm>
        </p:spPr>
        <p:txBody>
          <a:bodyPr wrap="square" tIns="0" anchor="t">
            <a:noAutofit/>
          </a:bodyPr>
          <a:lstStyle>
            <a:lvl1pPr algn="r">
              <a:lnSpc>
                <a:spcPct val="80000"/>
              </a:lnSpc>
              <a:spcBef>
                <a:spcPts val="0"/>
              </a:spcBef>
              <a:defRPr sz="2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27" name="Text Placeholder 4">
            <a:extLst>
              <a:ext uri="{FF2B5EF4-FFF2-40B4-BE49-F238E27FC236}">
                <a16:creationId xmlns:a16="http://schemas.microsoft.com/office/drawing/2014/main" id="{97BA41E3-79BC-4352-AA23-313A8812D101}"/>
              </a:ext>
            </a:extLst>
          </p:cNvPr>
          <p:cNvSpPr>
            <a:spLocks noGrp="1"/>
          </p:cNvSpPr>
          <p:nvPr>
            <p:ph type="body" sz="quarter" idx="36" hasCustomPrompt="1"/>
          </p:nvPr>
        </p:nvSpPr>
        <p:spPr>
          <a:xfrm>
            <a:off x="7588329" y="2384351"/>
            <a:ext cx="3797628" cy="1035560"/>
          </a:xfrm>
        </p:spPr>
        <p:txBody>
          <a:bodyPr wrap="square" tIns="0" anchor="t">
            <a:noAutofit/>
          </a:bodyPr>
          <a:lstStyle>
            <a:lvl1pPr>
              <a:lnSpc>
                <a:spcPct val="80000"/>
              </a:lnSpc>
              <a:spcBef>
                <a:spcPts val="0"/>
              </a:spcBef>
              <a:defRPr sz="1600" b="1" i="0" baseline="0">
                <a:solidFill>
                  <a:schemeClr val="accent2"/>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6 </a:t>
            </a:r>
            <a:r>
              <a:rPr lang="en-US" err="1"/>
              <a:t>pt</a:t>
            </a:r>
            <a:endParaRPr lang="en-US"/>
          </a:p>
        </p:txBody>
      </p:sp>
      <p:sp>
        <p:nvSpPr>
          <p:cNvPr id="28" name="Text Placeholder 4">
            <a:extLst>
              <a:ext uri="{FF2B5EF4-FFF2-40B4-BE49-F238E27FC236}">
                <a16:creationId xmlns:a16="http://schemas.microsoft.com/office/drawing/2014/main" id="{F06C8DAC-03EA-4C54-B633-FDA56B42CFF3}"/>
              </a:ext>
            </a:extLst>
          </p:cNvPr>
          <p:cNvSpPr>
            <a:spLocks noGrp="1"/>
          </p:cNvSpPr>
          <p:nvPr>
            <p:ph type="body" sz="quarter" idx="37" hasCustomPrompt="1"/>
          </p:nvPr>
        </p:nvSpPr>
        <p:spPr>
          <a:xfrm>
            <a:off x="6870393" y="3510099"/>
            <a:ext cx="607056" cy="1035560"/>
          </a:xfrm>
        </p:spPr>
        <p:txBody>
          <a:bodyPr wrap="square" tIns="0" anchor="t">
            <a:noAutofit/>
          </a:bodyPr>
          <a:lstStyle>
            <a:lvl1pPr algn="r">
              <a:lnSpc>
                <a:spcPct val="80000"/>
              </a:lnSpc>
              <a:spcBef>
                <a:spcPts val="0"/>
              </a:spcBef>
              <a:defRPr sz="2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29" name="Text Placeholder 4">
            <a:extLst>
              <a:ext uri="{FF2B5EF4-FFF2-40B4-BE49-F238E27FC236}">
                <a16:creationId xmlns:a16="http://schemas.microsoft.com/office/drawing/2014/main" id="{C589AE8E-A002-4F10-BA37-56BE295F5B9F}"/>
              </a:ext>
            </a:extLst>
          </p:cNvPr>
          <p:cNvSpPr>
            <a:spLocks noGrp="1"/>
          </p:cNvSpPr>
          <p:nvPr>
            <p:ph type="body" sz="quarter" idx="38" hasCustomPrompt="1"/>
          </p:nvPr>
        </p:nvSpPr>
        <p:spPr>
          <a:xfrm>
            <a:off x="7588329" y="3510099"/>
            <a:ext cx="3797628" cy="1035560"/>
          </a:xfrm>
        </p:spPr>
        <p:txBody>
          <a:bodyPr wrap="square" tIns="0" anchor="t">
            <a:noAutofit/>
          </a:bodyPr>
          <a:lstStyle>
            <a:lvl1pPr>
              <a:lnSpc>
                <a:spcPct val="80000"/>
              </a:lnSpc>
              <a:spcBef>
                <a:spcPts val="0"/>
              </a:spcBef>
              <a:defRPr sz="1600" b="1" i="0" baseline="0">
                <a:solidFill>
                  <a:schemeClr val="accent2"/>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br>
              <a:rPr lang="en-US"/>
            </a:br>
            <a:r>
              <a:rPr lang="en-US"/>
              <a:t>font size 16 </a:t>
            </a:r>
            <a:r>
              <a:rPr lang="en-US" err="1"/>
              <a:t>pt</a:t>
            </a:r>
            <a:endParaRPr lang="en-US"/>
          </a:p>
        </p:txBody>
      </p:sp>
      <p:sp>
        <p:nvSpPr>
          <p:cNvPr id="30" name="Text Placeholder 4">
            <a:extLst>
              <a:ext uri="{FF2B5EF4-FFF2-40B4-BE49-F238E27FC236}">
                <a16:creationId xmlns:a16="http://schemas.microsoft.com/office/drawing/2014/main" id="{746DE896-9DEB-435F-8F40-E732AA25F34B}"/>
              </a:ext>
            </a:extLst>
          </p:cNvPr>
          <p:cNvSpPr>
            <a:spLocks noGrp="1"/>
          </p:cNvSpPr>
          <p:nvPr>
            <p:ph type="body" sz="quarter" idx="39" hasCustomPrompt="1"/>
          </p:nvPr>
        </p:nvSpPr>
        <p:spPr>
          <a:xfrm>
            <a:off x="6870393" y="4635848"/>
            <a:ext cx="607056" cy="1035560"/>
          </a:xfrm>
        </p:spPr>
        <p:txBody>
          <a:bodyPr wrap="square" tIns="0" anchor="t">
            <a:noAutofit/>
          </a:bodyPr>
          <a:lstStyle>
            <a:lvl1pPr algn="r">
              <a:lnSpc>
                <a:spcPct val="80000"/>
              </a:lnSpc>
              <a:spcBef>
                <a:spcPts val="0"/>
              </a:spcBef>
              <a:defRPr sz="27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31" name="Text Placeholder 4">
            <a:extLst>
              <a:ext uri="{FF2B5EF4-FFF2-40B4-BE49-F238E27FC236}">
                <a16:creationId xmlns:a16="http://schemas.microsoft.com/office/drawing/2014/main" id="{E68EB88E-4C29-43FB-B0DA-21A6C757B4AC}"/>
              </a:ext>
            </a:extLst>
          </p:cNvPr>
          <p:cNvSpPr>
            <a:spLocks noGrp="1"/>
          </p:cNvSpPr>
          <p:nvPr>
            <p:ph type="body" sz="quarter" idx="40" hasCustomPrompt="1"/>
          </p:nvPr>
        </p:nvSpPr>
        <p:spPr>
          <a:xfrm>
            <a:off x="7587169" y="4635848"/>
            <a:ext cx="3811213" cy="1035560"/>
          </a:xfrm>
        </p:spPr>
        <p:txBody>
          <a:bodyPr wrap="square" tIns="0" anchor="t">
            <a:noAutofit/>
          </a:bodyPr>
          <a:lstStyle>
            <a:lvl1pPr>
              <a:lnSpc>
                <a:spcPct val="80000"/>
              </a:lnSpc>
              <a:spcBef>
                <a:spcPts val="0"/>
              </a:spcBef>
              <a:defRPr sz="1600" b="1" i="0" baseline="0">
                <a:solidFill>
                  <a:schemeClr val="accent2"/>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Insert bullet point maximum</a:t>
            </a:r>
          </a:p>
          <a:p>
            <a:r>
              <a:rPr lang="en-US"/>
              <a:t>font size 16 </a:t>
            </a:r>
            <a:r>
              <a:rPr lang="en-US" err="1"/>
              <a:t>pt</a:t>
            </a:r>
            <a:endParaRPr lang="en-US"/>
          </a:p>
        </p:txBody>
      </p:sp>
      <p:sp>
        <p:nvSpPr>
          <p:cNvPr id="14" name="Footer Placeholder 6">
            <a:extLst>
              <a:ext uri="{FF2B5EF4-FFF2-40B4-BE49-F238E27FC236}">
                <a16:creationId xmlns:a16="http://schemas.microsoft.com/office/drawing/2014/main" id="{10F25DE5-31AB-4C0E-888E-098C4F5FE7D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5" name="Slide Number Placeholder 9">
            <a:extLst>
              <a:ext uri="{FF2B5EF4-FFF2-40B4-BE49-F238E27FC236}">
                <a16:creationId xmlns:a16="http://schemas.microsoft.com/office/drawing/2014/main" id="{7A5CD9C5-3AFD-4C23-84EC-561BFAF6ED99}"/>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6" name="Title Placeholder 1">
            <a:extLst>
              <a:ext uri="{FF2B5EF4-FFF2-40B4-BE49-F238E27FC236}">
                <a16:creationId xmlns:a16="http://schemas.microsoft.com/office/drawing/2014/main" id="{6765DFED-5084-4133-B486-8BA6E15690FD}"/>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678720407"/>
      </p:ext>
    </p:extLst>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line, copy &amp; image">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3" y="0"/>
            <a:ext cx="12190377" cy="1280817"/>
          </a:xfrm>
          <a:prstGeom prst="rect">
            <a:avLst/>
          </a:prstGeom>
        </p:spPr>
      </p:pic>
      <p:sp>
        <p:nvSpPr>
          <p:cNvPr id="22" name="object 13">
            <a:extLst>
              <a:ext uri="{FF2B5EF4-FFF2-40B4-BE49-F238E27FC236}">
                <a16:creationId xmlns:a16="http://schemas.microsoft.com/office/drawing/2014/main" id="{B5A09C1C-0576-404F-AF62-B148D5CB911A}"/>
              </a:ext>
            </a:extLst>
          </p:cNvPr>
          <p:cNvSpPr/>
          <p:nvPr userDrawn="1"/>
        </p:nvSpPr>
        <p:spPr>
          <a:xfrm>
            <a:off x="5778978" y="2143633"/>
            <a:ext cx="5956625" cy="2748183"/>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23" name="Picture Placeholder 130">
            <a:extLst>
              <a:ext uri="{FF2B5EF4-FFF2-40B4-BE49-F238E27FC236}">
                <a16:creationId xmlns:a16="http://schemas.microsoft.com/office/drawing/2014/main" id="{753CFF9E-D4D6-482D-B816-48DACAB51DD4}"/>
              </a:ext>
            </a:extLst>
          </p:cNvPr>
          <p:cNvSpPr>
            <a:spLocks noGrp="1"/>
          </p:cNvSpPr>
          <p:nvPr>
            <p:ph type="pic" sz="quarter" idx="10"/>
          </p:nvPr>
        </p:nvSpPr>
        <p:spPr>
          <a:xfrm>
            <a:off x="5897510" y="1989960"/>
            <a:ext cx="5986949" cy="2775729"/>
          </a:xfrm>
          <a:solidFill>
            <a:schemeClr val="bg2">
              <a:lumMod val="40000"/>
              <a:lumOff val="60000"/>
            </a:schemeClr>
          </a:solidFill>
        </p:spPr>
        <p:txBody>
          <a:bodyPr anchor="ctr"/>
          <a:lstStyle>
            <a:lvl1pPr algn="ctr">
              <a:defRPr>
                <a:solidFill>
                  <a:schemeClr val="tx1"/>
                </a:solidFill>
              </a:defRPr>
            </a:lvl1pPr>
          </a:lstStyle>
          <a:p>
            <a:endParaRPr lang="en-GB"/>
          </a:p>
        </p:txBody>
      </p:sp>
      <p:sp>
        <p:nvSpPr>
          <p:cNvPr id="24" name="Text Placeholder 4">
            <a:extLst>
              <a:ext uri="{FF2B5EF4-FFF2-40B4-BE49-F238E27FC236}">
                <a16:creationId xmlns:a16="http://schemas.microsoft.com/office/drawing/2014/main" id="{0C6286E4-7A0E-41FF-9547-54D8788B0450}"/>
              </a:ext>
            </a:extLst>
          </p:cNvPr>
          <p:cNvSpPr>
            <a:spLocks noGrp="1"/>
          </p:cNvSpPr>
          <p:nvPr>
            <p:ph type="body" sz="quarter" idx="34" hasCustomPrompt="1"/>
          </p:nvPr>
        </p:nvSpPr>
        <p:spPr>
          <a:xfrm>
            <a:off x="383855" y="1788599"/>
            <a:ext cx="5037154" cy="385918"/>
          </a:xfrm>
        </p:spPr>
        <p:txBody>
          <a:bodyPr tIns="0" anchor="b"/>
          <a:lstStyle>
            <a:lvl1pPr>
              <a:defRPr sz="1800" b="1" i="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Bullet point</a:t>
            </a:r>
          </a:p>
        </p:txBody>
      </p:sp>
      <p:sp>
        <p:nvSpPr>
          <p:cNvPr id="25" name="Text Placeholder 4">
            <a:extLst>
              <a:ext uri="{FF2B5EF4-FFF2-40B4-BE49-F238E27FC236}">
                <a16:creationId xmlns:a16="http://schemas.microsoft.com/office/drawing/2014/main" id="{3B7900B8-05FD-4933-8A74-925768E25098}"/>
              </a:ext>
            </a:extLst>
          </p:cNvPr>
          <p:cNvSpPr>
            <a:spLocks noGrp="1"/>
          </p:cNvSpPr>
          <p:nvPr>
            <p:ph type="body" sz="quarter" idx="36" hasCustomPrompt="1"/>
          </p:nvPr>
        </p:nvSpPr>
        <p:spPr>
          <a:xfrm>
            <a:off x="383855" y="2261788"/>
            <a:ext cx="5037154" cy="600725"/>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8" name="Text Placeholder 4">
            <a:extLst>
              <a:ext uri="{FF2B5EF4-FFF2-40B4-BE49-F238E27FC236}">
                <a16:creationId xmlns:a16="http://schemas.microsoft.com/office/drawing/2014/main" id="{3A5F4C54-019A-4646-81B4-C622C8553711}"/>
              </a:ext>
            </a:extLst>
          </p:cNvPr>
          <p:cNvSpPr>
            <a:spLocks noGrp="1"/>
          </p:cNvSpPr>
          <p:nvPr>
            <p:ph type="body" sz="quarter" idx="37" hasCustomPrompt="1"/>
          </p:nvPr>
        </p:nvSpPr>
        <p:spPr>
          <a:xfrm>
            <a:off x="383855" y="3203626"/>
            <a:ext cx="5037154" cy="385918"/>
          </a:xfrm>
        </p:spPr>
        <p:txBody>
          <a:bodyPr tIns="0" anchor="b"/>
          <a:lstStyle>
            <a:lvl1pPr>
              <a:defRPr sz="1800" b="1" i="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Bullet point</a:t>
            </a:r>
          </a:p>
        </p:txBody>
      </p:sp>
      <p:sp>
        <p:nvSpPr>
          <p:cNvPr id="29" name="Text Placeholder 4">
            <a:extLst>
              <a:ext uri="{FF2B5EF4-FFF2-40B4-BE49-F238E27FC236}">
                <a16:creationId xmlns:a16="http://schemas.microsoft.com/office/drawing/2014/main" id="{AAA869EC-2422-4396-BCCD-4AEFF01B5159}"/>
              </a:ext>
            </a:extLst>
          </p:cNvPr>
          <p:cNvSpPr>
            <a:spLocks noGrp="1"/>
          </p:cNvSpPr>
          <p:nvPr>
            <p:ph type="body" sz="quarter" idx="38" hasCustomPrompt="1"/>
          </p:nvPr>
        </p:nvSpPr>
        <p:spPr>
          <a:xfrm>
            <a:off x="383855" y="3676815"/>
            <a:ext cx="5037154" cy="600725"/>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0" name="Text Placeholder 4">
            <a:extLst>
              <a:ext uri="{FF2B5EF4-FFF2-40B4-BE49-F238E27FC236}">
                <a16:creationId xmlns:a16="http://schemas.microsoft.com/office/drawing/2014/main" id="{34504BDA-2B81-4C0C-AD95-22CC792631E8}"/>
              </a:ext>
            </a:extLst>
          </p:cNvPr>
          <p:cNvSpPr>
            <a:spLocks noGrp="1"/>
          </p:cNvSpPr>
          <p:nvPr>
            <p:ph type="body" sz="quarter" idx="39" hasCustomPrompt="1"/>
          </p:nvPr>
        </p:nvSpPr>
        <p:spPr>
          <a:xfrm>
            <a:off x="383855" y="4618653"/>
            <a:ext cx="5037154" cy="385918"/>
          </a:xfrm>
        </p:spPr>
        <p:txBody>
          <a:bodyPr tIns="0" anchor="b"/>
          <a:lstStyle>
            <a:lvl1pPr>
              <a:defRPr sz="1800" b="1" i="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a:t>Bullet point</a:t>
            </a:r>
          </a:p>
        </p:txBody>
      </p:sp>
      <p:sp>
        <p:nvSpPr>
          <p:cNvPr id="31" name="Text Placeholder 4">
            <a:extLst>
              <a:ext uri="{FF2B5EF4-FFF2-40B4-BE49-F238E27FC236}">
                <a16:creationId xmlns:a16="http://schemas.microsoft.com/office/drawing/2014/main" id="{CF8098B0-CE4C-4050-8254-2C4002E6E71E}"/>
              </a:ext>
            </a:extLst>
          </p:cNvPr>
          <p:cNvSpPr>
            <a:spLocks noGrp="1"/>
          </p:cNvSpPr>
          <p:nvPr>
            <p:ph type="body" sz="quarter" idx="40" hasCustomPrompt="1"/>
          </p:nvPr>
        </p:nvSpPr>
        <p:spPr>
          <a:xfrm>
            <a:off x="383855" y="5091842"/>
            <a:ext cx="5037154" cy="600725"/>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16" name="Footer Placeholder 6">
            <a:extLst>
              <a:ext uri="{FF2B5EF4-FFF2-40B4-BE49-F238E27FC236}">
                <a16:creationId xmlns:a16="http://schemas.microsoft.com/office/drawing/2014/main" id="{D94D97A6-9081-453A-82DB-FDBE317F273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17" name="Slide Number Placeholder 9">
            <a:extLst>
              <a:ext uri="{FF2B5EF4-FFF2-40B4-BE49-F238E27FC236}">
                <a16:creationId xmlns:a16="http://schemas.microsoft.com/office/drawing/2014/main" id="{6EE43BB1-4CAE-4E8F-BC92-7D56276A2002}"/>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bg1"/>
                </a:solidFill>
                <a:latin typeface="+mj-lt"/>
              </a:defRPr>
            </a:lvl1pPr>
          </a:lstStyle>
          <a:p>
            <a:fld id="{4F9AC08D-23A9-440E-BCB9-AA1E9877CC38}" type="slidenum">
              <a:rPr lang="en-US" smtClean="0"/>
              <a:pPr/>
              <a:t>‹#›</a:t>
            </a:fld>
            <a:endParaRPr lang="en-US"/>
          </a:p>
        </p:txBody>
      </p:sp>
      <p:sp>
        <p:nvSpPr>
          <p:cNvPr id="15" name="Title Placeholder 1">
            <a:extLst>
              <a:ext uri="{FF2B5EF4-FFF2-40B4-BE49-F238E27FC236}">
                <a16:creationId xmlns:a16="http://schemas.microsoft.com/office/drawing/2014/main" id="{5FAEA9C6-51AF-42F3-8695-4557AB2ED159}"/>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lvl1pPr>
              <a:defRPr>
                <a:solidFill>
                  <a:schemeClr val="bg1"/>
                </a:solidFill>
              </a:defRPr>
            </a:lvl1pPr>
          </a:lstStyle>
          <a:p>
            <a:pPr lvl="0"/>
            <a:r>
              <a:rPr lang="en-US"/>
              <a:t>Insert Main Title at 32pt</a:t>
            </a:r>
            <a:endParaRPr lang="en-AU"/>
          </a:p>
        </p:txBody>
      </p:sp>
      <p:pic>
        <p:nvPicPr>
          <p:cNvPr id="18" name="Picture 17">
            <a:extLst>
              <a:ext uri="{FF2B5EF4-FFF2-40B4-BE49-F238E27FC236}">
                <a16:creationId xmlns:a16="http://schemas.microsoft.com/office/drawing/2014/main" id="{76B845D8-578D-4802-A877-A0B337A884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054679"/>
            <a:ext cx="12190377" cy="803321"/>
          </a:xfrm>
          <a:prstGeom prst="rect">
            <a:avLst/>
          </a:prstGeom>
        </p:spPr>
      </p:pic>
    </p:spTree>
    <p:extLst>
      <p:ext uri="{BB962C8B-B14F-4D97-AF65-F5344CB8AC3E}">
        <p14:creationId xmlns:p14="http://schemas.microsoft.com/office/powerpoint/2010/main" val="1510844008"/>
      </p:ext>
    </p:extLst>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line &amp; copy 6">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17" name="Text Placeholder 4">
            <a:extLst>
              <a:ext uri="{FF2B5EF4-FFF2-40B4-BE49-F238E27FC236}">
                <a16:creationId xmlns:a16="http://schemas.microsoft.com/office/drawing/2014/main" id="{1A5562C5-98A5-4D5D-A99E-2DDC42021705}"/>
              </a:ext>
            </a:extLst>
          </p:cNvPr>
          <p:cNvSpPr>
            <a:spLocks noGrp="1"/>
          </p:cNvSpPr>
          <p:nvPr>
            <p:ph type="body" sz="quarter" idx="37" hasCustomPrompt="1"/>
          </p:nvPr>
        </p:nvSpPr>
        <p:spPr>
          <a:xfrm>
            <a:off x="6659717" y="600840"/>
            <a:ext cx="4961858" cy="141645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None/>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1" name="Text Placeholder 4">
            <a:extLst>
              <a:ext uri="{FF2B5EF4-FFF2-40B4-BE49-F238E27FC236}">
                <a16:creationId xmlns:a16="http://schemas.microsoft.com/office/drawing/2014/main" id="{A062398B-CEA4-4AD4-BDE8-052FA0E9563B}"/>
              </a:ext>
            </a:extLst>
          </p:cNvPr>
          <p:cNvSpPr>
            <a:spLocks noGrp="1"/>
          </p:cNvSpPr>
          <p:nvPr>
            <p:ph type="body" sz="quarter" idx="38" hasCustomPrompt="1"/>
          </p:nvPr>
        </p:nvSpPr>
        <p:spPr>
          <a:xfrm>
            <a:off x="6659717" y="2630385"/>
            <a:ext cx="4961858" cy="141645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None/>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5" name="Text Placeholder 4">
            <a:extLst>
              <a:ext uri="{FF2B5EF4-FFF2-40B4-BE49-F238E27FC236}">
                <a16:creationId xmlns:a16="http://schemas.microsoft.com/office/drawing/2014/main" id="{619E7611-E18E-4464-8AA5-7F3F45D612B3}"/>
              </a:ext>
            </a:extLst>
          </p:cNvPr>
          <p:cNvSpPr>
            <a:spLocks noGrp="1"/>
          </p:cNvSpPr>
          <p:nvPr>
            <p:ph type="body" sz="quarter" idx="39" hasCustomPrompt="1"/>
          </p:nvPr>
        </p:nvSpPr>
        <p:spPr>
          <a:xfrm>
            <a:off x="6673164" y="4659930"/>
            <a:ext cx="4961858" cy="141645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None/>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32" name="Text Placeholder 4">
            <a:extLst>
              <a:ext uri="{FF2B5EF4-FFF2-40B4-BE49-F238E27FC236}">
                <a16:creationId xmlns:a16="http://schemas.microsoft.com/office/drawing/2014/main" id="{DE6584F6-8EC0-4ADF-A555-CAF9EE0A091E}"/>
              </a:ext>
            </a:extLst>
          </p:cNvPr>
          <p:cNvSpPr>
            <a:spLocks noGrp="1"/>
          </p:cNvSpPr>
          <p:nvPr>
            <p:ph type="body" sz="quarter" idx="34" hasCustomPrompt="1"/>
          </p:nvPr>
        </p:nvSpPr>
        <p:spPr>
          <a:xfrm>
            <a:off x="375033" y="1776002"/>
            <a:ext cx="5864693" cy="3896121"/>
          </a:xfrm>
        </p:spPr>
        <p:txBody>
          <a:bodyPr tIns="0" anchor="t"/>
          <a:lstStyle>
            <a:lvl1pPr>
              <a:defRPr sz="1400" b="0" i="0">
                <a:solidFill>
                  <a:schemeClr val="tx1"/>
                </a:solidFill>
                <a:latin typeface="+mn-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lvl="0"/>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6" name="Footer Placeholder 6">
            <a:extLst>
              <a:ext uri="{FF2B5EF4-FFF2-40B4-BE49-F238E27FC236}">
                <a16:creationId xmlns:a16="http://schemas.microsoft.com/office/drawing/2014/main" id="{02135B0A-D6F5-428B-AC2F-EEDE3E1F4249}"/>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1" name="Slide Number Placeholder 9">
            <a:extLst>
              <a:ext uri="{FF2B5EF4-FFF2-40B4-BE49-F238E27FC236}">
                <a16:creationId xmlns:a16="http://schemas.microsoft.com/office/drawing/2014/main" id="{AB00D223-AF0F-4399-AC54-7D469A56ABBA}"/>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0" name="Title Placeholder 1">
            <a:extLst>
              <a:ext uri="{FF2B5EF4-FFF2-40B4-BE49-F238E27FC236}">
                <a16:creationId xmlns:a16="http://schemas.microsoft.com/office/drawing/2014/main" id="{8BD3172F-CA8F-484E-9E2F-201800E5DD24}"/>
              </a:ext>
            </a:extLst>
          </p:cNvPr>
          <p:cNvSpPr>
            <a:spLocks noGrp="1"/>
          </p:cNvSpPr>
          <p:nvPr>
            <p:ph type="title" hasCustomPrompt="1"/>
          </p:nvPr>
        </p:nvSpPr>
        <p:spPr>
          <a:xfrm>
            <a:off x="370415" y="580220"/>
            <a:ext cx="5864693"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915983940"/>
      </p:ext>
    </p:extLst>
  </p:cSld>
  <p:clrMapOvr>
    <a:masterClrMapping/>
  </p:clrMapOvr>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line &amp; copy 7">
    <p:bg>
      <p:bgPr>
        <a:solidFill>
          <a:schemeClr val="bg1"/>
        </a:solidFill>
        <a:effectLst/>
      </p:bgPr>
    </p:bg>
    <p:spTree>
      <p:nvGrpSpPr>
        <p:cNvPr id="1" name=""/>
        <p:cNvGrpSpPr/>
        <p:nvPr/>
      </p:nvGrpSpPr>
      <p:grpSpPr>
        <a:xfrm>
          <a:off x="0" y="0"/>
          <a:ext cx="0" cy="0"/>
          <a:chOff x="0" y="0"/>
          <a:chExt cx="0" cy="0"/>
        </a:xfrm>
      </p:grpSpPr>
      <p:pic>
        <p:nvPicPr>
          <p:cNvPr id="140" name="Picture 139">
            <a:extLst>
              <a:ext uri="{FF2B5EF4-FFF2-40B4-BE49-F238E27FC236}">
                <a16:creationId xmlns:a16="http://schemas.microsoft.com/office/drawing/2014/main" id="{50AF0CFF-A05D-46AB-B512-E2E8BCA81D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97876" y="-1"/>
            <a:ext cx="3994123" cy="6867937"/>
          </a:xfrm>
          <a:prstGeom prst="rect">
            <a:avLst/>
          </a:prstGeom>
        </p:spPr>
      </p:pic>
      <p:grpSp>
        <p:nvGrpSpPr>
          <p:cNvPr id="34" name="Group 33">
            <a:extLst>
              <a:ext uri="{FF2B5EF4-FFF2-40B4-BE49-F238E27FC236}">
                <a16:creationId xmlns:a16="http://schemas.microsoft.com/office/drawing/2014/main" id="{79831596-320C-4F85-BF9D-E6AA4173CB0A}"/>
              </a:ext>
            </a:extLst>
          </p:cNvPr>
          <p:cNvGrpSpPr/>
          <p:nvPr userDrawn="1"/>
        </p:nvGrpSpPr>
        <p:grpSpPr>
          <a:xfrm>
            <a:off x="8381373" y="391370"/>
            <a:ext cx="3449398" cy="1076872"/>
            <a:chOff x="153908" y="2442598"/>
            <a:chExt cx="6967229" cy="3311641"/>
          </a:xfrm>
        </p:grpSpPr>
        <p:sp>
          <p:nvSpPr>
            <p:cNvPr id="35" name="object 13">
              <a:extLst>
                <a:ext uri="{FF2B5EF4-FFF2-40B4-BE49-F238E27FC236}">
                  <a16:creationId xmlns:a16="http://schemas.microsoft.com/office/drawing/2014/main" id="{669B6BCA-8F18-4DC5-9FE0-66C1787024E8}"/>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36" name="object 13">
              <a:extLst>
                <a:ext uri="{FF2B5EF4-FFF2-40B4-BE49-F238E27FC236}">
                  <a16:creationId xmlns:a16="http://schemas.microsoft.com/office/drawing/2014/main" id="{79CE26E4-8676-4D04-85A8-9DBACCF2F504}"/>
                </a:ext>
              </a:extLst>
            </p:cNvPr>
            <p:cNvSpPr/>
            <p:nvPr userDrawn="1"/>
          </p:nvSpPr>
          <p:spPr>
            <a:xfrm>
              <a:off x="298636" y="2442598"/>
              <a:ext cx="6822501" cy="3082018"/>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49" name="Group 48">
            <a:extLst>
              <a:ext uri="{FF2B5EF4-FFF2-40B4-BE49-F238E27FC236}">
                <a16:creationId xmlns:a16="http://schemas.microsoft.com/office/drawing/2014/main" id="{9ED56EA3-5F18-4586-8DA0-312CA1E0105C}"/>
              </a:ext>
            </a:extLst>
          </p:cNvPr>
          <p:cNvGrpSpPr/>
          <p:nvPr userDrawn="1"/>
        </p:nvGrpSpPr>
        <p:grpSpPr>
          <a:xfrm>
            <a:off x="8381373" y="1594529"/>
            <a:ext cx="3449398" cy="1076872"/>
            <a:chOff x="153908" y="2442598"/>
            <a:chExt cx="6967229" cy="3311641"/>
          </a:xfrm>
        </p:grpSpPr>
        <p:sp>
          <p:nvSpPr>
            <p:cNvPr id="50" name="object 13">
              <a:extLst>
                <a:ext uri="{FF2B5EF4-FFF2-40B4-BE49-F238E27FC236}">
                  <a16:creationId xmlns:a16="http://schemas.microsoft.com/office/drawing/2014/main" id="{AC709AEA-825D-45EB-85D0-874D62F9E7A3}"/>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51" name="object 13">
              <a:extLst>
                <a:ext uri="{FF2B5EF4-FFF2-40B4-BE49-F238E27FC236}">
                  <a16:creationId xmlns:a16="http://schemas.microsoft.com/office/drawing/2014/main" id="{92012174-6749-4593-81D8-F06B059D6926}"/>
                </a:ext>
              </a:extLst>
            </p:cNvPr>
            <p:cNvSpPr/>
            <p:nvPr userDrawn="1"/>
          </p:nvSpPr>
          <p:spPr>
            <a:xfrm>
              <a:off x="298636" y="2442598"/>
              <a:ext cx="6822501" cy="3082018"/>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52" name="Group 51">
            <a:extLst>
              <a:ext uri="{FF2B5EF4-FFF2-40B4-BE49-F238E27FC236}">
                <a16:creationId xmlns:a16="http://schemas.microsoft.com/office/drawing/2014/main" id="{220553F6-F035-4A72-ADC3-6B21C91EDDC8}"/>
              </a:ext>
            </a:extLst>
          </p:cNvPr>
          <p:cNvGrpSpPr/>
          <p:nvPr userDrawn="1"/>
        </p:nvGrpSpPr>
        <p:grpSpPr>
          <a:xfrm>
            <a:off x="8381373" y="2797689"/>
            <a:ext cx="3449398" cy="1076872"/>
            <a:chOff x="153908" y="2442598"/>
            <a:chExt cx="6967229" cy="3311641"/>
          </a:xfrm>
        </p:grpSpPr>
        <p:sp>
          <p:nvSpPr>
            <p:cNvPr id="53" name="object 13">
              <a:extLst>
                <a:ext uri="{FF2B5EF4-FFF2-40B4-BE49-F238E27FC236}">
                  <a16:creationId xmlns:a16="http://schemas.microsoft.com/office/drawing/2014/main" id="{84AD0494-1259-4CFC-B4A8-4665C0A8A1A9}"/>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54" name="object 13">
              <a:extLst>
                <a:ext uri="{FF2B5EF4-FFF2-40B4-BE49-F238E27FC236}">
                  <a16:creationId xmlns:a16="http://schemas.microsoft.com/office/drawing/2014/main" id="{229B61F3-9E2F-4272-BBFE-A6339FC4631D}"/>
                </a:ext>
              </a:extLst>
            </p:cNvPr>
            <p:cNvSpPr/>
            <p:nvPr userDrawn="1"/>
          </p:nvSpPr>
          <p:spPr>
            <a:xfrm>
              <a:off x="298636" y="2442598"/>
              <a:ext cx="6822501" cy="3082018"/>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55" name="Group 54">
            <a:extLst>
              <a:ext uri="{FF2B5EF4-FFF2-40B4-BE49-F238E27FC236}">
                <a16:creationId xmlns:a16="http://schemas.microsoft.com/office/drawing/2014/main" id="{31ED2932-BC11-4A8E-B271-B29D3319B2A5}"/>
              </a:ext>
            </a:extLst>
          </p:cNvPr>
          <p:cNvGrpSpPr/>
          <p:nvPr userDrawn="1"/>
        </p:nvGrpSpPr>
        <p:grpSpPr>
          <a:xfrm>
            <a:off x="8381373" y="4000848"/>
            <a:ext cx="3449398" cy="1076872"/>
            <a:chOff x="153908" y="2442598"/>
            <a:chExt cx="6967229" cy="3311641"/>
          </a:xfrm>
        </p:grpSpPr>
        <p:sp>
          <p:nvSpPr>
            <p:cNvPr id="56" name="object 13">
              <a:extLst>
                <a:ext uri="{FF2B5EF4-FFF2-40B4-BE49-F238E27FC236}">
                  <a16:creationId xmlns:a16="http://schemas.microsoft.com/office/drawing/2014/main" id="{AD902AC4-7556-41D9-BCFE-C051609135FC}"/>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57" name="object 13">
              <a:extLst>
                <a:ext uri="{FF2B5EF4-FFF2-40B4-BE49-F238E27FC236}">
                  <a16:creationId xmlns:a16="http://schemas.microsoft.com/office/drawing/2014/main" id="{5AD5694C-9B88-411D-ACF5-D97FF8B323E0}"/>
                </a:ext>
              </a:extLst>
            </p:cNvPr>
            <p:cNvSpPr/>
            <p:nvPr userDrawn="1"/>
          </p:nvSpPr>
          <p:spPr>
            <a:xfrm>
              <a:off x="298636" y="2442598"/>
              <a:ext cx="6822501" cy="3082018"/>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grpSp>
        <p:nvGrpSpPr>
          <p:cNvPr id="58" name="Group 57">
            <a:extLst>
              <a:ext uri="{FF2B5EF4-FFF2-40B4-BE49-F238E27FC236}">
                <a16:creationId xmlns:a16="http://schemas.microsoft.com/office/drawing/2014/main" id="{8E817AD4-2066-4C69-A197-F5AAA77239BE}"/>
              </a:ext>
            </a:extLst>
          </p:cNvPr>
          <p:cNvGrpSpPr/>
          <p:nvPr userDrawn="1"/>
        </p:nvGrpSpPr>
        <p:grpSpPr>
          <a:xfrm>
            <a:off x="8381373" y="5204006"/>
            <a:ext cx="3449398" cy="1076872"/>
            <a:chOff x="153908" y="2442598"/>
            <a:chExt cx="6967229" cy="3311641"/>
          </a:xfrm>
        </p:grpSpPr>
        <p:sp>
          <p:nvSpPr>
            <p:cNvPr id="59" name="object 13">
              <a:extLst>
                <a:ext uri="{FF2B5EF4-FFF2-40B4-BE49-F238E27FC236}">
                  <a16:creationId xmlns:a16="http://schemas.microsoft.com/office/drawing/2014/main" id="{1A09A40A-F40A-4994-B836-60589E1F5BC3}"/>
                </a:ext>
              </a:extLst>
            </p:cNvPr>
            <p:cNvSpPr/>
            <p:nvPr userDrawn="1"/>
          </p:nvSpPr>
          <p:spPr>
            <a:xfrm>
              <a:off x="153908" y="2635783"/>
              <a:ext cx="6889047" cy="3118456"/>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sp>
          <p:nvSpPr>
            <p:cNvPr id="60" name="object 13">
              <a:extLst>
                <a:ext uri="{FF2B5EF4-FFF2-40B4-BE49-F238E27FC236}">
                  <a16:creationId xmlns:a16="http://schemas.microsoft.com/office/drawing/2014/main" id="{C9A1DAAC-F397-426C-977E-73CD6329A2E6}"/>
                </a:ext>
              </a:extLst>
            </p:cNvPr>
            <p:cNvSpPr/>
            <p:nvPr userDrawn="1"/>
          </p:nvSpPr>
          <p:spPr>
            <a:xfrm>
              <a:off x="298636" y="2442598"/>
              <a:ext cx="6822501" cy="3082018"/>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chemeClr val="bg1"/>
            </a:solidFill>
            <a:ln w="3175">
              <a:solidFill>
                <a:schemeClr val="accent1"/>
              </a:solidFill>
            </a:ln>
          </p:spPr>
          <p:txBody>
            <a:bodyPr wrap="square" lIns="0" tIns="0" rIns="0" bIns="0" rtlCol="0"/>
            <a:lstStyle/>
            <a:p>
              <a:pPr defTabSz="913851" fontAlgn="auto">
                <a:spcBef>
                  <a:spcPts val="0"/>
                </a:spcBef>
                <a:spcAft>
                  <a:spcPts val="0"/>
                </a:spcAft>
              </a:pPr>
              <a:endParaRPr sz="1799">
                <a:solidFill>
                  <a:srgbClr val="000000"/>
                </a:solidFill>
                <a:latin typeface="Graphik"/>
                <a:cs typeface="+mn-cs"/>
              </a:endParaRPr>
            </a:p>
          </p:txBody>
        </p:sp>
      </p:grpSp>
      <p:sp>
        <p:nvSpPr>
          <p:cNvPr id="24" name="Text Placeholder 4">
            <a:extLst>
              <a:ext uri="{FF2B5EF4-FFF2-40B4-BE49-F238E27FC236}">
                <a16:creationId xmlns:a16="http://schemas.microsoft.com/office/drawing/2014/main" id="{BF5B2268-16F3-4CE9-BEC9-C2DF0FFACA40}"/>
              </a:ext>
            </a:extLst>
          </p:cNvPr>
          <p:cNvSpPr>
            <a:spLocks noGrp="1"/>
          </p:cNvSpPr>
          <p:nvPr>
            <p:ph type="body" sz="quarter" idx="37" hasCustomPrompt="1"/>
          </p:nvPr>
        </p:nvSpPr>
        <p:spPr>
          <a:xfrm>
            <a:off x="8603140" y="505979"/>
            <a:ext cx="3132343" cy="774838"/>
          </a:xfrm>
        </p:spPr>
        <p:txBody>
          <a:bodyPr tIns="0" anchor="t"/>
          <a:lstStyle>
            <a:lvl1pPr marL="0" marR="0" indent="0" algn="l" defTabSz="914217" rtl="0" eaLnBrk="1" fontAlgn="base" latinLnBrk="0" hangingPunct="1">
              <a:lnSpc>
                <a:spcPct val="100000"/>
              </a:lnSpc>
              <a:spcBef>
                <a:spcPts val="0"/>
              </a:spcBef>
              <a:spcAft>
                <a:spcPct val="0"/>
              </a:spcAft>
              <a:buClrTx/>
              <a:buSzTx/>
              <a:buFont typeface="Arial" pitchFamily="34" charset="0"/>
              <a:buNone/>
              <a:tabLst/>
              <a:defRPr lang="en-US" sz="12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2" name="Text Placeholder 4">
            <a:extLst>
              <a:ext uri="{FF2B5EF4-FFF2-40B4-BE49-F238E27FC236}">
                <a16:creationId xmlns:a16="http://schemas.microsoft.com/office/drawing/2014/main" id="{10B6B56D-C79C-47F3-AB37-7B0537055E41}"/>
              </a:ext>
            </a:extLst>
          </p:cNvPr>
          <p:cNvSpPr>
            <a:spLocks noGrp="1"/>
          </p:cNvSpPr>
          <p:nvPr>
            <p:ph type="body" sz="quarter" idx="38" hasCustomPrompt="1"/>
          </p:nvPr>
        </p:nvSpPr>
        <p:spPr>
          <a:xfrm>
            <a:off x="8603140" y="1709139"/>
            <a:ext cx="3132343" cy="774838"/>
          </a:xfrm>
        </p:spPr>
        <p:txBody>
          <a:bodyPr tIns="0" anchor="t"/>
          <a:lstStyle>
            <a:lvl1pPr marL="0" marR="0" indent="0" algn="l" defTabSz="914217" rtl="0" eaLnBrk="1" fontAlgn="base" latinLnBrk="0" hangingPunct="1">
              <a:lnSpc>
                <a:spcPct val="100000"/>
              </a:lnSpc>
              <a:spcBef>
                <a:spcPts val="0"/>
              </a:spcBef>
              <a:spcAft>
                <a:spcPct val="0"/>
              </a:spcAft>
              <a:buClrTx/>
              <a:buSzTx/>
              <a:buFont typeface="Arial" pitchFamily="34" charset="0"/>
              <a:buNone/>
              <a:tabLst/>
              <a:defRPr lang="en-US" sz="12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40" name="Text Placeholder 4">
            <a:extLst>
              <a:ext uri="{FF2B5EF4-FFF2-40B4-BE49-F238E27FC236}">
                <a16:creationId xmlns:a16="http://schemas.microsoft.com/office/drawing/2014/main" id="{AB289A47-8015-4BE3-A7B5-822107EBFC48}"/>
              </a:ext>
            </a:extLst>
          </p:cNvPr>
          <p:cNvSpPr>
            <a:spLocks noGrp="1"/>
          </p:cNvSpPr>
          <p:nvPr>
            <p:ph type="body" sz="quarter" idx="39" hasCustomPrompt="1"/>
          </p:nvPr>
        </p:nvSpPr>
        <p:spPr>
          <a:xfrm>
            <a:off x="8603140" y="2912298"/>
            <a:ext cx="3132343" cy="774838"/>
          </a:xfrm>
        </p:spPr>
        <p:txBody>
          <a:bodyPr tIns="0" anchor="t"/>
          <a:lstStyle>
            <a:lvl1pPr marL="0" marR="0" indent="0" algn="l" defTabSz="914217" rtl="0" eaLnBrk="1" fontAlgn="base" latinLnBrk="0" hangingPunct="1">
              <a:lnSpc>
                <a:spcPct val="100000"/>
              </a:lnSpc>
              <a:spcBef>
                <a:spcPts val="0"/>
              </a:spcBef>
              <a:spcAft>
                <a:spcPct val="0"/>
              </a:spcAft>
              <a:buClrTx/>
              <a:buSzTx/>
              <a:buFont typeface="Arial" pitchFamily="34" charset="0"/>
              <a:buNone/>
              <a:tabLst/>
              <a:defRPr lang="en-US" sz="12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44" name="Text Placeholder 4">
            <a:extLst>
              <a:ext uri="{FF2B5EF4-FFF2-40B4-BE49-F238E27FC236}">
                <a16:creationId xmlns:a16="http://schemas.microsoft.com/office/drawing/2014/main" id="{1C96D5EE-44BE-43CC-8E7C-8CCBFE54AAB9}"/>
              </a:ext>
            </a:extLst>
          </p:cNvPr>
          <p:cNvSpPr>
            <a:spLocks noGrp="1"/>
          </p:cNvSpPr>
          <p:nvPr>
            <p:ph type="body" sz="quarter" idx="40" hasCustomPrompt="1"/>
          </p:nvPr>
        </p:nvSpPr>
        <p:spPr>
          <a:xfrm>
            <a:off x="8603140" y="4115457"/>
            <a:ext cx="3132343" cy="774838"/>
          </a:xfrm>
        </p:spPr>
        <p:txBody>
          <a:bodyPr tIns="0" anchor="t"/>
          <a:lstStyle>
            <a:lvl1pPr marL="0" marR="0" indent="0" algn="l" defTabSz="914217" rtl="0" eaLnBrk="1" fontAlgn="base" latinLnBrk="0" hangingPunct="1">
              <a:lnSpc>
                <a:spcPct val="100000"/>
              </a:lnSpc>
              <a:spcBef>
                <a:spcPts val="0"/>
              </a:spcBef>
              <a:spcAft>
                <a:spcPct val="0"/>
              </a:spcAft>
              <a:buClrTx/>
              <a:buSzTx/>
              <a:buFont typeface="Arial" pitchFamily="34" charset="0"/>
              <a:buNone/>
              <a:tabLst/>
              <a:defRPr lang="en-US" sz="12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48" name="Text Placeholder 4">
            <a:extLst>
              <a:ext uri="{FF2B5EF4-FFF2-40B4-BE49-F238E27FC236}">
                <a16:creationId xmlns:a16="http://schemas.microsoft.com/office/drawing/2014/main" id="{1B17FE98-1CDC-48F9-BC09-EF99F8042199}"/>
              </a:ext>
            </a:extLst>
          </p:cNvPr>
          <p:cNvSpPr>
            <a:spLocks noGrp="1"/>
          </p:cNvSpPr>
          <p:nvPr>
            <p:ph type="body" sz="quarter" idx="41" hasCustomPrompt="1"/>
          </p:nvPr>
        </p:nvSpPr>
        <p:spPr>
          <a:xfrm>
            <a:off x="8603140" y="5318616"/>
            <a:ext cx="3132343" cy="774838"/>
          </a:xfrm>
        </p:spPr>
        <p:txBody>
          <a:bodyPr tIns="0" anchor="t"/>
          <a:lstStyle>
            <a:lvl1pPr marL="0" marR="0" indent="0" algn="l" defTabSz="914217" rtl="0" eaLnBrk="1" fontAlgn="base" latinLnBrk="0" hangingPunct="1">
              <a:lnSpc>
                <a:spcPct val="100000"/>
              </a:lnSpc>
              <a:spcBef>
                <a:spcPts val="0"/>
              </a:spcBef>
              <a:spcAft>
                <a:spcPct val="0"/>
              </a:spcAft>
              <a:buClrTx/>
              <a:buSzTx/>
              <a:buFont typeface="Arial" pitchFamily="34" charset="0"/>
              <a:buNone/>
              <a:tabLst/>
              <a:defRPr lang="en-US" sz="12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lnSpc>
                <a:spcPct val="100000"/>
              </a:lnSpc>
              <a:spcBef>
                <a:spcPts val="0"/>
              </a:spcBef>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33" name="Footer Placeholder 6">
            <a:extLst>
              <a:ext uri="{FF2B5EF4-FFF2-40B4-BE49-F238E27FC236}">
                <a16:creationId xmlns:a16="http://schemas.microsoft.com/office/drawing/2014/main" id="{9734D606-D53A-472F-A5DE-71547FB5E90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bg1">
                    <a:alpha val="50000"/>
                  </a:schemeClr>
                </a:solidFill>
                <a:latin typeface="+mn-lt"/>
              </a:defRPr>
            </a:lvl1pPr>
          </a:lstStyle>
          <a:p>
            <a:r>
              <a:rPr lang="en-GB"/>
              <a:t>Copyright © 2022 Accenture. All rights reserved.</a:t>
            </a:r>
          </a:p>
        </p:txBody>
      </p:sp>
      <p:sp>
        <p:nvSpPr>
          <p:cNvPr id="29" name="Slide Number Placeholder 9">
            <a:extLst>
              <a:ext uri="{FF2B5EF4-FFF2-40B4-BE49-F238E27FC236}">
                <a16:creationId xmlns:a16="http://schemas.microsoft.com/office/drawing/2014/main" id="{963A3136-C5F5-481B-99E7-C9E7DD9D20D5}"/>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30" name="Text Placeholder 2">
            <a:extLst>
              <a:ext uri="{FF2B5EF4-FFF2-40B4-BE49-F238E27FC236}">
                <a16:creationId xmlns:a16="http://schemas.microsoft.com/office/drawing/2014/main" id="{5EED3AB2-0921-4732-BA9E-158335EEAE7E}"/>
              </a:ext>
            </a:extLst>
          </p:cNvPr>
          <p:cNvSpPr>
            <a:spLocks noGrp="1"/>
          </p:cNvSpPr>
          <p:nvPr>
            <p:ph type="body" sz="quarter" idx="35" hasCustomPrompt="1"/>
          </p:nvPr>
        </p:nvSpPr>
        <p:spPr>
          <a:xfrm>
            <a:off x="349386" y="1781094"/>
            <a:ext cx="7541601" cy="4180175"/>
          </a:xfrm>
        </p:spPr>
        <p:txBody>
          <a:bodyPr/>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b="0"/>
            </a:lvl1pPr>
            <a:lvl2pPr marL="0" indent="0">
              <a:buNone/>
              <a:defRPr lang="en-US" sz="1600" b="0" i="0" kern="1200" dirty="0" smtClean="0">
                <a:solidFill>
                  <a:schemeClr val="tx1"/>
                </a:solidFill>
                <a:latin typeface="+mn-lt"/>
                <a:ea typeface="Roboto" panose="02000000000000000000" pitchFamily="2" charset="0"/>
                <a:cs typeface="Arial" panose="020B0604020202020204" pitchFamily="34" charset="0"/>
              </a:defRPr>
            </a:lvl2pPr>
            <a:lvl3pPr marL="177764" indent="-177764">
              <a:buFont typeface="Arial" panose="020B0604020202020204" pitchFamily="34" charset="0"/>
              <a:buChar char="•"/>
              <a:defRPr sz="1600"/>
            </a:lvl3pPr>
            <a:lvl4pPr marL="360291" indent="-182526">
              <a:buFont typeface="Graphik" panose="020B0503030202060203" pitchFamily="34" charset="0"/>
              <a:buChar char="–"/>
              <a:defRPr sz="1600"/>
            </a:lvl4pPr>
            <a:lvl5pPr marL="538055" indent="-177764">
              <a:buFont typeface="Courier New" panose="02070309020205020404" pitchFamily="49" charset="0"/>
              <a:buChar char="o"/>
              <a:defRPr sz="1600"/>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a:t>
            </a:r>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p:txBody>
      </p:sp>
      <p:sp>
        <p:nvSpPr>
          <p:cNvPr id="28" name="Title Placeholder 1">
            <a:extLst>
              <a:ext uri="{FF2B5EF4-FFF2-40B4-BE49-F238E27FC236}">
                <a16:creationId xmlns:a16="http://schemas.microsoft.com/office/drawing/2014/main" id="{F68B7F9D-AB9A-407C-A099-1DFAF1005BC5}"/>
              </a:ext>
            </a:extLst>
          </p:cNvPr>
          <p:cNvSpPr>
            <a:spLocks noGrp="1"/>
          </p:cNvSpPr>
          <p:nvPr>
            <p:ph type="title" hasCustomPrompt="1"/>
          </p:nvPr>
        </p:nvSpPr>
        <p:spPr>
          <a:xfrm>
            <a:off x="370415" y="580220"/>
            <a:ext cx="7541601"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770165670"/>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eadline &amp; copy 8">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20" name="Rectangle 19">
            <a:extLst>
              <a:ext uri="{FF2B5EF4-FFF2-40B4-BE49-F238E27FC236}">
                <a16:creationId xmlns:a16="http://schemas.microsoft.com/office/drawing/2014/main" id="{1BA1ABFB-7FCA-4D2A-ABD1-48ED2F332C16}"/>
              </a:ext>
            </a:extLst>
          </p:cNvPr>
          <p:cNvSpPr/>
          <p:nvPr userDrawn="1"/>
        </p:nvSpPr>
        <p:spPr>
          <a:xfrm>
            <a:off x="139" y="1772828"/>
            <a:ext cx="12191722" cy="4425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 name="Text Placeholder 3">
            <a:extLst>
              <a:ext uri="{FF2B5EF4-FFF2-40B4-BE49-F238E27FC236}">
                <a16:creationId xmlns:a16="http://schemas.microsoft.com/office/drawing/2014/main" id="{3E805E43-D7B8-409C-B564-622E5B34D4BC}"/>
              </a:ext>
            </a:extLst>
          </p:cNvPr>
          <p:cNvSpPr>
            <a:spLocks noGrp="1"/>
          </p:cNvSpPr>
          <p:nvPr>
            <p:ph type="body" sz="quarter" idx="36" hasCustomPrompt="1"/>
          </p:nvPr>
        </p:nvSpPr>
        <p:spPr>
          <a:xfrm>
            <a:off x="363681" y="1987090"/>
            <a:ext cx="11354915" cy="734698"/>
          </a:xfrm>
        </p:spPr>
        <p:txBody>
          <a:bodyPr/>
          <a:lstStyle>
            <a:lvl1pPr>
              <a:defRPr sz="2000" b="1">
                <a:latin typeface="+mj-lt"/>
              </a:defRPr>
            </a:lvl1pPr>
          </a:lstStyle>
          <a:p>
            <a:pPr lvl="0"/>
            <a:r>
              <a:rPr lang="en-US"/>
              <a:t>Insert sub-title at 20 </a:t>
            </a:r>
            <a:r>
              <a:rPr lang="en-US" err="1"/>
              <a:t>pt</a:t>
            </a:r>
            <a:endParaRPr lang="en-US"/>
          </a:p>
        </p:txBody>
      </p:sp>
      <p:sp>
        <p:nvSpPr>
          <p:cNvPr id="23" name="Text Placeholder 4">
            <a:extLst>
              <a:ext uri="{FF2B5EF4-FFF2-40B4-BE49-F238E27FC236}">
                <a16:creationId xmlns:a16="http://schemas.microsoft.com/office/drawing/2014/main" id="{C166147B-6372-4619-B9B3-58AC7A610805}"/>
              </a:ext>
            </a:extLst>
          </p:cNvPr>
          <p:cNvSpPr>
            <a:spLocks noGrp="1"/>
          </p:cNvSpPr>
          <p:nvPr>
            <p:ph type="body" sz="quarter" idx="38" hasCustomPrompt="1"/>
          </p:nvPr>
        </p:nvSpPr>
        <p:spPr>
          <a:xfrm>
            <a:off x="554405" y="3190726"/>
            <a:ext cx="5188791" cy="21558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None/>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7" name="Text Placeholder 4">
            <a:extLst>
              <a:ext uri="{FF2B5EF4-FFF2-40B4-BE49-F238E27FC236}">
                <a16:creationId xmlns:a16="http://schemas.microsoft.com/office/drawing/2014/main" id="{FAB2EC39-429B-4F53-818D-FCF6B2D79618}"/>
              </a:ext>
            </a:extLst>
          </p:cNvPr>
          <p:cNvSpPr>
            <a:spLocks noGrp="1"/>
          </p:cNvSpPr>
          <p:nvPr>
            <p:ph type="body" sz="quarter" idx="39" hasCustomPrompt="1"/>
          </p:nvPr>
        </p:nvSpPr>
        <p:spPr>
          <a:xfrm>
            <a:off x="6433898" y="3190726"/>
            <a:ext cx="5188791" cy="21558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None/>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19" name="Footer Placeholder 6">
            <a:extLst>
              <a:ext uri="{FF2B5EF4-FFF2-40B4-BE49-F238E27FC236}">
                <a16:creationId xmlns:a16="http://schemas.microsoft.com/office/drawing/2014/main" id="{B8407646-4B27-4F2A-9212-2268D3B78BAA}"/>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1" name="Slide Number Placeholder 9">
            <a:extLst>
              <a:ext uri="{FF2B5EF4-FFF2-40B4-BE49-F238E27FC236}">
                <a16:creationId xmlns:a16="http://schemas.microsoft.com/office/drawing/2014/main" id="{FAEF47C0-7398-4995-8663-90F338867A33}"/>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0" name="Title Placeholder 1">
            <a:extLst>
              <a:ext uri="{FF2B5EF4-FFF2-40B4-BE49-F238E27FC236}">
                <a16:creationId xmlns:a16="http://schemas.microsoft.com/office/drawing/2014/main" id="{990E5B80-01C4-4B49-BAA8-1F3F29CCA8AD}"/>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3313295587"/>
      </p:ext>
    </p:extLst>
  </p:cSld>
  <p:clrMapOvr>
    <a:masterClrMapping/>
  </p:clrMapOvr>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line &amp; copy 9">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144" name="Footer Placeholder 6">
            <a:extLst>
              <a:ext uri="{FF2B5EF4-FFF2-40B4-BE49-F238E27FC236}">
                <a16:creationId xmlns:a16="http://schemas.microsoft.com/office/drawing/2014/main" id="{4CAB0DDD-FB4B-4A1E-8490-7A18A4455DDC}"/>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7" name="Text Placeholder 4">
            <a:extLst>
              <a:ext uri="{FF2B5EF4-FFF2-40B4-BE49-F238E27FC236}">
                <a16:creationId xmlns:a16="http://schemas.microsoft.com/office/drawing/2014/main" id="{1A5562C5-98A5-4D5D-A99E-2DDC42021705}"/>
              </a:ext>
            </a:extLst>
          </p:cNvPr>
          <p:cNvSpPr>
            <a:spLocks noGrp="1"/>
          </p:cNvSpPr>
          <p:nvPr>
            <p:ph type="body" sz="quarter" idx="37" hasCustomPrompt="1"/>
          </p:nvPr>
        </p:nvSpPr>
        <p:spPr>
          <a:xfrm>
            <a:off x="580894" y="2012548"/>
            <a:ext cx="3119716" cy="394872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dirty="0" smtClean="0">
                <a:solidFill>
                  <a:schemeClr val="accent2"/>
                </a:solidFill>
                <a:latin typeface="+mj-lt"/>
                <a:ea typeface="Roboto" panose="02000000000000000000" pitchFamily="2" charset="0"/>
                <a:cs typeface="Arial" panose="020B0604020202020204" pitchFamily="34" charset="0"/>
              </a:defRPr>
            </a:lvl1pPr>
            <a:lvl2pPr marL="285693" indent="-285693">
              <a:buFont typeface="Arial" panose="020B0604020202020204" pitchFamily="34" charset="0"/>
              <a:buChar char="•"/>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34" name="Text Placeholder 4">
            <a:extLst>
              <a:ext uri="{FF2B5EF4-FFF2-40B4-BE49-F238E27FC236}">
                <a16:creationId xmlns:a16="http://schemas.microsoft.com/office/drawing/2014/main" id="{D654342B-51B1-462A-AE5B-6B99A1096AB7}"/>
              </a:ext>
            </a:extLst>
          </p:cNvPr>
          <p:cNvSpPr>
            <a:spLocks noGrp="1"/>
          </p:cNvSpPr>
          <p:nvPr>
            <p:ph type="body" sz="quarter" idx="38" hasCustomPrompt="1"/>
          </p:nvPr>
        </p:nvSpPr>
        <p:spPr>
          <a:xfrm>
            <a:off x="4501765" y="2012548"/>
            <a:ext cx="3119716" cy="394872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a:solidFill>
                  <a:schemeClr val="accent2"/>
                </a:solidFill>
                <a:latin typeface="+mj-lt"/>
                <a:ea typeface="Roboto" panose="02000000000000000000" pitchFamily="2" charset="0"/>
                <a:cs typeface="Arial" panose="020B0604020202020204" pitchFamily="34" charset="0"/>
              </a:defRPr>
            </a:lvl1pPr>
            <a:lvl2pPr marL="285693" indent="-285693">
              <a:buFont typeface="Arial" panose="020B0604020202020204" pitchFamily="34" charset="0"/>
              <a:buChar char="•"/>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38" name="Text Placeholder 4">
            <a:extLst>
              <a:ext uri="{FF2B5EF4-FFF2-40B4-BE49-F238E27FC236}">
                <a16:creationId xmlns:a16="http://schemas.microsoft.com/office/drawing/2014/main" id="{789E6E39-B6C9-436F-8D7B-A055E580781F}"/>
              </a:ext>
            </a:extLst>
          </p:cNvPr>
          <p:cNvSpPr>
            <a:spLocks noGrp="1"/>
          </p:cNvSpPr>
          <p:nvPr>
            <p:ph type="body" sz="quarter" idx="39" hasCustomPrompt="1"/>
          </p:nvPr>
        </p:nvSpPr>
        <p:spPr>
          <a:xfrm>
            <a:off x="8422636" y="2012548"/>
            <a:ext cx="3119716" cy="3948722"/>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600" b="1" i="0" kern="1200" baseline="0">
                <a:solidFill>
                  <a:schemeClr val="accent2"/>
                </a:solidFill>
                <a:latin typeface="+mj-lt"/>
                <a:ea typeface="Roboto" panose="02000000000000000000" pitchFamily="2" charset="0"/>
                <a:cs typeface="Arial" panose="020B0604020202020204" pitchFamily="34" charset="0"/>
              </a:defRPr>
            </a:lvl1pPr>
            <a:lvl2pPr marL="285693" indent="-285693">
              <a:buFont typeface="Arial" panose="020B0604020202020204" pitchFamily="34" charset="0"/>
              <a:buChar char="•"/>
              <a:defRPr sz="14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imum font size 16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sed </a:t>
            </a:r>
            <a:r>
              <a:rPr lang="en-US" err="1"/>
              <a:t>consectetur</a:t>
            </a:r>
            <a:r>
              <a:rPr lang="en-US"/>
              <a:t>.</a:t>
            </a:r>
          </a:p>
        </p:txBody>
      </p:sp>
      <p:sp>
        <p:nvSpPr>
          <p:cNvPr id="10" name="Slide Number Placeholder 9">
            <a:extLst>
              <a:ext uri="{FF2B5EF4-FFF2-40B4-BE49-F238E27FC236}">
                <a16:creationId xmlns:a16="http://schemas.microsoft.com/office/drawing/2014/main" id="{501D1421-6456-4174-A3D5-206765B1611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9" name="Title Placeholder 1">
            <a:extLst>
              <a:ext uri="{FF2B5EF4-FFF2-40B4-BE49-F238E27FC236}">
                <a16:creationId xmlns:a16="http://schemas.microsoft.com/office/drawing/2014/main" id="{ACCD069F-DC2E-4E85-A0C1-A94ABA565F51}"/>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214311808"/>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line &amp; copy 10">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17" name="Text Placeholder 4">
            <a:extLst>
              <a:ext uri="{FF2B5EF4-FFF2-40B4-BE49-F238E27FC236}">
                <a16:creationId xmlns:a16="http://schemas.microsoft.com/office/drawing/2014/main" id="{1A5562C5-98A5-4D5D-A99E-2DDC42021705}"/>
              </a:ext>
            </a:extLst>
          </p:cNvPr>
          <p:cNvSpPr>
            <a:spLocks noGrp="1"/>
          </p:cNvSpPr>
          <p:nvPr>
            <p:ph type="body" sz="quarter" idx="37" hasCustomPrompt="1"/>
          </p:nvPr>
        </p:nvSpPr>
        <p:spPr>
          <a:xfrm>
            <a:off x="526209" y="2820812"/>
            <a:ext cx="1935795" cy="29202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25" name="Text Placeholder 4">
            <a:extLst>
              <a:ext uri="{FF2B5EF4-FFF2-40B4-BE49-F238E27FC236}">
                <a16:creationId xmlns:a16="http://schemas.microsoft.com/office/drawing/2014/main" id="{4F50D7C7-F51A-4C53-A1DF-8F661BB895ED}"/>
              </a:ext>
            </a:extLst>
          </p:cNvPr>
          <p:cNvSpPr>
            <a:spLocks noGrp="1"/>
          </p:cNvSpPr>
          <p:nvPr>
            <p:ph type="body" sz="quarter" idx="38" hasCustomPrompt="1"/>
          </p:nvPr>
        </p:nvSpPr>
        <p:spPr>
          <a:xfrm>
            <a:off x="2856262" y="2819184"/>
            <a:ext cx="1935795" cy="29202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41" name="Text Placeholder 4">
            <a:extLst>
              <a:ext uri="{FF2B5EF4-FFF2-40B4-BE49-F238E27FC236}">
                <a16:creationId xmlns:a16="http://schemas.microsoft.com/office/drawing/2014/main" id="{28F0FE5E-A919-431A-971F-ABA0911FC39A}"/>
              </a:ext>
            </a:extLst>
          </p:cNvPr>
          <p:cNvSpPr>
            <a:spLocks noGrp="1"/>
          </p:cNvSpPr>
          <p:nvPr>
            <p:ph type="body" sz="quarter" idx="39" hasCustomPrompt="1"/>
          </p:nvPr>
        </p:nvSpPr>
        <p:spPr>
          <a:xfrm>
            <a:off x="5186315" y="2819184"/>
            <a:ext cx="1935795" cy="29202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45" name="Text Placeholder 4">
            <a:extLst>
              <a:ext uri="{FF2B5EF4-FFF2-40B4-BE49-F238E27FC236}">
                <a16:creationId xmlns:a16="http://schemas.microsoft.com/office/drawing/2014/main" id="{82182676-F138-4C82-A3CD-8D172EE705F8}"/>
              </a:ext>
            </a:extLst>
          </p:cNvPr>
          <p:cNvSpPr>
            <a:spLocks noGrp="1"/>
          </p:cNvSpPr>
          <p:nvPr>
            <p:ph type="body" sz="quarter" idx="40" hasCustomPrompt="1"/>
          </p:nvPr>
        </p:nvSpPr>
        <p:spPr>
          <a:xfrm>
            <a:off x="7516368" y="2819184"/>
            <a:ext cx="1935795" cy="29202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49" name="Text Placeholder 4">
            <a:extLst>
              <a:ext uri="{FF2B5EF4-FFF2-40B4-BE49-F238E27FC236}">
                <a16:creationId xmlns:a16="http://schemas.microsoft.com/office/drawing/2014/main" id="{F663298D-04AE-41CC-916C-3BFC98B53257}"/>
              </a:ext>
            </a:extLst>
          </p:cNvPr>
          <p:cNvSpPr>
            <a:spLocks noGrp="1"/>
          </p:cNvSpPr>
          <p:nvPr>
            <p:ph type="body" sz="quarter" idx="41" hasCustomPrompt="1"/>
          </p:nvPr>
        </p:nvSpPr>
        <p:spPr>
          <a:xfrm>
            <a:off x="9846421" y="2818824"/>
            <a:ext cx="1935795" cy="2920291"/>
          </a:xfrm>
        </p:spPr>
        <p:txBody>
          <a:bodyPr tIns="0" anchor="t"/>
          <a:lstStyle>
            <a:lvl1pPr marL="0" marR="0" indent="0" algn="l" defTabSz="914217" rtl="0" eaLnBrk="1" fontAlgn="base" latinLnBrk="0" hangingPunct="1">
              <a:lnSpc>
                <a:spcPct val="110000"/>
              </a:lnSpc>
              <a:spcBef>
                <a:spcPts val="1200"/>
              </a:spcBef>
              <a:spcAft>
                <a:spcPct val="0"/>
              </a:spcAft>
              <a:buClrTx/>
              <a:buSzTx/>
              <a:buFont typeface="Arial" pitchFamily="34" charset="0"/>
              <a:buNone/>
              <a:tabLst/>
              <a:defRPr lang="en-US" sz="1400" b="1" i="0" kern="1200" baseline="0" dirty="0" smtClean="0">
                <a:solidFill>
                  <a:schemeClr val="accent2"/>
                </a:solidFill>
                <a:latin typeface="+mj-lt"/>
                <a:ea typeface="Roboto" panose="02000000000000000000" pitchFamily="2" charset="0"/>
                <a:cs typeface="Arial" panose="020B0604020202020204" pitchFamily="34" charset="0"/>
              </a:defRPr>
            </a:lvl1pPr>
            <a:lvl2pPr marL="0" indent="0">
              <a:buFont typeface="Arial" panose="020B0604020202020204" pitchFamily="34" charset="0"/>
              <a:buNone/>
              <a:defRPr sz="1200" b="0" i="0">
                <a:solidFill>
                  <a:schemeClr val="tx1"/>
                </a:solidFill>
                <a:latin typeface="+mn-lt"/>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pPr marL="0" marR="0" lvl="0" indent="0" algn="l" defTabSz="914217" rtl="0" eaLnBrk="1" fontAlgn="base" latinLnBrk="0" hangingPunct="1">
              <a:lnSpc>
                <a:spcPct val="110000"/>
              </a:lnSpc>
              <a:spcBef>
                <a:spcPts val="1200"/>
              </a:spcBef>
              <a:spcAft>
                <a:spcPct val="0"/>
              </a:spcAft>
              <a:buClrTx/>
              <a:buSzTx/>
              <a:buFont typeface="Arial" pitchFamily="34" charset="0"/>
              <a:buNone/>
              <a:tabLst/>
              <a:defRPr/>
            </a:pPr>
            <a:r>
              <a:rPr lang="en-US"/>
              <a:t>Insert bullet point max. font size 14 </a:t>
            </a:r>
            <a:r>
              <a:rPr lang="en-US" err="1"/>
              <a:t>pt</a:t>
            </a:r>
            <a:endParaRPr lang="en-US"/>
          </a:p>
          <a:p>
            <a:pPr lvl="1"/>
            <a:r>
              <a:rPr lang="en-US"/>
              <a:t>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p>
          <a:p>
            <a:pPr lvl="1"/>
            <a:r>
              <a:rPr lang="en-US" err="1"/>
              <a:t>Vivamus</a:t>
            </a:r>
            <a:r>
              <a:rPr lang="en-US"/>
              <a:t> </a:t>
            </a:r>
            <a:r>
              <a:rPr lang="en-US" err="1"/>
              <a:t>sagittis</a:t>
            </a:r>
            <a:r>
              <a:rPr lang="en-US"/>
              <a:t> </a:t>
            </a:r>
            <a:r>
              <a:rPr lang="en-US" err="1"/>
              <a:t>lacus</a:t>
            </a:r>
            <a:r>
              <a:rPr lang="en-US"/>
              <a:t> vel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p:txBody>
      </p:sp>
      <p:sp>
        <p:nvSpPr>
          <p:cNvPr id="50" name="Text Placeholder 4">
            <a:extLst>
              <a:ext uri="{FF2B5EF4-FFF2-40B4-BE49-F238E27FC236}">
                <a16:creationId xmlns:a16="http://schemas.microsoft.com/office/drawing/2014/main" id="{020C170F-60D7-4B07-92D4-693D04B49E78}"/>
              </a:ext>
            </a:extLst>
          </p:cNvPr>
          <p:cNvSpPr>
            <a:spLocks noGrp="1"/>
          </p:cNvSpPr>
          <p:nvPr>
            <p:ph type="body" sz="quarter" idx="33" hasCustomPrompt="1"/>
          </p:nvPr>
        </p:nvSpPr>
        <p:spPr>
          <a:xfrm>
            <a:off x="363065" y="1942775"/>
            <a:ext cx="607056" cy="504484"/>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51" name="Text Placeholder 4">
            <a:extLst>
              <a:ext uri="{FF2B5EF4-FFF2-40B4-BE49-F238E27FC236}">
                <a16:creationId xmlns:a16="http://schemas.microsoft.com/office/drawing/2014/main" id="{AC521129-856E-4F49-A361-6953B74FBFC8}"/>
              </a:ext>
            </a:extLst>
          </p:cNvPr>
          <p:cNvSpPr>
            <a:spLocks noGrp="1"/>
          </p:cNvSpPr>
          <p:nvPr>
            <p:ph type="body" sz="quarter" idx="42" hasCustomPrompt="1"/>
          </p:nvPr>
        </p:nvSpPr>
        <p:spPr>
          <a:xfrm>
            <a:off x="2689918" y="1942775"/>
            <a:ext cx="607056" cy="504484"/>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52" name="Text Placeholder 4">
            <a:extLst>
              <a:ext uri="{FF2B5EF4-FFF2-40B4-BE49-F238E27FC236}">
                <a16:creationId xmlns:a16="http://schemas.microsoft.com/office/drawing/2014/main" id="{CFC22F73-9699-4E5D-9AE8-E7DD00DB6F13}"/>
              </a:ext>
            </a:extLst>
          </p:cNvPr>
          <p:cNvSpPr>
            <a:spLocks noGrp="1"/>
          </p:cNvSpPr>
          <p:nvPr>
            <p:ph type="body" sz="quarter" idx="43" hasCustomPrompt="1"/>
          </p:nvPr>
        </p:nvSpPr>
        <p:spPr>
          <a:xfrm>
            <a:off x="5016771" y="1942775"/>
            <a:ext cx="607056" cy="504484"/>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53" name="Text Placeholder 4">
            <a:extLst>
              <a:ext uri="{FF2B5EF4-FFF2-40B4-BE49-F238E27FC236}">
                <a16:creationId xmlns:a16="http://schemas.microsoft.com/office/drawing/2014/main" id="{E8B17EB1-6A8E-4666-BC12-F12B757D9180}"/>
              </a:ext>
            </a:extLst>
          </p:cNvPr>
          <p:cNvSpPr>
            <a:spLocks noGrp="1"/>
          </p:cNvSpPr>
          <p:nvPr>
            <p:ph type="body" sz="quarter" idx="44" hasCustomPrompt="1"/>
          </p:nvPr>
        </p:nvSpPr>
        <p:spPr>
          <a:xfrm>
            <a:off x="7343625" y="1942775"/>
            <a:ext cx="607056" cy="504484"/>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54" name="Text Placeholder 4">
            <a:extLst>
              <a:ext uri="{FF2B5EF4-FFF2-40B4-BE49-F238E27FC236}">
                <a16:creationId xmlns:a16="http://schemas.microsoft.com/office/drawing/2014/main" id="{CB20439D-D02C-4C3C-AB3D-5815AADA5130}"/>
              </a:ext>
            </a:extLst>
          </p:cNvPr>
          <p:cNvSpPr>
            <a:spLocks noGrp="1"/>
          </p:cNvSpPr>
          <p:nvPr>
            <p:ph type="body" sz="quarter" idx="45" hasCustomPrompt="1"/>
          </p:nvPr>
        </p:nvSpPr>
        <p:spPr>
          <a:xfrm>
            <a:off x="9670479" y="1942775"/>
            <a:ext cx="607056" cy="504484"/>
          </a:xfrm>
        </p:spPr>
        <p:txBody>
          <a:bodyPr wrap="square" tIns="0" anchor="t">
            <a:noAutofit/>
          </a:bodyPr>
          <a:lstStyle>
            <a:lvl1pPr algn="l">
              <a:lnSpc>
                <a:spcPct val="80000"/>
              </a:lnSpc>
              <a:spcBef>
                <a:spcPts val="0"/>
              </a:spcBef>
              <a:defRPr sz="3599" b="1" i="0" baseline="0">
                <a:solidFill>
                  <a:schemeClr val="accent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a:t>
            </a:r>
          </a:p>
        </p:txBody>
      </p:sp>
      <p:sp>
        <p:nvSpPr>
          <p:cNvPr id="34" name="Footer Placeholder 6">
            <a:extLst>
              <a:ext uri="{FF2B5EF4-FFF2-40B4-BE49-F238E27FC236}">
                <a16:creationId xmlns:a16="http://schemas.microsoft.com/office/drawing/2014/main" id="{5B834895-F9E8-40E4-9F67-05E449CFEE2E}"/>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8" name="Slide Number Placeholder 9">
            <a:extLst>
              <a:ext uri="{FF2B5EF4-FFF2-40B4-BE49-F238E27FC236}">
                <a16:creationId xmlns:a16="http://schemas.microsoft.com/office/drawing/2014/main" id="{A3046D3F-151C-4859-81CA-9BBDC8254813}"/>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6" name="Title Placeholder 1">
            <a:extLst>
              <a:ext uri="{FF2B5EF4-FFF2-40B4-BE49-F238E27FC236}">
                <a16:creationId xmlns:a16="http://schemas.microsoft.com/office/drawing/2014/main" id="{50C76064-D852-402A-B11A-BBB900AD1A22}"/>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1922582584"/>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line &amp; bullets 1">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169776-CA12-456B-9C2F-C9C9FDA68AB9}"/>
              </a:ext>
            </a:extLst>
          </p:cNvPr>
          <p:cNvPicPr>
            <a:picLocks noChangeAspect="1"/>
          </p:cNvPicPr>
          <p:nvPr userDrawn="1"/>
        </p:nvPicPr>
        <p:blipFill>
          <a:blip r:embed="rId2"/>
          <a:stretch>
            <a:fillRect/>
          </a:stretch>
        </p:blipFill>
        <p:spPr>
          <a:xfrm>
            <a:off x="139" y="497"/>
            <a:ext cx="12191722" cy="6857006"/>
          </a:xfrm>
          <a:prstGeom prst="rect">
            <a:avLst/>
          </a:prstGeom>
        </p:spPr>
      </p:pic>
      <p:sp>
        <p:nvSpPr>
          <p:cNvPr id="45" name="Text Placeholder 4">
            <a:extLst>
              <a:ext uri="{FF2B5EF4-FFF2-40B4-BE49-F238E27FC236}">
                <a16:creationId xmlns:a16="http://schemas.microsoft.com/office/drawing/2014/main" id="{FB781026-2B08-42D1-98B0-EDED37CDBD4E}"/>
              </a:ext>
            </a:extLst>
          </p:cNvPr>
          <p:cNvSpPr>
            <a:spLocks noGrp="1"/>
          </p:cNvSpPr>
          <p:nvPr>
            <p:ph type="body" sz="quarter" idx="33" hasCustomPrompt="1"/>
          </p:nvPr>
        </p:nvSpPr>
        <p:spPr>
          <a:xfrm>
            <a:off x="462619" y="2301154"/>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46" name="Text Placeholder 4">
            <a:extLst>
              <a:ext uri="{FF2B5EF4-FFF2-40B4-BE49-F238E27FC236}">
                <a16:creationId xmlns:a16="http://schemas.microsoft.com/office/drawing/2014/main" id="{E70D8B12-FD21-4DBA-9959-DE2A5E3A8647}"/>
              </a:ext>
            </a:extLst>
          </p:cNvPr>
          <p:cNvSpPr>
            <a:spLocks noGrp="1"/>
          </p:cNvSpPr>
          <p:nvPr>
            <p:ph type="body" sz="quarter" idx="36" hasCustomPrompt="1"/>
          </p:nvPr>
        </p:nvSpPr>
        <p:spPr>
          <a:xfrm>
            <a:off x="3392244" y="2301154"/>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47" name="Text Placeholder 4">
            <a:extLst>
              <a:ext uri="{FF2B5EF4-FFF2-40B4-BE49-F238E27FC236}">
                <a16:creationId xmlns:a16="http://schemas.microsoft.com/office/drawing/2014/main" id="{0347157B-80B3-46F5-9489-994DE7B8F7F4}"/>
              </a:ext>
            </a:extLst>
          </p:cNvPr>
          <p:cNvSpPr>
            <a:spLocks noGrp="1"/>
          </p:cNvSpPr>
          <p:nvPr>
            <p:ph type="body" sz="quarter" idx="37" hasCustomPrompt="1"/>
          </p:nvPr>
        </p:nvSpPr>
        <p:spPr>
          <a:xfrm>
            <a:off x="6321869" y="2301154"/>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48" name="Text Placeholder 4">
            <a:extLst>
              <a:ext uri="{FF2B5EF4-FFF2-40B4-BE49-F238E27FC236}">
                <a16:creationId xmlns:a16="http://schemas.microsoft.com/office/drawing/2014/main" id="{729379B4-AE2B-45FA-8354-39BB9B4F610C}"/>
              </a:ext>
            </a:extLst>
          </p:cNvPr>
          <p:cNvSpPr>
            <a:spLocks noGrp="1"/>
          </p:cNvSpPr>
          <p:nvPr>
            <p:ph type="body" sz="quarter" idx="38" hasCustomPrompt="1"/>
          </p:nvPr>
        </p:nvSpPr>
        <p:spPr>
          <a:xfrm>
            <a:off x="9251496" y="2301154"/>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49" name="Text Placeholder 4">
            <a:extLst>
              <a:ext uri="{FF2B5EF4-FFF2-40B4-BE49-F238E27FC236}">
                <a16:creationId xmlns:a16="http://schemas.microsoft.com/office/drawing/2014/main" id="{446987F4-05CA-4EF0-9EC8-61FC2E8A755C}"/>
              </a:ext>
            </a:extLst>
          </p:cNvPr>
          <p:cNvSpPr>
            <a:spLocks noGrp="1"/>
          </p:cNvSpPr>
          <p:nvPr>
            <p:ph type="body" sz="quarter" idx="39" hasCustomPrompt="1"/>
          </p:nvPr>
        </p:nvSpPr>
        <p:spPr>
          <a:xfrm>
            <a:off x="462619" y="4221339"/>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50" name="Text Placeholder 4">
            <a:extLst>
              <a:ext uri="{FF2B5EF4-FFF2-40B4-BE49-F238E27FC236}">
                <a16:creationId xmlns:a16="http://schemas.microsoft.com/office/drawing/2014/main" id="{222D1EDA-4725-47EE-B86A-475143BDFCE9}"/>
              </a:ext>
            </a:extLst>
          </p:cNvPr>
          <p:cNvSpPr>
            <a:spLocks noGrp="1"/>
          </p:cNvSpPr>
          <p:nvPr>
            <p:ph type="body" sz="quarter" idx="40" hasCustomPrompt="1"/>
          </p:nvPr>
        </p:nvSpPr>
        <p:spPr>
          <a:xfrm>
            <a:off x="3392244" y="4221339"/>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51" name="Text Placeholder 4">
            <a:extLst>
              <a:ext uri="{FF2B5EF4-FFF2-40B4-BE49-F238E27FC236}">
                <a16:creationId xmlns:a16="http://schemas.microsoft.com/office/drawing/2014/main" id="{391E3048-EF3B-4CD8-A348-9288228C4934}"/>
              </a:ext>
            </a:extLst>
          </p:cNvPr>
          <p:cNvSpPr>
            <a:spLocks noGrp="1"/>
          </p:cNvSpPr>
          <p:nvPr>
            <p:ph type="body" sz="quarter" idx="41" hasCustomPrompt="1"/>
          </p:nvPr>
        </p:nvSpPr>
        <p:spPr>
          <a:xfrm>
            <a:off x="6321869" y="4221339"/>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52" name="Text Placeholder 4">
            <a:extLst>
              <a:ext uri="{FF2B5EF4-FFF2-40B4-BE49-F238E27FC236}">
                <a16:creationId xmlns:a16="http://schemas.microsoft.com/office/drawing/2014/main" id="{0EF41A28-BA32-48FF-8984-9B0F95711CFB}"/>
              </a:ext>
            </a:extLst>
          </p:cNvPr>
          <p:cNvSpPr>
            <a:spLocks noGrp="1"/>
          </p:cNvSpPr>
          <p:nvPr>
            <p:ph type="body" sz="quarter" idx="42" hasCustomPrompt="1"/>
          </p:nvPr>
        </p:nvSpPr>
        <p:spPr>
          <a:xfrm>
            <a:off x="9251496" y="4221339"/>
            <a:ext cx="2474276" cy="1074052"/>
          </a:xfrm>
          <a:noFill/>
        </p:spPr>
        <p:txBody>
          <a:bodyPr wrap="square" lIns="0" tIns="0" rIns="0" bIns="0" anchor="t">
            <a:noAutofit/>
          </a:bodyPr>
          <a:lstStyle>
            <a:lvl1pPr>
              <a:lnSpc>
                <a:spcPct val="80000"/>
              </a:lnSpc>
              <a:spcBef>
                <a:spcPts val="0"/>
              </a:spcBef>
              <a:defRPr sz="2200" b="1" i="0" baseline="0">
                <a:solidFill>
                  <a:schemeClr val="tx1"/>
                </a:solidFill>
                <a:latin typeface="+mj-lt"/>
              </a:defRPr>
            </a:lvl1pPr>
            <a:lvl2pPr>
              <a:defRPr b="1" i="0">
                <a:solidFill>
                  <a:schemeClr val="accent1"/>
                </a:solidFill>
                <a:latin typeface="Graphik" panose="020B0503030202060203" pitchFamily="34" charset="77"/>
              </a:defRPr>
            </a:lvl2pPr>
            <a:lvl3pPr>
              <a:defRPr b="1" i="0">
                <a:solidFill>
                  <a:schemeClr val="accent1"/>
                </a:solidFill>
                <a:latin typeface="Graphik" panose="020B0503030202060203" pitchFamily="34" charset="77"/>
              </a:defRPr>
            </a:lvl3pPr>
            <a:lvl4pPr>
              <a:defRPr b="1" i="0">
                <a:solidFill>
                  <a:schemeClr val="accent1"/>
                </a:solidFill>
                <a:latin typeface="Graphik" panose="020B0503030202060203" pitchFamily="34" charset="77"/>
              </a:defRPr>
            </a:lvl4pPr>
            <a:lvl5pPr>
              <a:defRPr b="1" i="0">
                <a:solidFill>
                  <a:schemeClr val="accent1"/>
                </a:solidFill>
                <a:latin typeface="Graphik" panose="020B0503030202060203" pitchFamily="34" charset="77"/>
              </a:defRPr>
            </a:lvl5pPr>
          </a:lstStyle>
          <a:p>
            <a:r>
              <a:rPr lang="en-US"/>
              <a:t>Bullet point font size 22 </a:t>
            </a:r>
            <a:r>
              <a:rPr lang="en-US" err="1"/>
              <a:t>pt</a:t>
            </a:r>
            <a:endParaRPr lang="en-US"/>
          </a:p>
        </p:txBody>
      </p:sp>
      <p:sp>
        <p:nvSpPr>
          <p:cNvPr id="53" name="Footer Placeholder 6">
            <a:extLst>
              <a:ext uri="{FF2B5EF4-FFF2-40B4-BE49-F238E27FC236}">
                <a16:creationId xmlns:a16="http://schemas.microsoft.com/office/drawing/2014/main" id="{CD60DB41-53AD-45E3-B224-400C36398692}"/>
              </a:ext>
            </a:extLst>
          </p:cNvPr>
          <p:cNvSpPr>
            <a:spLocks noGrp="1"/>
          </p:cNvSpPr>
          <p:nvPr>
            <p:ph type="ftr" sz="quarter" idx="16"/>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
        <p:nvSpPr>
          <p:cNvPr id="15" name="Slide Number Placeholder 9">
            <a:extLst>
              <a:ext uri="{FF2B5EF4-FFF2-40B4-BE49-F238E27FC236}">
                <a16:creationId xmlns:a16="http://schemas.microsoft.com/office/drawing/2014/main" id="{E7C684B2-E39B-42AA-8572-3D968D18A4E4}"/>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4" name="Title Placeholder 1">
            <a:extLst>
              <a:ext uri="{FF2B5EF4-FFF2-40B4-BE49-F238E27FC236}">
                <a16:creationId xmlns:a16="http://schemas.microsoft.com/office/drawing/2014/main" id="{CC95486B-21CD-4C4A-9FB7-2FCDA8F26570}"/>
              </a:ext>
            </a:extLst>
          </p:cNvPr>
          <p:cNvSpPr>
            <a:spLocks noGrp="1"/>
          </p:cNvSpPr>
          <p:nvPr>
            <p:ph type="title" hasCustomPrompt="1"/>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Tree>
    <p:extLst>
      <p:ext uri="{BB962C8B-B14F-4D97-AF65-F5344CB8AC3E}">
        <p14:creationId xmlns:p14="http://schemas.microsoft.com/office/powerpoint/2010/main" val="3551687215"/>
      </p:ext>
    </p:extLst>
  </p:cSld>
  <p:clrMapOvr>
    <a:masterClrMapping/>
  </p:clrMapOvr>
  <p:hf hdr="0" dt="0"/>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tags" Target="../tags/tag1.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image" Target="../media/image21.emf"/><Relationship Id="rId5" Type="http://schemas.openxmlformats.org/officeDocument/2006/relationships/slideLayout" Target="../slideLayouts/slideLayout70.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tags" Target="../tags/tag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theme" Target="../theme/theme2.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oleObject" Target="../embeddings/oleObject1.bin"/><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6398B6-6443-4D67-A365-3AF9C47C4716}"/>
              </a:ext>
            </a:extLst>
          </p:cNvPr>
          <p:cNvSpPr>
            <a:spLocks noGrp="1"/>
          </p:cNvSpPr>
          <p:nvPr>
            <p:ph type="title"/>
          </p:nvPr>
        </p:nvSpPr>
        <p:spPr>
          <a:xfrm>
            <a:off x="339724" y="312433"/>
            <a:ext cx="10028239" cy="777600"/>
          </a:xfrm>
          <a:prstGeom prst="rect">
            <a:avLst/>
          </a:prstGeom>
        </p:spPr>
        <p:txBody>
          <a:bodyPr vert="horz" lIns="0" tIns="0" rIns="0" bIns="0" rtlCol="0" anchor="t" anchorCtr="0">
            <a:no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EFFFA29-D1E3-47B0-8A22-1D402B88F90E}"/>
              </a:ext>
            </a:extLst>
          </p:cNvPr>
          <p:cNvSpPr>
            <a:spLocks noGrp="1"/>
          </p:cNvSpPr>
          <p:nvPr>
            <p:ph type="body" idx="1"/>
          </p:nvPr>
        </p:nvSpPr>
        <p:spPr>
          <a:xfrm>
            <a:off x="339724" y="1768475"/>
            <a:ext cx="11514090" cy="428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0" name="Footer Placeholder 39">
            <a:extLst>
              <a:ext uri="{FF2B5EF4-FFF2-40B4-BE49-F238E27FC236}">
                <a16:creationId xmlns:a16="http://schemas.microsoft.com/office/drawing/2014/main" id="{C7366250-C716-4622-9FDF-F0CDABBF6CB6}"/>
              </a:ext>
            </a:extLst>
          </p:cNvPr>
          <p:cNvSpPr>
            <a:spLocks noGrp="1"/>
          </p:cNvSpPr>
          <p:nvPr>
            <p:ph type="ftr" sz="quarter" idx="3"/>
          </p:nvPr>
        </p:nvSpPr>
        <p:spPr>
          <a:xfrm>
            <a:off x="7423200" y="6422694"/>
            <a:ext cx="4114800" cy="163513"/>
          </a:xfrm>
          <a:prstGeom prst="rect">
            <a:avLst/>
          </a:prstGeom>
        </p:spPr>
        <p:txBody>
          <a:bodyPr vert="horz" lIns="0" tIns="0" rIns="0" bIns="0" rtlCol="0" anchor="b"/>
          <a:lstStyle>
            <a:lvl1pPr algn="r">
              <a:defRPr sz="800">
                <a:solidFill>
                  <a:schemeClr val="tx1">
                    <a:alpha val="50000"/>
                  </a:schemeClr>
                </a:solidFill>
              </a:defRPr>
            </a:lvl1pPr>
          </a:lstStyle>
          <a:p>
            <a:r>
              <a:rPr lang="en-AU"/>
              <a:t>Copyright © 2022 Accenture. All rights reserved.</a:t>
            </a:r>
          </a:p>
        </p:txBody>
      </p:sp>
      <p:sp>
        <p:nvSpPr>
          <p:cNvPr id="41" name="Slide Number Placeholder 40">
            <a:extLst>
              <a:ext uri="{FF2B5EF4-FFF2-40B4-BE49-F238E27FC236}">
                <a16:creationId xmlns:a16="http://schemas.microsoft.com/office/drawing/2014/main" id="{655D4237-A081-4F4B-BD2C-FD71F14FFBFB}"/>
              </a:ext>
            </a:extLst>
          </p:cNvPr>
          <p:cNvSpPr>
            <a:spLocks noGrp="1"/>
          </p:cNvSpPr>
          <p:nvPr>
            <p:ph type="sldNum" sz="quarter" idx="4"/>
          </p:nvPr>
        </p:nvSpPr>
        <p:spPr>
          <a:xfrm>
            <a:off x="11617869" y="6422694"/>
            <a:ext cx="235945" cy="163513"/>
          </a:xfrm>
          <a:prstGeom prst="rect">
            <a:avLst/>
          </a:prstGeom>
        </p:spPr>
        <p:txBody>
          <a:bodyPr vert="horz" lIns="0" tIns="0" rIns="0" bIns="0" rtlCol="0" anchor="b"/>
          <a:lstStyle>
            <a:lvl1pPr algn="r">
              <a:defRPr sz="800">
                <a:solidFill>
                  <a:schemeClr val="tx1">
                    <a:alpha val="50000"/>
                  </a:schemeClr>
                </a:solidFill>
              </a:defRPr>
            </a:lvl1pPr>
          </a:lstStyle>
          <a:p>
            <a:fld id="{FC1BBE33-A891-48E8-970C-4A8D55F96D53}" type="slidenum">
              <a:rPr lang="en-AU" smtClean="0"/>
              <a:pPr/>
              <a:t>‹#›</a:t>
            </a:fld>
            <a:endParaRPr lang="en-AU"/>
          </a:p>
        </p:txBody>
      </p:sp>
    </p:spTree>
    <p:extLst>
      <p:ext uri="{BB962C8B-B14F-4D97-AF65-F5344CB8AC3E}">
        <p14:creationId xmlns:p14="http://schemas.microsoft.com/office/powerpoint/2010/main" val="184822202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7"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4" r:id="rId40"/>
    <p:sldLayoutId id="2147483705" r:id="rId41"/>
    <p:sldLayoutId id="2147483706" r:id="rId42"/>
    <p:sldLayoutId id="2147483707" r:id="rId43"/>
    <p:sldLayoutId id="2147483708" r:id="rId44"/>
    <p:sldLayoutId id="2147483709" r:id="rId45"/>
    <p:sldLayoutId id="2147483712" r:id="rId46"/>
    <p:sldLayoutId id="2147483713" r:id="rId47"/>
    <p:sldLayoutId id="2147483714" r:id="rId48"/>
    <p:sldLayoutId id="2147483716" r:id="rId49"/>
    <p:sldLayoutId id="2147483717" r:id="rId50"/>
    <p:sldLayoutId id="2147483718" r:id="rId51"/>
    <p:sldLayoutId id="2147483719" r:id="rId52"/>
    <p:sldLayoutId id="2147483720" r:id="rId53"/>
    <p:sldLayoutId id="2147483721" r:id="rId54"/>
    <p:sldLayoutId id="2147483722" r:id="rId55"/>
    <p:sldLayoutId id="2147483723" r:id="rId56"/>
    <p:sldLayoutId id="2147483724" r:id="rId57"/>
    <p:sldLayoutId id="2147483725" r:id="rId58"/>
    <p:sldLayoutId id="2147483726" r:id="rId59"/>
    <p:sldLayoutId id="2147483727" r:id="rId60"/>
    <p:sldLayoutId id="2147483728" r:id="rId61"/>
    <p:sldLayoutId id="2147483729" r:id="rId62"/>
    <p:sldLayoutId id="2147483730" r:id="rId63"/>
    <p:sldLayoutId id="2147483796" r:id="rId64"/>
    <p:sldLayoutId id="2147483798" r:id="rId65"/>
  </p:sldLayoutIdLst>
  <p:hf hdr="0" dt="0"/>
  <p:txStyles>
    <p:titleStyle>
      <a:lvl1pPr algn="l" defTabSz="914400" rtl="0" eaLnBrk="1" latinLnBrk="0" hangingPunct="1">
        <a:lnSpc>
          <a:spcPct val="8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8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0">
          <p15:clr>
            <a:srgbClr val="F26B43"/>
          </p15:clr>
        </p15:guide>
        <p15:guide id="2" pos="214">
          <p15:clr>
            <a:srgbClr val="F26B43"/>
          </p15:clr>
        </p15:guide>
        <p15:guide id="3" pos="924">
          <p15:clr>
            <a:srgbClr val="F26B43"/>
          </p15:clr>
        </p15:guide>
        <p15:guide id="4" pos="1150">
          <p15:clr>
            <a:srgbClr val="F26B43"/>
          </p15:clr>
        </p15:guide>
        <p15:guide id="5" pos="1860">
          <p15:clr>
            <a:srgbClr val="F26B43"/>
          </p15:clr>
        </p15:guide>
        <p15:guide id="6" pos="2084">
          <p15:clr>
            <a:srgbClr val="F26B43"/>
          </p15:clr>
        </p15:guide>
        <p15:guide id="7" pos="2794">
          <p15:clr>
            <a:srgbClr val="F26B43"/>
          </p15:clr>
        </p15:guide>
        <p15:guide id="8" pos="3021">
          <p15:clr>
            <a:srgbClr val="F26B43"/>
          </p15:clr>
        </p15:guide>
        <p15:guide id="9" pos="3729">
          <p15:clr>
            <a:srgbClr val="F26B43"/>
          </p15:clr>
        </p15:guide>
        <p15:guide id="10" pos="3953">
          <p15:clr>
            <a:srgbClr val="F26B43"/>
          </p15:clr>
        </p15:guide>
        <p15:guide id="11" pos="4662">
          <p15:clr>
            <a:srgbClr val="F26B43"/>
          </p15:clr>
        </p15:guide>
        <p15:guide id="12" pos="4887">
          <p15:clr>
            <a:srgbClr val="F26B43"/>
          </p15:clr>
        </p15:guide>
        <p15:guide id="13" pos="5596">
          <p15:clr>
            <a:srgbClr val="F26B43"/>
          </p15:clr>
        </p15:guide>
        <p15:guide id="14" pos="5822">
          <p15:clr>
            <a:srgbClr val="F26B43"/>
          </p15:clr>
        </p15:guide>
        <p15:guide id="15" pos="6531">
          <p15:clr>
            <a:srgbClr val="F26B43"/>
          </p15:clr>
        </p15:guide>
        <p15:guide id="16" pos="6760">
          <p15:clr>
            <a:srgbClr val="F26B43"/>
          </p15:clr>
        </p15:guide>
        <p15:guide id="17" pos="7467">
          <p15:clr>
            <a:srgbClr val="F26B43"/>
          </p15:clr>
        </p15:guide>
        <p15:guide id="18" orient="horz" pos="4107">
          <p15:clr>
            <a:srgbClr val="F26B43"/>
          </p15:clr>
        </p15:guide>
        <p15:guide id="19" orient="horz" pos="3815">
          <p15:clr>
            <a:srgbClr val="F26B43"/>
          </p15:clr>
        </p15:guide>
        <p15:guide id="20" orient="horz" pos="2614">
          <p15:clr>
            <a:srgbClr val="F26B43"/>
          </p15:clr>
        </p15:guide>
        <p15:guide id="21" orient="horz" pos="1114">
          <p15:clr>
            <a:srgbClr val="F26B43"/>
          </p15:clr>
        </p15:guide>
        <p15:guide id="22" orient="horz" pos="210">
          <p15:clr>
            <a:srgbClr val="F26B43"/>
          </p15:clr>
        </p15:guide>
        <p15:guide id="23" pos="423">
          <p15:clr>
            <a:srgbClr val="F26B43"/>
          </p15:clr>
        </p15:guide>
        <p15:guide id="24" orient="horz" pos="454">
          <p15:clr>
            <a:srgbClr val="F26B43"/>
          </p15:clr>
        </p15:guide>
        <p15:guide id="25" pos="72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55"/>
            </p:custData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57" imgW="395" imgH="394" progId="TCLayout.ActiveDocument.1">
                  <p:embed/>
                </p:oleObj>
              </mc:Choice>
              <mc:Fallback>
                <p:oleObj name="think-cell Slide" r:id="rId57"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58"/>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56"/>
            </p:custDataLst>
          </p:nvPr>
        </p:nvSpPr>
        <p:spPr>
          <a:xfrm>
            <a:off x="0" y="0"/>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9"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3" name="Text Placeholder 2"/>
          <p:cNvSpPr>
            <a:spLocks noGrp="1"/>
          </p:cNvSpPr>
          <p:nvPr>
            <p:ph type="body" idx="1"/>
          </p:nvPr>
        </p:nvSpPr>
        <p:spPr>
          <a:xfrm>
            <a:off x="355739" y="1390328"/>
            <a:ext cx="11474082" cy="457094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Placeholder 1"/>
          <p:cNvSpPr>
            <a:spLocks noGrp="1"/>
          </p:cNvSpPr>
          <p:nvPr>
            <p:ph type="title"/>
          </p:nvPr>
        </p:nvSpPr>
        <p:spPr>
          <a:xfrm>
            <a:off x="370415" y="580220"/>
            <a:ext cx="11459366" cy="700597"/>
          </a:xfrm>
          <a:prstGeom prst="rect">
            <a:avLst/>
          </a:prstGeom>
        </p:spPr>
        <p:txBody>
          <a:bodyPr vert="horz" lIns="0" tIns="60944" rIns="0" bIns="0" rtlCol="0" anchor="t" anchorCtr="0">
            <a:noAutofit/>
          </a:bodyPr>
          <a:lstStyle/>
          <a:p>
            <a:pPr lvl="0"/>
            <a:r>
              <a:rPr lang="en-US"/>
              <a:t>Insert Main Title at 32pt</a:t>
            </a:r>
            <a:endParaRPr lang="en-AU"/>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363064" y="6393634"/>
            <a:ext cx="561476" cy="273402"/>
          </a:xfrm>
          <a:prstGeom prst="rect">
            <a:avLst/>
          </a:prstGeom>
        </p:spPr>
        <p:txBody>
          <a:bodyPr tIns="0" bIns="0" anchor="b"/>
          <a:lstStyle>
            <a:lvl1pPr algn="l">
              <a:defRPr sz="1000" b="1">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8096146" y="6393634"/>
            <a:ext cx="3733634" cy="270112"/>
          </a:xfrm>
          <a:prstGeom prst="rect">
            <a:avLst/>
          </a:prstGeom>
        </p:spPr>
        <p:txBody>
          <a:bodyPr tIns="0" bIns="0" anchor="b"/>
          <a:lstStyle>
            <a:lvl1pPr algn="r">
              <a:defRPr sz="800">
                <a:solidFill>
                  <a:schemeClr val="tx1">
                    <a:alpha val="50000"/>
                  </a:schemeClr>
                </a:solidFill>
                <a:latin typeface="+mn-lt"/>
              </a:defRPr>
            </a:lvl1pPr>
          </a:lstStyle>
          <a:p>
            <a:r>
              <a:rPr lang="en-GB"/>
              <a:t>Copyright © 2022 Accenture. All rights reserved.</a:t>
            </a:r>
          </a:p>
        </p:txBody>
      </p:sp>
    </p:spTree>
    <p:extLst>
      <p:ext uri="{BB962C8B-B14F-4D97-AF65-F5344CB8AC3E}">
        <p14:creationId xmlns:p14="http://schemas.microsoft.com/office/powerpoint/2010/main" val="256778867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7" r:id="rId53"/>
  </p:sldLayoutIdLst>
  <p:hf hdr="0" dt="0"/>
  <p:txStyles>
    <p:titleStyle>
      <a:lvl1pPr algn="l" rtl="0" eaLnBrk="1" fontAlgn="base" hangingPunct="1">
        <a:lnSpc>
          <a:spcPct val="80000"/>
        </a:lnSpc>
        <a:spcBef>
          <a:spcPct val="0"/>
        </a:spcBef>
        <a:spcAft>
          <a:spcPct val="0"/>
        </a:spcAft>
        <a:buFont typeface="Arial" charset="0"/>
        <a:defRPr lang="en-AU" sz="3199" b="1" i="0" kern="1200" cap="none" spc="-150"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0"/>
        </a:spcBef>
        <a:spcAft>
          <a:spcPct val="0"/>
        </a:spcAft>
        <a:buFont typeface="Arial" pitchFamily="34" charset="0"/>
        <a:buNone/>
        <a:defRPr sz="1800" b="0" i="0" kern="1200">
          <a:solidFill>
            <a:schemeClr val="tx1"/>
          </a:solidFill>
          <a:latin typeface="+mn-lt"/>
          <a:ea typeface="Roboto" panose="02000000000000000000" pitchFamily="2" charset="0"/>
          <a:cs typeface="Arial" panose="020B0604020202020204" pitchFamily="34" charset="0"/>
        </a:defRPr>
      </a:lvl1pPr>
      <a:lvl2pPr marL="21595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0" i="0" kern="1200">
          <a:solidFill>
            <a:schemeClr val="tx1"/>
          </a:solidFill>
          <a:latin typeface="+mn-lt"/>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p15:clr>
            <a:srgbClr val="F26B43"/>
          </p15:clr>
        </p15:guide>
        <p15:guide id="2" pos="225">
          <p15:clr>
            <a:srgbClr val="F26B43"/>
          </p15:clr>
        </p15:guide>
        <p15:guide id="3" pos="7452">
          <p15:clr>
            <a:srgbClr val="F26B43"/>
          </p15:clr>
        </p15:guide>
        <p15:guide id="4" pos="1277">
          <p15:clr>
            <a:srgbClr val="F26B43"/>
          </p15:clr>
        </p15:guide>
        <p15:guide id="5" pos="1460">
          <p15:clr>
            <a:srgbClr val="F26B43"/>
          </p15:clr>
        </p15:guide>
        <p15:guide id="6" pos="2514">
          <p15:clr>
            <a:srgbClr val="F26B43"/>
          </p15:clr>
        </p15:guide>
        <p15:guide id="7" pos="2696">
          <p15:clr>
            <a:srgbClr val="F26B43"/>
          </p15:clr>
        </p15:guide>
        <p15:guide id="8" pos="3929">
          <p15:clr>
            <a:srgbClr val="F26B43"/>
          </p15:clr>
        </p15:guide>
        <p15:guide id="9" pos="3748">
          <p15:clr>
            <a:srgbClr val="F26B43"/>
          </p15:clr>
        </p15:guide>
        <p15:guide id="10" pos="4982">
          <p15:clr>
            <a:srgbClr val="F26B43"/>
          </p15:clr>
        </p15:guide>
        <p15:guide id="11" pos="5162">
          <p15:clr>
            <a:srgbClr val="F26B43"/>
          </p15:clr>
        </p15:guide>
        <p15:guide id="12" pos="6218">
          <p15:clr>
            <a:srgbClr val="F26B43"/>
          </p15:clr>
        </p15:guide>
        <p15:guide id="13" pos="6399">
          <p15:clr>
            <a:srgbClr val="F26B43"/>
          </p15:clr>
        </p15:guide>
        <p15:guide id="14" orient="horz" pos="807">
          <p15:clr>
            <a:srgbClr val="F26B43"/>
          </p15:clr>
        </p15:guide>
        <p15:guide id="15" orient="horz" pos="876">
          <p15:clr>
            <a:srgbClr val="F26B43"/>
          </p15:clr>
        </p15:guide>
        <p15:guide id="16" orient="horz" pos="4031">
          <p15:clr>
            <a:srgbClr val="F26B43"/>
          </p15:clr>
        </p15:guide>
        <p15:guide id="17" orient="horz" pos="597">
          <p15:clr>
            <a:srgbClr val="F26B43"/>
          </p15:clr>
        </p15:guide>
        <p15:guide id="18" orient="horz" pos="2435">
          <p15:clr>
            <a:srgbClr val="F26B43"/>
          </p15:clr>
        </p15:guide>
        <p15:guide id="19" orient="horz" pos="3756">
          <p15:clr>
            <a:srgbClr val="F26B43"/>
          </p15:clr>
        </p15:guide>
        <p15:guide id="20" orient="horz" pos="419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67.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diagramLayout" Target="../diagrams/layout1.xml"/><Relationship Id="rId5" Type="http://schemas.openxmlformats.org/officeDocument/2006/relationships/diagramData" Target="../diagrams/data1.xml"/><Relationship Id="rId4" Type="http://schemas.microsoft.com/office/2007/relationships/hdphoto" Target="../media/hdphoto1.wdp"/><Relationship Id="rId9" Type="http://schemas.microsoft.com/office/2007/relationships/diagramDrawing" Target="../diagrams/drawing1.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30.xml"/><Relationship Id="rId5" Type="http://schemas.openxmlformats.org/officeDocument/2006/relationships/image" Target="../media/image70.png"/><Relationship Id="rId4" Type="http://schemas.openxmlformats.org/officeDocument/2006/relationships/image" Target="../media/image69.png"/></Relationships>
</file>

<file path=ppt/slides/_rels/slide1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hyperlink" Target="https://ts.accenture.com/:w:/r/sites/AccentureUCIDataScienceDiabetesCapstone/_layouts/15/Doc.aspx?sourcedoc=%7B7189AE94-627A-4CE8-9A53-FC8E8678CC89%7D&amp;file=BMJ%20AI%20Diabetes%20Manuscript.docx&amp;action=default&amp;mobileredirect=true" TargetMode="External"/><Relationship Id="rId2" Type="http://schemas.microsoft.com/office/2018/10/relationships/comments" Target="../comments/modernComment_7BBF5A45_D5BFC36A.xml"/><Relationship Id="rId1" Type="http://schemas.openxmlformats.org/officeDocument/2006/relationships/slideLayout" Target="../slideLayouts/slideLayout30.xml"/><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microsoft.com/office/2018/10/relationships/comments" Target="../comments/modernComment_7BBF5A3D_5D4810B4.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11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28.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3.pn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65.xml"/><Relationship Id="rId6" Type="http://schemas.openxmlformats.org/officeDocument/2006/relationships/image" Target="../media/image49.jpe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54.png"/><Relationship Id="rId1" Type="http://schemas.openxmlformats.org/officeDocument/2006/relationships/slideLayout" Target="../slideLayouts/slideLayout118.xml"/><Relationship Id="rId6" Type="http://schemas.openxmlformats.org/officeDocument/2006/relationships/image" Target="../media/image58.png"/><Relationship Id="rId5" Type="http://schemas.openxmlformats.org/officeDocument/2006/relationships/image" Target="../media/image57.svg"/><Relationship Id="rId4" Type="http://schemas.openxmlformats.org/officeDocument/2006/relationships/image" Target="../media/image56.png"/><Relationship Id="rId9" Type="http://schemas.openxmlformats.org/officeDocument/2006/relationships/image" Target="../media/image6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1428973" y="4913710"/>
            <a:ext cx="5947459" cy="872547"/>
          </a:xfrm>
        </p:spPr>
        <p:txBody>
          <a:bodyPr/>
          <a:lstStyle/>
          <a:p>
            <a:r>
              <a:rPr lang="en-US" sz="2000"/>
              <a:t>UC Irvine Data Science Capstone Project</a:t>
            </a:r>
            <a:r>
              <a:rPr lang="en-US" sz="2300"/>
              <a:t> - </a:t>
            </a:r>
            <a:r>
              <a:rPr lang="en-US" sz="2000">
                <a:latin typeface="+mn-lt"/>
              </a:rPr>
              <a:t>Engaging and preparing university students by focusing on solving real-world challenge facing local community</a:t>
            </a:r>
            <a:endParaRPr lang="en-US" sz="2300">
              <a:latin typeface="+mn-lt"/>
            </a:endParaRPr>
          </a:p>
        </p:txBody>
      </p:sp>
      <p:sp>
        <p:nvSpPr>
          <p:cNvPr id="5" name="Title 4"/>
          <p:cNvSpPr>
            <a:spLocks noGrp="1"/>
          </p:cNvSpPr>
          <p:nvPr>
            <p:ph type="title"/>
          </p:nvPr>
        </p:nvSpPr>
        <p:spPr>
          <a:xfrm>
            <a:off x="1428973" y="1944290"/>
            <a:ext cx="7899962" cy="2969420"/>
          </a:xfrm>
        </p:spPr>
        <p:txBody>
          <a:bodyPr/>
          <a:lstStyle/>
          <a:p>
            <a:r>
              <a:rPr lang="en-AU"/>
              <a:t>Predicting risk of type 2 diabetes</a:t>
            </a:r>
          </a:p>
        </p:txBody>
      </p:sp>
    </p:spTree>
    <p:extLst>
      <p:ext uri="{BB962C8B-B14F-4D97-AF65-F5344CB8AC3E}">
        <p14:creationId xmlns:p14="http://schemas.microsoft.com/office/powerpoint/2010/main" val="13636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a:lstStyle/>
          <a:p>
            <a:r>
              <a:rPr lang="en-GB"/>
              <a:t>Copyright © 2022 Accenture. All rights reserved.</a:t>
            </a:r>
          </a:p>
        </p:txBody>
      </p:sp>
      <p:sp>
        <p:nvSpPr>
          <p:cNvPr id="3" name="Slide Number Placeholder 2">
            <a:extLst>
              <a:ext uri="{FF2B5EF4-FFF2-40B4-BE49-F238E27FC236}">
                <a16:creationId xmlns:a16="http://schemas.microsoft.com/office/drawing/2014/main" id="{304EEE27-A466-473E-8708-A9E787D2E72D}"/>
              </a:ext>
            </a:extLst>
          </p:cNvPr>
          <p:cNvSpPr>
            <a:spLocks noGrp="1"/>
          </p:cNvSpPr>
          <p:nvPr>
            <p:ph type="sldNum" sz="quarter" idx="4"/>
          </p:nvPr>
        </p:nvSpPr>
        <p:spPr/>
        <p:txBody>
          <a:bodyPr/>
          <a:lstStyle/>
          <a:p>
            <a:fld id="{4F9AC08D-23A9-440E-BCB9-AA1E9877CC38}" type="slidenum">
              <a:rPr lang="en-US" smtClean="0"/>
              <a:pPr/>
              <a:t>10</a:t>
            </a:fld>
            <a:endParaRPr lang="en-US"/>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441325" cy="707886"/>
          </a:xfrm>
          <a:prstGeom prst="rect">
            <a:avLst/>
          </a:prstGeom>
          <a:noFill/>
        </p:spPr>
        <p:txBody>
          <a:bodyPr wrap="square" rtlCol="0">
            <a:spAutoFit/>
          </a:bodyPr>
          <a:lstStyle/>
          <a:p>
            <a:r>
              <a:rPr lang="en-US" sz="4000" b="1">
                <a:solidFill>
                  <a:schemeClr val="bg1"/>
                </a:solidFill>
                <a:latin typeface="+mj-lt"/>
              </a:rPr>
              <a:t>Framework &amp; Approach</a:t>
            </a:r>
          </a:p>
        </p:txBody>
      </p:sp>
      <p:sp>
        <p:nvSpPr>
          <p:cNvPr id="6" name="TextBox 5">
            <a:extLst>
              <a:ext uri="{FF2B5EF4-FFF2-40B4-BE49-F238E27FC236}">
                <a16:creationId xmlns:a16="http://schemas.microsoft.com/office/drawing/2014/main" id="{BE475FB9-AF91-4EC1-9F3A-802B09F24777}"/>
              </a:ext>
            </a:extLst>
          </p:cNvPr>
          <p:cNvSpPr txBox="1"/>
          <p:nvPr/>
        </p:nvSpPr>
        <p:spPr>
          <a:xfrm>
            <a:off x="1372475" y="3075057"/>
            <a:ext cx="1002862" cy="707886"/>
          </a:xfrm>
          <a:prstGeom prst="rect">
            <a:avLst/>
          </a:prstGeom>
          <a:noFill/>
        </p:spPr>
        <p:txBody>
          <a:bodyPr wrap="square" rtlCol="0">
            <a:spAutoFit/>
          </a:bodyPr>
          <a:lstStyle/>
          <a:p>
            <a:r>
              <a:rPr lang="en-US" sz="4000" b="1">
                <a:solidFill>
                  <a:schemeClr val="bg1">
                    <a:lumMod val="65000"/>
                  </a:schemeClr>
                </a:solidFill>
                <a:latin typeface="+mj-lt"/>
              </a:rPr>
              <a:t>03</a:t>
            </a:r>
          </a:p>
        </p:txBody>
      </p:sp>
    </p:spTree>
    <p:extLst>
      <p:ext uri="{BB962C8B-B14F-4D97-AF65-F5344CB8AC3E}">
        <p14:creationId xmlns:p14="http://schemas.microsoft.com/office/powerpoint/2010/main" val="3191844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4FFC996A-4C25-494E-A6F3-A62AE1112C0E}"/>
              </a:ext>
            </a:extLst>
          </p:cNvPr>
          <p:cNvSpPr/>
          <p:nvPr/>
        </p:nvSpPr>
        <p:spPr>
          <a:xfrm>
            <a:off x="630195" y="1595366"/>
            <a:ext cx="2248929" cy="4481564"/>
          </a:xfrm>
          <a:prstGeom prst="roundRect">
            <a:avLst/>
          </a:prstGeom>
          <a:no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11</a:t>
            </a:fld>
            <a:endParaRPr lang="en-AU"/>
          </a:p>
        </p:txBody>
      </p:sp>
      <p:sp>
        <p:nvSpPr>
          <p:cNvPr id="6" name="Rectangle: Rounded Corners 5">
            <a:extLst>
              <a:ext uri="{FF2B5EF4-FFF2-40B4-BE49-F238E27FC236}">
                <a16:creationId xmlns:a16="http://schemas.microsoft.com/office/drawing/2014/main" id="{11D8C711-10E0-4AA7-94F1-5644D250A445}"/>
              </a:ext>
            </a:extLst>
          </p:cNvPr>
          <p:cNvSpPr/>
          <p:nvPr/>
        </p:nvSpPr>
        <p:spPr>
          <a:xfrm>
            <a:off x="927925" y="2347291"/>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Healthier Together</a:t>
            </a:r>
          </a:p>
        </p:txBody>
      </p:sp>
      <p:sp>
        <p:nvSpPr>
          <p:cNvPr id="7" name="Rectangle: Rounded Corners 6">
            <a:extLst>
              <a:ext uri="{FF2B5EF4-FFF2-40B4-BE49-F238E27FC236}">
                <a16:creationId xmlns:a16="http://schemas.microsoft.com/office/drawing/2014/main" id="{AE1AF606-2AD1-466A-9773-D7181B97BED6}"/>
              </a:ext>
            </a:extLst>
          </p:cNvPr>
          <p:cNvSpPr/>
          <p:nvPr/>
        </p:nvSpPr>
        <p:spPr>
          <a:xfrm>
            <a:off x="927925" y="3029294"/>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alifornia County Statistics</a:t>
            </a:r>
          </a:p>
        </p:txBody>
      </p:sp>
      <p:sp>
        <p:nvSpPr>
          <p:cNvPr id="8" name="Rectangle: Rounded Corners 7">
            <a:extLst>
              <a:ext uri="{FF2B5EF4-FFF2-40B4-BE49-F238E27FC236}">
                <a16:creationId xmlns:a16="http://schemas.microsoft.com/office/drawing/2014/main" id="{521EEC7C-33B9-45B6-97C0-05D38740820F}"/>
              </a:ext>
            </a:extLst>
          </p:cNvPr>
          <p:cNvSpPr/>
          <p:nvPr/>
        </p:nvSpPr>
        <p:spPr>
          <a:xfrm>
            <a:off x="927925" y="3711297"/>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alifornia Health &amp; Human Services</a:t>
            </a:r>
          </a:p>
        </p:txBody>
      </p:sp>
      <p:sp>
        <p:nvSpPr>
          <p:cNvPr id="9" name="Rectangle: Rounded Corners 8">
            <a:extLst>
              <a:ext uri="{FF2B5EF4-FFF2-40B4-BE49-F238E27FC236}">
                <a16:creationId xmlns:a16="http://schemas.microsoft.com/office/drawing/2014/main" id="{B70EF555-A250-42A2-9AEB-F86EF1C4FA0F}"/>
              </a:ext>
            </a:extLst>
          </p:cNvPr>
          <p:cNvSpPr/>
          <p:nvPr/>
        </p:nvSpPr>
        <p:spPr>
          <a:xfrm>
            <a:off x="927925" y="4393300"/>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alifornia Health Interview Survey</a:t>
            </a:r>
          </a:p>
        </p:txBody>
      </p:sp>
      <p:sp>
        <p:nvSpPr>
          <p:cNvPr id="10" name="Rectangle: Rounded Corners 9">
            <a:extLst>
              <a:ext uri="{FF2B5EF4-FFF2-40B4-BE49-F238E27FC236}">
                <a16:creationId xmlns:a16="http://schemas.microsoft.com/office/drawing/2014/main" id="{C5776953-D9D9-4C66-BAB3-AE2E761F9870}"/>
              </a:ext>
            </a:extLst>
          </p:cNvPr>
          <p:cNvSpPr/>
          <p:nvPr/>
        </p:nvSpPr>
        <p:spPr>
          <a:xfrm>
            <a:off x="927925" y="5075301"/>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enter for Disease Control</a:t>
            </a:r>
          </a:p>
        </p:txBody>
      </p:sp>
      <p:sp>
        <p:nvSpPr>
          <p:cNvPr id="12" name="TextBox 11">
            <a:extLst>
              <a:ext uri="{FF2B5EF4-FFF2-40B4-BE49-F238E27FC236}">
                <a16:creationId xmlns:a16="http://schemas.microsoft.com/office/drawing/2014/main" id="{40F406C0-D74D-43CF-AC1E-E75E38513DAC}"/>
              </a:ext>
            </a:extLst>
          </p:cNvPr>
          <p:cNvSpPr txBox="1"/>
          <p:nvPr/>
        </p:nvSpPr>
        <p:spPr>
          <a:xfrm>
            <a:off x="931004" y="1823938"/>
            <a:ext cx="1708801" cy="215444"/>
          </a:xfrm>
          <a:prstGeom prst="rect">
            <a:avLst/>
          </a:prstGeom>
          <a:noFill/>
        </p:spPr>
        <p:txBody>
          <a:bodyPr wrap="none" lIns="0" tIns="0" rIns="0" bIns="0" rtlCol="0">
            <a:spAutoFit/>
          </a:bodyPr>
          <a:lstStyle/>
          <a:p>
            <a:pPr algn="l"/>
            <a:r>
              <a:rPr lang="en-US" sz="1400" b="1">
                <a:solidFill>
                  <a:schemeClr val="bg2"/>
                </a:solidFill>
              </a:rPr>
              <a:t>Open Data Sources</a:t>
            </a:r>
          </a:p>
        </p:txBody>
      </p:sp>
      <p:sp>
        <p:nvSpPr>
          <p:cNvPr id="13" name="Rectangle: Rounded Corners 12">
            <a:extLst>
              <a:ext uri="{FF2B5EF4-FFF2-40B4-BE49-F238E27FC236}">
                <a16:creationId xmlns:a16="http://schemas.microsoft.com/office/drawing/2014/main" id="{4DBC784B-C4AF-4B08-ABA8-85787C5E4E28}"/>
              </a:ext>
            </a:extLst>
          </p:cNvPr>
          <p:cNvSpPr/>
          <p:nvPr/>
        </p:nvSpPr>
        <p:spPr>
          <a:xfrm>
            <a:off x="5262502" y="3711297"/>
            <a:ext cx="1666996" cy="4531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alifornia Health Interview Survey</a:t>
            </a:r>
          </a:p>
        </p:txBody>
      </p:sp>
      <p:sp>
        <p:nvSpPr>
          <p:cNvPr id="14" name="Rectangle: Rounded Corners 13">
            <a:extLst>
              <a:ext uri="{FF2B5EF4-FFF2-40B4-BE49-F238E27FC236}">
                <a16:creationId xmlns:a16="http://schemas.microsoft.com/office/drawing/2014/main" id="{9C7F4F27-8C70-4275-BAA9-BE4163CAAA4D}"/>
              </a:ext>
            </a:extLst>
          </p:cNvPr>
          <p:cNvSpPr/>
          <p:nvPr/>
        </p:nvSpPr>
        <p:spPr>
          <a:xfrm>
            <a:off x="8690919" y="1697106"/>
            <a:ext cx="3048000" cy="4481564"/>
          </a:xfrm>
          <a:prstGeom prst="roundRect">
            <a:avLst/>
          </a:prstGeom>
          <a:no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EABB09C-9D7E-4AFA-BDF6-04BD3EEC2567}"/>
              </a:ext>
            </a:extLst>
          </p:cNvPr>
          <p:cNvSpPr txBox="1"/>
          <p:nvPr/>
        </p:nvSpPr>
        <p:spPr>
          <a:xfrm>
            <a:off x="9059562" y="2573882"/>
            <a:ext cx="2310713" cy="3323987"/>
          </a:xfrm>
          <a:prstGeom prst="rect">
            <a:avLst/>
          </a:prstGeom>
          <a:noFill/>
        </p:spPr>
        <p:txBody>
          <a:bodyPr wrap="square" lIns="0" tIns="0" rIns="0" bIns="0" rtlCol="0">
            <a:spAutoFit/>
          </a:bodyPr>
          <a:lstStyle/>
          <a:p>
            <a:pPr marL="342900" indent="-342900" algn="l">
              <a:buFont typeface="+mj-lt"/>
              <a:buAutoNum type="arabicPeriod"/>
            </a:pPr>
            <a:r>
              <a:rPr lang="en-US" sz="1200"/>
              <a:t>Screening Information</a:t>
            </a:r>
          </a:p>
          <a:p>
            <a:pPr marL="342900" indent="-342900" algn="l">
              <a:buFont typeface="+mj-lt"/>
              <a:buAutoNum type="arabicPeriod"/>
            </a:pPr>
            <a:r>
              <a:rPr lang="en-US" sz="1200"/>
              <a:t>Demographic Information</a:t>
            </a:r>
          </a:p>
          <a:p>
            <a:pPr marL="342900" indent="-342900" algn="l">
              <a:buFont typeface="+mj-lt"/>
              <a:buAutoNum type="arabicPeriod"/>
            </a:pPr>
            <a:r>
              <a:rPr lang="en-US" sz="1200"/>
              <a:t>General Health Condition </a:t>
            </a:r>
          </a:p>
          <a:p>
            <a:pPr marL="342900" indent="-342900" algn="l">
              <a:buFont typeface="+mj-lt"/>
              <a:buAutoNum type="arabicPeriod"/>
            </a:pPr>
            <a:r>
              <a:rPr lang="en-US" sz="1200"/>
              <a:t>Health Behaviors </a:t>
            </a:r>
          </a:p>
          <a:p>
            <a:pPr marL="342900" indent="-342900" algn="l">
              <a:buFont typeface="+mj-lt"/>
              <a:buAutoNum type="arabicPeriod"/>
            </a:pPr>
            <a:r>
              <a:rPr lang="en-US" sz="1200"/>
              <a:t>General Health, Disability &amp; Sexual Health </a:t>
            </a:r>
          </a:p>
          <a:p>
            <a:pPr marL="342900" indent="-342900" algn="l">
              <a:buFont typeface="+mj-lt"/>
              <a:buAutoNum type="arabicPeriod"/>
            </a:pPr>
            <a:r>
              <a:rPr lang="en-US" sz="1200"/>
              <a:t>Women’s Health </a:t>
            </a:r>
          </a:p>
          <a:p>
            <a:pPr marL="342900" indent="-342900" algn="l">
              <a:buFont typeface="+mj-lt"/>
              <a:buAutoNum type="arabicPeriod"/>
            </a:pPr>
            <a:r>
              <a:rPr lang="en-US" sz="1200"/>
              <a:t>Mental Health </a:t>
            </a:r>
          </a:p>
          <a:p>
            <a:pPr marL="342900" indent="-342900" algn="l">
              <a:buFont typeface="+mj-lt"/>
              <a:buAutoNum type="arabicPeriod"/>
            </a:pPr>
            <a:r>
              <a:rPr lang="en-US" sz="1200"/>
              <a:t>Health Insurance </a:t>
            </a:r>
          </a:p>
          <a:p>
            <a:pPr marL="342900" indent="-342900" algn="l">
              <a:buFont typeface="+mj-lt"/>
              <a:buAutoNum type="arabicPeriod"/>
            </a:pPr>
            <a:r>
              <a:rPr lang="en-US" sz="1200"/>
              <a:t>Health Care Utilization/Access </a:t>
            </a:r>
          </a:p>
          <a:p>
            <a:pPr marL="342900" indent="-342900" algn="l">
              <a:buFont typeface="+mj-lt"/>
              <a:buAutoNum type="arabicPeriod"/>
            </a:pPr>
            <a:r>
              <a:rPr lang="en-US" sz="1200"/>
              <a:t>Employment, Income, Poverty Status &amp; Food Security</a:t>
            </a:r>
          </a:p>
          <a:p>
            <a:pPr marL="342900" indent="-342900" algn="l">
              <a:buFont typeface="+mj-lt"/>
              <a:buAutoNum type="arabicPeriod"/>
            </a:pPr>
            <a:r>
              <a:rPr lang="en-US" sz="1200"/>
              <a:t>Public Program Participation </a:t>
            </a:r>
          </a:p>
          <a:p>
            <a:pPr marL="342900" indent="-342900" algn="l">
              <a:buFont typeface="+mj-lt"/>
              <a:buAutoNum type="arabicPeriod"/>
            </a:pPr>
            <a:r>
              <a:rPr lang="en-US" sz="1200"/>
              <a:t>Housing &amp; Community Involvement </a:t>
            </a:r>
          </a:p>
        </p:txBody>
      </p:sp>
      <p:sp>
        <p:nvSpPr>
          <p:cNvPr id="16" name="TextBox 15">
            <a:extLst>
              <a:ext uri="{FF2B5EF4-FFF2-40B4-BE49-F238E27FC236}">
                <a16:creationId xmlns:a16="http://schemas.microsoft.com/office/drawing/2014/main" id="{EC1FD346-6788-4AF4-8479-8E78DACF4018}"/>
              </a:ext>
            </a:extLst>
          </p:cNvPr>
          <p:cNvSpPr txBox="1"/>
          <p:nvPr/>
        </p:nvSpPr>
        <p:spPr>
          <a:xfrm>
            <a:off x="9247221" y="1931660"/>
            <a:ext cx="1935394" cy="430887"/>
          </a:xfrm>
          <a:prstGeom prst="rect">
            <a:avLst/>
          </a:prstGeom>
          <a:noFill/>
        </p:spPr>
        <p:txBody>
          <a:bodyPr wrap="square" lIns="0" tIns="0" rIns="0" bIns="0" rtlCol="0">
            <a:spAutoFit/>
          </a:bodyPr>
          <a:lstStyle/>
          <a:p>
            <a:pPr algn="l"/>
            <a:r>
              <a:rPr lang="en-US" sz="1400" b="1">
                <a:solidFill>
                  <a:schemeClr val="bg2"/>
                </a:solidFill>
              </a:rPr>
              <a:t>700+ Attributes from 12 different areas </a:t>
            </a:r>
          </a:p>
        </p:txBody>
      </p:sp>
      <p:cxnSp>
        <p:nvCxnSpPr>
          <p:cNvPr id="18" name="Straight Connector 17">
            <a:extLst>
              <a:ext uri="{FF2B5EF4-FFF2-40B4-BE49-F238E27FC236}">
                <a16:creationId xmlns:a16="http://schemas.microsoft.com/office/drawing/2014/main" id="{26461FB8-E768-4FF9-8F25-594E21F52762}"/>
              </a:ext>
            </a:extLst>
          </p:cNvPr>
          <p:cNvCxnSpPr/>
          <p:nvPr/>
        </p:nvCxnSpPr>
        <p:spPr>
          <a:xfrm>
            <a:off x="8971005" y="2456400"/>
            <a:ext cx="239927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E42A8435-E017-46D0-A0D1-13703FFE5F98}"/>
              </a:ext>
            </a:extLst>
          </p:cNvPr>
          <p:cNvCxnSpPr>
            <a:cxnSpLocks/>
            <a:stCxn id="6" idx="3"/>
            <a:endCxn id="13" idx="1"/>
          </p:cNvCxnSpPr>
          <p:nvPr/>
        </p:nvCxnSpPr>
        <p:spPr>
          <a:xfrm>
            <a:off x="2594921" y="2573882"/>
            <a:ext cx="2667581" cy="1364006"/>
          </a:xfrm>
          <a:prstGeom prst="curved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FD87D855-6FCA-44CF-BA37-497C01C68496}"/>
              </a:ext>
            </a:extLst>
          </p:cNvPr>
          <p:cNvCxnSpPr>
            <a:stCxn id="7" idx="3"/>
            <a:endCxn id="13" idx="1"/>
          </p:cNvCxnSpPr>
          <p:nvPr/>
        </p:nvCxnSpPr>
        <p:spPr>
          <a:xfrm>
            <a:off x="2594921" y="3255885"/>
            <a:ext cx="2667581" cy="682003"/>
          </a:xfrm>
          <a:prstGeom prst="curvedConnector3">
            <a:avLst/>
          </a:prstGeom>
          <a:ln w="12700"/>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52E4EDF2-484F-467E-B223-8BC1CAA58487}"/>
              </a:ext>
            </a:extLst>
          </p:cNvPr>
          <p:cNvCxnSpPr>
            <a:stCxn id="8" idx="3"/>
            <a:endCxn id="13" idx="1"/>
          </p:cNvCxnSpPr>
          <p:nvPr/>
        </p:nvCxnSpPr>
        <p:spPr>
          <a:xfrm>
            <a:off x="2594921" y="3937888"/>
            <a:ext cx="2667581" cy="12700"/>
          </a:xfrm>
          <a:prstGeom prst="curvedConnector3">
            <a:avLst/>
          </a:prstGeom>
          <a:ln w="12700"/>
        </p:spPr>
        <p:style>
          <a:lnRef idx="1">
            <a:schemeClr val="accent1"/>
          </a:lnRef>
          <a:fillRef idx="0">
            <a:schemeClr val="accent1"/>
          </a:fillRef>
          <a:effectRef idx="0">
            <a:schemeClr val="accent1"/>
          </a:effectRef>
          <a:fontRef idx="minor">
            <a:schemeClr val="tx1"/>
          </a:fontRef>
        </p:style>
      </p:cxnSp>
      <p:cxnSp>
        <p:nvCxnSpPr>
          <p:cNvPr id="28" name="Connector: Curved 27">
            <a:extLst>
              <a:ext uri="{FF2B5EF4-FFF2-40B4-BE49-F238E27FC236}">
                <a16:creationId xmlns:a16="http://schemas.microsoft.com/office/drawing/2014/main" id="{9A5DF169-64F9-443B-9614-51D5BA9A29CB}"/>
              </a:ext>
            </a:extLst>
          </p:cNvPr>
          <p:cNvCxnSpPr>
            <a:cxnSpLocks/>
            <a:stCxn id="9" idx="3"/>
            <a:endCxn id="13" idx="1"/>
          </p:cNvCxnSpPr>
          <p:nvPr/>
        </p:nvCxnSpPr>
        <p:spPr>
          <a:xfrm flipV="1">
            <a:off x="2594921" y="3937888"/>
            <a:ext cx="2667581" cy="682003"/>
          </a:xfrm>
          <a:prstGeom prst="curvedConnector3">
            <a:avLst/>
          </a:prstGeom>
          <a:ln w="12700"/>
        </p:spPr>
        <p:style>
          <a:lnRef idx="1">
            <a:schemeClr val="accent1"/>
          </a:lnRef>
          <a:fillRef idx="0">
            <a:schemeClr val="accent1"/>
          </a:fillRef>
          <a:effectRef idx="0">
            <a:schemeClr val="accent1"/>
          </a:effectRef>
          <a:fontRef idx="minor">
            <a:schemeClr val="tx1"/>
          </a:fontRef>
        </p:style>
      </p:cxnSp>
      <p:cxnSp>
        <p:nvCxnSpPr>
          <p:cNvPr id="33" name="Connector: Curved 32">
            <a:extLst>
              <a:ext uri="{FF2B5EF4-FFF2-40B4-BE49-F238E27FC236}">
                <a16:creationId xmlns:a16="http://schemas.microsoft.com/office/drawing/2014/main" id="{49DA713F-01A8-4568-84D3-863FC59DD6B5}"/>
              </a:ext>
            </a:extLst>
          </p:cNvPr>
          <p:cNvCxnSpPr>
            <a:stCxn id="10" idx="3"/>
            <a:endCxn id="13" idx="1"/>
          </p:cNvCxnSpPr>
          <p:nvPr/>
        </p:nvCxnSpPr>
        <p:spPr>
          <a:xfrm flipV="1">
            <a:off x="2594921" y="3937888"/>
            <a:ext cx="2667581" cy="1364004"/>
          </a:xfrm>
          <a:prstGeom prst="curvedConnector3">
            <a:avLst/>
          </a:prstGeom>
          <a:ln w="127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05FE55-BAC2-4AB6-81D6-B1DBC1E646F9}"/>
              </a:ext>
            </a:extLst>
          </p:cNvPr>
          <p:cNvCxnSpPr>
            <a:cxnSpLocks/>
            <a:stCxn id="13" idx="3"/>
          </p:cNvCxnSpPr>
          <p:nvPr/>
        </p:nvCxnSpPr>
        <p:spPr>
          <a:xfrm flipV="1">
            <a:off x="6929498" y="1798846"/>
            <a:ext cx="1964471" cy="2139042"/>
          </a:xfrm>
          <a:prstGeom prst="line">
            <a:avLst/>
          </a:prstGeom>
          <a:no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a:extLst>
              <a:ext uri="{FF2B5EF4-FFF2-40B4-BE49-F238E27FC236}">
                <a16:creationId xmlns:a16="http://schemas.microsoft.com/office/drawing/2014/main" id="{CABCCFC9-25FC-434F-A166-CB102993E6D0}"/>
              </a:ext>
            </a:extLst>
          </p:cNvPr>
          <p:cNvCxnSpPr>
            <a:cxnSpLocks/>
            <a:stCxn id="13" idx="3"/>
          </p:cNvCxnSpPr>
          <p:nvPr/>
        </p:nvCxnSpPr>
        <p:spPr>
          <a:xfrm>
            <a:off x="6929498" y="3937888"/>
            <a:ext cx="1964471" cy="2139042"/>
          </a:xfrm>
          <a:prstGeom prst="line">
            <a:avLst/>
          </a:prstGeom>
          <a:no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393954"/>
          </a:xfrm>
        </p:spPr>
        <p:txBody>
          <a:bodyPr>
            <a:spAutoFit/>
          </a:bodyPr>
          <a:lstStyle/>
          <a:p>
            <a:r>
              <a:rPr lang="en-US"/>
              <a:t>Evaluation of Publicly Available Data</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spTree>
    <p:extLst>
      <p:ext uri="{BB962C8B-B14F-4D97-AF65-F5344CB8AC3E}">
        <p14:creationId xmlns:p14="http://schemas.microsoft.com/office/powerpoint/2010/main" val="3410704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ppt_x"/>
                                          </p:val>
                                        </p:tav>
                                        <p:tav tm="100000">
                                          <p:val>
                                            <p:strVal val="#ppt_x"/>
                                          </p:val>
                                        </p:tav>
                                      </p:tavLst>
                                    </p:anim>
                                    <p:anim calcmode="lin" valueType="num">
                                      <p:cBhvr additive="base">
                                        <p:cTn id="24" dur="500" fill="hold"/>
                                        <p:tgtEl>
                                          <p:spTgt spid="3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additive="base">
                                        <p:cTn id="27" dur="500" fill="hold"/>
                                        <p:tgtEl>
                                          <p:spTgt spid="45"/>
                                        </p:tgtEl>
                                        <p:attrNameLst>
                                          <p:attrName>ppt_x</p:attrName>
                                        </p:attrNameLst>
                                      </p:cBhvr>
                                      <p:tavLst>
                                        <p:tav tm="0">
                                          <p:val>
                                            <p:strVal val="#ppt_x"/>
                                          </p:val>
                                        </p:tav>
                                        <p:tav tm="100000">
                                          <p:val>
                                            <p:strVal val="#ppt_x"/>
                                          </p:val>
                                        </p:tav>
                                      </p:tavLst>
                                    </p:anim>
                                    <p:anim calcmode="lin" valueType="num">
                                      <p:cBhvr additive="base">
                                        <p:cTn id="28" dur="500" fill="hold"/>
                                        <p:tgtEl>
                                          <p:spTgt spid="4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5B065-28E3-4F32-AF30-F68B29D120E7}"/>
              </a:ext>
            </a:extLst>
          </p:cNvPr>
          <p:cNvSpPr>
            <a:spLocks noGrp="1"/>
          </p:cNvSpPr>
          <p:nvPr>
            <p:ph type="title"/>
          </p:nvPr>
        </p:nvSpPr>
        <p:spPr>
          <a:xfrm>
            <a:off x="339724" y="312433"/>
            <a:ext cx="10992840" cy="777600"/>
          </a:xfrm>
        </p:spPr>
        <p:txBody>
          <a:bodyPr/>
          <a:lstStyle/>
          <a:p>
            <a:r>
              <a:rPr lang="en-US"/>
              <a:t>Solution Approach</a:t>
            </a:r>
          </a:p>
        </p:txBody>
      </p:sp>
      <p:grpSp>
        <p:nvGrpSpPr>
          <p:cNvPr id="25" name="Group 24">
            <a:extLst>
              <a:ext uri="{FF2B5EF4-FFF2-40B4-BE49-F238E27FC236}">
                <a16:creationId xmlns:a16="http://schemas.microsoft.com/office/drawing/2014/main" id="{ED85F2D8-3345-438A-BF52-758CE726DEF0}"/>
              </a:ext>
            </a:extLst>
          </p:cNvPr>
          <p:cNvGrpSpPr/>
          <p:nvPr/>
        </p:nvGrpSpPr>
        <p:grpSpPr>
          <a:xfrm>
            <a:off x="1551171" y="2541477"/>
            <a:ext cx="412246" cy="226965"/>
            <a:chOff x="6362701" y="3840163"/>
            <a:chExt cx="925513" cy="935038"/>
          </a:xfrm>
        </p:grpSpPr>
        <p:sp>
          <p:nvSpPr>
            <p:cNvPr id="30" name="Freeform 20">
              <a:extLst>
                <a:ext uri="{FF2B5EF4-FFF2-40B4-BE49-F238E27FC236}">
                  <a16:creationId xmlns:a16="http://schemas.microsoft.com/office/drawing/2014/main" id="{15194814-D48F-4A40-8775-6065A9D8D8C6}"/>
                </a:ext>
              </a:extLst>
            </p:cNvPr>
            <p:cNvSpPr>
              <a:spLocks/>
            </p:cNvSpPr>
            <p:nvPr/>
          </p:nvSpPr>
          <p:spPr bwMode="auto">
            <a:xfrm>
              <a:off x="6473826" y="3952875"/>
              <a:ext cx="715963" cy="717550"/>
            </a:xfrm>
            <a:custGeom>
              <a:avLst/>
              <a:gdLst>
                <a:gd name="T0" fmla="*/ 2254 w 2254"/>
                <a:gd name="T1" fmla="*/ 1157 h 2256"/>
                <a:gd name="T2" fmla="*/ 2248 w 2254"/>
                <a:gd name="T3" fmla="*/ 1244 h 2256"/>
                <a:gd name="T4" fmla="*/ 2237 w 2254"/>
                <a:gd name="T5" fmla="*/ 1328 h 2256"/>
                <a:gd name="T6" fmla="*/ 2218 w 2254"/>
                <a:gd name="T7" fmla="*/ 1410 h 2256"/>
                <a:gd name="T8" fmla="*/ 2186 w 2254"/>
                <a:gd name="T9" fmla="*/ 1516 h 2256"/>
                <a:gd name="T10" fmla="*/ 2118 w 2254"/>
                <a:gd name="T11" fmla="*/ 1666 h 2256"/>
                <a:gd name="T12" fmla="*/ 2030 w 2254"/>
                <a:gd name="T13" fmla="*/ 1803 h 2256"/>
                <a:gd name="T14" fmla="*/ 1924 w 2254"/>
                <a:gd name="T15" fmla="*/ 1926 h 2256"/>
                <a:gd name="T16" fmla="*/ 1801 w 2254"/>
                <a:gd name="T17" fmla="*/ 2032 h 2256"/>
                <a:gd name="T18" fmla="*/ 1664 w 2254"/>
                <a:gd name="T19" fmla="*/ 2120 h 2256"/>
                <a:gd name="T20" fmla="*/ 1514 w 2254"/>
                <a:gd name="T21" fmla="*/ 2188 h 2256"/>
                <a:gd name="T22" fmla="*/ 1409 w 2254"/>
                <a:gd name="T23" fmla="*/ 2221 h 2256"/>
                <a:gd name="T24" fmla="*/ 1327 w 2254"/>
                <a:gd name="T25" fmla="*/ 2239 h 2256"/>
                <a:gd name="T26" fmla="*/ 1243 w 2254"/>
                <a:gd name="T27" fmla="*/ 2250 h 2256"/>
                <a:gd name="T28" fmla="*/ 1156 w 2254"/>
                <a:gd name="T29" fmla="*/ 2256 h 2256"/>
                <a:gd name="T30" fmla="*/ 1099 w 2254"/>
                <a:gd name="T31" fmla="*/ 2256 h 2256"/>
                <a:gd name="T32" fmla="*/ 1012 w 2254"/>
                <a:gd name="T33" fmla="*/ 2250 h 2256"/>
                <a:gd name="T34" fmla="*/ 928 w 2254"/>
                <a:gd name="T35" fmla="*/ 2239 h 2256"/>
                <a:gd name="T36" fmla="*/ 845 w 2254"/>
                <a:gd name="T37" fmla="*/ 2221 h 2256"/>
                <a:gd name="T38" fmla="*/ 739 w 2254"/>
                <a:gd name="T39" fmla="*/ 2188 h 2256"/>
                <a:gd name="T40" fmla="*/ 590 w 2254"/>
                <a:gd name="T41" fmla="*/ 2120 h 2256"/>
                <a:gd name="T42" fmla="*/ 453 w 2254"/>
                <a:gd name="T43" fmla="*/ 2032 h 2256"/>
                <a:gd name="T44" fmla="*/ 331 w 2254"/>
                <a:gd name="T45" fmla="*/ 1926 h 2256"/>
                <a:gd name="T46" fmla="*/ 225 w 2254"/>
                <a:gd name="T47" fmla="*/ 1803 h 2256"/>
                <a:gd name="T48" fmla="*/ 136 w 2254"/>
                <a:gd name="T49" fmla="*/ 1666 h 2256"/>
                <a:gd name="T50" fmla="*/ 69 w 2254"/>
                <a:gd name="T51" fmla="*/ 1516 h 2256"/>
                <a:gd name="T52" fmla="*/ 36 w 2254"/>
                <a:gd name="T53" fmla="*/ 1410 h 2256"/>
                <a:gd name="T54" fmla="*/ 19 w 2254"/>
                <a:gd name="T55" fmla="*/ 1328 h 2256"/>
                <a:gd name="T56" fmla="*/ 6 w 2254"/>
                <a:gd name="T57" fmla="*/ 1244 h 2256"/>
                <a:gd name="T58" fmla="*/ 1 w 2254"/>
                <a:gd name="T59" fmla="*/ 1157 h 2256"/>
                <a:gd name="T60" fmla="*/ 1 w 2254"/>
                <a:gd name="T61" fmla="*/ 1100 h 2256"/>
                <a:gd name="T62" fmla="*/ 6 w 2254"/>
                <a:gd name="T63" fmla="*/ 1013 h 2256"/>
                <a:gd name="T64" fmla="*/ 19 w 2254"/>
                <a:gd name="T65" fmla="*/ 929 h 2256"/>
                <a:gd name="T66" fmla="*/ 36 w 2254"/>
                <a:gd name="T67" fmla="*/ 846 h 2256"/>
                <a:gd name="T68" fmla="*/ 69 w 2254"/>
                <a:gd name="T69" fmla="*/ 740 h 2256"/>
                <a:gd name="T70" fmla="*/ 136 w 2254"/>
                <a:gd name="T71" fmla="*/ 590 h 2256"/>
                <a:gd name="T72" fmla="*/ 225 w 2254"/>
                <a:gd name="T73" fmla="*/ 453 h 2256"/>
                <a:gd name="T74" fmla="*/ 331 w 2254"/>
                <a:gd name="T75" fmla="*/ 331 h 2256"/>
                <a:gd name="T76" fmla="*/ 453 w 2254"/>
                <a:gd name="T77" fmla="*/ 225 h 2256"/>
                <a:gd name="T78" fmla="*/ 590 w 2254"/>
                <a:gd name="T79" fmla="*/ 136 h 2256"/>
                <a:gd name="T80" fmla="*/ 739 w 2254"/>
                <a:gd name="T81" fmla="*/ 69 h 2256"/>
                <a:gd name="T82" fmla="*/ 845 w 2254"/>
                <a:gd name="T83" fmla="*/ 36 h 2256"/>
                <a:gd name="T84" fmla="*/ 928 w 2254"/>
                <a:gd name="T85" fmla="*/ 18 h 2256"/>
                <a:gd name="T86" fmla="*/ 1012 w 2254"/>
                <a:gd name="T87" fmla="*/ 6 h 2256"/>
                <a:gd name="T88" fmla="*/ 1099 w 2254"/>
                <a:gd name="T89" fmla="*/ 1 h 2256"/>
                <a:gd name="T90" fmla="*/ 1156 w 2254"/>
                <a:gd name="T91" fmla="*/ 1 h 2256"/>
                <a:gd name="T92" fmla="*/ 1243 w 2254"/>
                <a:gd name="T93" fmla="*/ 6 h 2256"/>
                <a:gd name="T94" fmla="*/ 1327 w 2254"/>
                <a:gd name="T95" fmla="*/ 18 h 2256"/>
                <a:gd name="T96" fmla="*/ 1409 w 2254"/>
                <a:gd name="T97" fmla="*/ 36 h 2256"/>
                <a:gd name="T98" fmla="*/ 1514 w 2254"/>
                <a:gd name="T99" fmla="*/ 69 h 2256"/>
                <a:gd name="T100" fmla="*/ 1664 w 2254"/>
                <a:gd name="T101" fmla="*/ 136 h 2256"/>
                <a:gd name="T102" fmla="*/ 1801 w 2254"/>
                <a:gd name="T103" fmla="*/ 225 h 2256"/>
                <a:gd name="T104" fmla="*/ 1924 w 2254"/>
                <a:gd name="T105" fmla="*/ 331 h 2256"/>
                <a:gd name="T106" fmla="*/ 2030 w 2254"/>
                <a:gd name="T107" fmla="*/ 453 h 2256"/>
                <a:gd name="T108" fmla="*/ 2118 w 2254"/>
                <a:gd name="T109" fmla="*/ 590 h 2256"/>
                <a:gd name="T110" fmla="*/ 2186 w 2254"/>
                <a:gd name="T111" fmla="*/ 740 h 2256"/>
                <a:gd name="T112" fmla="*/ 2218 w 2254"/>
                <a:gd name="T113" fmla="*/ 846 h 2256"/>
                <a:gd name="T114" fmla="*/ 2237 w 2254"/>
                <a:gd name="T115" fmla="*/ 929 h 2256"/>
                <a:gd name="T116" fmla="*/ 2248 w 2254"/>
                <a:gd name="T117" fmla="*/ 1013 h 2256"/>
                <a:gd name="T118" fmla="*/ 2254 w 2254"/>
                <a:gd name="T119" fmla="*/ 1100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4" h="2256">
                  <a:moveTo>
                    <a:pt x="2254" y="1129"/>
                  </a:moveTo>
                  <a:lnTo>
                    <a:pt x="2254" y="1129"/>
                  </a:lnTo>
                  <a:lnTo>
                    <a:pt x="2254" y="1157"/>
                  </a:lnTo>
                  <a:lnTo>
                    <a:pt x="2253" y="1186"/>
                  </a:lnTo>
                  <a:lnTo>
                    <a:pt x="2250" y="1215"/>
                  </a:lnTo>
                  <a:lnTo>
                    <a:pt x="2248" y="1244"/>
                  </a:lnTo>
                  <a:lnTo>
                    <a:pt x="2245" y="1271"/>
                  </a:lnTo>
                  <a:lnTo>
                    <a:pt x="2241" y="1300"/>
                  </a:lnTo>
                  <a:lnTo>
                    <a:pt x="2237" y="1328"/>
                  </a:lnTo>
                  <a:lnTo>
                    <a:pt x="2231" y="1356"/>
                  </a:lnTo>
                  <a:lnTo>
                    <a:pt x="2225" y="1383"/>
                  </a:lnTo>
                  <a:lnTo>
                    <a:pt x="2218" y="1410"/>
                  </a:lnTo>
                  <a:lnTo>
                    <a:pt x="2211" y="1437"/>
                  </a:lnTo>
                  <a:lnTo>
                    <a:pt x="2203" y="1464"/>
                  </a:lnTo>
                  <a:lnTo>
                    <a:pt x="2186" y="1516"/>
                  </a:lnTo>
                  <a:lnTo>
                    <a:pt x="2165" y="1568"/>
                  </a:lnTo>
                  <a:lnTo>
                    <a:pt x="2143" y="1617"/>
                  </a:lnTo>
                  <a:lnTo>
                    <a:pt x="2118" y="1666"/>
                  </a:lnTo>
                  <a:lnTo>
                    <a:pt x="2091" y="1713"/>
                  </a:lnTo>
                  <a:lnTo>
                    <a:pt x="2061" y="1759"/>
                  </a:lnTo>
                  <a:lnTo>
                    <a:pt x="2030" y="1803"/>
                  </a:lnTo>
                  <a:lnTo>
                    <a:pt x="1997" y="1846"/>
                  </a:lnTo>
                  <a:lnTo>
                    <a:pt x="1961" y="1887"/>
                  </a:lnTo>
                  <a:lnTo>
                    <a:pt x="1924" y="1926"/>
                  </a:lnTo>
                  <a:lnTo>
                    <a:pt x="1885" y="1963"/>
                  </a:lnTo>
                  <a:lnTo>
                    <a:pt x="1844" y="1999"/>
                  </a:lnTo>
                  <a:lnTo>
                    <a:pt x="1801" y="2032"/>
                  </a:lnTo>
                  <a:lnTo>
                    <a:pt x="1757" y="2063"/>
                  </a:lnTo>
                  <a:lnTo>
                    <a:pt x="1711" y="2093"/>
                  </a:lnTo>
                  <a:lnTo>
                    <a:pt x="1664" y="2120"/>
                  </a:lnTo>
                  <a:lnTo>
                    <a:pt x="1616" y="2145"/>
                  </a:lnTo>
                  <a:lnTo>
                    <a:pt x="1566" y="2167"/>
                  </a:lnTo>
                  <a:lnTo>
                    <a:pt x="1514" y="2188"/>
                  </a:lnTo>
                  <a:lnTo>
                    <a:pt x="1463" y="2205"/>
                  </a:lnTo>
                  <a:lnTo>
                    <a:pt x="1436" y="2213"/>
                  </a:lnTo>
                  <a:lnTo>
                    <a:pt x="1409" y="2221"/>
                  </a:lnTo>
                  <a:lnTo>
                    <a:pt x="1382" y="2227"/>
                  </a:lnTo>
                  <a:lnTo>
                    <a:pt x="1354" y="2234"/>
                  </a:lnTo>
                  <a:lnTo>
                    <a:pt x="1327" y="2239"/>
                  </a:lnTo>
                  <a:lnTo>
                    <a:pt x="1299" y="2243"/>
                  </a:lnTo>
                  <a:lnTo>
                    <a:pt x="1270" y="2248"/>
                  </a:lnTo>
                  <a:lnTo>
                    <a:pt x="1243" y="2250"/>
                  </a:lnTo>
                  <a:lnTo>
                    <a:pt x="1214" y="2254"/>
                  </a:lnTo>
                  <a:lnTo>
                    <a:pt x="1185" y="2255"/>
                  </a:lnTo>
                  <a:lnTo>
                    <a:pt x="1156" y="2256"/>
                  </a:lnTo>
                  <a:lnTo>
                    <a:pt x="1128" y="2256"/>
                  </a:lnTo>
                  <a:lnTo>
                    <a:pt x="1128" y="2256"/>
                  </a:lnTo>
                  <a:lnTo>
                    <a:pt x="1099" y="2256"/>
                  </a:lnTo>
                  <a:lnTo>
                    <a:pt x="1069" y="2255"/>
                  </a:lnTo>
                  <a:lnTo>
                    <a:pt x="1040" y="2254"/>
                  </a:lnTo>
                  <a:lnTo>
                    <a:pt x="1012" y="2250"/>
                  </a:lnTo>
                  <a:lnTo>
                    <a:pt x="984" y="2248"/>
                  </a:lnTo>
                  <a:lnTo>
                    <a:pt x="956" y="2243"/>
                  </a:lnTo>
                  <a:lnTo>
                    <a:pt x="928" y="2239"/>
                  </a:lnTo>
                  <a:lnTo>
                    <a:pt x="901" y="2234"/>
                  </a:lnTo>
                  <a:lnTo>
                    <a:pt x="873" y="2227"/>
                  </a:lnTo>
                  <a:lnTo>
                    <a:pt x="845" y="2221"/>
                  </a:lnTo>
                  <a:lnTo>
                    <a:pt x="819" y="2213"/>
                  </a:lnTo>
                  <a:lnTo>
                    <a:pt x="792" y="2205"/>
                  </a:lnTo>
                  <a:lnTo>
                    <a:pt x="739" y="2188"/>
                  </a:lnTo>
                  <a:lnTo>
                    <a:pt x="689" y="2167"/>
                  </a:lnTo>
                  <a:lnTo>
                    <a:pt x="639" y="2145"/>
                  </a:lnTo>
                  <a:lnTo>
                    <a:pt x="590" y="2120"/>
                  </a:lnTo>
                  <a:lnTo>
                    <a:pt x="543" y="2093"/>
                  </a:lnTo>
                  <a:lnTo>
                    <a:pt x="498" y="2063"/>
                  </a:lnTo>
                  <a:lnTo>
                    <a:pt x="453" y="2032"/>
                  </a:lnTo>
                  <a:lnTo>
                    <a:pt x="410" y="1999"/>
                  </a:lnTo>
                  <a:lnTo>
                    <a:pt x="370" y="1963"/>
                  </a:lnTo>
                  <a:lnTo>
                    <a:pt x="331" y="1926"/>
                  </a:lnTo>
                  <a:lnTo>
                    <a:pt x="293" y="1887"/>
                  </a:lnTo>
                  <a:lnTo>
                    <a:pt x="258" y="1846"/>
                  </a:lnTo>
                  <a:lnTo>
                    <a:pt x="225" y="1803"/>
                  </a:lnTo>
                  <a:lnTo>
                    <a:pt x="192" y="1759"/>
                  </a:lnTo>
                  <a:lnTo>
                    <a:pt x="164" y="1713"/>
                  </a:lnTo>
                  <a:lnTo>
                    <a:pt x="136" y="1666"/>
                  </a:lnTo>
                  <a:lnTo>
                    <a:pt x="112" y="1617"/>
                  </a:lnTo>
                  <a:lnTo>
                    <a:pt x="89" y="1568"/>
                  </a:lnTo>
                  <a:lnTo>
                    <a:pt x="69" y="1516"/>
                  </a:lnTo>
                  <a:lnTo>
                    <a:pt x="51" y="1464"/>
                  </a:lnTo>
                  <a:lnTo>
                    <a:pt x="43" y="1437"/>
                  </a:lnTo>
                  <a:lnTo>
                    <a:pt x="36" y="1410"/>
                  </a:lnTo>
                  <a:lnTo>
                    <a:pt x="29" y="1383"/>
                  </a:lnTo>
                  <a:lnTo>
                    <a:pt x="23" y="1356"/>
                  </a:lnTo>
                  <a:lnTo>
                    <a:pt x="19" y="1328"/>
                  </a:lnTo>
                  <a:lnTo>
                    <a:pt x="14" y="1300"/>
                  </a:lnTo>
                  <a:lnTo>
                    <a:pt x="9" y="1271"/>
                  </a:lnTo>
                  <a:lnTo>
                    <a:pt x="6" y="1244"/>
                  </a:lnTo>
                  <a:lnTo>
                    <a:pt x="4" y="1215"/>
                  </a:lnTo>
                  <a:lnTo>
                    <a:pt x="2" y="1186"/>
                  </a:lnTo>
                  <a:lnTo>
                    <a:pt x="1" y="1157"/>
                  </a:lnTo>
                  <a:lnTo>
                    <a:pt x="0" y="1129"/>
                  </a:lnTo>
                  <a:lnTo>
                    <a:pt x="0" y="1129"/>
                  </a:lnTo>
                  <a:lnTo>
                    <a:pt x="1" y="1100"/>
                  </a:lnTo>
                  <a:lnTo>
                    <a:pt x="2" y="1071"/>
                  </a:lnTo>
                  <a:lnTo>
                    <a:pt x="4" y="1042"/>
                  </a:lnTo>
                  <a:lnTo>
                    <a:pt x="6" y="1013"/>
                  </a:lnTo>
                  <a:lnTo>
                    <a:pt x="9" y="984"/>
                  </a:lnTo>
                  <a:lnTo>
                    <a:pt x="14" y="957"/>
                  </a:lnTo>
                  <a:lnTo>
                    <a:pt x="19" y="929"/>
                  </a:lnTo>
                  <a:lnTo>
                    <a:pt x="23" y="901"/>
                  </a:lnTo>
                  <a:lnTo>
                    <a:pt x="29" y="874"/>
                  </a:lnTo>
                  <a:lnTo>
                    <a:pt x="36" y="846"/>
                  </a:lnTo>
                  <a:lnTo>
                    <a:pt x="43" y="820"/>
                  </a:lnTo>
                  <a:lnTo>
                    <a:pt x="51" y="793"/>
                  </a:lnTo>
                  <a:lnTo>
                    <a:pt x="69" y="740"/>
                  </a:lnTo>
                  <a:lnTo>
                    <a:pt x="89" y="689"/>
                  </a:lnTo>
                  <a:lnTo>
                    <a:pt x="112" y="640"/>
                  </a:lnTo>
                  <a:lnTo>
                    <a:pt x="136" y="590"/>
                  </a:lnTo>
                  <a:lnTo>
                    <a:pt x="164" y="543"/>
                  </a:lnTo>
                  <a:lnTo>
                    <a:pt x="192" y="498"/>
                  </a:lnTo>
                  <a:lnTo>
                    <a:pt x="225" y="453"/>
                  </a:lnTo>
                  <a:lnTo>
                    <a:pt x="258" y="410"/>
                  </a:lnTo>
                  <a:lnTo>
                    <a:pt x="293" y="370"/>
                  </a:lnTo>
                  <a:lnTo>
                    <a:pt x="331" y="331"/>
                  </a:lnTo>
                  <a:lnTo>
                    <a:pt x="370" y="294"/>
                  </a:lnTo>
                  <a:lnTo>
                    <a:pt x="410" y="258"/>
                  </a:lnTo>
                  <a:lnTo>
                    <a:pt x="453" y="225"/>
                  </a:lnTo>
                  <a:lnTo>
                    <a:pt x="498" y="193"/>
                  </a:lnTo>
                  <a:lnTo>
                    <a:pt x="543" y="164"/>
                  </a:lnTo>
                  <a:lnTo>
                    <a:pt x="590" y="136"/>
                  </a:lnTo>
                  <a:lnTo>
                    <a:pt x="639" y="112"/>
                  </a:lnTo>
                  <a:lnTo>
                    <a:pt x="689" y="89"/>
                  </a:lnTo>
                  <a:lnTo>
                    <a:pt x="739" y="69"/>
                  </a:lnTo>
                  <a:lnTo>
                    <a:pt x="792" y="51"/>
                  </a:lnTo>
                  <a:lnTo>
                    <a:pt x="819" y="43"/>
                  </a:lnTo>
                  <a:lnTo>
                    <a:pt x="845" y="36"/>
                  </a:lnTo>
                  <a:lnTo>
                    <a:pt x="873" y="29"/>
                  </a:lnTo>
                  <a:lnTo>
                    <a:pt x="901" y="23"/>
                  </a:lnTo>
                  <a:lnTo>
                    <a:pt x="928" y="18"/>
                  </a:lnTo>
                  <a:lnTo>
                    <a:pt x="956" y="14"/>
                  </a:lnTo>
                  <a:lnTo>
                    <a:pt x="984" y="9"/>
                  </a:lnTo>
                  <a:lnTo>
                    <a:pt x="1012" y="6"/>
                  </a:lnTo>
                  <a:lnTo>
                    <a:pt x="1040" y="3"/>
                  </a:lnTo>
                  <a:lnTo>
                    <a:pt x="1069" y="2"/>
                  </a:lnTo>
                  <a:lnTo>
                    <a:pt x="1099" y="1"/>
                  </a:lnTo>
                  <a:lnTo>
                    <a:pt x="1128" y="0"/>
                  </a:lnTo>
                  <a:lnTo>
                    <a:pt x="1128" y="0"/>
                  </a:lnTo>
                  <a:lnTo>
                    <a:pt x="1156" y="1"/>
                  </a:lnTo>
                  <a:lnTo>
                    <a:pt x="1185" y="2"/>
                  </a:lnTo>
                  <a:lnTo>
                    <a:pt x="1214" y="3"/>
                  </a:lnTo>
                  <a:lnTo>
                    <a:pt x="1243" y="6"/>
                  </a:lnTo>
                  <a:lnTo>
                    <a:pt x="1270" y="9"/>
                  </a:lnTo>
                  <a:lnTo>
                    <a:pt x="1299" y="14"/>
                  </a:lnTo>
                  <a:lnTo>
                    <a:pt x="1327" y="18"/>
                  </a:lnTo>
                  <a:lnTo>
                    <a:pt x="1354" y="23"/>
                  </a:lnTo>
                  <a:lnTo>
                    <a:pt x="1382" y="29"/>
                  </a:lnTo>
                  <a:lnTo>
                    <a:pt x="1409" y="36"/>
                  </a:lnTo>
                  <a:lnTo>
                    <a:pt x="1436" y="43"/>
                  </a:lnTo>
                  <a:lnTo>
                    <a:pt x="1463" y="51"/>
                  </a:lnTo>
                  <a:lnTo>
                    <a:pt x="1514" y="69"/>
                  </a:lnTo>
                  <a:lnTo>
                    <a:pt x="1566" y="89"/>
                  </a:lnTo>
                  <a:lnTo>
                    <a:pt x="1616" y="112"/>
                  </a:lnTo>
                  <a:lnTo>
                    <a:pt x="1664" y="136"/>
                  </a:lnTo>
                  <a:lnTo>
                    <a:pt x="1711" y="164"/>
                  </a:lnTo>
                  <a:lnTo>
                    <a:pt x="1757" y="193"/>
                  </a:lnTo>
                  <a:lnTo>
                    <a:pt x="1801" y="225"/>
                  </a:lnTo>
                  <a:lnTo>
                    <a:pt x="1844" y="258"/>
                  </a:lnTo>
                  <a:lnTo>
                    <a:pt x="1885" y="294"/>
                  </a:lnTo>
                  <a:lnTo>
                    <a:pt x="1924" y="331"/>
                  </a:lnTo>
                  <a:lnTo>
                    <a:pt x="1961" y="370"/>
                  </a:lnTo>
                  <a:lnTo>
                    <a:pt x="1997" y="410"/>
                  </a:lnTo>
                  <a:lnTo>
                    <a:pt x="2030" y="453"/>
                  </a:lnTo>
                  <a:lnTo>
                    <a:pt x="2061" y="498"/>
                  </a:lnTo>
                  <a:lnTo>
                    <a:pt x="2091" y="543"/>
                  </a:lnTo>
                  <a:lnTo>
                    <a:pt x="2118" y="590"/>
                  </a:lnTo>
                  <a:lnTo>
                    <a:pt x="2143" y="640"/>
                  </a:lnTo>
                  <a:lnTo>
                    <a:pt x="2165" y="689"/>
                  </a:lnTo>
                  <a:lnTo>
                    <a:pt x="2186" y="740"/>
                  </a:lnTo>
                  <a:lnTo>
                    <a:pt x="2203" y="793"/>
                  </a:lnTo>
                  <a:lnTo>
                    <a:pt x="2211" y="820"/>
                  </a:lnTo>
                  <a:lnTo>
                    <a:pt x="2218" y="846"/>
                  </a:lnTo>
                  <a:lnTo>
                    <a:pt x="2225" y="874"/>
                  </a:lnTo>
                  <a:lnTo>
                    <a:pt x="2231" y="901"/>
                  </a:lnTo>
                  <a:lnTo>
                    <a:pt x="2237" y="929"/>
                  </a:lnTo>
                  <a:lnTo>
                    <a:pt x="2241" y="957"/>
                  </a:lnTo>
                  <a:lnTo>
                    <a:pt x="2245" y="984"/>
                  </a:lnTo>
                  <a:lnTo>
                    <a:pt x="2248" y="1013"/>
                  </a:lnTo>
                  <a:lnTo>
                    <a:pt x="2250" y="1042"/>
                  </a:lnTo>
                  <a:lnTo>
                    <a:pt x="2253" y="1071"/>
                  </a:lnTo>
                  <a:lnTo>
                    <a:pt x="2254" y="1100"/>
                  </a:lnTo>
                  <a:lnTo>
                    <a:pt x="2254" y="1129"/>
                  </a:lnTo>
                  <a:lnTo>
                    <a:pt x="2254" y="1129"/>
                  </a:lnTo>
                  <a:close/>
                </a:path>
              </a:pathLst>
            </a:custGeom>
            <a:noFill/>
            <a:ln w="4445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1" name="Freeform 21">
              <a:extLst>
                <a:ext uri="{FF2B5EF4-FFF2-40B4-BE49-F238E27FC236}">
                  <a16:creationId xmlns:a16="http://schemas.microsoft.com/office/drawing/2014/main" id="{1CF44A01-90E0-405D-9662-A8F75F8E70D0}"/>
                </a:ext>
              </a:extLst>
            </p:cNvPr>
            <p:cNvSpPr>
              <a:spLocks/>
            </p:cNvSpPr>
            <p:nvPr/>
          </p:nvSpPr>
          <p:spPr bwMode="auto">
            <a:xfrm>
              <a:off x="6702426" y="4127500"/>
              <a:ext cx="228600" cy="179388"/>
            </a:xfrm>
            <a:custGeom>
              <a:avLst/>
              <a:gdLst>
                <a:gd name="T0" fmla="*/ 719 w 719"/>
                <a:gd name="T1" fmla="*/ 296 h 562"/>
                <a:gd name="T2" fmla="*/ 712 w 719"/>
                <a:gd name="T3" fmla="*/ 337 h 562"/>
                <a:gd name="T4" fmla="*/ 697 w 719"/>
                <a:gd name="T5" fmla="*/ 378 h 562"/>
                <a:gd name="T6" fmla="*/ 676 w 719"/>
                <a:gd name="T7" fmla="*/ 416 h 562"/>
                <a:gd name="T8" fmla="*/ 647 w 719"/>
                <a:gd name="T9" fmla="*/ 449 h 562"/>
                <a:gd name="T10" fmla="*/ 614 w 719"/>
                <a:gd name="T11" fmla="*/ 480 h 562"/>
                <a:gd name="T12" fmla="*/ 575 w 719"/>
                <a:gd name="T13" fmla="*/ 507 h 562"/>
                <a:gd name="T14" fmla="*/ 531 w 719"/>
                <a:gd name="T15" fmla="*/ 529 h 562"/>
                <a:gd name="T16" fmla="*/ 484 w 719"/>
                <a:gd name="T17" fmla="*/ 545 h 562"/>
                <a:gd name="T18" fmla="*/ 432 w 719"/>
                <a:gd name="T19" fmla="*/ 556 h 562"/>
                <a:gd name="T20" fmla="*/ 378 w 719"/>
                <a:gd name="T21" fmla="*/ 562 h 562"/>
                <a:gd name="T22" fmla="*/ 341 w 719"/>
                <a:gd name="T23" fmla="*/ 562 h 562"/>
                <a:gd name="T24" fmla="*/ 287 w 719"/>
                <a:gd name="T25" fmla="*/ 556 h 562"/>
                <a:gd name="T26" fmla="*/ 236 w 719"/>
                <a:gd name="T27" fmla="*/ 545 h 562"/>
                <a:gd name="T28" fmla="*/ 189 w 719"/>
                <a:gd name="T29" fmla="*/ 529 h 562"/>
                <a:gd name="T30" fmla="*/ 145 w 719"/>
                <a:gd name="T31" fmla="*/ 507 h 562"/>
                <a:gd name="T32" fmla="*/ 106 w 719"/>
                <a:gd name="T33" fmla="*/ 480 h 562"/>
                <a:gd name="T34" fmla="*/ 71 w 719"/>
                <a:gd name="T35" fmla="*/ 449 h 562"/>
                <a:gd name="T36" fmla="*/ 44 w 719"/>
                <a:gd name="T37" fmla="*/ 416 h 562"/>
                <a:gd name="T38" fmla="*/ 22 w 719"/>
                <a:gd name="T39" fmla="*/ 378 h 562"/>
                <a:gd name="T40" fmla="*/ 8 w 719"/>
                <a:gd name="T41" fmla="*/ 337 h 562"/>
                <a:gd name="T42" fmla="*/ 1 w 719"/>
                <a:gd name="T43" fmla="*/ 296 h 562"/>
                <a:gd name="T44" fmla="*/ 1 w 719"/>
                <a:gd name="T45" fmla="*/ 267 h 562"/>
                <a:gd name="T46" fmla="*/ 8 w 719"/>
                <a:gd name="T47" fmla="*/ 225 h 562"/>
                <a:gd name="T48" fmla="*/ 22 w 719"/>
                <a:gd name="T49" fmla="*/ 184 h 562"/>
                <a:gd name="T50" fmla="*/ 44 w 719"/>
                <a:gd name="T51" fmla="*/ 147 h 562"/>
                <a:gd name="T52" fmla="*/ 71 w 719"/>
                <a:gd name="T53" fmla="*/ 113 h 562"/>
                <a:gd name="T54" fmla="*/ 106 w 719"/>
                <a:gd name="T55" fmla="*/ 83 h 562"/>
                <a:gd name="T56" fmla="*/ 145 w 719"/>
                <a:gd name="T57" fmla="*/ 56 h 562"/>
                <a:gd name="T58" fmla="*/ 189 w 719"/>
                <a:gd name="T59" fmla="*/ 34 h 562"/>
                <a:gd name="T60" fmla="*/ 236 w 719"/>
                <a:gd name="T61" fmla="*/ 17 h 562"/>
                <a:gd name="T62" fmla="*/ 287 w 719"/>
                <a:gd name="T63" fmla="*/ 5 h 562"/>
                <a:gd name="T64" fmla="*/ 341 w 719"/>
                <a:gd name="T65" fmla="*/ 0 h 562"/>
                <a:gd name="T66" fmla="*/ 378 w 719"/>
                <a:gd name="T67" fmla="*/ 0 h 562"/>
                <a:gd name="T68" fmla="*/ 432 w 719"/>
                <a:gd name="T69" fmla="*/ 5 h 562"/>
                <a:gd name="T70" fmla="*/ 484 w 719"/>
                <a:gd name="T71" fmla="*/ 17 h 562"/>
                <a:gd name="T72" fmla="*/ 531 w 719"/>
                <a:gd name="T73" fmla="*/ 34 h 562"/>
                <a:gd name="T74" fmla="*/ 575 w 719"/>
                <a:gd name="T75" fmla="*/ 56 h 562"/>
                <a:gd name="T76" fmla="*/ 614 w 719"/>
                <a:gd name="T77" fmla="*/ 83 h 562"/>
                <a:gd name="T78" fmla="*/ 647 w 719"/>
                <a:gd name="T79" fmla="*/ 113 h 562"/>
                <a:gd name="T80" fmla="*/ 676 w 719"/>
                <a:gd name="T81" fmla="*/ 147 h 562"/>
                <a:gd name="T82" fmla="*/ 697 w 719"/>
                <a:gd name="T83" fmla="*/ 184 h 562"/>
                <a:gd name="T84" fmla="*/ 712 w 719"/>
                <a:gd name="T85" fmla="*/ 225 h 562"/>
                <a:gd name="T86" fmla="*/ 719 w 719"/>
                <a:gd name="T87" fmla="*/ 267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9" h="562">
                  <a:moveTo>
                    <a:pt x="719" y="281"/>
                  </a:moveTo>
                  <a:lnTo>
                    <a:pt x="719" y="281"/>
                  </a:lnTo>
                  <a:lnTo>
                    <a:pt x="719" y="296"/>
                  </a:lnTo>
                  <a:lnTo>
                    <a:pt x="717" y="310"/>
                  </a:lnTo>
                  <a:lnTo>
                    <a:pt x="715" y="324"/>
                  </a:lnTo>
                  <a:lnTo>
                    <a:pt x="712" y="337"/>
                  </a:lnTo>
                  <a:lnTo>
                    <a:pt x="707" y="351"/>
                  </a:lnTo>
                  <a:lnTo>
                    <a:pt x="703" y="365"/>
                  </a:lnTo>
                  <a:lnTo>
                    <a:pt x="697" y="378"/>
                  </a:lnTo>
                  <a:lnTo>
                    <a:pt x="691" y="390"/>
                  </a:lnTo>
                  <a:lnTo>
                    <a:pt x="683" y="403"/>
                  </a:lnTo>
                  <a:lnTo>
                    <a:pt x="676" y="416"/>
                  </a:lnTo>
                  <a:lnTo>
                    <a:pt x="667" y="427"/>
                  </a:lnTo>
                  <a:lnTo>
                    <a:pt x="658" y="439"/>
                  </a:lnTo>
                  <a:lnTo>
                    <a:pt x="647" y="449"/>
                  </a:lnTo>
                  <a:lnTo>
                    <a:pt x="637" y="460"/>
                  </a:lnTo>
                  <a:lnTo>
                    <a:pt x="625" y="470"/>
                  </a:lnTo>
                  <a:lnTo>
                    <a:pt x="614" y="480"/>
                  </a:lnTo>
                  <a:lnTo>
                    <a:pt x="601" y="490"/>
                  </a:lnTo>
                  <a:lnTo>
                    <a:pt x="589" y="499"/>
                  </a:lnTo>
                  <a:lnTo>
                    <a:pt x="575" y="507"/>
                  </a:lnTo>
                  <a:lnTo>
                    <a:pt x="561" y="515"/>
                  </a:lnTo>
                  <a:lnTo>
                    <a:pt x="546" y="522"/>
                  </a:lnTo>
                  <a:lnTo>
                    <a:pt x="531" y="529"/>
                  </a:lnTo>
                  <a:lnTo>
                    <a:pt x="516" y="535"/>
                  </a:lnTo>
                  <a:lnTo>
                    <a:pt x="500" y="540"/>
                  </a:lnTo>
                  <a:lnTo>
                    <a:pt x="484" y="545"/>
                  </a:lnTo>
                  <a:lnTo>
                    <a:pt x="466" y="550"/>
                  </a:lnTo>
                  <a:lnTo>
                    <a:pt x="449" y="554"/>
                  </a:lnTo>
                  <a:lnTo>
                    <a:pt x="432" y="556"/>
                  </a:lnTo>
                  <a:lnTo>
                    <a:pt x="415" y="559"/>
                  </a:lnTo>
                  <a:lnTo>
                    <a:pt x="396" y="561"/>
                  </a:lnTo>
                  <a:lnTo>
                    <a:pt x="378" y="562"/>
                  </a:lnTo>
                  <a:lnTo>
                    <a:pt x="359" y="562"/>
                  </a:lnTo>
                  <a:lnTo>
                    <a:pt x="359" y="562"/>
                  </a:lnTo>
                  <a:lnTo>
                    <a:pt x="341" y="562"/>
                  </a:lnTo>
                  <a:lnTo>
                    <a:pt x="322" y="561"/>
                  </a:lnTo>
                  <a:lnTo>
                    <a:pt x="305" y="559"/>
                  </a:lnTo>
                  <a:lnTo>
                    <a:pt x="287" y="556"/>
                  </a:lnTo>
                  <a:lnTo>
                    <a:pt x="270" y="554"/>
                  </a:lnTo>
                  <a:lnTo>
                    <a:pt x="253" y="550"/>
                  </a:lnTo>
                  <a:lnTo>
                    <a:pt x="236" y="545"/>
                  </a:lnTo>
                  <a:lnTo>
                    <a:pt x="220" y="540"/>
                  </a:lnTo>
                  <a:lnTo>
                    <a:pt x="204" y="535"/>
                  </a:lnTo>
                  <a:lnTo>
                    <a:pt x="189" y="529"/>
                  </a:lnTo>
                  <a:lnTo>
                    <a:pt x="174" y="522"/>
                  </a:lnTo>
                  <a:lnTo>
                    <a:pt x="159" y="515"/>
                  </a:lnTo>
                  <a:lnTo>
                    <a:pt x="145" y="507"/>
                  </a:lnTo>
                  <a:lnTo>
                    <a:pt x="131" y="499"/>
                  </a:lnTo>
                  <a:lnTo>
                    <a:pt x="119" y="490"/>
                  </a:lnTo>
                  <a:lnTo>
                    <a:pt x="106" y="480"/>
                  </a:lnTo>
                  <a:lnTo>
                    <a:pt x="93" y="470"/>
                  </a:lnTo>
                  <a:lnTo>
                    <a:pt x="83" y="460"/>
                  </a:lnTo>
                  <a:lnTo>
                    <a:pt x="71" y="449"/>
                  </a:lnTo>
                  <a:lnTo>
                    <a:pt x="62" y="439"/>
                  </a:lnTo>
                  <a:lnTo>
                    <a:pt x="53" y="427"/>
                  </a:lnTo>
                  <a:lnTo>
                    <a:pt x="44" y="416"/>
                  </a:lnTo>
                  <a:lnTo>
                    <a:pt x="36" y="403"/>
                  </a:lnTo>
                  <a:lnTo>
                    <a:pt x="29" y="390"/>
                  </a:lnTo>
                  <a:lnTo>
                    <a:pt x="22" y="378"/>
                  </a:lnTo>
                  <a:lnTo>
                    <a:pt x="16" y="365"/>
                  </a:lnTo>
                  <a:lnTo>
                    <a:pt x="12" y="351"/>
                  </a:lnTo>
                  <a:lnTo>
                    <a:pt x="8" y="337"/>
                  </a:lnTo>
                  <a:lnTo>
                    <a:pt x="5" y="324"/>
                  </a:lnTo>
                  <a:lnTo>
                    <a:pt x="2" y="310"/>
                  </a:lnTo>
                  <a:lnTo>
                    <a:pt x="1" y="296"/>
                  </a:lnTo>
                  <a:lnTo>
                    <a:pt x="0" y="281"/>
                  </a:lnTo>
                  <a:lnTo>
                    <a:pt x="0" y="281"/>
                  </a:lnTo>
                  <a:lnTo>
                    <a:pt x="1" y="267"/>
                  </a:lnTo>
                  <a:lnTo>
                    <a:pt x="2" y="252"/>
                  </a:lnTo>
                  <a:lnTo>
                    <a:pt x="5" y="238"/>
                  </a:lnTo>
                  <a:lnTo>
                    <a:pt x="8" y="225"/>
                  </a:lnTo>
                  <a:lnTo>
                    <a:pt x="12" y="211"/>
                  </a:lnTo>
                  <a:lnTo>
                    <a:pt x="16" y="198"/>
                  </a:lnTo>
                  <a:lnTo>
                    <a:pt x="22" y="184"/>
                  </a:lnTo>
                  <a:lnTo>
                    <a:pt x="29" y="171"/>
                  </a:lnTo>
                  <a:lnTo>
                    <a:pt x="36" y="159"/>
                  </a:lnTo>
                  <a:lnTo>
                    <a:pt x="44" y="147"/>
                  </a:lnTo>
                  <a:lnTo>
                    <a:pt x="53" y="136"/>
                  </a:lnTo>
                  <a:lnTo>
                    <a:pt x="62" y="124"/>
                  </a:lnTo>
                  <a:lnTo>
                    <a:pt x="71" y="113"/>
                  </a:lnTo>
                  <a:lnTo>
                    <a:pt x="83" y="102"/>
                  </a:lnTo>
                  <a:lnTo>
                    <a:pt x="93" y="92"/>
                  </a:lnTo>
                  <a:lnTo>
                    <a:pt x="106" y="83"/>
                  </a:lnTo>
                  <a:lnTo>
                    <a:pt x="119" y="73"/>
                  </a:lnTo>
                  <a:lnTo>
                    <a:pt x="131" y="64"/>
                  </a:lnTo>
                  <a:lnTo>
                    <a:pt x="145" y="56"/>
                  </a:lnTo>
                  <a:lnTo>
                    <a:pt x="159" y="48"/>
                  </a:lnTo>
                  <a:lnTo>
                    <a:pt x="174" y="41"/>
                  </a:lnTo>
                  <a:lnTo>
                    <a:pt x="189" y="34"/>
                  </a:lnTo>
                  <a:lnTo>
                    <a:pt x="204" y="27"/>
                  </a:lnTo>
                  <a:lnTo>
                    <a:pt x="220" y="22"/>
                  </a:lnTo>
                  <a:lnTo>
                    <a:pt x="236" y="17"/>
                  </a:lnTo>
                  <a:lnTo>
                    <a:pt x="253" y="12"/>
                  </a:lnTo>
                  <a:lnTo>
                    <a:pt x="270" y="9"/>
                  </a:lnTo>
                  <a:lnTo>
                    <a:pt x="287" y="5"/>
                  </a:lnTo>
                  <a:lnTo>
                    <a:pt x="305" y="3"/>
                  </a:lnTo>
                  <a:lnTo>
                    <a:pt x="322" y="1"/>
                  </a:lnTo>
                  <a:lnTo>
                    <a:pt x="341" y="0"/>
                  </a:lnTo>
                  <a:lnTo>
                    <a:pt x="359" y="0"/>
                  </a:lnTo>
                  <a:lnTo>
                    <a:pt x="359" y="0"/>
                  </a:lnTo>
                  <a:lnTo>
                    <a:pt x="378" y="0"/>
                  </a:lnTo>
                  <a:lnTo>
                    <a:pt x="396" y="1"/>
                  </a:lnTo>
                  <a:lnTo>
                    <a:pt x="415" y="3"/>
                  </a:lnTo>
                  <a:lnTo>
                    <a:pt x="432" y="5"/>
                  </a:lnTo>
                  <a:lnTo>
                    <a:pt x="449" y="9"/>
                  </a:lnTo>
                  <a:lnTo>
                    <a:pt x="466" y="12"/>
                  </a:lnTo>
                  <a:lnTo>
                    <a:pt x="484" y="17"/>
                  </a:lnTo>
                  <a:lnTo>
                    <a:pt x="500" y="22"/>
                  </a:lnTo>
                  <a:lnTo>
                    <a:pt x="516" y="27"/>
                  </a:lnTo>
                  <a:lnTo>
                    <a:pt x="531" y="34"/>
                  </a:lnTo>
                  <a:lnTo>
                    <a:pt x="546" y="41"/>
                  </a:lnTo>
                  <a:lnTo>
                    <a:pt x="561" y="48"/>
                  </a:lnTo>
                  <a:lnTo>
                    <a:pt x="575" y="56"/>
                  </a:lnTo>
                  <a:lnTo>
                    <a:pt x="589" y="64"/>
                  </a:lnTo>
                  <a:lnTo>
                    <a:pt x="601" y="73"/>
                  </a:lnTo>
                  <a:lnTo>
                    <a:pt x="614" y="83"/>
                  </a:lnTo>
                  <a:lnTo>
                    <a:pt x="625" y="92"/>
                  </a:lnTo>
                  <a:lnTo>
                    <a:pt x="637" y="102"/>
                  </a:lnTo>
                  <a:lnTo>
                    <a:pt x="647" y="113"/>
                  </a:lnTo>
                  <a:lnTo>
                    <a:pt x="658" y="124"/>
                  </a:lnTo>
                  <a:lnTo>
                    <a:pt x="667" y="136"/>
                  </a:lnTo>
                  <a:lnTo>
                    <a:pt x="676" y="147"/>
                  </a:lnTo>
                  <a:lnTo>
                    <a:pt x="683" y="159"/>
                  </a:lnTo>
                  <a:lnTo>
                    <a:pt x="691" y="171"/>
                  </a:lnTo>
                  <a:lnTo>
                    <a:pt x="697" y="184"/>
                  </a:lnTo>
                  <a:lnTo>
                    <a:pt x="703" y="198"/>
                  </a:lnTo>
                  <a:lnTo>
                    <a:pt x="707" y="211"/>
                  </a:lnTo>
                  <a:lnTo>
                    <a:pt x="712" y="225"/>
                  </a:lnTo>
                  <a:lnTo>
                    <a:pt x="715" y="238"/>
                  </a:lnTo>
                  <a:lnTo>
                    <a:pt x="717" y="252"/>
                  </a:lnTo>
                  <a:lnTo>
                    <a:pt x="719" y="267"/>
                  </a:lnTo>
                  <a:lnTo>
                    <a:pt x="719" y="281"/>
                  </a:lnTo>
                  <a:lnTo>
                    <a:pt x="719" y="281"/>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2" name="Freeform 22">
              <a:extLst>
                <a:ext uri="{FF2B5EF4-FFF2-40B4-BE49-F238E27FC236}">
                  <a16:creationId xmlns:a16="http://schemas.microsoft.com/office/drawing/2014/main" id="{DB30B69C-4881-4241-AED5-956FE7C1CA9B}"/>
                </a:ext>
              </a:extLst>
            </p:cNvPr>
            <p:cNvSpPr>
              <a:spLocks/>
            </p:cNvSpPr>
            <p:nvPr/>
          </p:nvSpPr>
          <p:spPr bwMode="auto">
            <a:xfrm>
              <a:off x="6848476" y="4213225"/>
              <a:ext cx="227013" cy="177800"/>
            </a:xfrm>
            <a:custGeom>
              <a:avLst/>
              <a:gdLst>
                <a:gd name="T0" fmla="*/ 719 w 719"/>
                <a:gd name="T1" fmla="*/ 296 h 563"/>
                <a:gd name="T2" fmla="*/ 712 w 719"/>
                <a:gd name="T3" fmla="*/ 338 h 563"/>
                <a:gd name="T4" fmla="*/ 697 w 719"/>
                <a:gd name="T5" fmla="*/ 378 h 563"/>
                <a:gd name="T6" fmla="*/ 676 w 719"/>
                <a:gd name="T7" fmla="*/ 415 h 563"/>
                <a:gd name="T8" fmla="*/ 647 w 719"/>
                <a:gd name="T9" fmla="*/ 450 h 563"/>
                <a:gd name="T10" fmla="*/ 614 w 719"/>
                <a:gd name="T11" fmla="*/ 481 h 563"/>
                <a:gd name="T12" fmla="*/ 575 w 719"/>
                <a:gd name="T13" fmla="*/ 507 h 563"/>
                <a:gd name="T14" fmla="*/ 531 w 719"/>
                <a:gd name="T15" fmla="*/ 529 h 563"/>
                <a:gd name="T16" fmla="*/ 484 w 719"/>
                <a:gd name="T17" fmla="*/ 545 h 563"/>
                <a:gd name="T18" fmla="*/ 432 w 719"/>
                <a:gd name="T19" fmla="*/ 557 h 563"/>
                <a:gd name="T20" fmla="*/ 378 w 719"/>
                <a:gd name="T21" fmla="*/ 563 h 563"/>
                <a:gd name="T22" fmla="*/ 341 w 719"/>
                <a:gd name="T23" fmla="*/ 563 h 563"/>
                <a:gd name="T24" fmla="*/ 287 w 719"/>
                <a:gd name="T25" fmla="*/ 557 h 563"/>
                <a:gd name="T26" fmla="*/ 236 w 719"/>
                <a:gd name="T27" fmla="*/ 545 h 563"/>
                <a:gd name="T28" fmla="*/ 189 w 719"/>
                <a:gd name="T29" fmla="*/ 529 h 563"/>
                <a:gd name="T30" fmla="*/ 145 w 719"/>
                <a:gd name="T31" fmla="*/ 507 h 563"/>
                <a:gd name="T32" fmla="*/ 106 w 719"/>
                <a:gd name="T33" fmla="*/ 481 h 563"/>
                <a:gd name="T34" fmla="*/ 71 w 719"/>
                <a:gd name="T35" fmla="*/ 450 h 563"/>
                <a:gd name="T36" fmla="*/ 44 w 719"/>
                <a:gd name="T37" fmla="*/ 415 h 563"/>
                <a:gd name="T38" fmla="*/ 22 w 719"/>
                <a:gd name="T39" fmla="*/ 378 h 563"/>
                <a:gd name="T40" fmla="*/ 8 w 719"/>
                <a:gd name="T41" fmla="*/ 338 h 563"/>
                <a:gd name="T42" fmla="*/ 1 w 719"/>
                <a:gd name="T43" fmla="*/ 296 h 563"/>
                <a:gd name="T44" fmla="*/ 1 w 719"/>
                <a:gd name="T45" fmla="*/ 266 h 563"/>
                <a:gd name="T46" fmla="*/ 8 w 719"/>
                <a:gd name="T47" fmla="*/ 225 h 563"/>
                <a:gd name="T48" fmla="*/ 22 w 719"/>
                <a:gd name="T49" fmla="*/ 185 h 563"/>
                <a:gd name="T50" fmla="*/ 44 w 719"/>
                <a:gd name="T51" fmla="*/ 148 h 563"/>
                <a:gd name="T52" fmla="*/ 71 w 719"/>
                <a:gd name="T53" fmla="*/ 113 h 563"/>
                <a:gd name="T54" fmla="*/ 106 w 719"/>
                <a:gd name="T55" fmla="*/ 82 h 563"/>
                <a:gd name="T56" fmla="*/ 145 w 719"/>
                <a:gd name="T57" fmla="*/ 55 h 563"/>
                <a:gd name="T58" fmla="*/ 189 w 719"/>
                <a:gd name="T59" fmla="*/ 34 h 563"/>
                <a:gd name="T60" fmla="*/ 236 w 719"/>
                <a:gd name="T61" fmla="*/ 17 h 563"/>
                <a:gd name="T62" fmla="*/ 287 w 719"/>
                <a:gd name="T63" fmla="*/ 6 h 563"/>
                <a:gd name="T64" fmla="*/ 341 w 719"/>
                <a:gd name="T65" fmla="*/ 0 h 563"/>
                <a:gd name="T66" fmla="*/ 378 w 719"/>
                <a:gd name="T67" fmla="*/ 0 h 563"/>
                <a:gd name="T68" fmla="*/ 432 w 719"/>
                <a:gd name="T69" fmla="*/ 6 h 563"/>
                <a:gd name="T70" fmla="*/ 484 w 719"/>
                <a:gd name="T71" fmla="*/ 17 h 563"/>
                <a:gd name="T72" fmla="*/ 531 w 719"/>
                <a:gd name="T73" fmla="*/ 34 h 563"/>
                <a:gd name="T74" fmla="*/ 575 w 719"/>
                <a:gd name="T75" fmla="*/ 55 h 563"/>
                <a:gd name="T76" fmla="*/ 614 w 719"/>
                <a:gd name="T77" fmla="*/ 82 h 563"/>
                <a:gd name="T78" fmla="*/ 647 w 719"/>
                <a:gd name="T79" fmla="*/ 113 h 563"/>
                <a:gd name="T80" fmla="*/ 676 w 719"/>
                <a:gd name="T81" fmla="*/ 148 h 563"/>
                <a:gd name="T82" fmla="*/ 697 w 719"/>
                <a:gd name="T83" fmla="*/ 185 h 563"/>
                <a:gd name="T84" fmla="*/ 712 w 719"/>
                <a:gd name="T85" fmla="*/ 225 h 563"/>
                <a:gd name="T86" fmla="*/ 719 w 719"/>
                <a:gd name="T87" fmla="*/ 266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9" h="563">
                  <a:moveTo>
                    <a:pt x="719" y="281"/>
                  </a:moveTo>
                  <a:lnTo>
                    <a:pt x="719" y="281"/>
                  </a:lnTo>
                  <a:lnTo>
                    <a:pt x="719" y="296"/>
                  </a:lnTo>
                  <a:lnTo>
                    <a:pt x="717" y="310"/>
                  </a:lnTo>
                  <a:lnTo>
                    <a:pt x="715" y="324"/>
                  </a:lnTo>
                  <a:lnTo>
                    <a:pt x="712" y="338"/>
                  </a:lnTo>
                  <a:lnTo>
                    <a:pt x="707" y="352"/>
                  </a:lnTo>
                  <a:lnTo>
                    <a:pt x="703" y="366"/>
                  </a:lnTo>
                  <a:lnTo>
                    <a:pt x="697" y="378"/>
                  </a:lnTo>
                  <a:lnTo>
                    <a:pt x="691" y="391"/>
                  </a:lnTo>
                  <a:lnTo>
                    <a:pt x="683" y="404"/>
                  </a:lnTo>
                  <a:lnTo>
                    <a:pt x="676" y="415"/>
                  </a:lnTo>
                  <a:lnTo>
                    <a:pt x="667" y="428"/>
                  </a:lnTo>
                  <a:lnTo>
                    <a:pt x="658" y="438"/>
                  </a:lnTo>
                  <a:lnTo>
                    <a:pt x="647" y="450"/>
                  </a:lnTo>
                  <a:lnTo>
                    <a:pt x="637" y="460"/>
                  </a:lnTo>
                  <a:lnTo>
                    <a:pt x="625" y="470"/>
                  </a:lnTo>
                  <a:lnTo>
                    <a:pt x="614" y="481"/>
                  </a:lnTo>
                  <a:lnTo>
                    <a:pt x="601" y="490"/>
                  </a:lnTo>
                  <a:lnTo>
                    <a:pt x="589" y="498"/>
                  </a:lnTo>
                  <a:lnTo>
                    <a:pt x="575" y="507"/>
                  </a:lnTo>
                  <a:lnTo>
                    <a:pt x="561" y="514"/>
                  </a:lnTo>
                  <a:lnTo>
                    <a:pt x="546" y="522"/>
                  </a:lnTo>
                  <a:lnTo>
                    <a:pt x="531" y="529"/>
                  </a:lnTo>
                  <a:lnTo>
                    <a:pt x="516" y="535"/>
                  </a:lnTo>
                  <a:lnTo>
                    <a:pt x="500" y="541"/>
                  </a:lnTo>
                  <a:lnTo>
                    <a:pt x="484" y="545"/>
                  </a:lnTo>
                  <a:lnTo>
                    <a:pt x="466" y="550"/>
                  </a:lnTo>
                  <a:lnTo>
                    <a:pt x="449" y="553"/>
                  </a:lnTo>
                  <a:lnTo>
                    <a:pt x="432" y="557"/>
                  </a:lnTo>
                  <a:lnTo>
                    <a:pt x="415" y="559"/>
                  </a:lnTo>
                  <a:lnTo>
                    <a:pt x="396" y="562"/>
                  </a:lnTo>
                  <a:lnTo>
                    <a:pt x="378" y="563"/>
                  </a:lnTo>
                  <a:lnTo>
                    <a:pt x="359" y="563"/>
                  </a:lnTo>
                  <a:lnTo>
                    <a:pt x="359" y="563"/>
                  </a:lnTo>
                  <a:lnTo>
                    <a:pt x="341" y="563"/>
                  </a:lnTo>
                  <a:lnTo>
                    <a:pt x="323" y="562"/>
                  </a:lnTo>
                  <a:lnTo>
                    <a:pt x="305" y="559"/>
                  </a:lnTo>
                  <a:lnTo>
                    <a:pt x="287" y="557"/>
                  </a:lnTo>
                  <a:lnTo>
                    <a:pt x="270" y="553"/>
                  </a:lnTo>
                  <a:lnTo>
                    <a:pt x="253" y="550"/>
                  </a:lnTo>
                  <a:lnTo>
                    <a:pt x="236" y="545"/>
                  </a:lnTo>
                  <a:lnTo>
                    <a:pt x="220" y="541"/>
                  </a:lnTo>
                  <a:lnTo>
                    <a:pt x="204" y="535"/>
                  </a:lnTo>
                  <a:lnTo>
                    <a:pt x="189" y="529"/>
                  </a:lnTo>
                  <a:lnTo>
                    <a:pt x="174" y="522"/>
                  </a:lnTo>
                  <a:lnTo>
                    <a:pt x="159" y="514"/>
                  </a:lnTo>
                  <a:lnTo>
                    <a:pt x="145" y="507"/>
                  </a:lnTo>
                  <a:lnTo>
                    <a:pt x="131" y="498"/>
                  </a:lnTo>
                  <a:lnTo>
                    <a:pt x="119" y="490"/>
                  </a:lnTo>
                  <a:lnTo>
                    <a:pt x="106" y="481"/>
                  </a:lnTo>
                  <a:lnTo>
                    <a:pt x="93" y="470"/>
                  </a:lnTo>
                  <a:lnTo>
                    <a:pt x="83" y="460"/>
                  </a:lnTo>
                  <a:lnTo>
                    <a:pt x="71" y="450"/>
                  </a:lnTo>
                  <a:lnTo>
                    <a:pt x="62" y="438"/>
                  </a:lnTo>
                  <a:lnTo>
                    <a:pt x="53" y="428"/>
                  </a:lnTo>
                  <a:lnTo>
                    <a:pt x="44" y="415"/>
                  </a:lnTo>
                  <a:lnTo>
                    <a:pt x="36" y="404"/>
                  </a:lnTo>
                  <a:lnTo>
                    <a:pt x="29" y="391"/>
                  </a:lnTo>
                  <a:lnTo>
                    <a:pt x="22" y="378"/>
                  </a:lnTo>
                  <a:lnTo>
                    <a:pt x="16" y="366"/>
                  </a:lnTo>
                  <a:lnTo>
                    <a:pt x="12" y="352"/>
                  </a:lnTo>
                  <a:lnTo>
                    <a:pt x="8" y="338"/>
                  </a:lnTo>
                  <a:lnTo>
                    <a:pt x="5" y="324"/>
                  </a:lnTo>
                  <a:lnTo>
                    <a:pt x="2" y="310"/>
                  </a:lnTo>
                  <a:lnTo>
                    <a:pt x="1" y="296"/>
                  </a:lnTo>
                  <a:lnTo>
                    <a:pt x="0" y="281"/>
                  </a:lnTo>
                  <a:lnTo>
                    <a:pt x="0" y="281"/>
                  </a:lnTo>
                  <a:lnTo>
                    <a:pt x="1" y="266"/>
                  </a:lnTo>
                  <a:lnTo>
                    <a:pt x="2" y="253"/>
                  </a:lnTo>
                  <a:lnTo>
                    <a:pt x="5" y="239"/>
                  </a:lnTo>
                  <a:lnTo>
                    <a:pt x="8" y="225"/>
                  </a:lnTo>
                  <a:lnTo>
                    <a:pt x="12" y="211"/>
                  </a:lnTo>
                  <a:lnTo>
                    <a:pt x="16" y="197"/>
                  </a:lnTo>
                  <a:lnTo>
                    <a:pt x="22" y="185"/>
                  </a:lnTo>
                  <a:lnTo>
                    <a:pt x="29" y="172"/>
                  </a:lnTo>
                  <a:lnTo>
                    <a:pt x="36" y="159"/>
                  </a:lnTo>
                  <a:lnTo>
                    <a:pt x="44" y="148"/>
                  </a:lnTo>
                  <a:lnTo>
                    <a:pt x="53" y="135"/>
                  </a:lnTo>
                  <a:lnTo>
                    <a:pt x="62" y="125"/>
                  </a:lnTo>
                  <a:lnTo>
                    <a:pt x="71" y="113"/>
                  </a:lnTo>
                  <a:lnTo>
                    <a:pt x="83" y="103"/>
                  </a:lnTo>
                  <a:lnTo>
                    <a:pt x="93" y="92"/>
                  </a:lnTo>
                  <a:lnTo>
                    <a:pt x="106" y="82"/>
                  </a:lnTo>
                  <a:lnTo>
                    <a:pt x="119" y="73"/>
                  </a:lnTo>
                  <a:lnTo>
                    <a:pt x="131" y="65"/>
                  </a:lnTo>
                  <a:lnTo>
                    <a:pt x="145" y="55"/>
                  </a:lnTo>
                  <a:lnTo>
                    <a:pt x="159" y="49"/>
                  </a:lnTo>
                  <a:lnTo>
                    <a:pt x="174" y="41"/>
                  </a:lnTo>
                  <a:lnTo>
                    <a:pt x="189" y="34"/>
                  </a:lnTo>
                  <a:lnTo>
                    <a:pt x="204" y="28"/>
                  </a:lnTo>
                  <a:lnTo>
                    <a:pt x="220" y="22"/>
                  </a:lnTo>
                  <a:lnTo>
                    <a:pt x="236" y="17"/>
                  </a:lnTo>
                  <a:lnTo>
                    <a:pt x="253" y="13"/>
                  </a:lnTo>
                  <a:lnTo>
                    <a:pt x="270" y="9"/>
                  </a:lnTo>
                  <a:lnTo>
                    <a:pt x="287" y="6"/>
                  </a:lnTo>
                  <a:lnTo>
                    <a:pt x="305" y="4"/>
                  </a:lnTo>
                  <a:lnTo>
                    <a:pt x="323" y="1"/>
                  </a:lnTo>
                  <a:lnTo>
                    <a:pt x="341" y="0"/>
                  </a:lnTo>
                  <a:lnTo>
                    <a:pt x="359" y="0"/>
                  </a:lnTo>
                  <a:lnTo>
                    <a:pt x="359" y="0"/>
                  </a:lnTo>
                  <a:lnTo>
                    <a:pt x="378" y="0"/>
                  </a:lnTo>
                  <a:lnTo>
                    <a:pt x="396" y="1"/>
                  </a:lnTo>
                  <a:lnTo>
                    <a:pt x="415" y="4"/>
                  </a:lnTo>
                  <a:lnTo>
                    <a:pt x="432" y="6"/>
                  </a:lnTo>
                  <a:lnTo>
                    <a:pt x="449" y="9"/>
                  </a:lnTo>
                  <a:lnTo>
                    <a:pt x="466" y="13"/>
                  </a:lnTo>
                  <a:lnTo>
                    <a:pt x="484" y="17"/>
                  </a:lnTo>
                  <a:lnTo>
                    <a:pt x="500" y="22"/>
                  </a:lnTo>
                  <a:lnTo>
                    <a:pt x="516" y="28"/>
                  </a:lnTo>
                  <a:lnTo>
                    <a:pt x="531" y="34"/>
                  </a:lnTo>
                  <a:lnTo>
                    <a:pt x="546" y="41"/>
                  </a:lnTo>
                  <a:lnTo>
                    <a:pt x="561" y="49"/>
                  </a:lnTo>
                  <a:lnTo>
                    <a:pt x="575" y="55"/>
                  </a:lnTo>
                  <a:lnTo>
                    <a:pt x="589" y="65"/>
                  </a:lnTo>
                  <a:lnTo>
                    <a:pt x="601" y="73"/>
                  </a:lnTo>
                  <a:lnTo>
                    <a:pt x="614" y="82"/>
                  </a:lnTo>
                  <a:lnTo>
                    <a:pt x="625" y="92"/>
                  </a:lnTo>
                  <a:lnTo>
                    <a:pt x="637" y="103"/>
                  </a:lnTo>
                  <a:lnTo>
                    <a:pt x="647" y="113"/>
                  </a:lnTo>
                  <a:lnTo>
                    <a:pt x="658" y="125"/>
                  </a:lnTo>
                  <a:lnTo>
                    <a:pt x="667" y="135"/>
                  </a:lnTo>
                  <a:lnTo>
                    <a:pt x="676" y="148"/>
                  </a:lnTo>
                  <a:lnTo>
                    <a:pt x="683" y="159"/>
                  </a:lnTo>
                  <a:lnTo>
                    <a:pt x="691" y="172"/>
                  </a:lnTo>
                  <a:lnTo>
                    <a:pt x="697" y="185"/>
                  </a:lnTo>
                  <a:lnTo>
                    <a:pt x="703" y="197"/>
                  </a:lnTo>
                  <a:lnTo>
                    <a:pt x="707" y="211"/>
                  </a:lnTo>
                  <a:lnTo>
                    <a:pt x="712" y="225"/>
                  </a:lnTo>
                  <a:lnTo>
                    <a:pt x="715" y="239"/>
                  </a:lnTo>
                  <a:lnTo>
                    <a:pt x="717" y="253"/>
                  </a:lnTo>
                  <a:lnTo>
                    <a:pt x="719" y="266"/>
                  </a:lnTo>
                  <a:lnTo>
                    <a:pt x="719" y="281"/>
                  </a:lnTo>
                  <a:lnTo>
                    <a:pt x="719" y="281"/>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3" name="Freeform 23">
              <a:extLst>
                <a:ext uri="{FF2B5EF4-FFF2-40B4-BE49-F238E27FC236}">
                  <a16:creationId xmlns:a16="http://schemas.microsoft.com/office/drawing/2014/main" id="{5AE03B2A-3780-49D9-88D9-CC06F9B5EF6A}"/>
                </a:ext>
              </a:extLst>
            </p:cNvPr>
            <p:cNvSpPr>
              <a:spLocks/>
            </p:cNvSpPr>
            <p:nvPr/>
          </p:nvSpPr>
          <p:spPr bwMode="auto">
            <a:xfrm>
              <a:off x="6613526" y="4248150"/>
              <a:ext cx="147638" cy="141288"/>
            </a:xfrm>
            <a:custGeom>
              <a:avLst/>
              <a:gdLst>
                <a:gd name="T0" fmla="*/ 462 w 462"/>
                <a:gd name="T1" fmla="*/ 224 h 449"/>
                <a:gd name="T2" fmla="*/ 457 w 462"/>
                <a:gd name="T3" fmla="*/ 269 h 449"/>
                <a:gd name="T4" fmla="*/ 444 w 462"/>
                <a:gd name="T5" fmla="*/ 312 h 449"/>
                <a:gd name="T6" fmla="*/ 423 w 462"/>
                <a:gd name="T7" fmla="*/ 350 h 449"/>
                <a:gd name="T8" fmla="*/ 394 w 462"/>
                <a:gd name="T9" fmla="*/ 384 h 449"/>
                <a:gd name="T10" fmla="*/ 361 w 462"/>
                <a:gd name="T11" fmla="*/ 411 h 449"/>
                <a:gd name="T12" fmla="*/ 322 w 462"/>
                <a:gd name="T13" fmla="*/ 432 h 449"/>
                <a:gd name="T14" fmla="*/ 278 w 462"/>
                <a:gd name="T15" fmla="*/ 445 h 449"/>
                <a:gd name="T16" fmla="*/ 232 w 462"/>
                <a:gd name="T17" fmla="*/ 449 h 449"/>
                <a:gd name="T18" fmla="*/ 208 w 462"/>
                <a:gd name="T19" fmla="*/ 448 h 449"/>
                <a:gd name="T20" fmla="*/ 163 w 462"/>
                <a:gd name="T21" fmla="*/ 439 h 449"/>
                <a:gd name="T22" fmla="*/ 121 w 462"/>
                <a:gd name="T23" fmla="*/ 422 h 449"/>
                <a:gd name="T24" fmla="*/ 84 w 462"/>
                <a:gd name="T25" fmla="*/ 397 h 449"/>
                <a:gd name="T26" fmla="*/ 53 w 462"/>
                <a:gd name="T27" fmla="*/ 367 h 449"/>
                <a:gd name="T28" fmla="*/ 28 w 462"/>
                <a:gd name="T29" fmla="*/ 332 h 449"/>
                <a:gd name="T30" fmla="*/ 11 w 462"/>
                <a:gd name="T31" fmla="*/ 291 h 449"/>
                <a:gd name="T32" fmla="*/ 1 w 462"/>
                <a:gd name="T33" fmla="*/ 248 h 449"/>
                <a:gd name="T34" fmla="*/ 0 w 462"/>
                <a:gd name="T35" fmla="*/ 224 h 449"/>
                <a:gd name="T36" fmla="*/ 5 w 462"/>
                <a:gd name="T37" fmla="*/ 179 h 449"/>
                <a:gd name="T38" fmla="*/ 19 w 462"/>
                <a:gd name="T39" fmla="*/ 137 h 449"/>
                <a:gd name="T40" fmla="*/ 39 w 462"/>
                <a:gd name="T41" fmla="*/ 99 h 449"/>
                <a:gd name="T42" fmla="*/ 68 w 462"/>
                <a:gd name="T43" fmla="*/ 65 h 449"/>
                <a:gd name="T44" fmla="*/ 102 w 462"/>
                <a:gd name="T45" fmla="*/ 39 h 449"/>
                <a:gd name="T46" fmla="*/ 141 w 462"/>
                <a:gd name="T47" fmla="*/ 18 h 449"/>
                <a:gd name="T48" fmla="*/ 184 w 462"/>
                <a:gd name="T49" fmla="*/ 4 h 449"/>
                <a:gd name="T50" fmla="*/ 232 w 462"/>
                <a:gd name="T51" fmla="*/ 0 h 449"/>
                <a:gd name="T52" fmla="*/ 255 w 462"/>
                <a:gd name="T53" fmla="*/ 1 h 449"/>
                <a:gd name="T54" fmla="*/ 300 w 462"/>
                <a:gd name="T55" fmla="*/ 10 h 449"/>
                <a:gd name="T56" fmla="*/ 341 w 462"/>
                <a:gd name="T57" fmla="*/ 27 h 449"/>
                <a:gd name="T58" fmla="*/ 378 w 462"/>
                <a:gd name="T59" fmla="*/ 52 h 449"/>
                <a:gd name="T60" fmla="*/ 409 w 462"/>
                <a:gd name="T61" fmla="*/ 82 h 449"/>
                <a:gd name="T62" fmla="*/ 434 w 462"/>
                <a:gd name="T63" fmla="*/ 117 h 449"/>
                <a:gd name="T64" fmla="*/ 452 w 462"/>
                <a:gd name="T65" fmla="*/ 158 h 449"/>
                <a:gd name="T66" fmla="*/ 461 w 462"/>
                <a:gd name="T67" fmla="*/ 201 h 449"/>
                <a:gd name="T68" fmla="*/ 462 w 462"/>
                <a:gd name="T69" fmla="*/ 224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2" h="449">
                  <a:moveTo>
                    <a:pt x="462" y="224"/>
                  </a:moveTo>
                  <a:lnTo>
                    <a:pt x="462" y="224"/>
                  </a:lnTo>
                  <a:lnTo>
                    <a:pt x="461" y="248"/>
                  </a:lnTo>
                  <a:lnTo>
                    <a:pt x="457" y="269"/>
                  </a:lnTo>
                  <a:lnTo>
                    <a:pt x="452" y="291"/>
                  </a:lnTo>
                  <a:lnTo>
                    <a:pt x="444" y="312"/>
                  </a:lnTo>
                  <a:lnTo>
                    <a:pt x="434" y="332"/>
                  </a:lnTo>
                  <a:lnTo>
                    <a:pt x="423" y="350"/>
                  </a:lnTo>
                  <a:lnTo>
                    <a:pt x="409" y="367"/>
                  </a:lnTo>
                  <a:lnTo>
                    <a:pt x="394" y="384"/>
                  </a:lnTo>
                  <a:lnTo>
                    <a:pt x="378" y="397"/>
                  </a:lnTo>
                  <a:lnTo>
                    <a:pt x="361" y="411"/>
                  </a:lnTo>
                  <a:lnTo>
                    <a:pt x="341" y="422"/>
                  </a:lnTo>
                  <a:lnTo>
                    <a:pt x="322" y="432"/>
                  </a:lnTo>
                  <a:lnTo>
                    <a:pt x="300" y="439"/>
                  </a:lnTo>
                  <a:lnTo>
                    <a:pt x="278" y="445"/>
                  </a:lnTo>
                  <a:lnTo>
                    <a:pt x="255" y="448"/>
                  </a:lnTo>
                  <a:lnTo>
                    <a:pt x="232" y="449"/>
                  </a:lnTo>
                  <a:lnTo>
                    <a:pt x="232" y="449"/>
                  </a:lnTo>
                  <a:lnTo>
                    <a:pt x="208" y="448"/>
                  </a:lnTo>
                  <a:lnTo>
                    <a:pt x="184" y="445"/>
                  </a:lnTo>
                  <a:lnTo>
                    <a:pt x="163" y="439"/>
                  </a:lnTo>
                  <a:lnTo>
                    <a:pt x="141" y="432"/>
                  </a:lnTo>
                  <a:lnTo>
                    <a:pt x="121" y="422"/>
                  </a:lnTo>
                  <a:lnTo>
                    <a:pt x="102" y="411"/>
                  </a:lnTo>
                  <a:lnTo>
                    <a:pt x="84" y="397"/>
                  </a:lnTo>
                  <a:lnTo>
                    <a:pt x="68" y="384"/>
                  </a:lnTo>
                  <a:lnTo>
                    <a:pt x="53" y="367"/>
                  </a:lnTo>
                  <a:lnTo>
                    <a:pt x="39" y="350"/>
                  </a:lnTo>
                  <a:lnTo>
                    <a:pt x="28" y="332"/>
                  </a:lnTo>
                  <a:lnTo>
                    <a:pt x="19" y="312"/>
                  </a:lnTo>
                  <a:lnTo>
                    <a:pt x="11" y="291"/>
                  </a:lnTo>
                  <a:lnTo>
                    <a:pt x="5" y="269"/>
                  </a:lnTo>
                  <a:lnTo>
                    <a:pt x="1" y="248"/>
                  </a:lnTo>
                  <a:lnTo>
                    <a:pt x="0" y="224"/>
                  </a:lnTo>
                  <a:lnTo>
                    <a:pt x="0" y="224"/>
                  </a:lnTo>
                  <a:lnTo>
                    <a:pt x="1" y="201"/>
                  </a:lnTo>
                  <a:lnTo>
                    <a:pt x="5" y="179"/>
                  </a:lnTo>
                  <a:lnTo>
                    <a:pt x="11" y="158"/>
                  </a:lnTo>
                  <a:lnTo>
                    <a:pt x="19" y="137"/>
                  </a:lnTo>
                  <a:lnTo>
                    <a:pt x="28" y="117"/>
                  </a:lnTo>
                  <a:lnTo>
                    <a:pt x="39" y="99"/>
                  </a:lnTo>
                  <a:lnTo>
                    <a:pt x="53" y="82"/>
                  </a:lnTo>
                  <a:lnTo>
                    <a:pt x="68" y="65"/>
                  </a:lnTo>
                  <a:lnTo>
                    <a:pt x="84" y="52"/>
                  </a:lnTo>
                  <a:lnTo>
                    <a:pt x="102" y="39"/>
                  </a:lnTo>
                  <a:lnTo>
                    <a:pt x="121" y="27"/>
                  </a:lnTo>
                  <a:lnTo>
                    <a:pt x="141" y="18"/>
                  </a:lnTo>
                  <a:lnTo>
                    <a:pt x="163" y="10"/>
                  </a:lnTo>
                  <a:lnTo>
                    <a:pt x="184" y="4"/>
                  </a:lnTo>
                  <a:lnTo>
                    <a:pt x="208" y="1"/>
                  </a:lnTo>
                  <a:lnTo>
                    <a:pt x="232" y="0"/>
                  </a:lnTo>
                  <a:lnTo>
                    <a:pt x="232" y="0"/>
                  </a:lnTo>
                  <a:lnTo>
                    <a:pt x="255" y="1"/>
                  </a:lnTo>
                  <a:lnTo>
                    <a:pt x="278" y="4"/>
                  </a:lnTo>
                  <a:lnTo>
                    <a:pt x="300" y="10"/>
                  </a:lnTo>
                  <a:lnTo>
                    <a:pt x="322" y="18"/>
                  </a:lnTo>
                  <a:lnTo>
                    <a:pt x="341" y="27"/>
                  </a:lnTo>
                  <a:lnTo>
                    <a:pt x="361" y="39"/>
                  </a:lnTo>
                  <a:lnTo>
                    <a:pt x="378" y="52"/>
                  </a:lnTo>
                  <a:lnTo>
                    <a:pt x="394" y="65"/>
                  </a:lnTo>
                  <a:lnTo>
                    <a:pt x="409" y="82"/>
                  </a:lnTo>
                  <a:lnTo>
                    <a:pt x="423" y="99"/>
                  </a:lnTo>
                  <a:lnTo>
                    <a:pt x="434" y="117"/>
                  </a:lnTo>
                  <a:lnTo>
                    <a:pt x="444" y="137"/>
                  </a:lnTo>
                  <a:lnTo>
                    <a:pt x="452" y="158"/>
                  </a:lnTo>
                  <a:lnTo>
                    <a:pt x="457" y="179"/>
                  </a:lnTo>
                  <a:lnTo>
                    <a:pt x="461" y="201"/>
                  </a:lnTo>
                  <a:lnTo>
                    <a:pt x="462" y="224"/>
                  </a:lnTo>
                  <a:lnTo>
                    <a:pt x="462" y="224"/>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4" name="Rectangle 33">
              <a:extLst>
                <a:ext uri="{FF2B5EF4-FFF2-40B4-BE49-F238E27FC236}">
                  <a16:creationId xmlns:a16="http://schemas.microsoft.com/office/drawing/2014/main" id="{7965A93F-5616-418C-A1B8-52D9C8CAFA80}"/>
                </a:ext>
              </a:extLst>
            </p:cNvPr>
            <p:cNvSpPr>
              <a:spLocks noChangeArrowheads="1"/>
            </p:cNvSpPr>
            <p:nvPr/>
          </p:nvSpPr>
          <p:spPr bwMode="auto">
            <a:xfrm>
              <a:off x="6681788" y="4268788"/>
              <a:ext cx="292100" cy="122238"/>
            </a:xfrm>
            <a:prstGeom prst="rect">
              <a:avLst/>
            </a:prstGeom>
            <a:solidFill>
              <a:srgbClr val="FFFFFF"/>
            </a:solidFill>
            <a:ln w="9525">
              <a:solidFill>
                <a:srgbClr val="000000"/>
              </a:solidFill>
              <a:miter lim="800000"/>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5" name="Freeform 25">
              <a:extLst>
                <a:ext uri="{FF2B5EF4-FFF2-40B4-BE49-F238E27FC236}">
                  <a16:creationId xmlns:a16="http://schemas.microsoft.com/office/drawing/2014/main" id="{57A423BA-3561-4AF7-9B3C-9053DEB47673}"/>
                </a:ext>
              </a:extLst>
            </p:cNvPr>
            <p:cNvSpPr>
              <a:spLocks/>
            </p:cNvSpPr>
            <p:nvPr/>
          </p:nvSpPr>
          <p:spPr bwMode="auto">
            <a:xfrm>
              <a:off x="6961188" y="3840163"/>
              <a:ext cx="112713" cy="153988"/>
            </a:xfrm>
            <a:custGeom>
              <a:avLst/>
              <a:gdLst>
                <a:gd name="T0" fmla="*/ 192 w 358"/>
                <a:gd name="T1" fmla="*/ 291 h 486"/>
                <a:gd name="T2" fmla="*/ 201 w 358"/>
                <a:gd name="T3" fmla="*/ 292 h 486"/>
                <a:gd name="T4" fmla="*/ 212 w 358"/>
                <a:gd name="T5" fmla="*/ 292 h 486"/>
                <a:gd name="T6" fmla="*/ 242 w 358"/>
                <a:gd name="T7" fmla="*/ 290 h 486"/>
                <a:gd name="T8" fmla="*/ 269 w 358"/>
                <a:gd name="T9" fmla="*/ 281 h 486"/>
                <a:gd name="T10" fmla="*/ 293 w 358"/>
                <a:gd name="T11" fmla="*/ 268 h 486"/>
                <a:gd name="T12" fmla="*/ 315 w 358"/>
                <a:gd name="T13" fmla="*/ 250 h 486"/>
                <a:gd name="T14" fmla="*/ 334 w 358"/>
                <a:gd name="T15" fmla="*/ 228 h 486"/>
                <a:gd name="T16" fmla="*/ 346 w 358"/>
                <a:gd name="T17" fmla="*/ 204 h 486"/>
                <a:gd name="T18" fmla="*/ 356 w 358"/>
                <a:gd name="T19" fmla="*/ 176 h 486"/>
                <a:gd name="T20" fmla="*/ 358 w 358"/>
                <a:gd name="T21" fmla="*/ 146 h 486"/>
                <a:gd name="T22" fmla="*/ 358 w 358"/>
                <a:gd name="T23" fmla="*/ 131 h 486"/>
                <a:gd name="T24" fmla="*/ 352 w 358"/>
                <a:gd name="T25" fmla="*/ 102 h 486"/>
                <a:gd name="T26" fmla="*/ 341 w 358"/>
                <a:gd name="T27" fmla="*/ 77 h 486"/>
                <a:gd name="T28" fmla="*/ 324 w 358"/>
                <a:gd name="T29" fmla="*/ 53 h 486"/>
                <a:gd name="T30" fmla="*/ 305 w 358"/>
                <a:gd name="T31" fmla="*/ 33 h 486"/>
                <a:gd name="T32" fmla="*/ 282 w 358"/>
                <a:gd name="T33" fmla="*/ 17 h 486"/>
                <a:gd name="T34" fmla="*/ 255 w 358"/>
                <a:gd name="T35" fmla="*/ 6 h 486"/>
                <a:gd name="T36" fmla="*/ 227 w 358"/>
                <a:gd name="T37" fmla="*/ 1 h 486"/>
                <a:gd name="T38" fmla="*/ 212 w 358"/>
                <a:gd name="T39" fmla="*/ 0 h 486"/>
                <a:gd name="T40" fmla="*/ 183 w 358"/>
                <a:gd name="T41" fmla="*/ 3 h 486"/>
                <a:gd name="T42" fmla="*/ 155 w 358"/>
                <a:gd name="T43" fmla="*/ 11 h 486"/>
                <a:gd name="T44" fmla="*/ 130 w 358"/>
                <a:gd name="T45" fmla="*/ 25 h 486"/>
                <a:gd name="T46" fmla="*/ 108 w 358"/>
                <a:gd name="T47" fmla="*/ 42 h 486"/>
                <a:gd name="T48" fmla="*/ 91 w 358"/>
                <a:gd name="T49" fmla="*/ 64 h 486"/>
                <a:gd name="T50" fmla="*/ 77 w 358"/>
                <a:gd name="T51" fmla="*/ 89 h 486"/>
                <a:gd name="T52" fmla="*/ 69 w 358"/>
                <a:gd name="T53" fmla="*/ 117 h 486"/>
                <a:gd name="T54" fmla="*/ 65 w 358"/>
                <a:gd name="T55" fmla="*/ 146 h 486"/>
                <a:gd name="T56" fmla="*/ 67 w 358"/>
                <a:gd name="T57" fmla="*/ 160 h 486"/>
                <a:gd name="T58" fmla="*/ 71 w 358"/>
                <a:gd name="T59" fmla="*/ 186 h 486"/>
                <a:gd name="T60" fmla="*/ 82 w 358"/>
                <a:gd name="T61" fmla="*/ 212 h 486"/>
                <a:gd name="T62" fmla="*/ 94 w 358"/>
                <a:gd name="T63" fmla="*/ 234 h 486"/>
                <a:gd name="T64" fmla="*/ 0 w 358"/>
                <a:gd name="T65" fmla="*/ 42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6">
                  <a:moveTo>
                    <a:pt x="79" y="486"/>
                  </a:moveTo>
                  <a:lnTo>
                    <a:pt x="192" y="291"/>
                  </a:lnTo>
                  <a:lnTo>
                    <a:pt x="192" y="291"/>
                  </a:lnTo>
                  <a:lnTo>
                    <a:pt x="201" y="292"/>
                  </a:lnTo>
                  <a:lnTo>
                    <a:pt x="212" y="292"/>
                  </a:lnTo>
                  <a:lnTo>
                    <a:pt x="212" y="292"/>
                  </a:lnTo>
                  <a:lnTo>
                    <a:pt x="227" y="292"/>
                  </a:lnTo>
                  <a:lnTo>
                    <a:pt x="242" y="290"/>
                  </a:lnTo>
                  <a:lnTo>
                    <a:pt x="255" y="287"/>
                  </a:lnTo>
                  <a:lnTo>
                    <a:pt x="269" y="281"/>
                  </a:lnTo>
                  <a:lnTo>
                    <a:pt x="282" y="275"/>
                  </a:lnTo>
                  <a:lnTo>
                    <a:pt x="293" y="268"/>
                  </a:lnTo>
                  <a:lnTo>
                    <a:pt x="305" y="259"/>
                  </a:lnTo>
                  <a:lnTo>
                    <a:pt x="315" y="250"/>
                  </a:lnTo>
                  <a:lnTo>
                    <a:pt x="324" y="239"/>
                  </a:lnTo>
                  <a:lnTo>
                    <a:pt x="334" y="228"/>
                  </a:lnTo>
                  <a:lnTo>
                    <a:pt x="341" y="216"/>
                  </a:lnTo>
                  <a:lnTo>
                    <a:pt x="346" y="204"/>
                  </a:lnTo>
                  <a:lnTo>
                    <a:pt x="352" y="190"/>
                  </a:lnTo>
                  <a:lnTo>
                    <a:pt x="356" y="176"/>
                  </a:lnTo>
                  <a:lnTo>
                    <a:pt x="358" y="161"/>
                  </a:lnTo>
                  <a:lnTo>
                    <a:pt x="358" y="146"/>
                  </a:lnTo>
                  <a:lnTo>
                    <a:pt x="358" y="146"/>
                  </a:lnTo>
                  <a:lnTo>
                    <a:pt x="358" y="131"/>
                  </a:lnTo>
                  <a:lnTo>
                    <a:pt x="356" y="117"/>
                  </a:lnTo>
                  <a:lnTo>
                    <a:pt x="352" y="102"/>
                  </a:lnTo>
                  <a:lnTo>
                    <a:pt x="346" y="89"/>
                  </a:lnTo>
                  <a:lnTo>
                    <a:pt x="341" y="77"/>
                  </a:lnTo>
                  <a:lnTo>
                    <a:pt x="334" y="64"/>
                  </a:lnTo>
                  <a:lnTo>
                    <a:pt x="324" y="53"/>
                  </a:lnTo>
                  <a:lnTo>
                    <a:pt x="315" y="42"/>
                  </a:lnTo>
                  <a:lnTo>
                    <a:pt x="305" y="33"/>
                  </a:lnTo>
                  <a:lnTo>
                    <a:pt x="293" y="25"/>
                  </a:lnTo>
                  <a:lnTo>
                    <a:pt x="282" y="17"/>
                  </a:lnTo>
                  <a:lnTo>
                    <a:pt x="269" y="11"/>
                  </a:lnTo>
                  <a:lnTo>
                    <a:pt x="255" y="6"/>
                  </a:lnTo>
                  <a:lnTo>
                    <a:pt x="242" y="3"/>
                  </a:lnTo>
                  <a:lnTo>
                    <a:pt x="227" y="1"/>
                  </a:lnTo>
                  <a:lnTo>
                    <a:pt x="212" y="0"/>
                  </a:lnTo>
                  <a:lnTo>
                    <a:pt x="212" y="0"/>
                  </a:lnTo>
                  <a:lnTo>
                    <a:pt x="197" y="1"/>
                  </a:lnTo>
                  <a:lnTo>
                    <a:pt x="183" y="3"/>
                  </a:lnTo>
                  <a:lnTo>
                    <a:pt x="168" y="6"/>
                  </a:lnTo>
                  <a:lnTo>
                    <a:pt x="155" y="11"/>
                  </a:lnTo>
                  <a:lnTo>
                    <a:pt x="143" y="17"/>
                  </a:lnTo>
                  <a:lnTo>
                    <a:pt x="130" y="25"/>
                  </a:lnTo>
                  <a:lnTo>
                    <a:pt x="118" y="33"/>
                  </a:lnTo>
                  <a:lnTo>
                    <a:pt x="108" y="42"/>
                  </a:lnTo>
                  <a:lnTo>
                    <a:pt x="99" y="53"/>
                  </a:lnTo>
                  <a:lnTo>
                    <a:pt x="91" y="64"/>
                  </a:lnTo>
                  <a:lnTo>
                    <a:pt x="83" y="77"/>
                  </a:lnTo>
                  <a:lnTo>
                    <a:pt x="77" y="89"/>
                  </a:lnTo>
                  <a:lnTo>
                    <a:pt x="72" y="102"/>
                  </a:lnTo>
                  <a:lnTo>
                    <a:pt x="69" y="117"/>
                  </a:lnTo>
                  <a:lnTo>
                    <a:pt x="67" y="131"/>
                  </a:lnTo>
                  <a:lnTo>
                    <a:pt x="65" y="146"/>
                  </a:lnTo>
                  <a:lnTo>
                    <a:pt x="65" y="146"/>
                  </a:lnTo>
                  <a:lnTo>
                    <a:pt x="67" y="160"/>
                  </a:lnTo>
                  <a:lnTo>
                    <a:pt x="68" y="174"/>
                  </a:lnTo>
                  <a:lnTo>
                    <a:pt x="71" y="186"/>
                  </a:lnTo>
                  <a:lnTo>
                    <a:pt x="76" y="199"/>
                  </a:lnTo>
                  <a:lnTo>
                    <a:pt x="82" y="212"/>
                  </a:lnTo>
                  <a:lnTo>
                    <a:pt x="87" y="223"/>
                  </a:lnTo>
                  <a:lnTo>
                    <a:pt x="94" y="234"/>
                  </a:lnTo>
                  <a:lnTo>
                    <a:pt x="103" y="244"/>
                  </a:lnTo>
                  <a:lnTo>
                    <a:pt x="0" y="423"/>
                  </a:lnTo>
                  <a:lnTo>
                    <a:pt x="79" y="486"/>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6" name="Freeform 26">
              <a:extLst>
                <a:ext uri="{FF2B5EF4-FFF2-40B4-BE49-F238E27FC236}">
                  <a16:creationId xmlns:a16="http://schemas.microsoft.com/office/drawing/2014/main" id="{4C61A493-90F5-48F9-8284-42887ED7152A}"/>
                </a:ext>
              </a:extLst>
            </p:cNvPr>
            <p:cNvSpPr>
              <a:spLocks/>
            </p:cNvSpPr>
            <p:nvPr/>
          </p:nvSpPr>
          <p:spPr bwMode="auto">
            <a:xfrm>
              <a:off x="6961188" y="3840163"/>
              <a:ext cx="112713" cy="153988"/>
            </a:xfrm>
            <a:custGeom>
              <a:avLst/>
              <a:gdLst>
                <a:gd name="T0" fmla="*/ 192 w 358"/>
                <a:gd name="T1" fmla="*/ 291 h 486"/>
                <a:gd name="T2" fmla="*/ 201 w 358"/>
                <a:gd name="T3" fmla="*/ 292 h 486"/>
                <a:gd name="T4" fmla="*/ 212 w 358"/>
                <a:gd name="T5" fmla="*/ 292 h 486"/>
                <a:gd name="T6" fmla="*/ 242 w 358"/>
                <a:gd name="T7" fmla="*/ 290 h 486"/>
                <a:gd name="T8" fmla="*/ 269 w 358"/>
                <a:gd name="T9" fmla="*/ 281 h 486"/>
                <a:gd name="T10" fmla="*/ 293 w 358"/>
                <a:gd name="T11" fmla="*/ 268 h 486"/>
                <a:gd name="T12" fmla="*/ 315 w 358"/>
                <a:gd name="T13" fmla="*/ 250 h 486"/>
                <a:gd name="T14" fmla="*/ 334 w 358"/>
                <a:gd name="T15" fmla="*/ 228 h 486"/>
                <a:gd name="T16" fmla="*/ 346 w 358"/>
                <a:gd name="T17" fmla="*/ 204 h 486"/>
                <a:gd name="T18" fmla="*/ 356 w 358"/>
                <a:gd name="T19" fmla="*/ 176 h 486"/>
                <a:gd name="T20" fmla="*/ 358 w 358"/>
                <a:gd name="T21" fmla="*/ 146 h 486"/>
                <a:gd name="T22" fmla="*/ 358 w 358"/>
                <a:gd name="T23" fmla="*/ 131 h 486"/>
                <a:gd name="T24" fmla="*/ 352 w 358"/>
                <a:gd name="T25" fmla="*/ 102 h 486"/>
                <a:gd name="T26" fmla="*/ 341 w 358"/>
                <a:gd name="T27" fmla="*/ 77 h 486"/>
                <a:gd name="T28" fmla="*/ 324 w 358"/>
                <a:gd name="T29" fmla="*/ 53 h 486"/>
                <a:gd name="T30" fmla="*/ 305 w 358"/>
                <a:gd name="T31" fmla="*/ 33 h 486"/>
                <a:gd name="T32" fmla="*/ 282 w 358"/>
                <a:gd name="T33" fmla="*/ 17 h 486"/>
                <a:gd name="T34" fmla="*/ 255 w 358"/>
                <a:gd name="T35" fmla="*/ 6 h 486"/>
                <a:gd name="T36" fmla="*/ 227 w 358"/>
                <a:gd name="T37" fmla="*/ 1 h 486"/>
                <a:gd name="T38" fmla="*/ 212 w 358"/>
                <a:gd name="T39" fmla="*/ 0 h 486"/>
                <a:gd name="T40" fmla="*/ 183 w 358"/>
                <a:gd name="T41" fmla="*/ 3 h 486"/>
                <a:gd name="T42" fmla="*/ 155 w 358"/>
                <a:gd name="T43" fmla="*/ 11 h 486"/>
                <a:gd name="T44" fmla="*/ 130 w 358"/>
                <a:gd name="T45" fmla="*/ 25 h 486"/>
                <a:gd name="T46" fmla="*/ 108 w 358"/>
                <a:gd name="T47" fmla="*/ 42 h 486"/>
                <a:gd name="T48" fmla="*/ 91 w 358"/>
                <a:gd name="T49" fmla="*/ 64 h 486"/>
                <a:gd name="T50" fmla="*/ 77 w 358"/>
                <a:gd name="T51" fmla="*/ 89 h 486"/>
                <a:gd name="T52" fmla="*/ 69 w 358"/>
                <a:gd name="T53" fmla="*/ 117 h 486"/>
                <a:gd name="T54" fmla="*/ 65 w 358"/>
                <a:gd name="T55" fmla="*/ 146 h 486"/>
                <a:gd name="T56" fmla="*/ 67 w 358"/>
                <a:gd name="T57" fmla="*/ 160 h 486"/>
                <a:gd name="T58" fmla="*/ 71 w 358"/>
                <a:gd name="T59" fmla="*/ 186 h 486"/>
                <a:gd name="T60" fmla="*/ 82 w 358"/>
                <a:gd name="T61" fmla="*/ 212 h 486"/>
                <a:gd name="T62" fmla="*/ 94 w 358"/>
                <a:gd name="T63" fmla="*/ 234 h 486"/>
                <a:gd name="T64" fmla="*/ 0 w 358"/>
                <a:gd name="T65" fmla="*/ 42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6">
                  <a:moveTo>
                    <a:pt x="79" y="486"/>
                  </a:moveTo>
                  <a:lnTo>
                    <a:pt x="192" y="291"/>
                  </a:lnTo>
                  <a:lnTo>
                    <a:pt x="192" y="291"/>
                  </a:lnTo>
                  <a:lnTo>
                    <a:pt x="201" y="292"/>
                  </a:lnTo>
                  <a:lnTo>
                    <a:pt x="212" y="292"/>
                  </a:lnTo>
                  <a:lnTo>
                    <a:pt x="212" y="292"/>
                  </a:lnTo>
                  <a:lnTo>
                    <a:pt x="227" y="292"/>
                  </a:lnTo>
                  <a:lnTo>
                    <a:pt x="242" y="290"/>
                  </a:lnTo>
                  <a:lnTo>
                    <a:pt x="255" y="287"/>
                  </a:lnTo>
                  <a:lnTo>
                    <a:pt x="269" y="281"/>
                  </a:lnTo>
                  <a:lnTo>
                    <a:pt x="282" y="275"/>
                  </a:lnTo>
                  <a:lnTo>
                    <a:pt x="293" y="268"/>
                  </a:lnTo>
                  <a:lnTo>
                    <a:pt x="305" y="259"/>
                  </a:lnTo>
                  <a:lnTo>
                    <a:pt x="315" y="250"/>
                  </a:lnTo>
                  <a:lnTo>
                    <a:pt x="324" y="239"/>
                  </a:lnTo>
                  <a:lnTo>
                    <a:pt x="334" y="228"/>
                  </a:lnTo>
                  <a:lnTo>
                    <a:pt x="341" y="216"/>
                  </a:lnTo>
                  <a:lnTo>
                    <a:pt x="346" y="204"/>
                  </a:lnTo>
                  <a:lnTo>
                    <a:pt x="352" y="190"/>
                  </a:lnTo>
                  <a:lnTo>
                    <a:pt x="356" y="176"/>
                  </a:lnTo>
                  <a:lnTo>
                    <a:pt x="358" y="161"/>
                  </a:lnTo>
                  <a:lnTo>
                    <a:pt x="358" y="146"/>
                  </a:lnTo>
                  <a:lnTo>
                    <a:pt x="358" y="146"/>
                  </a:lnTo>
                  <a:lnTo>
                    <a:pt x="358" y="131"/>
                  </a:lnTo>
                  <a:lnTo>
                    <a:pt x="356" y="117"/>
                  </a:lnTo>
                  <a:lnTo>
                    <a:pt x="352" y="102"/>
                  </a:lnTo>
                  <a:lnTo>
                    <a:pt x="346" y="89"/>
                  </a:lnTo>
                  <a:lnTo>
                    <a:pt x="341" y="77"/>
                  </a:lnTo>
                  <a:lnTo>
                    <a:pt x="334" y="64"/>
                  </a:lnTo>
                  <a:lnTo>
                    <a:pt x="324" y="53"/>
                  </a:lnTo>
                  <a:lnTo>
                    <a:pt x="315" y="42"/>
                  </a:lnTo>
                  <a:lnTo>
                    <a:pt x="305" y="33"/>
                  </a:lnTo>
                  <a:lnTo>
                    <a:pt x="293" y="25"/>
                  </a:lnTo>
                  <a:lnTo>
                    <a:pt x="282" y="17"/>
                  </a:lnTo>
                  <a:lnTo>
                    <a:pt x="269" y="11"/>
                  </a:lnTo>
                  <a:lnTo>
                    <a:pt x="255" y="6"/>
                  </a:lnTo>
                  <a:lnTo>
                    <a:pt x="242" y="3"/>
                  </a:lnTo>
                  <a:lnTo>
                    <a:pt x="227" y="1"/>
                  </a:lnTo>
                  <a:lnTo>
                    <a:pt x="212" y="0"/>
                  </a:lnTo>
                  <a:lnTo>
                    <a:pt x="212" y="0"/>
                  </a:lnTo>
                  <a:lnTo>
                    <a:pt x="197" y="1"/>
                  </a:lnTo>
                  <a:lnTo>
                    <a:pt x="183" y="3"/>
                  </a:lnTo>
                  <a:lnTo>
                    <a:pt x="168" y="6"/>
                  </a:lnTo>
                  <a:lnTo>
                    <a:pt x="155" y="11"/>
                  </a:lnTo>
                  <a:lnTo>
                    <a:pt x="143" y="17"/>
                  </a:lnTo>
                  <a:lnTo>
                    <a:pt x="130" y="25"/>
                  </a:lnTo>
                  <a:lnTo>
                    <a:pt x="118" y="33"/>
                  </a:lnTo>
                  <a:lnTo>
                    <a:pt x="108" y="42"/>
                  </a:lnTo>
                  <a:lnTo>
                    <a:pt x="99" y="53"/>
                  </a:lnTo>
                  <a:lnTo>
                    <a:pt x="91" y="64"/>
                  </a:lnTo>
                  <a:lnTo>
                    <a:pt x="83" y="77"/>
                  </a:lnTo>
                  <a:lnTo>
                    <a:pt x="77" y="89"/>
                  </a:lnTo>
                  <a:lnTo>
                    <a:pt x="72" y="102"/>
                  </a:lnTo>
                  <a:lnTo>
                    <a:pt x="69" y="117"/>
                  </a:lnTo>
                  <a:lnTo>
                    <a:pt x="67" y="131"/>
                  </a:lnTo>
                  <a:lnTo>
                    <a:pt x="65" y="146"/>
                  </a:lnTo>
                  <a:lnTo>
                    <a:pt x="65" y="146"/>
                  </a:lnTo>
                  <a:lnTo>
                    <a:pt x="67" y="160"/>
                  </a:lnTo>
                  <a:lnTo>
                    <a:pt x="68" y="174"/>
                  </a:lnTo>
                  <a:lnTo>
                    <a:pt x="71" y="186"/>
                  </a:lnTo>
                  <a:lnTo>
                    <a:pt x="76" y="199"/>
                  </a:lnTo>
                  <a:lnTo>
                    <a:pt x="82" y="212"/>
                  </a:lnTo>
                  <a:lnTo>
                    <a:pt x="87" y="223"/>
                  </a:lnTo>
                  <a:lnTo>
                    <a:pt x="94" y="234"/>
                  </a:lnTo>
                  <a:lnTo>
                    <a:pt x="103" y="244"/>
                  </a:lnTo>
                  <a:lnTo>
                    <a:pt x="0" y="423"/>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7" name="Freeform 27">
              <a:extLst>
                <a:ext uri="{FF2B5EF4-FFF2-40B4-BE49-F238E27FC236}">
                  <a16:creationId xmlns:a16="http://schemas.microsoft.com/office/drawing/2014/main" id="{4F6624BE-A16F-4865-81F1-99911A819A15}"/>
                </a:ext>
              </a:extLst>
            </p:cNvPr>
            <p:cNvSpPr>
              <a:spLocks/>
            </p:cNvSpPr>
            <p:nvPr/>
          </p:nvSpPr>
          <p:spPr bwMode="auto">
            <a:xfrm>
              <a:off x="6567488" y="3840163"/>
              <a:ext cx="112713" cy="153988"/>
            </a:xfrm>
            <a:custGeom>
              <a:avLst/>
              <a:gdLst>
                <a:gd name="T0" fmla="*/ 166 w 358"/>
                <a:gd name="T1" fmla="*/ 291 h 486"/>
                <a:gd name="T2" fmla="*/ 156 w 358"/>
                <a:gd name="T3" fmla="*/ 292 h 486"/>
                <a:gd name="T4" fmla="*/ 147 w 358"/>
                <a:gd name="T5" fmla="*/ 292 h 486"/>
                <a:gd name="T6" fmla="*/ 117 w 358"/>
                <a:gd name="T7" fmla="*/ 290 h 486"/>
                <a:gd name="T8" fmla="*/ 89 w 358"/>
                <a:gd name="T9" fmla="*/ 281 h 486"/>
                <a:gd name="T10" fmla="*/ 65 w 358"/>
                <a:gd name="T11" fmla="*/ 268 h 486"/>
                <a:gd name="T12" fmla="*/ 43 w 358"/>
                <a:gd name="T13" fmla="*/ 250 h 486"/>
                <a:gd name="T14" fmla="*/ 25 w 358"/>
                <a:gd name="T15" fmla="*/ 228 h 486"/>
                <a:gd name="T16" fmla="*/ 11 w 358"/>
                <a:gd name="T17" fmla="*/ 204 h 486"/>
                <a:gd name="T18" fmla="*/ 3 w 358"/>
                <a:gd name="T19" fmla="*/ 176 h 486"/>
                <a:gd name="T20" fmla="*/ 0 w 358"/>
                <a:gd name="T21" fmla="*/ 146 h 486"/>
                <a:gd name="T22" fmla="*/ 1 w 358"/>
                <a:gd name="T23" fmla="*/ 131 h 486"/>
                <a:gd name="T24" fmla="*/ 6 w 358"/>
                <a:gd name="T25" fmla="*/ 102 h 486"/>
                <a:gd name="T26" fmla="*/ 18 w 358"/>
                <a:gd name="T27" fmla="*/ 77 h 486"/>
                <a:gd name="T28" fmla="*/ 33 w 358"/>
                <a:gd name="T29" fmla="*/ 53 h 486"/>
                <a:gd name="T30" fmla="*/ 54 w 358"/>
                <a:gd name="T31" fmla="*/ 33 h 486"/>
                <a:gd name="T32" fmla="*/ 77 w 358"/>
                <a:gd name="T33" fmla="*/ 17 h 486"/>
                <a:gd name="T34" fmla="*/ 103 w 358"/>
                <a:gd name="T35" fmla="*/ 6 h 486"/>
                <a:gd name="T36" fmla="*/ 132 w 358"/>
                <a:gd name="T37" fmla="*/ 1 h 486"/>
                <a:gd name="T38" fmla="*/ 147 w 358"/>
                <a:gd name="T39" fmla="*/ 0 h 486"/>
                <a:gd name="T40" fmla="*/ 176 w 358"/>
                <a:gd name="T41" fmla="*/ 3 h 486"/>
                <a:gd name="T42" fmla="*/ 203 w 358"/>
                <a:gd name="T43" fmla="*/ 11 h 486"/>
                <a:gd name="T44" fmla="*/ 229 w 358"/>
                <a:gd name="T45" fmla="*/ 25 h 486"/>
                <a:gd name="T46" fmla="*/ 249 w 358"/>
                <a:gd name="T47" fmla="*/ 42 h 486"/>
                <a:gd name="T48" fmla="*/ 268 w 358"/>
                <a:gd name="T49" fmla="*/ 64 h 486"/>
                <a:gd name="T50" fmla="*/ 282 w 358"/>
                <a:gd name="T51" fmla="*/ 89 h 486"/>
                <a:gd name="T52" fmla="*/ 290 w 358"/>
                <a:gd name="T53" fmla="*/ 117 h 486"/>
                <a:gd name="T54" fmla="*/ 293 w 358"/>
                <a:gd name="T55" fmla="*/ 146 h 486"/>
                <a:gd name="T56" fmla="*/ 292 w 358"/>
                <a:gd name="T57" fmla="*/ 160 h 486"/>
                <a:gd name="T58" fmla="*/ 287 w 358"/>
                <a:gd name="T59" fmla="*/ 186 h 486"/>
                <a:gd name="T60" fmla="*/ 277 w 358"/>
                <a:gd name="T61" fmla="*/ 212 h 486"/>
                <a:gd name="T62" fmla="*/ 263 w 358"/>
                <a:gd name="T63" fmla="*/ 234 h 486"/>
                <a:gd name="T64" fmla="*/ 358 w 358"/>
                <a:gd name="T65" fmla="*/ 42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6">
                  <a:moveTo>
                    <a:pt x="279" y="486"/>
                  </a:moveTo>
                  <a:lnTo>
                    <a:pt x="166" y="291"/>
                  </a:lnTo>
                  <a:lnTo>
                    <a:pt x="166" y="291"/>
                  </a:lnTo>
                  <a:lnTo>
                    <a:pt x="156" y="292"/>
                  </a:lnTo>
                  <a:lnTo>
                    <a:pt x="147" y="292"/>
                  </a:lnTo>
                  <a:lnTo>
                    <a:pt x="147" y="292"/>
                  </a:lnTo>
                  <a:lnTo>
                    <a:pt x="132" y="292"/>
                  </a:lnTo>
                  <a:lnTo>
                    <a:pt x="117" y="290"/>
                  </a:lnTo>
                  <a:lnTo>
                    <a:pt x="103" y="287"/>
                  </a:lnTo>
                  <a:lnTo>
                    <a:pt x="89" y="281"/>
                  </a:lnTo>
                  <a:lnTo>
                    <a:pt x="77" y="275"/>
                  </a:lnTo>
                  <a:lnTo>
                    <a:pt x="65" y="268"/>
                  </a:lnTo>
                  <a:lnTo>
                    <a:pt x="54" y="259"/>
                  </a:lnTo>
                  <a:lnTo>
                    <a:pt x="43" y="250"/>
                  </a:lnTo>
                  <a:lnTo>
                    <a:pt x="33" y="239"/>
                  </a:lnTo>
                  <a:lnTo>
                    <a:pt x="25" y="228"/>
                  </a:lnTo>
                  <a:lnTo>
                    <a:pt x="18" y="216"/>
                  </a:lnTo>
                  <a:lnTo>
                    <a:pt x="11" y="204"/>
                  </a:lnTo>
                  <a:lnTo>
                    <a:pt x="6" y="190"/>
                  </a:lnTo>
                  <a:lnTo>
                    <a:pt x="3" y="176"/>
                  </a:lnTo>
                  <a:lnTo>
                    <a:pt x="1" y="161"/>
                  </a:lnTo>
                  <a:lnTo>
                    <a:pt x="0" y="146"/>
                  </a:lnTo>
                  <a:lnTo>
                    <a:pt x="0" y="146"/>
                  </a:lnTo>
                  <a:lnTo>
                    <a:pt x="1" y="131"/>
                  </a:lnTo>
                  <a:lnTo>
                    <a:pt x="3" y="117"/>
                  </a:lnTo>
                  <a:lnTo>
                    <a:pt x="6" y="102"/>
                  </a:lnTo>
                  <a:lnTo>
                    <a:pt x="11" y="89"/>
                  </a:lnTo>
                  <a:lnTo>
                    <a:pt x="18" y="77"/>
                  </a:lnTo>
                  <a:lnTo>
                    <a:pt x="25" y="64"/>
                  </a:lnTo>
                  <a:lnTo>
                    <a:pt x="33" y="53"/>
                  </a:lnTo>
                  <a:lnTo>
                    <a:pt x="43" y="42"/>
                  </a:lnTo>
                  <a:lnTo>
                    <a:pt x="54" y="33"/>
                  </a:lnTo>
                  <a:lnTo>
                    <a:pt x="65" y="25"/>
                  </a:lnTo>
                  <a:lnTo>
                    <a:pt x="77" y="17"/>
                  </a:lnTo>
                  <a:lnTo>
                    <a:pt x="89" y="11"/>
                  </a:lnTo>
                  <a:lnTo>
                    <a:pt x="103" y="6"/>
                  </a:lnTo>
                  <a:lnTo>
                    <a:pt x="117" y="3"/>
                  </a:lnTo>
                  <a:lnTo>
                    <a:pt x="132" y="1"/>
                  </a:lnTo>
                  <a:lnTo>
                    <a:pt x="147" y="0"/>
                  </a:lnTo>
                  <a:lnTo>
                    <a:pt x="147" y="0"/>
                  </a:lnTo>
                  <a:lnTo>
                    <a:pt x="162" y="1"/>
                  </a:lnTo>
                  <a:lnTo>
                    <a:pt x="176" y="3"/>
                  </a:lnTo>
                  <a:lnTo>
                    <a:pt x="190" y="6"/>
                  </a:lnTo>
                  <a:lnTo>
                    <a:pt x="203" y="11"/>
                  </a:lnTo>
                  <a:lnTo>
                    <a:pt x="216" y="17"/>
                  </a:lnTo>
                  <a:lnTo>
                    <a:pt x="229" y="25"/>
                  </a:lnTo>
                  <a:lnTo>
                    <a:pt x="239" y="33"/>
                  </a:lnTo>
                  <a:lnTo>
                    <a:pt x="249" y="42"/>
                  </a:lnTo>
                  <a:lnTo>
                    <a:pt x="260" y="53"/>
                  </a:lnTo>
                  <a:lnTo>
                    <a:pt x="268" y="64"/>
                  </a:lnTo>
                  <a:lnTo>
                    <a:pt x="275" y="77"/>
                  </a:lnTo>
                  <a:lnTo>
                    <a:pt x="282" y="89"/>
                  </a:lnTo>
                  <a:lnTo>
                    <a:pt x="286" y="102"/>
                  </a:lnTo>
                  <a:lnTo>
                    <a:pt x="290" y="117"/>
                  </a:lnTo>
                  <a:lnTo>
                    <a:pt x="292" y="131"/>
                  </a:lnTo>
                  <a:lnTo>
                    <a:pt x="293" y="146"/>
                  </a:lnTo>
                  <a:lnTo>
                    <a:pt x="293" y="146"/>
                  </a:lnTo>
                  <a:lnTo>
                    <a:pt x="292" y="160"/>
                  </a:lnTo>
                  <a:lnTo>
                    <a:pt x="290" y="174"/>
                  </a:lnTo>
                  <a:lnTo>
                    <a:pt x="287" y="186"/>
                  </a:lnTo>
                  <a:lnTo>
                    <a:pt x="283" y="199"/>
                  </a:lnTo>
                  <a:lnTo>
                    <a:pt x="277" y="212"/>
                  </a:lnTo>
                  <a:lnTo>
                    <a:pt x="271" y="223"/>
                  </a:lnTo>
                  <a:lnTo>
                    <a:pt x="263" y="234"/>
                  </a:lnTo>
                  <a:lnTo>
                    <a:pt x="255" y="244"/>
                  </a:lnTo>
                  <a:lnTo>
                    <a:pt x="358" y="423"/>
                  </a:lnTo>
                  <a:lnTo>
                    <a:pt x="279" y="486"/>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8" name="Freeform 28">
              <a:extLst>
                <a:ext uri="{FF2B5EF4-FFF2-40B4-BE49-F238E27FC236}">
                  <a16:creationId xmlns:a16="http://schemas.microsoft.com/office/drawing/2014/main" id="{69F17FD2-1AAC-41F2-AE26-A9561D5CDBAF}"/>
                </a:ext>
              </a:extLst>
            </p:cNvPr>
            <p:cNvSpPr>
              <a:spLocks/>
            </p:cNvSpPr>
            <p:nvPr/>
          </p:nvSpPr>
          <p:spPr bwMode="auto">
            <a:xfrm>
              <a:off x="6567488" y="3840163"/>
              <a:ext cx="112713" cy="153988"/>
            </a:xfrm>
            <a:custGeom>
              <a:avLst/>
              <a:gdLst>
                <a:gd name="T0" fmla="*/ 166 w 358"/>
                <a:gd name="T1" fmla="*/ 291 h 486"/>
                <a:gd name="T2" fmla="*/ 156 w 358"/>
                <a:gd name="T3" fmla="*/ 292 h 486"/>
                <a:gd name="T4" fmla="*/ 147 w 358"/>
                <a:gd name="T5" fmla="*/ 292 h 486"/>
                <a:gd name="T6" fmla="*/ 117 w 358"/>
                <a:gd name="T7" fmla="*/ 290 h 486"/>
                <a:gd name="T8" fmla="*/ 89 w 358"/>
                <a:gd name="T9" fmla="*/ 281 h 486"/>
                <a:gd name="T10" fmla="*/ 65 w 358"/>
                <a:gd name="T11" fmla="*/ 268 h 486"/>
                <a:gd name="T12" fmla="*/ 43 w 358"/>
                <a:gd name="T13" fmla="*/ 250 h 486"/>
                <a:gd name="T14" fmla="*/ 25 w 358"/>
                <a:gd name="T15" fmla="*/ 228 h 486"/>
                <a:gd name="T16" fmla="*/ 11 w 358"/>
                <a:gd name="T17" fmla="*/ 204 h 486"/>
                <a:gd name="T18" fmla="*/ 3 w 358"/>
                <a:gd name="T19" fmla="*/ 176 h 486"/>
                <a:gd name="T20" fmla="*/ 0 w 358"/>
                <a:gd name="T21" fmla="*/ 146 h 486"/>
                <a:gd name="T22" fmla="*/ 1 w 358"/>
                <a:gd name="T23" fmla="*/ 131 h 486"/>
                <a:gd name="T24" fmla="*/ 6 w 358"/>
                <a:gd name="T25" fmla="*/ 102 h 486"/>
                <a:gd name="T26" fmla="*/ 18 w 358"/>
                <a:gd name="T27" fmla="*/ 77 h 486"/>
                <a:gd name="T28" fmla="*/ 33 w 358"/>
                <a:gd name="T29" fmla="*/ 53 h 486"/>
                <a:gd name="T30" fmla="*/ 54 w 358"/>
                <a:gd name="T31" fmla="*/ 33 h 486"/>
                <a:gd name="T32" fmla="*/ 77 w 358"/>
                <a:gd name="T33" fmla="*/ 17 h 486"/>
                <a:gd name="T34" fmla="*/ 103 w 358"/>
                <a:gd name="T35" fmla="*/ 6 h 486"/>
                <a:gd name="T36" fmla="*/ 132 w 358"/>
                <a:gd name="T37" fmla="*/ 1 h 486"/>
                <a:gd name="T38" fmla="*/ 147 w 358"/>
                <a:gd name="T39" fmla="*/ 0 h 486"/>
                <a:gd name="T40" fmla="*/ 176 w 358"/>
                <a:gd name="T41" fmla="*/ 3 h 486"/>
                <a:gd name="T42" fmla="*/ 203 w 358"/>
                <a:gd name="T43" fmla="*/ 11 h 486"/>
                <a:gd name="T44" fmla="*/ 229 w 358"/>
                <a:gd name="T45" fmla="*/ 25 h 486"/>
                <a:gd name="T46" fmla="*/ 249 w 358"/>
                <a:gd name="T47" fmla="*/ 42 h 486"/>
                <a:gd name="T48" fmla="*/ 268 w 358"/>
                <a:gd name="T49" fmla="*/ 64 h 486"/>
                <a:gd name="T50" fmla="*/ 282 w 358"/>
                <a:gd name="T51" fmla="*/ 89 h 486"/>
                <a:gd name="T52" fmla="*/ 290 w 358"/>
                <a:gd name="T53" fmla="*/ 117 h 486"/>
                <a:gd name="T54" fmla="*/ 293 w 358"/>
                <a:gd name="T55" fmla="*/ 146 h 486"/>
                <a:gd name="T56" fmla="*/ 292 w 358"/>
                <a:gd name="T57" fmla="*/ 160 h 486"/>
                <a:gd name="T58" fmla="*/ 287 w 358"/>
                <a:gd name="T59" fmla="*/ 186 h 486"/>
                <a:gd name="T60" fmla="*/ 277 w 358"/>
                <a:gd name="T61" fmla="*/ 212 h 486"/>
                <a:gd name="T62" fmla="*/ 263 w 358"/>
                <a:gd name="T63" fmla="*/ 234 h 486"/>
                <a:gd name="T64" fmla="*/ 358 w 358"/>
                <a:gd name="T65" fmla="*/ 42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6">
                  <a:moveTo>
                    <a:pt x="279" y="486"/>
                  </a:moveTo>
                  <a:lnTo>
                    <a:pt x="166" y="291"/>
                  </a:lnTo>
                  <a:lnTo>
                    <a:pt x="166" y="291"/>
                  </a:lnTo>
                  <a:lnTo>
                    <a:pt x="156" y="292"/>
                  </a:lnTo>
                  <a:lnTo>
                    <a:pt x="147" y="292"/>
                  </a:lnTo>
                  <a:lnTo>
                    <a:pt x="147" y="292"/>
                  </a:lnTo>
                  <a:lnTo>
                    <a:pt x="132" y="292"/>
                  </a:lnTo>
                  <a:lnTo>
                    <a:pt x="117" y="290"/>
                  </a:lnTo>
                  <a:lnTo>
                    <a:pt x="103" y="287"/>
                  </a:lnTo>
                  <a:lnTo>
                    <a:pt x="89" y="281"/>
                  </a:lnTo>
                  <a:lnTo>
                    <a:pt x="77" y="275"/>
                  </a:lnTo>
                  <a:lnTo>
                    <a:pt x="65" y="268"/>
                  </a:lnTo>
                  <a:lnTo>
                    <a:pt x="54" y="259"/>
                  </a:lnTo>
                  <a:lnTo>
                    <a:pt x="43" y="250"/>
                  </a:lnTo>
                  <a:lnTo>
                    <a:pt x="33" y="239"/>
                  </a:lnTo>
                  <a:lnTo>
                    <a:pt x="25" y="228"/>
                  </a:lnTo>
                  <a:lnTo>
                    <a:pt x="18" y="216"/>
                  </a:lnTo>
                  <a:lnTo>
                    <a:pt x="11" y="204"/>
                  </a:lnTo>
                  <a:lnTo>
                    <a:pt x="6" y="190"/>
                  </a:lnTo>
                  <a:lnTo>
                    <a:pt x="3" y="176"/>
                  </a:lnTo>
                  <a:lnTo>
                    <a:pt x="1" y="161"/>
                  </a:lnTo>
                  <a:lnTo>
                    <a:pt x="0" y="146"/>
                  </a:lnTo>
                  <a:lnTo>
                    <a:pt x="0" y="146"/>
                  </a:lnTo>
                  <a:lnTo>
                    <a:pt x="1" y="131"/>
                  </a:lnTo>
                  <a:lnTo>
                    <a:pt x="3" y="117"/>
                  </a:lnTo>
                  <a:lnTo>
                    <a:pt x="6" y="102"/>
                  </a:lnTo>
                  <a:lnTo>
                    <a:pt x="11" y="89"/>
                  </a:lnTo>
                  <a:lnTo>
                    <a:pt x="18" y="77"/>
                  </a:lnTo>
                  <a:lnTo>
                    <a:pt x="25" y="64"/>
                  </a:lnTo>
                  <a:lnTo>
                    <a:pt x="33" y="53"/>
                  </a:lnTo>
                  <a:lnTo>
                    <a:pt x="43" y="42"/>
                  </a:lnTo>
                  <a:lnTo>
                    <a:pt x="54" y="33"/>
                  </a:lnTo>
                  <a:lnTo>
                    <a:pt x="65" y="25"/>
                  </a:lnTo>
                  <a:lnTo>
                    <a:pt x="77" y="17"/>
                  </a:lnTo>
                  <a:lnTo>
                    <a:pt x="89" y="11"/>
                  </a:lnTo>
                  <a:lnTo>
                    <a:pt x="103" y="6"/>
                  </a:lnTo>
                  <a:lnTo>
                    <a:pt x="117" y="3"/>
                  </a:lnTo>
                  <a:lnTo>
                    <a:pt x="132" y="1"/>
                  </a:lnTo>
                  <a:lnTo>
                    <a:pt x="147" y="0"/>
                  </a:lnTo>
                  <a:lnTo>
                    <a:pt x="147" y="0"/>
                  </a:lnTo>
                  <a:lnTo>
                    <a:pt x="162" y="1"/>
                  </a:lnTo>
                  <a:lnTo>
                    <a:pt x="176" y="3"/>
                  </a:lnTo>
                  <a:lnTo>
                    <a:pt x="190" y="6"/>
                  </a:lnTo>
                  <a:lnTo>
                    <a:pt x="203" y="11"/>
                  </a:lnTo>
                  <a:lnTo>
                    <a:pt x="216" y="17"/>
                  </a:lnTo>
                  <a:lnTo>
                    <a:pt x="229" y="25"/>
                  </a:lnTo>
                  <a:lnTo>
                    <a:pt x="239" y="33"/>
                  </a:lnTo>
                  <a:lnTo>
                    <a:pt x="249" y="42"/>
                  </a:lnTo>
                  <a:lnTo>
                    <a:pt x="260" y="53"/>
                  </a:lnTo>
                  <a:lnTo>
                    <a:pt x="268" y="64"/>
                  </a:lnTo>
                  <a:lnTo>
                    <a:pt x="275" y="77"/>
                  </a:lnTo>
                  <a:lnTo>
                    <a:pt x="282" y="89"/>
                  </a:lnTo>
                  <a:lnTo>
                    <a:pt x="286" y="102"/>
                  </a:lnTo>
                  <a:lnTo>
                    <a:pt x="290" y="117"/>
                  </a:lnTo>
                  <a:lnTo>
                    <a:pt x="292" y="131"/>
                  </a:lnTo>
                  <a:lnTo>
                    <a:pt x="293" y="146"/>
                  </a:lnTo>
                  <a:lnTo>
                    <a:pt x="293" y="146"/>
                  </a:lnTo>
                  <a:lnTo>
                    <a:pt x="292" y="160"/>
                  </a:lnTo>
                  <a:lnTo>
                    <a:pt x="290" y="174"/>
                  </a:lnTo>
                  <a:lnTo>
                    <a:pt x="287" y="186"/>
                  </a:lnTo>
                  <a:lnTo>
                    <a:pt x="283" y="199"/>
                  </a:lnTo>
                  <a:lnTo>
                    <a:pt x="277" y="212"/>
                  </a:lnTo>
                  <a:lnTo>
                    <a:pt x="271" y="223"/>
                  </a:lnTo>
                  <a:lnTo>
                    <a:pt x="263" y="234"/>
                  </a:lnTo>
                  <a:lnTo>
                    <a:pt x="255" y="244"/>
                  </a:lnTo>
                  <a:lnTo>
                    <a:pt x="358" y="423"/>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39" name="Freeform 29">
              <a:extLst>
                <a:ext uri="{FF2B5EF4-FFF2-40B4-BE49-F238E27FC236}">
                  <a16:creationId xmlns:a16="http://schemas.microsoft.com/office/drawing/2014/main" id="{A68342EC-8E90-44D4-894A-4A4BF5D9BACD}"/>
                </a:ext>
              </a:extLst>
            </p:cNvPr>
            <p:cNvSpPr>
              <a:spLocks/>
            </p:cNvSpPr>
            <p:nvPr/>
          </p:nvSpPr>
          <p:spPr bwMode="auto">
            <a:xfrm>
              <a:off x="6567488" y="4621213"/>
              <a:ext cx="112713" cy="153988"/>
            </a:xfrm>
            <a:custGeom>
              <a:avLst/>
              <a:gdLst>
                <a:gd name="T0" fmla="*/ 166 w 358"/>
                <a:gd name="T1" fmla="*/ 195 h 487"/>
                <a:gd name="T2" fmla="*/ 156 w 358"/>
                <a:gd name="T3" fmla="*/ 194 h 487"/>
                <a:gd name="T4" fmla="*/ 147 w 358"/>
                <a:gd name="T5" fmla="*/ 194 h 487"/>
                <a:gd name="T6" fmla="*/ 117 w 358"/>
                <a:gd name="T7" fmla="*/ 196 h 487"/>
                <a:gd name="T8" fmla="*/ 89 w 358"/>
                <a:gd name="T9" fmla="*/ 206 h 487"/>
                <a:gd name="T10" fmla="*/ 65 w 358"/>
                <a:gd name="T11" fmla="*/ 218 h 487"/>
                <a:gd name="T12" fmla="*/ 43 w 358"/>
                <a:gd name="T13" fmla="*/ 237 h 487"/>
                <a:gd name="T14" fmla="*/ 25 w 358"/>
                <a:gd name="T15" fmla="*/ 259 h 487"/>
                <a:gd name="T16" fmla="*/ 11 w 358"/>
                <a:gd name="T17" fmla="*/ 283 h 487"/>
                <a:gd name="T18" fmla="*/ 3 w 358"/>
                <a:gd name="T19" fmla="*/ 311 h 487"/>
                <a:gd name="T20" fmla="*/ 0 w 358"/>
                <a:gd name="T21" fmla="*/ 341 h 487"/>
                <a:gd name="T22" fmla="*/ 1 w 358"/>
                <a:gd name="T23" fmla="*/ 356 h 487"/>
                <a:gd name="T24" fmla="*/ 6 w 358"/>
                <a:gd name="T25" fmla="*/ 384 h 487"/>
                <a:gd name="T26" fmla="*/ 18 w 358"/>
                <a:gd name="T27" fmla="*/ 410 h 487"/>
                <a:gd name="T28" fmla="*/ 33 w 358"/>
                <a:gd name="T29" fmla="*/ 434 h 487"/>
                <a:gd name="T30" fmla="*/ 54 w 358"/>
                <a:gd name="T31" fmla="*/ 453 h 487"/>
                <a:gd name="T32" fmla="*/ 77 w 358"/>
                <a:gd name="T33" fmla="*/ 470 h 487"/>
                <a:gd name="T34" fmla="*/ 103 w 358"/>
                <a:gd name="T35" fmla="*/ 480 h 487"/>
                <a:gd name="T36" fmla="*/ 132 w 358"/>
                <a:gd name="T37" fmla="*/ 486 h 487"/>
                <a:gd name="T38" fmla="*/ 147 w 358"/>
                <a:gd name="T39" fmla="*/ 487 h 487"/>
                <a:gd name="T40" fmla="*/ 176 w 358"/>
                <a:gd name="T41" fmla="*/ 483 h 487"/>
                <a:gd name="T42" fmla="*/ 203 w 358"/>
                <a:gd name="T43" fmla="*/ 475 h 487"/>
                <a:gd name="T44" fmla="*/ 229 w 358"/>
                <a:gd name="T45" fmla="*/ 462 h 487"/>
                <a:gd name="T46" fmla="*/ 249 w 358"/>
                <a:gd name="T47" fmla="*/ 444 h 487"/>
                <a:gd name="T48" fmla="*/ 268 w 358"/>
                <a:gd name="T49" fmla="*/ 422 h 487"/>
                <a:gd name="T50" fmla="*/ 282 w 358"/>
                <a:gd name="T51" fmla="*/ 397 h 487"/>
                <a:gd name="T52" fmla="*/ 290 w 358"/>
                <a:gd name="T53" fmla="*/ 369 h 487"/>
                <a:gd name="T54" fmla="*/ 293 w 358"/>
                <a:gd name="T55" fmla="*/ 341 h 487"/>
                <a:gd name="T56" fmla="*/ 292 w 358"/>
                <a:gd name="T57" fmla="*/ 327 h 487"/>
                <a:gd name="T58" fmla="*/ 287 w 358"/>
                <a:gd name="T59" fmla="*/ 300 h 487"/>
                <a:gd name="T60" fmla="*/ 277 w 358"/>
                <a:gd name="T61" fmla="*/ 275 h 487"/>
                <a:gd name="T62" fmla="*/ 263 w 358"/>
                <a:gd name="T63" fmla="*/ 253 h 487"/>
                <a:gd name="T64" fmla="*/ 358 w 358"/>
                <a:gd name="T65"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7">
                  <a:moveTo>
                    <a:pt x="279" y="0"/>
                  </a:moveTo>
                  <a:lnTo>
                    <a:pt x="166" y="195"/>
                  </a:lnTo>
                  <a:lnTo>
                    <a:pt x="166" y="195"/>
                  </a:lnTo>
                  <a:lnTo>
                    <a:pt x="156" y="194"/>
                  </a:lnTo>
                  <a:lnTo>
                    <a:pt x="147" y="194"/>
                  </a:lnTo>
                  <a:lnTo>
                    <a:pt x="147" y="194"/>
                  </a:lnTo>
                  <a:lnTo>
                    <a:pt x="132" y="194"/>
                  </a:lnTo>
                  <a:lnTo>
                    <a:pt x="117" y="196"/>
                  </a:lnTo>
                  <a:lnTo>
                    <a:pt x="103" y="200"/>
                  </a:lnTo>
                  <a:lnTo>
                    <a:pt x="89" y="206"/>
                  </a:lnTo>
                  <a:lnTo>
                    <a:pt x="77" y="211"/>
                  </a:lnTo>
                  <a:lnTo>
                    <a:pt x="65" y="218"/>
                  </a:lnTo>
                  <a:lnTo>
                    <a:pt x="54" y="228"/>
                  </a:lnTo>
                  <a:lnTo>
                    <a:pt x="43" y="237"/>
                  </a:lnTo>
                  <a:lnTo>
                    <a:pt x="33" y="247"/>
                  </a:lnTo>
                  <a:lnTo>
                    <a:pt x="25" y="259"/>
                  </a:lnTo>
                  <a:lnTo>
                    <a:pt x="18" y="270"/>
                  </a:lnTo>
                  <a:lnTo>
                    <a:pt x="11" y="283"/>
                  </a:lnTo>
                  <a:lnTo>
                    <a:pt x="6" y="297"/>
                  </a:lnTo>
                  <a:lnTo>
                    <a:pt x="3" y="311"/>
                  </a:lnTo>
                  <a:lnTo>
                    <a:pt x="1" y="326"/>
                  </a:lnTo>
                  <a:lnTo>
                    <a:pt x="0" y="341"/>
                  </a:lnTo>
                  <a:lnTo>
                    <a:pt x="0" y="341"/>
                  </a:lnTo>
                  <a:lnTo>
                    <a:pt x="1" y="356"/>
                  </a:lnTo>
                  <a:lnTo>
                    <a:pt x="3" y="369"/>
                  </a:lnTo>
                  <a:lnTo>
                    <a:pt x="6" y="384"/>
                  </a:lnTo>
                  <a:lnTo>
                    <a:pt x="11" y="397"/>
                  </a:lnTo>
                  <a:lnTo>
                    <a:pt x="18" y="410"/>
                  </a:lnTo>
                  <a:lnTo>
                    <a:pt x="25" y="422"/>
                  </a:lnTo>
                  <a:lnTo>
                    <a:pt x="33" y="434"/>
                  </a:lnTo>
                  <a:lnTo>
                    <a:pt x="43" y="444"/>
                  </a:lnTo>
                  <a:lnTo>
                    <a:pt x="54" y="453"/>
                  </a:lnTo>
                  <a:lnTo>
                    <a:pt x="65" y="462"/>
                  </a:lnTo>
                  <a:lnTo>
                    <a:pt x="77" y="470"/>
                  </a:lnTo>
                  <a:lnTo>
                    <a:pt x="89" y="475"/>
                  </a:lnTo>
                  <a:lnTo>
                    <a:pt x="103" y="480"/>
                  </a:lnTo>
                  <a:lnTo>
                    <a:pt x="117" y="483"/>
                  </a:lnTo>
                  <a:lnTo>
                    <a:pt x="132" y="486"/>
                  </a:lnTo>
                  <a:lnTo>
                    <a:pt x="147" y="487"/>
                  </a:lnTo>
                  <a:lnTo>
                    <a:pt x="147" y="487"/>
                  </a:lnTo>
                  <a:lnTo>
                    <a:pt x="162" y="486"/>
                  </a:lnTo>
                  <a:lnTo>
                    <a:pt x="176" y="483"/>
                  </a:lnTo>
                  <a:lnTo>
                    <a:pt x="190" y="480"/>
                  </a:lnTo>
                  <a:lnTo>
                    <a:pt x="203" y="475"/>
                  </a:lnTo>
                  <a:lnTo>
                    <a:pt x="216" y="470"/>
                  </a:lnTo>
                  <a:lnTo>
                    <a:pt x="229" y="462"/>
                  </a:lnTo>
                  <a:lnTo>
                    <a:pt x="239" y="453"/>
                  </a:lnTo>
                  <a:lnTo>
                    <a:pt x="249" y="444"/>
                  </a:lnTo>
                  <a:lnTo>
                    <a:pt x="260" y="434"/>
                  </a:lnTo>
                  <a:lnTo>
                    <a:pt x="268" y="422"/>
                  </a:lnTo>
                  <a:lnTo>
                    <a:pt x="275" y="410"/>
                  </a:lnTo>
                  <a:lnTo>
                    <a:pt x="282" y="397"/>
                  </a:lnTo>
                  <a:lnTo>
                    <a:pt x="286" y="384"/>
                  </a:lnTo>
                  <a:lnTo>
                    <a:pt x="290" y="369"/>
                  </a:lnTo>
                  <a:lnTo>
                    <a:pt x="292" y="356"/>
                  </a:lnTo>
                  <a:lnTo>
                    <a:pt x="293" y="341"/>
                  </a:lnTo>
                  <a:lnTo>
                    <a:pt x="293" y="341"/>
                  </a:lnTo>
                  <a:lnTo>
                    <a:pt x="292" y="327"/>
                  </a:lnTo>
                  <a:lnTo>
                    <a:pt x="290" y="313"/>
                  </a:lnTo>
                  <a:lnTo>
                    <a:pt x="287" y="300"/>
                  </a:lnTo>
                  <a:lnTo>
                    <a:pt x="283" y="287"/>
                  </a:lnTo>
                  <a:lnTo>
                    <a:pt x="277" y="275"/>
                  </a:lnTo>
                  <a:lnTo>
                    <a:pt x="271" y="263"/>
                  </a:lnTo>
                  <a:lnTo>
                    <a:pt x="263" y="253"/>
                  </a:lnTo>
                  <a:lnTo>
                    <a:pt x="255" y="243"/>
                  </a:lnTo>
                  <a:lnTo>
                    <a:pt x="358" y="64"/>
                  </a:lnTo>
                  <a:lnTo>
                    <a:pt x="279" y="0"/>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0" name="Freeform 30">
              <a:extLst>
                <a:ext uri="{FF2B5EF4-FFF2-40B4-BE49-F238E27FC236}">
                  <a16:creationId xmlns:a16="http://schemas.microsoft.com/office/drawing/2014/main" id="{35CF4C1B-6F29-45A0-9A0A-7BEDA84690C8}"/>
                </a:ext>
              </a:extLst>
            </p:cNvPr>
            <p:cNvSpPr>
              <a:spLocks/>
            </p:cNvSpPr>
            <p:nvPr/>
          </p:nvSpPr>
          <p:spPr bwMode="auto">
            <a:xfrm>
              <a:off x="6567488" y="4621213"/>
              <a:ext cx="112713" cy="153988"/>
            </a:xfrm>
            <a:custGeom>
              <a:avLst/>
              <a:gdLst>
                <a:gd name="T0" fmla="*/ 166 w 358"/>
                <a:gd name="T1" fmla="*/ 195 h 487"/>
                <a:gd name="T2" fmla="*/ 156 w 358"/>
                <a:gd name="T3" fmla="*/ 194 h 487"/>
                <a:gd name="T4" fmla="*/ 147 w 358"/>
                <a:gd name="T5" fmla="*/ 194 h 487"/>
                <a:gd name="T6" fmla="*/ 117 w 358"/>
                <a:gd name="T7" fmla="*/ 196 h 487"/>
                <a:gd name="T8" fmla="*/ 89 w 358"/>
                <a:gd name="T9" fmla="*/ 206 h 487"/>
                <a:gd name="T10" fmla="*/ 65 w 358"/>
                <a:gd name="T11" fmla="*/ 218 h 487"/>
                <a:gd name="T12" fmla="*/ 43 w 358"/>
                <a:gd name="T13" fmla="*/ 237 h 487"/>
                <a:gd name="T14" fmla="*/ 25 w 358"/>
                <a:gd name="T15" fmla="*/ 259 h 487"/>
                <a:gd name="T16" fmla="*/ 11 w 358"/>
                <a:gd name="T17" fmla="*/ 283 h 487"/>
                <a:gd name="T18" fmla="*/ 3 w 358"/>
                <a:gd name="T19" fmla="*/ 311 h 487"/>
                <a:gd name="T20" fmla="*/ 0 w 358"/>
                <a:gd name="T21" fmla="*/ 341 h 487"/>
                <a:gd name="T22" fmla="*/ 1 w 358"/>
                <a:gd name="T23" fmla="*/ 356 h 487"/>
                <a:gd name="T24" fmla="*/ 6 w 358"/>
                <a:gd name="T25" fmla="*/ 384 h 487"/>
                <a:gd name="T26" fmla="*/ 18 w 358"/>
                <a:gd name="T27" fmla="*/ 410 h 487"/>
                <a:gd name="T28" fmla="*/ 33 w 358"/>
                <a:gd name="T29" fmla="*/ 434 h 487"/>
                <a:gd name="T30" fmla="*/ 54 w 358"/>
                <a:gd name="T31" fmla="*/ 453 h 487"/>
                <a:gd name="T32" fmla="*/ 77 w 358"/>
                <a:gd name="T33" fmla="*/ 470 h 487"/>
                <a:gd name="T34" fmla="*/ 103 w 358"/>
                <a:gd name="T35" fmla="*/ 480 h 487"/>
                <a:gd name="T36" fmla="*/ 132 w 358"/>
                <a:gd name="T37" fmla="*/ 486 h 487"/>
                <a:gd name="T38" fmla="*/ 147 w 358"/>
                <a:gd name="T39" fmla="*/ 487 h 487"/>
                <a:gd name="T40" fmla="*/ 176 w 358"/>
                <a:gd name="T41" fmla="*/ 483 h 487"/>
                <a:gd name="T42" fmla="*/ 203 w 358"/>
                <a:gd name="T43" fmla="*/ 475 h 487"/>
                <a:gd name="T44" fmla="*/ 229 w 358"/>
                <a:gd name="T45" fmla="*/ 462 h 487"/>
                <a:gd name="T46" fmla="*/ 249 w 358"/>
                <a:gd name="T47" fmla="*/ 444 h 487"/>
                <a:gd name="T48" fmla="*/ 268 w 358"/>
                <a:gd name="T49" fmla="*/ 422 h 487"/>
                <a:gd name="T50" fmla="*/ 282 w 358"/>
                <a:gd name="T51" fmla="*/ 397 h 487"/>
                <a:gd name="T52" fmla="*/ 290 w 358"/>
                <a:gd name="T53" fmla="*/ 369 h 487"/>
                <a:gd name="T54" fmla="*/ 293 w 358"/>
                <a:gd name="T55" fmla="*/ 341 h 487"/>
                <a:gd name="T56" fmla="*/ 292 w 358"/>
                <a:gd name="T57" fmla="*/ 327 h 487"/>
                <a:gd name="T58" fmla="*/ 287 w 358"/>
                <a:gd name="T59" fmla="*/ 300 h 487"/>
                <a:gd name="T60" fmla="*/ 277 w 358"/>
                <a:gd name="T61" fmla="*/ 275 h 487"/>
                <a:gd name="T62" fmla="*/ 263 w 358"/>
                <a:gd name="T63" fmla="*/ 253 h 487"/>
                <a:gd name="T64" fmla="*/ 358 w 358"/>
                <a:gd name="T65"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7">
                  <a:moveTo>
                    <a:pt x="279" y="0"/>
                  </a:moveTo>
                  <a:lnTo>
                    <a:pt x="166" y="195"/>
                  </a:lnTo>
                  <a:lnTo>
                    <a:pt x="166" y="195"/>
                  </a:lnTo>
                  <a:lnTo>
                    <a:pt x="156" y="194"/>
                  </a:lnTo>
                  <a:lnTo>
                    <a:pt x="147" y="194"/>
                  </a:lnTo>
                  <a:lnTo>
                    <a:pt x="147" y="194"/>
                  </a:lnTo>
                  <a:lnTo>
                    <a:pt x="132" y="194"/>
                  </a:lnTo>
                  <a:lnTo>
                    <a:pt x="117" y="196"/>
                  </a:lnTo>
                  <a:lnTo>
                    <a:pt x="103" y="200"/>
                  </a:lnTo>
                  <a:lnTo>
                    <a:pt x="89" y="206"/>
                  </a:lnTo>
                  <a:lnTo>
                    <a:pt x="77" y="211"/>
                  </a:lnTo>
                  <a:lnTo>
                    <a:pt x="65" y="218"/>
                  </a:lnTo>
                  <a:lnTo>
                    <a:pt x="54" y="228"/>
                  </a:lnTo>
                  <a:lnTo>
                    <a:pt x="43" y="237"/>
                  </a:lnTo>
                  <a:lnTo>
                    <a:pt x="33" y="247"/>
                  </a:lnTo>
                  <a:lnTo>
                    <a:pt x="25" y="259"/>
                  </a:lnTo>
                  <a:lnTo>
                    <a:pt x="18" y="270"/>
                  </a:lnTo>
                  <a:lnTo>
                    <a:pt x="11" y="283"/>
                  </a:lnTo>
                  <a:lnTo>
                    <a:pt x="6" y="297"/>
                  </a:lnTo>
                  <a:lnTo>
                    <a:pt x="3" y="311"/>
                  </a:lnTo>
                  <a:lnTo>
                    <a:pt x="1" y="326"/>
                  </a:lnTo>
                  <a:lnTo>
                    <a:pt x="0" y="341"/>
                  </a:lnTo>
                  <a:lnTo>
                    <a:pt x="0" y="341"/>
                  </a:lnTo>
                  <a:lnTo>
                    <a:pt x="1" y="356"/>
                  </a:lnTo>
                  <a:lnTo>
                    <a:pt x="3" y="369"/>
                  </a:lnTo>
                  <a:lnTo>
                    <a:pt x="6" y="384"/>
                  </a:lnTo>
                  <a:lnTo>
                    <a:pt x="11" y="397"/>
                  </a:lnTo>
                  <a:lnTo>
                    <a:pt x="18" y="410"/>
                  </a:lnTo>
                  <a:lnTo>
                    <a:pt x="25" y="422"/>
                  </a:lnTo>
                  <a:lnTo>
                    <a:pt x="33" y="434"/>
                  </a:lnTo>
                  <a:lnTo>
                    <a:pt x="43" y="444"/>
                  </a:lnTo>
                  <a:lnTo>
                    <a:pt x="54" y="453"/>
                  </a:lnTo>
                  <a:lnTo>
                    <a:pt x="65" y="462"/>
                  </a:lnTo>
                  <a:lnTo>
                    <a:pt x="77" y="470"/>
                  </a:lnTo>
                  <a:lnTo>
                    <a:pt x="89" y="475"/>
                  </a:lnTo>
                  <a:lnTo>
                    <a:pt x="103" y="480"/>
                  </a:lnTo>
                  <a:lnTo>
                    <a:pt x="117" y="483"/>
                  </a:lnTo>
                  <a:lnTo>
                    <a:pt x="132" y="486"/>
                  </a:lnTo>
                  <a:lnTo>
                    <a:pt x="147" y="487"/>
                  </a:lnTo>
                  <a:lnTo>
                    <a:pt x="147" y="487"/>
                  </a:lnTo>
                  <a:lnTo>
                    <a:pt x="162" y="486"/>
                  </a:lnTo>
                  <a:lnTo>
                    <a:pt x="176" y="483"/>
                  </a:lnTo>
                  <a:lnTo>
                    <a:pt x="190" y="480"/>
                  </a:lnTo>
                  <a:lnTo>
                    <a:pt x="203" y="475"/>
                  </a:lnTo>
                  <a:lnTo>
                    <a:pt x="216" y="470"/>
                  </a:lnTo>
                  <a:lnTo>
                    <a:pt x="229" y="462"/>
                  </a:lnTo>
                  <a:lnTo>
                    <a:pt x="239" y="453"/>
                  </a:lnTo>
                  <a:lnTo>
                    <a:pt x="249" y="444"/>
                  </a:lnTo>
                  <a:lnTo>
                    <a:pt x="260" y="434"/>
                  </a:lnTo>
                  <a:lnTo>
                    <a:pt x="268" y="422"/>
                  </a:lnTo>
                  <a:lnTo>
                    <a:pt x="275" y="410"/>
                  </a:lnTo>
                  <a:lnTo>
                    <a:pt x="282" y="397"/>
                  </a:lnTo>
                  <a:lnTo>
                    <a:pt x="286" y="384"/>
                  </a:lnTo>
                  <a:lnTo>
                    <a:pt x="290" y="369"/>
                  </a:lnTo>
                  <a:lnTo>
                    <a:pt x="292" y="356"/>
                  </a:lnTo>
                  <a:lnTo>
                    <a:pt x="293" y="341"/>
                  </a:lnTo>
                  <a:lnTo>
                    <a:pt x="293" y="341"/>
                  </a:lnTo>
                  <a:lnTo>
                    <a:pt x="292" y="327"/>
                  </a:lnTo>
                  <a:lnTo>
                    <a:pt x="290" y="313"/>
                  </a:lnTo>
                  <a:lnTo>
                    <a:pt x="287" y="300"/>
                  </a:lnTo>
                  <a:lnTo>
                    <a:pt x="283" y="287"/>
                  </a:lnTo>
                  <a:lnTo>
                    <a:pt x="277" y="275"/>
                  </a:lnTo>
                  <a:lnTo>
                    <a:pt x="271" y="263"/>
                  </a:lnTo>
                  <a:lnTo>
                    <a:pt x="263" y="253"/>
                  </a:lnTo>
                  <a:lnTo>
                    <a:pt x="255" y="243"/>
                  </a:lnTo>
                  <a:lnTo>
                    <a:pt x="358" y="6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1" name="Freeform 31">
              <a:extLst>
                <a:ext uri="{FF2B5EF4-FFF2-40B4-BE49-F238E27FC236}">
                  <a16:creationId xmlns:a16="http://schemas.microsoft.com/office/drawing/2014/main" id="{F2D1E00B-5548-4B54-B865-BA56D655D7E5}"/>
                </a:ext>
              </a:extLst>
            </p:cNvPr>
            <p:cNvSpPr>
              <a:spLocks/>
            </p:cNvSpPr>
            <p:nvPr/>
          </p:nvSpPr>
          <p:spPr bwMode="auto">
            <a:xfrm>
              <a:off x="6961188" y="4621213"/>
              <a:ext cx="112713" cy="153988"/>
            </a:xfrm>
            <a:custGeom>
              <a:avLst/>
              <a:gdLst>
                <a:gd name="T0" fmla="*/ 192 w 358"/>
                <a:gd name="T1" fmla="*/ 195 h 487"/>
                <a:gd name="T2" fmla="*/ 201 w 358"/>
                <a:gd name="T3" fmla="*/ 194 h 487"/>
                <a:gd name="T4" fmla="*/ 212 w 358"/>
                <a:gd name="T5" fmla="*/ 194 h 487"/>
                <a:gd name="T6" fmla="*/ 242 w 358"/>
                <a:gd name="T7" fmla="*/ 196 h 487"/>
                <a:gd name="T8" fmla="*/ 269 w 358"/>
                <a:gd name="T9" fmla="*/ 206 h 487"/>
                <a:gd name="T10" fmla="*/ 293 w 358"/>
                <a:gd name="T11" fmla="*/ 218 h 487"/>
                <a:gd name="T12" fmla="*/ 315 w 358"/>
                <a:gd name="T13" fmla="*/ 237 h 487"/>
                <a:gd name="T14" fmla="*/ 334 w 358"/>
                <a:gd name="T15" fmla="*/ 259 h 487"/>
                <a:gd name="T16" fmla="*/ 346 w 358"/>
                <a:gd name="T17" fmla="*/ 283 h 487"/>
                <a:gd name="T18" fmla="*/ 356 w 358"/>
                <a:gd name="T19" fmla="*/ 311 h 487"/>
                <a:gd name="T20" fmla="*/ 358 w 358"/>
                <a:gd name="T21" fmla="*/ 341 h 487"/>
                <a:gd name="T22" fmla="*/ 358 w 358"/>
                <a:gd name="T23" fmla="*/ 356 h 487"/>
                <a:gd name="T24" fmla="*/ 352 w 358"/>
                <a:gd name="T25" fmla="*/ 384 h 487"/>
                <a:gd name="T26" fmla="*/ 341 w 358"/>
                <a:gd name="T27" fmla="*/ 410 h 487"/>
                <a:gd name="T28" fmla="*/ 324 w 358"/>
                <a:gd name="T29" fmla="*/ 434 h 487"/>
                <a:gd name="T30" fmla="*/ 305 w 358"/>
                <a:gd name="T31" fmla="*/ 453 h 487"/>
                <a:gd name="T32" fmla="*/ 282 w 358"/>
                <a:gd name="T33" fmla="*/ 470 h 487"/>
                <a:gd name="T34" fmla="*/ 255 w 358"/>
                <a:gd name="T35" fmla="*/ 480 h 487"/>
                <a:gd name="T36" fmla="*/ 227 w 358"/>
                <a:gd name="T37" fmla="*/ 486 h 487"/>
                <a:gd name="T38" fmla="*/ 212 w 358"/>
                <a:gd name="T39" fmla="*/ 487 h 487"/>
                <a:gd name="T40" fmla="*/ 183 w 358"/>
                <a:gd name="T41" fmla="*/ 483 h 487"/>
                <a:gd name="T42" fmla="*/ 155 w 358"/>
                <a:gd name="T43" fmla="*/ 475 h 487"/>
                <a:gd name="T44" fmla="*/ 130 w 358"/>
                <a:gd name="T45" fmla="*/ 462 h 487"/>
                <a:gd name="T46" fmla="*/ 108 w 358"/>
                <a:gd name="T47" fmla="*/ 444 h 487"/>
                <a:gd name="T48" fmla="*/ 91 w 358"/>
                <a:gd name="T49" fmla="*/ 422 h 487"/>
                <a:gd name="T50" fmla="*/ 77 w 358"/>
                <a:gd name="T51" fmla="*/ 397 h 487"/>
                <a:gd name="T52" fmla="*/ 69 w 358"/>
                <a:gd name="T53" fmla="*/ 369 h 487"/>
                <a:gd name="T54" fmla="*/ 65 w 358"/>
                <a:gd name="T55" fmla="*/ 341 h 487"/>
                <a:gd name="T56" fmla="*/ 67 w 358"/>
                <a:gd name="T57" fmla="*/ 327 h 487"/>
                <a:gd name="T58" fmla="*/ 71 w 358"/>
                <a:gd name="T59" fmla="*/ 300 h 487"/>
                <a:gd name="T60" fmla="*/ 82 w 358"/>
                <a:gd name="T61" fmla="*/ 275 h 487"/>
                <a:gd name="T62" fmla="*/ 94 w 358"/>
                <a:gd name="T63" fmla="*/ 253 h 487"/>
                <a:gd name="T64" fmla="*/ 0 w 358"/>
                <a:gd name="T65"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7">
                  <a:moveTo>
                    <a:pt x="79" y="0"/>
                  </a:moveTo>
                  <a:lnTo>
                    <a:pt x="192" y="195"/>
                  </a:lnTo>
                  <a:lnTo>
                    <a:pt x="192" y="195"/>
                  </a:lnTo>
                  <a:lnTo>
                    <a:pt x="201" y="194"/>
                  </a:lnTo>
                  <a:lnTo>
                    <a:pt x="212" y="194"/>
                  </a:lnTo>
                  <a:lnTo>
                    <a:pt x="212" y="194"/>
                  </a:lnTo>
                  <a:lnTo>
                    <a:pt x="227" y="194"/>
                  </a:lnTo>
                  <a:lnTo>
                    <a:pt x="242" y="196"/>
                  </a:lnTo>
                  <a:lnTo>
                    <a:pt x="255" y="200"/>
                  </a:lnTo>
                  <a:lnTo>
                    <a:pt x="269" y="206"/>
                  </a:lnTo>
                  <a:lnTo>
                    <a:pt x="282" y="211"/>
                  </a:lnTo>
                  <a:lnTo>
                    <a:pt x="293" y="218"/>
                  </a:lnTo>
                  <a:lnTo>
                    <a:pt x="305" y="228"/>
                  </a:lnTo>
                  <a:lnTo>
                    <a:pt x="315" y="237"/>
                  </a:lnTo>
                  <a:lnTo>
                    <a:pt x="324" y="247"/>
                  </a:lnTo>
                  <a:lnTo>
                    <a:pt x="334" y="259"/>
                  </a:lnTo>
                  <a:lnTo>
                    <a:pt x="341" y="270"/>
                  </a:lnTo>
                  <a:lnTo>
                    <a:pt x="346" y="283"/>
                  </a:lnTo>
                  <a:lnTo>
                    <a:pt x="352" y="297"/>
                  </a:lnTo>
                  <a:lnTo>
                    <a:pt x="356" y="311"/>
                  </a:lnTo>
                  <a:lnTo>
                    <a:pt x="358" y="326"/>
                  </a:lnTo>
                  <a:lnTo>
                    <a:pt x="358" y="341"/>
                  </a:lnTo>
                  <a:lnTo>
                    <a:pt x="358" y="341"/>
                  </a:lnTo>
                  <a:lnTo>
                    <a:pt x="358" y="356"/>
                  </a:lnTo>
                  <a:lnTo>
                    <a:pt x="356" y="369"/>
                  </a:lnTo>
                  <a:lnTo>
                    <a:pt x="352" y="384"/>
                  </a:lnTo>
                  <a:lnTo>
                    <a:pt x="346" y="397"/>
                  </a:lnTo>
                  <a:lnTo>
                    <a:pt x="341" y="410"/>
                  </a:lnTo>
                  <a:lnTo>
                    <a:pt x="334" y="422"/>
                  </a:lnTo>
                  <a:lnTo>
                    <a:pt x="324" y="434"/>
                  </a:lnTo>
                  <a:lnTo>
                    <a:pt x="315" y="444"/>
                  </a:lnTo>
                  <a:lnTo>
                    <a:pt x="305" y="453"/>
                  </a:lnTo>
                  <a:lnTo>
                    <a:pt x="293" y="462"/>
                  </a:lnTo>
                  <a:lnTo>
                    <a:pt x="282" y="470"/>
                  </a:lnTo>
                  <a:lnTo>
                    <a:pt x="269" y="475"/>
                  </a:lnTo>
                  <a:lnTo>
                    <a:pt x="255" y="480"/>
                  </a:lnTo>
                  <a:lnTo>
                    <a:pt x="242" y="483"/>
                  </a:lnTo>
                  <a:lnTo>
                    <a:pt x="227" y="486"/>
                  </a:lnTo>
                  <a:lnTo>
                    <a:pt x="212" y="487"/>
                  </a:lnTo>
                  <a:lnTo>
                    <a:pt x="212" y="487"/>
                  </a:lnTo>
                  <a:lnTo>
                    <a:pt x="197" y="486"/>
                  </a:lnTo>
                  <a:lnTo>
                    <a:pt x="183" y="483"/>
                  </a:lnTo>
                  <a:lnTo>
                    <a:pt x="168" y="480"/>
                  </a:lnTo>
                  <a:lnTo>
                    <a:pt x="155" y="475"/>
                  </a:lnTo>
                  <a:lnTo>
                    <a:pt x="143" y="470"/>
                  </a:lnTo>
                  <a:lnTo>
                    <a:pt x="130" y="462"/>
                  </a:lnTo>
                  <a:lnTo>
                    <a:pt x="118" y="453"/>
                  </a:lnTo>
                  <a:lnTo>
                    <a:pt x="108" y="444"/>
                  </a:lnTo>
                  <a:lnTo>
                    <a:pt x="99" y="434"/>
                  </a:lnTo>
                  <a:lnTo>
                    <a:pt x="91" y="422"/>
                  </a:lnTo>
                  <a:lnTo>
                    <a:pt x="83" y="410"/>
                  </a:lnTo>
                  <a:lnTo>
                    <a:pt x="77" y="397"/>
                  </a:lnTo>
                  <a:lnTo>
                    <a:pt x="72" y="384"/>
                  </a:lnTo>
                  <a:lnTo>
                    <a:pt x="69" y="369"/>
                  </a:lnTo>
                  <a:lnTo>
                    <a:pt x="67" y="356"/>
                  </a:lnTo>
                  <a:lnTo>
                    <a:pt x="65" y="341"/>
                  </a:lnTo>
                  <a:lnTo>
                    <a:pt x="65" y="341"/>
                  </a:lnTo>
                  <a:lnTo>
                    <a:pt x="67" y="327"/>
                  </a:lnTo>
                  <a:lnTo>
                    <a:pt x="68" y="313"/>
                  </a:lnTo>
                  <a:lnTo>
                    <a:pt x="71" y="300"/>
                  </a:lnTo>
                  <a:lnTo>
                    <a:pt x="76" y="287"/>
                  </a:lnTo>
                  <a:lnTo>
                    <a:pt x="82" y="275"/>
                  </a:lnTo>
                  <a:lnTo>
                    <a:pt x="87" y="263"/>
                  </a:lnTo>
                  <a:lnTo>
                    <a:pt x="94" y="253"/>
                  </a:lnTo>
                  <a:lnTo>
                    <a:pt x="103" y="243"/>
                  </a:lnTo>
                  <a:lnTo>
                    <a:pt x="0" y="64"/>
                  </a:lnTo>
                  <a:lnTo>
                    <a:pt x="79" y="0"/>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2" name="Freeform 32">
              <a:extLst>
                <a:ext uri="{FF2B5EF4-FFF2-40B4-BE49-F238E27FC236}">
                  <a16:creationId xmlns:a16="http://schemas.microsoft.com/office/drawing/2014/main" id="{14DC5F64-44A3-4C3B-9F82-E04508762694}"/>
                </a:ext>
              </a:extLst>
            </p:cNvPr>
            <p:cNvSpPr>
              <a:spLocks/>
            </p:cNvSpPr>
            <p:nvPr/>
          </p:nvSpPr>
          <p:spPr bwMode="auto">
            <a:xfrm>
              <a:off x="6961188" y="4621213"/>
              <a:ext cx="112713" cy="153988"/>
            </a:xfrm>
            <a:custGeom>
              <a:avLst/>
              <a:gdLst>
                <a:gd name="T0" fmla="*/ 192 w 358"/>
                <a:gd name="T1" fmla="*/ 195 h 487"/>
                <a:gd name="T2" fmla="*/ 201 w 358"/>
                <a:gd name="T3" fmla="*/ 194 h 487"/>
                <a:gd name="T4" fmla="*/ 212 w 358"/>
                <a:gd name="T5" fmla="*/ 194 h 487"/>
                <a:gd name="T6" fmla="*/ 242 w 358"/>
                <a:gd name="T7" fmla="*/ 196 h 487"/>
                <a:gd name="T8" fmla="*/ 269 w 358"/>
                <a:gd name="T9" fmla="*/ 206 h 487"/>
                <a:gd name="T10" fmla="*/ 293 w 358"/>
                <a:gd name="T11" fmla="*/ 218 h 487"/>
                <a:gd name="T12" fmla="*/ 315 w 358"/>
                <a:gd name="T13" fmla="*/ 237 h 487"/>
                <a:gd name="T14" fmla="*/ 334 w 358"/>
                <a:gd name="T15" fmla="*/ 259 h 487"/>
                <a:gd name="T16" fmla="*/ 346 w 358"/>
                <a:gd name="T17" fmla="*/ 283 h 487"/>
                <a:gd name="T18" fmla="*/ 356 w 358"/>
                <a:gd name="T19" fmla="*/ 311 h 487"/>
                <a:gd name="T20" fmla="*/ 358 w 358"/>
                <a:gd name="T21" fmla="*/ 341 h 487"/>
                <a:gd name="T22" fmla="*/ 358 w 358"/>
                <a:gd name="T23" fmla="*/ 356 h 487"/>
                <a:gd name="T24" fmla="*/ 352 w 358"/>
                <a:gd name="T25" fmla="*/ 384 h 487"/>
                <a:gd name="T26" fmla="*/ 341 w 358"/>
                <a:gd name="T27" fmla="*/ 410 h 487"/>
                <a:gd name="T28" fmla="*/ 324 w 358"/>
                <a:gd name="T29" fmla="*/ 434 h 487"/>
                <a:gd name="T30" fmla="*/ 305 w 358"/>
                <a:gd name="T31" fmla="*/ 453 h 487"/>
                <a:gd name="T32" fmla="*/ 282 w 358"/>
                <a:gd name="T33" fmla="*/ 470 h 487"/>
                <a:gd name="T34" fmla="*/ 255 w 358"/>
                <a:gd name="T35" fmla="*/ 480 h 487"/>
                <a:gd name="T36" fmla="*/ 227 w 358"/>
                <a:gd name="T37" fmla="*/ 486 h 487"/>
                <a:gd name="T38" fmla="*/ 212 w 358"/>
                <a:gd name="T39" fmla="*/ 487 h 487"/>
                <a:gd name="T40" fmla="*/ 183 w 358"/>
                <a:gd name="T41" fmla="*/ 483 h 487"/>
                <a:gd name="T42" fmla="*/ 155 w 358"/>
                <a:gd name="T43" fmla="*/ 475 h 487"/>
                <a:gd name="T44" fmla="*/ 130 w 358"/>
                <a:gd name="T45" fmla="*/ 462 h 487"/>
                <a:gd name="T46" fmla="*/ 108 w 358"/>
                <a:gd name="T47" fmla="*/ 444 h 487"/>
                <a:gd name="T48" fmla="*/ 91 w 358"/>
                <a:gd name="T49" fmla="*/ 422 h 487"/>
                <a:gd name="T50" fmla="*/ 77 w 358"/>
                <a:gd name="T51" fmla="*/ 397 h 487"/>
                <a:gd name="T52" fmla="*/ 69 w 358"/>
                <a:gd name="T53" fmla="*/ 369 h 487"/>
                <a:gd name="T54" fmla="*/ 65 w 358"/>
                <a:gd name="T55" fmla="*/ 341 h 487"/>
                <a:gd name="T56" fmla="*/ 67 w 358"/>
                <a:gd name="T57" fmla="*/ 327 h 487"/>
                <a:gd name="T58" fmla="*/ 71 w 358"/>
                <a:gd name="T59" fmla="*/ 300 h 487"/>
                <a:gd name="T60" fmla="*/ 82 w 358"/>
                <a:gd name="T61" fmla="*/ 275 h 487"/>
                <a:gd name="T62" fmla="*/ 94 w 358"/>
                <a:gd name="T63" fmla="*/ 253 h 487"/>
                <a:gd name="T64" fmla="*/ 0 w 358"/>
                <a:gd name="T65"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487">
                  <a:moveTo>
                    <a:pt x="79" y="0"/>
                  </a:moveTo>
                  <a:lnTo>
                    <a:pt x="192" y="195"/>
                  </a:lnTo>
                  <a:lnTo>
                    <a:pt x="192" y="195"/>
                  </a:lnTo>
                  <a:lnTo>
                    <a:pt x="201" y="194"/>
                  </a:lnTo>
                  <a:lnTo>
                    <a:pt x="212" y="194"/>
                  </a:lnTo>
                  <a:lnTo>
                    <a:pt x="212" y="194"/>
                  </a:lnTo>
                  <a:lnTo>
                    <a:pt x="227" y="194"/>
                  </a:lnTo>
                  <a:lnTo>
                    <a:pt x="242" y="196"/>
                  </a:lnTo>
                  <a:lnTo>
                    <a:pt x="255" y="200"/>
                  </a:lnTo>
                  <a:lnTo>
                    <a:pt x="269" y="206"/>
                  </a:lnTo>
                  <a:lnTo>
                    <a:pt x="282" y="211"/>
                  </a:lnTo>
                  <a:lnTo>
                    <a:pt x="293" y="218"/>
                  </a:lnTo>
                  <a:lnTo>
                    <a:pt x="305" y="228"/>
                  </a:lnTo>
                  <a:lnTo>
                    <a:pt x="315" y="237"/>
                  </a:lnTo>
                  <a:lnTo>
                    <a:pt x="324" y="247"/>
                  </a:lnTo>
                  <a:lnTo>
                    <a:pt x="334" y="259"/>
                  </a:lnTo>
                  <a:lnTo>
                    <a:pt x="341" y="270"/>
                  </a:lnTo>
                  <a:lnTo>
                    <a:pt x="346" y="283"/>
                  </a:lnTo>
                  <a:lnTo>
                    <a:pt x="352" y="297"/>
                  </a:lnTo>
                  <a:lnTo>
                    <a:pt x="356" y="311"/>
                  </a:lnTo>
                  <a:lnTo>
                    <a:pt x="358" y="326"/>
                  </a:lnTo>
                  <a:lnTo>
                    <a:pt x="358" y="341"/>
                  </a:lnTo>
                  <a:lnTo>
                    <a:pt x="358" y="341"/>
                  </a:lnTo>
                  <a:lnTo>
                    <a:pt x="358" y="356"/>
                  </a:lnTo>
                  <a:lnTo>
                    <a:pt x="356" y="369"/>
                  </a:lnTo>
                  <a:lnTo>
                    <a:pt x="352" y="384"/>
                  </a:lnTo>
                  <a:lnTo>
                    <a:pt x="346" y="397"/>
                  </a:lnTo>
                  <a:lnTo>
                    <a:pt x="341" y="410"/>
                  </a:lnTo>
                  <a:lnTo>
                    <a:pt x="334" y="422"/>
                  </a:lnTo>
                  <a:lnTo>
                    <a:pt x="324" y="434"/>
                  </a:lnTo>
                  <a:lnTo>
                    <a:pt x="315" y="444"/>
                  </a:lnTo>
                  <a:lnTo>
                    <a:pt x="305" y="453"/>
                  </a:lnTo>
                  <a:lnTo>
                    <a:pt x="293" y="462"/>
                  </a:lnTo>
                  <a:lnTo>
                    <a:pt x="282" y="470"/>
                  </a:lnTo>
                  <a:lnTo>
                    <a:pt x="269" y="475"/>
                  </a:lnTo>
                  <a:lnTo>
                    <a:pt x="255" y="480"/>
                  </a:lnTo>
                  <a:lnTo>
                    <a:pt x="242" y="483"/>
                  </a:lnTo>
                  <a:lnTo>
                    <a:pt x="227" y="486"/>
                  </a:lnTo>
                  <a:lnTo>
                    <a:pt x="212" y="487"/>
                  </a:lnTo>
                  <a:lnTo>
                    <a:pt x="212" y="487"/>
                  </a:lnTo>
                  <a:lnTo>
                    <a:pt x="197" y="486"/>
                  </a:lnTo>
                  <a:lnTo>
                    <a:pt x="183" y="483"/>
                  </a:lnTo>
                  <a:lnTo>
                    <a:pt x="168" y="480"/>
                  </a:lnTo>
                  <a:lnTo>
                    <a:pt x="155" y="475"/>
                  </a:lnTo>
                  <a:lnTo>
                    <a:pt x="143" y="470"/>
                  </a:lnTo>
                  <a:lnTo>
                    <a:pt x="130" y="462"/>
                  </a:lnTo>
                  <a:lnTo>
                    <a:pt x="118" y="453"/>
                  </a:lnTo>
                  <a:lnTo>
                    <a:pt x="108" y="444"/>
                  </a:lnTo>
                  <a:lnTo>
                    <a:pt x="99" y="434"/>
                  </a:lnTo>
                  <a:lnTo>
                    <a:pt x="91" y="422"/>
                  </a:lnTo>
                  <a:lnTo>
                    <a:pt x="83" y="410"/>
                  </a:lnTo>
                  <a:lnTo>
                    <a:pt x="77" y="397"/>
                  </a:lnTo>
                  <a:lnTo>
                    <a:pt x="72" y="384"/>
                  </a:lnTo>
                  <a:lnTo>
                    <a:pt x="69" y="369"/>
                  </a:lnTo>
                  <a:lnTo>
                    <a:pt x="67" y="356"/>
                  </a:lnTo>
                  <a:lnTo>
                    <a:pt x="65" y="341"/>
                  </a:lnTo>
                  <a:lnTo>
                    <a:pt x="65" y="341"/>
                  </a:lnTo>
                  <a:lnTo>
                    <a:pt x="67" y="327"/>
                  </a:lnTo>
                  <a:lnTo>
                    <a:pt x="68" y="313"/>
                  </a:lnTo>
                  <a:lnTo>
                    <a:pt x="71" y="300"/>
                  </a:lnTo>
                  <a:lnTo>
                    <a:pt x="76" y="287"/>
                  </a:lnTo>
                  <a:lnTo>
                    <a:pt x="82" y="275"/>
                  </a:lnTo>
                  <a:lnTo>
                    <a:pt x="87" y="263"/>
                  </a:lnTo>
                  <a:lnTo>
                    <a:pt x="94" y="253"/>
                  </a:lnTo>
                  <a:lnTo>
                    <a:pt x="103" y="243"/>
                  </a:lnTo>
                  <a:lnTo>
                    <a:pt x="0" y="64"/>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3" name="Freeform 33">
              <a:extLst>
                <a:ext uri="{FF2B5EF4-FFF2-40B4-BE49-F238E27FC236}">
                  <a16:creationId xmlns:a16="http://schemas.microsoft.com/office/drawing/2014/main" id="{2698C201-315A-4532-A92D-B3075A048D34}"/>
                </a:ext>
              </a:extLst>
            </p:cNvPr>
            <p:cNvSpPr>
              <a:spLocks/>
            </p:cNvSpPr>
            <p:nvPr/>
          </p:nvSpPr>
          <p:spPr bwMode="auto">
            <a:xfrm>
              <a:off x="7134226" y="4456113"/>
              <a:ext cx="153988" cy="112713"/>
            </a:xfrm>
            <a:custGeom>
              <a:avLst/>
              <a:gdLst>
                <a:gd name="T0" fmla="*/ 196 w 486"/>
                <a:gd name="T1" fmla="*/ 192 h 358"/>
                <a:gd name="T2" fmla="*/ 194 w 486"/>
                <a:gd name="T3" fmla="*/ 202 h 358"/>
                <a:gd name="T4" fmla="*/ 193 w 486"/>
                <a:gd name="T5" fmla="*/ 212 h 358"/>
                <a:gd name="T6" fmla="*/ 197 w 486"/>
                <a:gd name="T7" fmla="*/ 242 h 358"/>
                <a:gd name="T8" fmla="*/ 205 w 486"/>
                <a:gd name="T9" fmla="*/ 269 h 358"/>
                <a:gd name="T10" fmla="*/ 219 w 486"/>
                <a:gd name="T11" fmla="*/ 294 h 358"/>
                <a:gd name="T12" fmla="*/ 236 w 486"/>
                <a:gd name="T13" fmla="*/ 315 h 358"/>
                <a:gd name="T14" fmla="*/ 258 w 486"/>
                <a:gd name="T15" fmla="*/ 334 h 358"/>
                <a:gd name="T16" fmla="*/ 283 w 486"/>
                <a:gd name="T17" fmla="*/ 347 h 358"/>
                <a:gd name="T18" fmla="*/ 311 w 486"/>
                <a:gd name="T19" fmla="*/ 356 h 358"/>
                <a:gd name="T20" fmla="*/ 339 w 486"/>
                <a:gd name="T21" fmla="*/ 358 h 358"/>
                <a:gd name="T22" fmla="*/ 354 w 486"/>
                <a:gd name="T23" fmla="*/ 358 h 358"/>
                <a:gd name="T24" fmla="*/ 383 w 486"/>
                <a:gd name="T25" fmla="*/ 352 h 358"/>
                <a:gd name="T26" fmla="*/ 410 w 486"/>
                <a:gd name="T27" fmla="*/ 341 h 358"/>
                <a:gd name="T28" fmla="*/ 433 w 486"/>
                <a:gd name="T29" fmla="*/ 325 h 358"/>
                <a:gd name="T30" fmla="*/ 452 w 486"/>
                <a:gd name="T31" fmla="*/ 305 h 358"/>
                <a:gd name="T32" fmla="*/ 468 w 486"/>
                <a:gd name="T33" fmla="*/ 282 h 358"/>
                <a:gd name="T34" fmla="*/ 480 w 486"/>
                <a:gd name="T35" fmla="*/ 255 h 358"/>
                <a:gd name="T36" fmla="*/ 486 w 486"/>
                <a:gd name="T37" fmla="*/ 227 h 358"/>
                <a:gd name="T38" fmla="*/ 486 w 486"/>
                <a:gd name="T39" fmla="*/ 212 h 358"/>
                <a:gd name="T40" fmla="*/ 483 w 486"/>
                <a:gd name="T41" fmla="*/ 183 h 358"/>
                <a:gd name="T42" fmla="*/ 474 w 486"/>
                <a:gd name="T43" fmla="*/ 155 h 358"/>
                <a:gd name="T44" fmla="*/ 462 w 486"/>
                <a:gd name="T45" fmla="*/ 130 h 358"/>
                <a:gd name="T46" fmla="*/ 443 w 486"/>
                <a:gd name="T47" fmla="*/ 108 h 358"/>
                <a:gd name="T48" fmla="*/ 421 w 486"/>
                <a:gd name="T49" fmla="*/ 91 h 358"/>
                <a:gd name="T50" fmla="*/ 397 w 486"/>
                <a:gd name="T51" fmla="*/ 77 h 358"/>
                <a:gd name="T52" fmla="*/ 369 w 486"/>
                <a:gd name="T53" fmla="*/ 69 h 358"/>
                <a:gd name="T54" fmla="*/ 339 w 486"/>
                <a:gd name="T55" fmla="*/ 65 h 358"/>
                <a:gd name="T56" fmla="*/ 326 w 486"/>
                <a:gd name="T57" fmla="*/ 66 h 358"/>
                <a:gd name="T58" fmla="*/ 299 w 486"/>
                <a:gd name="T59" fmla="*/ 71 h 358"/>
                <a:gd name="T60" fmla="*/ 275 w 486"/>
                <a:gd name="T61" fmla="*/ 81 h 358"/>
                <a:gd name="T62" fmla="*/ 252 w 486"/>
                <a:gd name="T63" fmla="*/ 95 h 358"/>
                <a:gd name="T64" fmla="*/ 64 w 486"/>
                <a:gd name="T6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0" y="79"/>
                  </a:moveTo>
                  <a:lnTo>
                    <a:pt x="196" y="192"/>
                  </a:lnTo>
                  <a:lnTo>
                    <a:pt x="196" y="192"/>
                  </a:lnTo>
                  <a:lnTo>
                    <a:pt x="194" y="202"/>
                  </a:lnTo>
                  <a:lnTo>
                    <a:pt x="193" y="212"/>
                  </a:lnTo>
                  <a:lnTo>
                    <a:pt x="193" y="212"/>
                  </a:lnTo>
                  <a:lnTo>
                    <a:pt x="194" y="227"/>
                  </a:lnTo>
                  <a:lnTo>
                    <a:pt x="197" y="242"/>
                  </a:lnTo>
                  <a:lnTo>
                    <a:pt x="200" y="255"/>
                  </a:lnTo>
                  <a:lnTo>
                    <a:pt x="205" y="269"/>
                  </a:lnTo>
                  <a:lnTo>
                    <a:pt x="212" y="282"/>
                  </a:lnTo>
                  <a:lnTo>
                    <a:pt x="219" y="294"/>
                  </a:lnTo>
                  <a:lnTo>
                    <a:pt x="227" y="305"/>
                  </a:lnTo>
                  <a:lnTo>
                    <a:pt x="236" y="315"/>
                  </a:lnTo>
                  <a:lnTo>
                    <a:pt x="246" y="325"/>
                  </a:lnTo>
                  <a:lnTo>
                    <a:pt x="258" y="334"/>
                  </a:lnTo>
                  <a:lnTo>
                    <a:pt x="270" y="341"/>
                  </a:lnTo>
                  <a:lnTo>
                    <a:pt x="283" y="347"/>
                  </a:lnTo>
                  <a:lnTo>
                    <a:pt x="296" y="352"/>
                  </a:lnTo>
                  <a:lnTo>
                    <a:pt x="311" y="356"/>
                  </a:lnTo>
                  <a:lnTo>
                    <a:pt x="324" y="358"/>
                  </a:lnTo>
                  <a:lnTo>
                    <a:pt x="339" y="358"/>
                  </a:lnTo>
                  <a:lnTo>
                    <a:pt x="339" y="358"/>
                  </a:lnTo>
                  <a:lnTo>
                    <a:pt x="354" y="358"/>
                  </a:lnTo>
                  <a:lnTo>
                    <a:pt x="369" y="356"/>
                  </a:lnTo>
                  <a:lnTo>
                    <a:pt x="383" y="352"/>
                  </a:lnTo>
                  <a:lnTo>
                    <a:pt x="397" y="347"/>
                  </a:lnTo>
                  <a:lnTo>
                    <a:pt x="410" y="341"/>
                  </a:lnTo>
                  <a:lnTo>
                    <a:pt x="421" y="334"/>
                  </a:lnTo>
                  <a:lnTo>
                    <a:pt x="433" y="325"/>
                  </a:lnTo>
                  <a:lnTo>
                    <a:pt x="443" y="315"/>
                  </a:lnTo>
                  <a:lnTo>
                    <a:pt x="452" y="305"/>
                  </a:lnTo>
                  <a:lnTo>
                    <a:pt x="462" y="294"/>
                  </a:lnTo>
                  <a:lnTo>
                    <a:pt x="468" y="282"/>
                  </a:lnTo>
                  <a:lnTo>
                    <a:pt x="474" y="269"/>
                  </a:lnTo>
                  <a:lnTo>
                    <a:pt x="480" y="255"/>
                  </a:lnTo>
                  <a:lnTo>
                    <a:pt x="483" y="242"/>
                  </a:lnTo>
                  <a:lnTo>
                    <a:pt x="486" y="227"/>
                  </a:lnTo>
                  <a:lnTo>
                    <a:pt x="486" y="212"/>
                  </a:lnTo>
                  <a:lnTo>
                    <a:pt x="486" y="212"/>
                  </a:lnTo>
                  <a:lnTo>
                    <a:pt x="486" y="197"/>
                  </a:lnTo>
                  <a:lnTo>
                    <a:pt x="483" y="183"/>
                  </a:lnTo>
                  <a:lnTo>
                    <a:pt x="480" y="168"/>
                  </a:lnTo>
                  <a:lnTo>
                    <a:pt x="474" y="155"/>
                  </a:lnTo>
                  <a:lnTo>
                    <a:pt x="468" y="143"/>
                  </a:lnTo>
                  <a:lnTo>
                    <a:pt x="462" y="130"/>
                  </a:lnTo>
                  <a:lnTo>
                    <a:pt x="452" y="118"/>
                  </a:lnTo>
                  <a:lnTo>
                    <a:pt x="443" y="108"/>
                  </a:lnTo>
                  <a:lnTo>
                    <a:pt x="433" y="99"/>
                  </a:lnTo>
                  <a:lnTo>
                    <a:pt x="421" y="91"/>
                  </a:lnTo>
                  <a:lnTo>
                    <a:pt x="410" y="84"/>
                  </a:lnTo>
                  <a:lnTo>
                    <a:pt x="397" y="77"/>
                  </a:lnTo>
                  <a:lnTo>
                    <a:pt x="383" y="72"/>
                  </a:lnTo>
                  <a:lnTo>
                    <a:pt x="369" y="69"/>
                  </a:lnTo>
                  <a:lnTo>
                    <a:pt x="354" y="66"/>
                  </a:lnTo>
                  <a:lnTo>
                    <a:pt x="339" y="65"/>
                  </a:lnTo>
                  <a:lnTo>
                    <a:pt x="339" y="65"/>
                  </a:lnTo>
                  <a:lnTo>
                    <a:pt x="326" y="66"/>
                  </a:lnTo>
                  <a:lnTo>
                    <a:pt x="312" y="68"/>
                  </a:lnTo>
                  <a:lnTo>
                    <a:pt x="299" y="71"/>
                  </a:lnTo>
                  <a:lnTo>
                    <a:pt x="286" y="76"/>
                  </a:lnTo>
                  <a:lnTo>
                    <a:pt x="275" y="81"/>
                  </a:lnTo>
                  <a:lnTo>
                    <a:pt x="263" y="87"/>
                  </a:lnTo>
                  <a:lnTo>
                    <a:pt x="252" y="95"/>
                  </a:lnTo>
                  <a:lnTo>
                    <a:pt x="243" y="103"/>
                  </a:lnTo>
                  <a:lnTo>
                    <a:pt x="64" y="0"/>
                  </a:lnTo>
                  <a:lnTo>
                    <a:pt x="0" y="79"/>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4" name="Freeform 34">
              <a:extLst>
                <a:ext uri="{FF2B5EF4-FFF2-40B4-BE49-F238E27FC236}">
                  <a16:creationId xmlns:a16="http://schemas.microsoft.com/office/drawing/2014/main" id="{68FBB742-DCBD-447F-872D-A426BBF9D94C}"/>
                </a:ext>
              </a:extLst>
            </p:cNvPr>
            <p:cNvSpPr>
              <a:spLocks/>
            </p:cNvSpPr>
            <p:nvPr/>
          </p:nvSpPr>
          <p:spPr bwMode="auto">
            <a:xfrm>
              <a:off x="7134226" y="4456113"/>
              <a:ext cx="153988" cy="112713"/>
            </a:xfrm>
            <a:custGeom>
              <a:avLst/>
              <a:gdLst>
                <a:gd name="T0" fmla="*/ 196 w 486"/>
                <a:gd name="T1" fmla="*/ 192 h 358"/>
                <a:gd name="T2" fmla="*/ 194 w 486"/>
                <a:gd name="T3" fmla="*/ 202 h 358"/>
                <a:gd name="T4" fmla="*/ 193 w 486"/>
                <a:gd name="T5" fmla="*/ 212 h 358"/>
                <a:gd name="T6" fmla="*/ 197 w 486"/>
                <a:gd name="T7" fmla="*/ 242 h 358"/>
                <a:gd name="T8" fmla="*/ 205 w 486"/>
                <a:gd name="T9" fmla="*/ 269 h 358"/>
                <a:gd name="T10" fmla="*/ 219 w 486"/>
                <a:gd name="T11" fmla="*/ 294 h 358"/>
                <a:gd name="T12" fmla="*/ 236 w 486"/>
                <a:gd name="T13" fmla="*/ 315 h 358"/>
                <a:gd name="T14" fmla="*/ 258 w 486"/>
                <a:gd name="T15" fmla="*/ 334 h 358"/>
                <a:gd name="T16" fmla="*/ 283 w 486"/>
                <a:gd name="T17" fmla="*/ 347 h 358"/>
                <a:gd name="T18" fmla="*/ 311 w 486"/>
                <a:gd name="T19" fmla="*/ 356 h 358"/>
                <a:gd name="T20" fmla="*/ 339 w 486"/>
                <a:gd name="T21" fmla="*/ 358 h 358"/>
                <a:gd name="T22" fmla="*/ 354 w 486"/>
                <a:gd name="T23" fmla="*/ 358 h 358"/>
                <a:gd name="T24" fmla="*/ 383 w 486"/>
                <a:gd name="T25" fmla="*/ 352 h 358"/>
                <a:gd name="T26" fmla="*/ 410 w 486"/>
                <a:gd name="T27" fmla="*/ 341 h 358"/>
                <a:gd name="T28" fmla="*/ 433 w 486"/>
                <a:gd name="T29" fmla="*/ 325 h 358"/>
                <a:gd name="T30" fmla="*/ 452 w 486"/>
                <a:gd name="T31" fmla="*/ 305 h 358"/>
                <a:gd name="T32" fmla="*/ 468 w 486"/>
                <a:gd name="T33" fmla="*/ 282 h 358"/>
                <a:gd name="T34" fmla="*/ 480 w 486"/>
                <a:gd name="T35" fmla="*/ 255 h 358"/>
                <a:gd name="T36" fmla="*/ 486 w 486"/>
                <a:gd name="T37" fmla="*/ 227 h 358"/>
                <a:gd name="T38" fmla="*/ 486 w 486"/>
                <a:gd name="T39" fmla="*/ 212 h 358"/>
                <a:gd name="T40" fmla="*/ 483 w 486"/>
                <a:gd name="T41" fmla="*/ 183 h 358"/>
                <a:gd name="T42" fmla="*/ 474 w 486"/>
                <a:gd name="T43" fmla="*/ 155 h 358"/>
                <a:gd name="T44" fmla="*/ 462 w 486"/>
                <a:gd name="T45" fmla="*/ 130 h 358"/>
                <a:gd name="T46" fmla="*/ 443 w 486"/>
                <a:gd name="T47" fmla="*/ 108 h 358"/>
                <a:gd name="T48" fmla="*/ 421 w 486"/>
                <a:gd name="T49" fmla="*/ 91 h 358"/>
                <a:gd name="T50" fmla="*/ 397 w 486"/>
                <a:gd name="T51" fmla="*/ 77 h 358"/>
                <a:gd name="T52" fmla="*/ 369 w 486"/>
                <a:gd name="T53" fmla="*/ 69 h 358"/>
                <a:gd name="T54" fmla="*/ 339 w 486"/>
                <a:gd name="T55" fmla="*/ 65 h 358"/>
                <a:gd name="T56" fmla="*/ 326 w 486"/>
                <a:gd name="T57" fmla="*/ 66 h 358"/>
                <a:gd name="T58" fmla="*/ 299 w 486"/>
                <a:gd name="T59" fmla="*/ 71 h 358"/>
                <a:gd name="T60" fmla="*/ 275 w 486"/>
                <a:gd name="T61" fmla="*/ 81 h 358"/>
                <a:gd name="T62" fmla="*/ 252 w 486"/>
                <a:gd name="T63" fmla="*/ 95 h 358"/>
                <a:gd name="T64" fmla="*/ 64 w 486"/>
                <a:gd name="T6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0" y="79"/>
                  </a:moveTo>
                  <a:lnTo>
                    <a:pt x="196" y="192"/>
                  </a:lnTo>
                  <a:lnTo>
                    <a:pt x="196" y="192"/>
                  </a:lnTo>
                  <a:lnTo>
                    <a:pt x="194" y="202"/>
                  </a:lnTo>
                  <a:lnTo>
                    <a:pt x="193" y="212"/>
                  </a:lnTo>
                  <a:lnTo>
                    <a:pt x="193" y="212"/>
                  </a:lnTo>
                  <a:lnTo>
                    <a:pt x="194" y="227"/>
                  </a:lnTo>
                  <a:lnTo>
                    <a:pt x="197" y="242"/>
                  </a:lnTo>
                  <a:lnTo>
                    <a:pt x="200" y="255"/>
                  </a:lnTo>
                  <a:lnTo>
                    <a:pt x="205" y="269"/>
                  </a:lnTo>
                  <a:lnTo>
                    <a:pt x="212" y="282"/>
                  </a:lnTo>
                  <a:lnTo>
                    <a:pt x="219" y="294"/>
                  </a:lnTo>
                  <a:lnTo>
                    <a:pt x="227" y="305"/>
                  </a:lnTo>
                  <a:lnTo>
                    <a:pt x="236" y="315"/>
                  </a:lnTo>
                  <a:lnTo>
                    <a:pt x="246" y="325"/>
                  </a:lnTo>
                  <a:lnTo>
                    <a:pt x="258" y="334"/>
                  </a:lnTo>
                  <a:lnTo>
                    <a:pt x="270" y="341"/>
                  </a:lnTo>
                  <a:lnTo>
                    <a:pt x="283" y="347"/>
                  </a:lnTo>
                  <a:lnTo>
                    <a:pt x="296" y="352"/>
                  </a:lnTo>
                  <a:lnTo>
                    <a:pt x="311" y="356"/>
                  </a:lnTo>
                  <a:lnTo>
                    <a:pt x="324" y="358"/>
                  </a:lnTo>
                  <a:lnTo>
                    <a:pt x="339" y="358"/>
                  </a:lnTo>
                  <a:lnTo>
                    <a:pt x="339" y="358"/>
                  </a:lnTo>
                  <a:lnTo>
                    <a:pt x="354" y="358"/>
                  </a:lnTo>
                  <a:lnTo>
                    <a:pt x="369" y="356"/>
                  </a:lnTo>
                  <a:lnTo>
                    <a:pt x="383" y="352"/>
                  </a:lnTo>
                  <a:lnTo>
                    <a:pt x="397" y="347"/>
                  </a:lnTo>
                  <a:lnTo>
                    <a:pt x="410" y="341"/>
                  </a:lnTo>
                  <a:lnTo>
                    <a:pt x="421" y="334"/>
                  </a:lnTo>
                  <a:lnTo>
                    <a:pt x="433" y="325"/>
                  </a:lnTo>
                  <a:lnTo>
                    <a:pt x="443" y="315"/>
                  </a:lnTo>
                  <a:lnTo>
                    <a:pt x="452" y="305"/>
                  </a:lnTo>
                  <a:lnTo>
                    <a:pt x="462" y="294"/>
                  </a:lnTo>
                  <a:lnTo>
                    <a:pt x="468" y="282"/>
                  </a:lnTo>
                  <a:lnTo>
                    <a:pt x="474" y="269"/>
                  </a:lnTo>
                  <a:lnTo>
                    <a:pt x="480" y="255"/>
                  </a:lnTo>
                  <a:lnTo>
                    <a:pt x="483" y="242"/>
                  </a:lnTo>
                  <a:lnTo>
                    <a:pt x="486" y="227"/>
                  </a:lnTo>
                  <a:lnTo>
                    <a:pt x="486" y="212"/>
                  </a:lnTo>
                  <a:lnTo>
                    <a:pt x="486" y="212"/>
                  </a:lnTo>
                  <a:lnTo>
                    <a:pt x="486" y="197"/>
                  </a:lnTo>
                  <a:lnTo>
                    <a:pt x="483" y="183"/>
                  </a:lnTo>
                  <a:lnTo>
                    <a:pt x="480" y="168"/>
                  </a:lnTo>
                  <a:lnTo>
                    <a:pt x="474" y="155"/>
                  </a:lnTo>
                  <a:lnTo>
                    <a:pt x="468" y="143"/>
                  </a:lnTo>
                  <a:lnTo>
                    <a:pt x="462" y="130"/>
                  </a:lnTo>
                  <a:lnTo>
                    <a:pt x="452" y="118"/>
                  </a:lnTo>
                  <a:lnTo>
                    <a:pt x="443" y="108"/>
                  </a:lnTo>
                  <a:lnTo>
                    <a:pt x="433" y="99"/>
                  </a:lnTo>
                  <a:lnTo>
                    <a:pt x="421" y="91"/>
                  </a:lnTo>
                  <a:lnTo>
                    <a:pt x="410" y="84"/>
                  </a:lnTo>
                  <a:lnTo>
                    <a:pt x="397" y="77"/>
                  </a:lnTo>
                  <a:lnTo>
                    <a:pt x="383" y="72"/>
                  </a:lnTo>
                  <a:lnTo>
                    <a:pt x="369" y="69"/>
                  </a:lnTo>
                  <a:lnTo>
                    <a:pt x="354" y="66"/>
                  </a:lnTo>
                  <a:lnTo>
                    <a:pt x="339" y="65"/>
                  </a:lnTo>
                  <a:lnTo>
                    <a:pt x="339" y="65"/>
                  </a:lnTo>
                  <a:lnTo>
                    <a:pt x="326" y="66"/>
                  </a:lnTo>
                  <a:lnTo>
                    <a:pt x="312" y="68"/>
                  </a:lnTo>
                  <a:lnTo>
                    <a:pt x="299" y="71"/>
                  </a:lnTo>
                  <a:lnTo>
                    <a:pt x="286" y="76"/>
                  </a:lnTo>
                  <a:lnTo>
                    <a:pt x="275" y="81"/>
                  </a:lnTo>
                  <a:lnTo>
                    <a:pt x="263" y="87"/>
                  </a:lnTo>
                  <a:lnTo>
                    <a:pt x="252" y="95"/>
                  </a:lnTo>
                  <a:lnTo>
                    <a:pt x="243" y="103"/>
                  </a:lnTo>
                  <a:lnTo>
                    <a:pt x="64"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5" name="Freeform 35">
              <a:extLst>
                <a:ext uri="{FF2B5EF4-FFF2-40B4-BE49-F238E27FC236}">
                  <a16:creationId xmlns:a16="http://schemas.microsoft.com/office/drawing/2014/main" id="{4D48A017-392A-46C1-AC4F-2DD4B04B86AF}"/>
                </a:ext>
              </a:extLst>
            </p:cNvPr>
            <p:cNvSpPr>
              <a:spLocks/>
            </p:cNvSpPr>
            <p:nvPr/>
          </p:nvSpPr>
          <p:spPr bwMode="auto">
            <a:xfrm>
              <a:off x="7134226" y="4062413"/>
              <a:ext cx="153988" cy="112713"/>
            </a:xfrm>
            <a:custGeom>
              <a:avLst/>
              <a:gdLst>
                <a:gd name="T0" fmla="*/ 196 w 486"/>
                <a:gd name="T1" fmla="*/ 166 h 358"/>
                <a:gd name="T2" fmla="*/ 194 w 486"/>
                <a:gd name="T3" fmla="*/ 156 h 358"/>
                <a:gd name="T4" fmla="*/ 193 w 486"/>
                <a:gd name="T5" fmla="*/ 147 h 358"/>
                <a:gd name="T6" fmla="*/ 197 w 486"/>
                <a:gd name="T7" fmla="*/ 117 h 358"/>
                <a:gd name="T8" fmla="*/ 205 w 486"/>
                <a:gd name="T9" fmla="*/ 89 h 358"/>
                <a:gd name="T10" fmla="*/ 219 w 486"/>
                <a:gd name="T11" fmla="*/ 65 h 358"/>
                <a:gd name="T12" fmla="*/ 236 w 486"/>
                <a:gd name="T13" fmla="*/ 43 h 358"/>
                <a:gd name="T14" fmla="*/ 258 w 486"/>
                <a:gd name="T15" fmla="*/ 24 h 358"/>
                <a:gd name="T16" fmla="*/ 283 w 486"/>
                <a:gd name="T17" fmla="*/ 12 h 358"/>
                <a:gd name="T18" fmla="*/ 311 w 486"/>
                <a:gd name="T19" fmla="*/ 3 h 358"/>
                <a:gd name="T20" fmla="*/ 339 w 486"/>
                <a:gd name="T21" fmla="*/ 0 h 358"/>
                <a:gd name="T22" fmla="*/ 354 w 486"/>
                <a:gd name="T23" fmla="*/ 0 h 358"/>
                <a:gd name="T24" fmla="*/ 383 w 486"/>
                <a:gd name="T25" fmla="*/ 6 h 358"/>
                <a:gd name="T26" fmla="*/ 410 w 486"/>
                <a:gd name="T27" fmla="*/ 18 h 358"/>
                <a:gd name="T28" fmla="*/ 433 w 486"/>
                <a:gd name="T29" fmla="*/ 34 h 358"/>
                <a:gd name="T30" fmla="*/ 452 w 486"/>
                <a:gd name="T31" fmla="*/ 53 h 358"/>
                <a:gd name="T32" fmla="*/ 468 w 486"/>
                <a:gd name="T33" fmla="*/ 76 h 358"/>
                <a:gd name="T34" fmla="*/ 480 w 486"/>
                <a:gd name="T35" fmla="*/ 103 h 358"/>
                <a:gd name="T36" fmla="*/ 486 w 486"/>
                <a:gd name="T37" fmla="*/ 132 h 358"/>
                <a:gd name="T38" fmla="*/ 486 w 486"/>
                <a:gd name="T39" fmla="*/ 147 h 358"/>
                <a:gd name="T40" fmla="*/ 483 w 486"/>
                <a:gd name="T41" fmla="*/ 175 h 358"/>
                <a:gd name="T42" fmla="*/ 474 w 486"/>
                <a:gd name="T43" fmla="*/ 203 h 358"/>
                <a:gd name="T44" fmla="*/ 462 w 486"/>
                <a:gd name="T45" fmla="*/ 228 h 358"/>
                <a:gd name="T46" fmla="*/ 443 w 486"/>
                <a:gd name="T47" fmla="*/ 249 h 358"/>
                <a:gd name="T48" fmla="*/ 421 w 486"/>
                <a:gd name="T49" fmla="*/ 268 h 358"/>
                <a:gd name="T50" fmla="*/ 397 w 486"/>
                <a:gd name="T51" fmla="*/ 281 h 358"/>
                <a:gd name="T52" fmla="*/ 369 w 486"/>
                <a:gd name="T53" fmla="*/ 290 h 358"/>
                <a:gd name="T54" fmla="*/ 339 w 486"/>
                <a:gd name="T55" fmla="*/ 293 h 358"/>
                <a:gd name="T56" fmla="*/ 326 w 486"/>
                <a:gd name="T57" fmla="*/ 292 h 358"/>
                <a:gd name="T58" fmla="*/ 299 w 486"/>
                <a:gd name="T59" fmla="*/ 287 h 358"/>
                <a:gd name="T60" fmla="*/ 275 w 486"/>
                <a:gd name="T61" fmla="*/ 277 h 358"/>
                <a:gd name="T62" fmla="*/ 252 w 486"/>
                <a:gd name="T63" fmla="*/ 263 h 358"/>
                <a:gd name="T64" fmla="*/ 64 w 486"/>
                <a:gd name="T65"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0" y="279"/>
                  </a:moveTo>
                  <a:lnTo>
                    <a:pt x="196" y="166"/>
                  </a:lnTo>
                  <a:lnTo>
                    <a:pt x="196" y="166"/>
                  </a:lnTo>
                  <a:lnTo>
                    <a:pt x="194" y="156"/>
                  </a:lnTo>
                  <a:lnTo>
                    <a:pt x="193" y="147"/>
                  </a:lnTo>
                  <a:lnTo>
                    <a:pt x="193" y="147"/>
                  </a:lnTo>
                  <a:lnTo>
                    <a:pt x="194" y="132"/>
                  </a:lnTo>
                  <a:lnTo>
                    <a:pt x="197" y="117"/>
                  </a:lnTo>
                  <a:lnTo>
                    <a:pt x="200" y="103"/>
                  </a:lnTo>
                  <a:lnTo>
                    <a:pt x="205" y="89"/>
                  </a:lnTo>
                  <a:lnTo>
                    <a:pt x="212" y="76"/>
                  </a:lnTo>
                  <a:lnTo>
                    <a:pt x="219" y="65"/>
                  </a:lnTo>
                  <a:lnTo>
                    <a:pt x="227" y="53"/>
                  </a:lnTo>
                  <a:lnTo>
                    <a:pt x="236" y="43"/>
                  </a:lnTo>
                  <a:lnTo>
                    <a:pt x="246" y="34"/>
                  </a:lnTo>
                  <a:lnTo>
                    <a:pt x="258" y="24"/>
                  </a:lnTo>
                  <a:lnTo>
                    <a:pt x="270" y="18"/>
                  </a:lnTo>
                  <a:lnTo>
                    <a:pt x="283" y="12"/>
                  </a:lnTo>
                  <a:lnTo>
                    <a:pt x="296" y="6"/>
                  </a:lnTo>
                  <a:lnTo>
                    <a:pt x="311" y="3"/>
                  </a:lnTo>
                  <a:lnTo>
                    <a:pt x="324" y="0"/>
                  </a:lnTo>
                  <a:lnTo>
                    <a:pt x="339" y="0"/>
                  </a:lnTo>
                  <a:lnTo>
                    <a:pt x="339" y="0"/>
                  </a:lnTo>
                  <a:lnTo>
                    <a:pt x="354" y="0"/>
                  </a:lnTo>
                  <a:lnTo>
                    <a:pt x="369" y="3"/>
                  </a:lnTo>
                  <a:lnTo>
                    <a:pt x="383" y="6"/>
                  </a:lnTo>
                  <a:lnTo>
                    <a:pt x="397" y="12"/>
                  </a:lnTo>
                  <a:lnTo>
                    <a:pt x="410" y="18"/>
                  </a:lnTo>
                  <a:lnTo>
                    <a:pt x="421" y="24"/>
                  </a:lnTo>
                  <a:lnTo>
                    <a:pt x="433" y="34"/>
                  </a:lnTo>
                  <a:lnTo>
                    <a:pt x="443" y="43"/>
                  </a:lnTo>
                  <a:lnTo>
                    <a:pt x="452" y="53"/>
                  </a:lnTo>
                  <a:lnTo>
                    <a:pt x="462" y="65"/>
                  </a:lnTo>
                  <a:lnTo>
                    <a:pt x="468" y="76"/>
                  </a:lnTo>
                  <a:lnTo>
                    <a:pt x="474" y="89"/>
                  </a:lnTo>
                  <a:lnTo>
                    <a:pt x="480" y="103"/>
                  </a:lnTo>
                  <a:lnTo>
                    <a:pt x="483" y="117"/>
                  </a:lnTo>
                  <a:lnTo>
                    <a:pt x="486" y="132"/>
                  </a:lnTo>
                  <a:lnTo>
                    <a:pt x="486" y="147"/>
                  </a:lnTo>
                  <a:lnTo>
                    <a:pt x="486" y="147"/>
                  </a:lnTo>
                  <a:lnTo>
                    <a:pt x="486" y="162"/>
                  </a:lnTo>
                  <a:lnTo>
                    <a:pt x="483" y="175"/>
                  </a:lnTo>
                  <a:lnTo>
                    <a:pt x="480" y="189"/>
                  </a:lnTo>
                  <a:lnTo>
                    <a:pt x="474" y="203"/>
                  </a:lnTo>
                  <a:lnTo>
                    <a:pt x="468" y="216"/>
                  </a:lnTo>
                  <a:lnTo>
                    <a:pt x="462" y="228"/>
                  </a:lnTo>
                  <a:lnTo>
                    <a:pt x="452" y="239"/>
                  </a:lnTo>
                  <a:lnTo>
                    <a:pt x="443" y="249"/>
                  </a:lnTo>
                  <a:lnTo>
                    <a:pt x="433" y="260"/>
                  </a:lnTo>
                  <a:lnTo>
                    <a:pt x="421" y="268"/>
                  </a:lnTo>
                  <a:lnTo>
                    <a:pt x="410" y="275"/>
                  </a:lnTo>
                  <a:lnTo>
                    <a:pt x="397" y="281"/>
                  </a:lnTo>
                  <a:lnTo>
                    <a:pt x="383" y="286"/>
                  </a:lnTo>
                  <a:lnTo>
                    <a:pt x="369" y="290"/>
                  </a:lnTo>
                  <a:lnTo>
                    <a:pt x="354" y="292"/>
                  </a:lnTo>
                  <a:lnTo>
                    <a:pt x="339" y="293"/>
                  </a:lnTo>
                  <a:lnTo>
                    <a:pt x="339" y="293"/>
                  </a:lnTo>
                  <a:lnTo>
                    <a:pt x="326" y="292"/>
                  </a:lnTo>
                  <a:lnTo>
                    <a:pt x="312" y="290"/>
                  </a:lnTo>
                  <a:lnTo>
                    <a:pt x="299" y="287"/>
                  </a:lnTo>
                  <a:lnTo>
                    <a:pt x="286" y="283"/>
                  </a:lnTo>
                  <a:lnTo>
                    <a:pt x="275" y="277"/>
                  </a:lnTo>
                  <a:lnTo>
                    <a:pt x="263" y="271"/>
                  </a:lnTo>
                  <a:lnTo>
                    <a:pt x="252" y="263"/>
                  </a:lnTo>
                  <a:lnTo>
                    <a:pt x="243" y="255"/>
                  </a:lnTo>
                  <a:lnTo>
                    <a:pt x="64" y="358"/>
                  </a:lnTo>
                  <a:lnTo>
                    <a:pt x="0" y="279"/>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6" name="Freeform 36">
              <a:extLst>
                <a:ext uri="{FF2B5EF4-FFF2-40B4-BE49-F238E27FC236}">
                  <a16:creationId xmlns:a16="http://schemas.microsoft.com/office/drawing/2014/main" id="{B886265B-A33B-4529-B3B6-A1B5AFC9BF8F}"/>
                </a:ext>
              </a:extLst>
            </p:cNvPr>
            <p:cNvSpPr>
              <a:spLocks/>
            </p:cNvSpPr>
            <p:nvPr/>
          </p:nvSpPr>
          <p:spPr bwMode="auto">
            <a:xfrm>
              <a:off x="7134226" y="4062413"/>
              <a:ext cx="153988" cy="112713"/>
            </a:xfrm>
            <a:custGeom>
              <a:avLst/>
              <a:gdLst>
                <a:gd name="T0" fmla="*/ 196 w 486"/>
                <a:gd name="T1" fmla="*/ 166 h 358"/>
                <a:gd name="T2" fmla="*/ 194 w 486"/>
                <a:gd name="T3" fmla="*/ 156 h 358"/>
                <a:gd name="T4" fmla="*/ 193 w 486"/>
                <a:gd name="T5" fmla="*/ 147 h 358"/>
                <a:gd name="T6" fmla="*/ 197 w 486"/>
                <a:gd name="T7" fmla="*/ 117 h 358"/>
                <a:gd name="T8" fmla="*/ 205 w 486"/>
                <a:gd name="T9" fmla="*/ 89 h 358"/>
                <a:gd name="T10" fmla="*/ 219 w 486"/>
                <a:gd name="T11" fmla="*/ 65 h 358"/>
                <a:gd name="T12" fmla="*/ 236 w 486"/>
                <a:gd name="T13" fmla="*/ 43 h 358"/>
                <a:gd name="T14" fmla="*/ 258 w 486"/>
                <a:gd name="T15" fmla="*/ 24 h 358"/>
                <a:gd name="T16" fmla="*/ 283 w 486"/>
                <a:gd name="T17" fmla="*/ 12 h 358"/>
                <a:gd name="T18" fmla="*/ 311 w 486"/>
                <a:gd name="T19" fmla="*/ 3 h 358"/>
                <a:gd name="T20" fmla="*/ 339 w 486"/>
                <a:gd name="T21" fmla="*/ 0 h 358"/>
                <a:gd name="T22" fmla="*/ 354 w 486"/>
                <a:gd name="T23" fmla="*/ 0 h 358"/>
                <a:gd name="T24" fmla="*/ 383 w 486"/>
                <a:gd name="T25" fmla="*/ 6 h 358"/>
                <a:gd name="T26" fmla="*/ 410 w 486"/>
                <a:gd name="T27" fmla="*/ 18 h 358"/>
                <a:gd name="T28" fmla="*/ 433 w 486"/>
                <a:gd name="T29" fmla="*/ 34 h 358"/>
                <a:gd name="T30" fmla="*/ 452 w 486"/>
                <a:gd name="T31" fmla="*/ 53 h 358"/>
                <a:gd name="T32" fmla="*/ 468 w 486"/>
                <a:gd name="T33" fmla="*/ 76 h 358"/>
                <a:gd name="T34" fmla="*/ 480 w 486"/>
                <a:gd name="T35" fmla="*/ 103 h 358"/>
                <a:gd name="T36" fmla="*/ 486 w 486"/>
                <a:gd name="T37" fmla="*/ 132 h 358"/>
                <a:gd name="T38" fmla="*/ 486 w 486"/>
                <a:gd name="T39" fmla="*/ 147 h 358"/>
                <a:gd name="T40" fmla="*/ 483 w 486"/>
                <a:gd name="T41" fmla="*/ 175 h 358"/>
                <a:gd name="T42" fmla="*/ 474 w 486"/>
                <a:gd name="T43" fmla="*/ 203 h 358"/>
                <a:gd name="T44" fmla="*/ 462 w 486"/>
                <a:gd name="T45" fmla="*/ 228 h 358"/>
                <a:gd name="T46" fmla="*/ 443 w 486"/>
                <a:gd name="T47" fmla="*/ 249 h 358"/>
                <a:gd name="T48" fmla="*/ 421 w 486"/>
                <a:gd name="T49" fmla="*/ 268 h 358"/>
                <a:gd name="T50" fmla="*/ 397 w 486"/>
                <a:gd name="T51" fmla="*/ 281 h 358"/>
                <a:gd name="T52" fmla="*/ 369 w 486"/>
                <a:gd name="T53" fmla="*/ 290 h 358"/>
                <a:gd name="T54" fmla="*/ 339 w 486"/>
                <a:gd name="T55" fmla="*/ 293 h 358"/>
                <a:gd name="T56" fmla="*/ 326 w 486"/>
                <a:gd name="T57" fmla="*/ 292 h 358"/>
                <a:gd name="T58" fmla="*/ 299 w 486"/>
                <a:gd name="T59" fmla="*/ 287 h 358"/>
                <a:gd name="T60" fmla="*/ 275 w 486"/>
                <a:gd name="T61" fmla="*/ 277 h 358"/>
                <a:gd name="T62" fmla="*/ 252 w 486"/>
                <a:gd name="T63" fmla="*/ 263 h 358"/>
                <a:gd name="T64" fmla="*/ 64 w 486"/>
                <a:gd name="T65"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0" y="279"/>
                  </a:moveTo>
                  <a:lnTo>
                    <a:pt x="196" y="166"/>
                  </a:lnTo>
                  <a:lnTo>
                    <a:pt x="196" y="166"/>
                  </a:lnTo>
                  <a:lnTo>
                    <a:pt x="194" y="156"/>
                  </a:lnTo>
                  <a:lnTo>
                    <a:pt x="193" y="147"/>
                  </a:lnTo>
                  <a:lnTo>
                    <a:pt x="193" y="147"/>
                  </a:lnTo>
                  <a:lnTo>
                    <a:pt x="194" y="132"/>
                  </a:lnTo>
                  <a:lnTo>
                    <a:pt x="197" y="117"/>
                  </a:lnTo>
                  <a:lnTo>
                    <a:pt x="200" y="103"/>
                  </a:lnTo>
                  <a:lnTo>
                    <a:pt x="205" y="89"/>
                  </a:lnTo>
                  <a:lnTo>
                    <a:pt x="212" y="76"/>
                  </a:lnTo>
                  <a:lnTo>
                    <a:pt x="219" y="65"/>
                  </a:lnTo>
                  <a:lnTo>
                    <a:pt x="227" y="53"/>
                  </a:lnTo>
                  <a:lnTo>
                    <a:pt x="236" y="43"/>
                  </a:lnTo>
                  <a:lnTo>
                    <a:pt x="246" y="34"/>
                  </a:lnTo>
                  <a:lnTo>
                    <a:pt x="258" y="24"/>
                  </a:lnTo>
                  <a:lnTo>
                    <a:pt x="270" y="18"/>
                  </a:lnTo>
                  <a:lnTo>
                    <a:pt x="283" y="12"/>
                  </a:lnTo>
                  <a:lnTo>
                    <a:pt x="296" y="6"/>
                  </a:lnTo>
                  <a:lnTo>
                    <a:pt x="311" y="3"/>
                  </a:lnTo>
                  <a:lnTo>
                    <a:pt x="324" y="0"/>
                  </a:lnTo>
                  <a:lnTo>
                    <a:pt x="339" y="0"/>
                  </a:lnTo>
                  <a:lnTo>
                    <a:pt x="339" y="0"/>
                  </a:lnTo>
                  <a:lnTo>
                    <a:pt x="354" y="0"/>
                  </a:lnTo>
                  <a:lnTo>
                    <a:pt x="369" y="3"/>
                  </a:lnTo>
                  <a:lnTo>
                    <a:pt x="383" y="6"/>
                  </a:lnTo>
                  <a:lnTo>
                    <a:pt x="397" y="12"/>
                  </a:lnTo>
                  <a:lnTo>
                    <a:pt x="410" y="18"/>
                  </a:lnTo>
                  <a:lnTo>
                    <a:pt x="421" y="24"/>
                  </a:lnTo>
                  <a:lnTo>
                    <a:pt x="433" y="34"/>
                  </a:lnTo>
                  <a:lnTo>
                    <a:pt x="443" y="43"/>
                  </a:lnTo>
                  <a:lnTo>
                    <a:pt x="452" y="53"/>
                  </a:lnTo>
                  <a:lnTo>
                    <a:pt x="462" y="65"/>
                  </a:lnTo>
                  <a:lnTo>
                    <a:pt x="468" y="76"/>
                  </a:lnTo>
                  <a:lnTo>
                    <a:pt x="474" y="89"/>
                  </a:lnTo>
                  <a:lnTo>
                    <a:pt x="480" y="103"/>
                  </a:lnTo>
                  <a:lnTo>
                    <a:pt x="483" y="117"/>
                  </a:lnTo>
                  <a:lnTo>
                    <a:pt x="486" y="132"/>
                  </a:lnTo>
                  <a:lnTo>
                    <a:pt x="486" y="147"/>
                  </a:lnTo>
                  <a:lnTo>
                    <a:pt x="486" y="147"/>
                  </a:lnTo>
                  <a:lnTo>
                    <a:pt x="486" y="162"/>
                  </a:lnTo>
                  <a:lnTo>
                    <a:pt x="483" y="175"/>
                  </a:lnTo>
                  <a:lnTo>
                    <a:pt x="480" y="189"/>
                  </a:lnTo>
                  <a:lnTo>
                    <a:pt x="474" y="203"/>
                  </a:lnTo>
                  <a:lnTo>
                    <a:pt x="468" y="216"/>
                  </a:lnTo>
                  <a:lnTo>
                    <a:pt x="462" y="228"/>
                  </a:lnTo>
                  <a:lnTo>
                    <a:pt x="452" y="239"/>
                  </a:lnTo>
                  <a:lnTo>
                    <a:pt x="443" y="249"/>
                  </a:lnTo>
                  <a:lnTo>
                    <a:pt x="433" y="260"/>
                  </a:lnTo>
                  <a:lnTo>
                    <a:pt x="421" y="268"/>
                  </a:lnTo>
                  <a:lnTo>
                    <a:pt x="410" y="275"/>
                  </a:lnTo>
                  <a:lnTo>
                    <a:pt x="397" y="281"/>
                  </a:lnTo>
                  <a:lnTo>
                    <a:pt x="383" y="286"/>
                  </a:lnTo>
                  <a:lnTo>
                    <a:pt x="369" y="290"/>
                  </a:lnTo>
                  <a:lnTo>
                    <a:pt x="354" y="292"/>
                  </a:lnTo>
                  <a:lnTo>
                    <a:pt x="339" y="293"/>
                  </a:lnTo>
                  <a:lnTo>
                    <a:pt x="339" y="293"/>
                  </a:lnTo>
                  <a:lnTo>
                    <a:pt x="326" y="292"/>
                  </a:lnTo>
                  <a:lnTo>
                    <a:pt x="312" y="290"/>
                  </a:lnTo>
                  <a:lnTo>
                    <a:pt x="299" y="287"/>
                  </a:lnTo>
                  <a:lnTo>
                    <a:pt x="286" y="283"/>
                  </a:lnTo>
                  <a:lnTo>
                    <a:pt x="275" y="277"/>
                  </a:lnTo>
                  <a:lnTo>
                    <a:pt x="263" y="271"/>
                  </a:lnTo>
                  <a:lnTo>
                    <a:pt x="252" y="263"/>
                  </a:lnTo>
                  <a:lnTo>
                    <a:pt x="243" y="255"/>
                  </a:lnTo>
                  <a:lnTo>
                    <a:pt x="64" y="35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7" name="Freeform 37">
              <a:extLst>
                <a:ext uri="{FF2B5EF4-FFF2-40B4-BE49-F238E27FC236}">
                  <a16:creationId xmlns:a16="http://schemas.microsoft.com/office/drawing/2014/main" id="{C5C27A65-C580-494A-A60D-9F00CCFCEBAD}"/>
                </a:ext>
              </a:extLst>
            </p:cNvPr>
            <p:cNvSpPr>
              <a:spLocks/>
            </p:cNvSpPr>
            <p:nvPr/>
          </p:nvSpPr>
          <p:spPr bwMode="auto">
            <a:xfrm>
              <a:off x="6362701" y="4456113"/>
              <a:ext cx="153988" cy="112713"/>
            </a:xfrm>
            <a:custGeom>
              <a:avLst/>
              <a:gdLst>
                <a:gd name="T0" fmla="*/ 291 w 486"/>
                <a:gd name="T1" fmla="*/ 192 h 358"/>
                <a:gd name="T2" fmla="*/ 293 w 486"/>
                <a:gd name="T3" fmla="*/ 202 h 358"/>
                <a:gd name="T4" fmla="*/ 293 w 486"/>
                <a:gd name="T5" fmla="*/ 212 h 358"/>
                <a:gd name="T6" fmla="*/ 290 w 486"/>
                <a:gd name="T7" fmla="*/ 242 h 358"/>
                <a:gd name="T8" fmla="*/ 281 w 486"/>
                <a:gd name="T9" fmla="*/ 269 h 358"/>
                <a:gd name="T10" fmla="*/ 268 w 486"/>
                <a:gd name="T11" fmla="*/ 294 h 358"/>
                <a:gd name="T12" fmla="*/ 250 w 486"/>
                <a:gd name="T13" fmla="*/ 315 h 358"/>
                <a:gd name="T14" fmla="*/ 228 w 486"/>
                <a:gd name="T15" fmla="*/ 334 h 358"/>
                <a:gd name="T16" fmla="*/ 204 w 486"/>
                <a:gd name="T17" fmla="*/ 347 h 358"/>
                <a:gd name="T18" fmla="*/ 176 w 486"/>
                <a:gd name="T19" fmla="*/ 356 h 358"/>
                <a:gd name="T20" fmla="*/ 146 w 486"/>
                <a:gd name="T21" fmla="*/ 358 h 358"/>
                <a:gd name="T22" fmla="*/ 131 w 486"/>
                <a:gd name="T23" fmla="*/ 358 h 358"/>
                <a:gd name="T24" fmla="*/ 103 w 486"/>
                <a:gd name="T25" fmla="*/ 352 h 358"/>
                <a:gd name="T26" fmla="*/ 77 w 486"/>
                <a:gd name="T27" fmla="*/ 341 h 358"/>
                <a:gd name="T28" fmla="*/ 53 w 486"/>
                <a:gd name="T29" fmla="*/ 325 h 358"/>
                <a:gd name="T30" fmla="*/ 33 w 486"/>
                <a:gd name="T31" fmla="*/ 305 h 358"/>
                <a:gd name="T32" fmla="*/ 17 w 486"/>
                <a:gd name="T33" fmla="*/ 282 h 358"/>
                <a:gd name="T34" fmla="*/ 7 w 486"/>
                <a:gd name="T35" fmla="*/ 255 h 358"/>
                <a:gd name="T36" fmla="*/ 1 w 486"/>
                <a:gd name="T37" fmla="*/ 227 h 358"/>
                <a:gd name="T38" fmla="*/ 0 w 486"/>
                <a:gd name="T39" fmla="*/ 212 h 358"/>
                <a:gd name="T40" fmla="*/ 4 w 486"/>
                <a:gd name="T41" fmla="*/ 183 h 358"/>
                <a:gd name="T42" fmla="*/ 12 w 486"/>
                <a:gd name="T43" fmla="*/ 155 h 358"/>
                <a:gd name="T44" fmla="*/ 25 w 486"/>
                <a:gd name="T45" fmla="*/ 130 h 358"/>
                <a:gd name="T46" fmla="*/ 43 w 486"/>
                <a:gd name="T47" fmla="*/ 108 h 358"/>
                <a:gd name="T48" fmla="*/ 65 w 486"/>
                <a:gd name="T49" fmla="*/ 91 h 358"/>
                <a:gd name="T50" fmla="*/ 90 w 486"/>
                <a:gd name="T51" fmla="*/ 77 h 358"/>
                <a:gd name="T52" fmla="*/ 118 w 486"/>
                <a:gd name="T53" fmla="*/ 69 h 358"/>
                <a:gd name="T54" fmla="*/ 146 w 486"/>
                <a:gd name="T55" fmla="*/ 65 h 358"/>
                <a:gd name="T56" fmla="*/ 160 w 486"/>
                <a:gd name="T57" fmla="*/ 66 h 358"/>
                <a:gd name="T58" fmla="*/ 187 w 486"/>
                <a:gd name="T59" fmla="*/ 71 h 358"/>
                <a:gd name="T60" fmla="*/ 212 w 486"/>
                <a:gd name="T61" fmla="*/ 81 h 358"/>
                <a:gd name="T62" fmla="*/ 234 w 486"/>
                <a:gd name="T63" fmla="*/ 95 h 358"/>
                <a:gd name="T64" fmla="*/ 423 w 486"/>
                <a:gd name="T6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486" y="79"/>
                  </a:moveTo>
                  <a:lnTo>
                    <a:pt x="291" y="192"/>
                  </a:lnTo>
                  <a:lnTo>
                    <a:pt x="291" y="192"/>
                  </a:lnTo>
                  <a:lnTo>
                    <a:pt x="293" y="202"/>
                  </a:lnTo>
                  <a:lnTo>
                    <a:pt x="293" y="212"/>
                  </a:lnTo>
                  <a:lnTo>
                    <a:pt x="293" y="212"/>
                  </a:lnTo>
                  <a:lnTo>
                    <a:pt x="293" y="227"/>
                  </a:lnTo>
                  <a:lnTo>
                    <a:pt x="290" y="242"/>
                  </a:lnTo>
                  <a:lnTo>
                    <a:pt x="287" y="255"/>
                  </a:lnTo>
                  <a:lnTo>
                    <a:pt x="281" y="269"/>
                  </a:lnTo>
                  <a:lnTo>
                    <a:pt x="275" y="282"/>
                  </a:lnTo>
                  <a:lnTo>
                    <a:pt x="268" y="294"/>
                  </a:lnTo>
                  <a:lnTo>
                    <a:pt x="259" y="305"/>
                  </a:lnTo>
                  <a:lnTo>
                    <a:pt x="250" y="315"/>
                  </a:lnTo>
                  <a:lnTo>
                    <a:pt x="240" y="325"/>
                  </a:lnTo>
                  <a:lnTo>
                    <a:pt x="228" y="334"/>
                  </a:lnTo>
                  <a:lnTo>
                    <a:pt x="217" y="341"/>
                  </a:lnTo>
                  <a:lnTo>
                    <a:pt x="204" y="347"/>
                  </a:lnTo>
                  <a:lnTo>
                    <a:pt x="190" y="352"/>
                  </a:lnTo>
                  <a:lnTo>
                    <a:pt x="176" y="356"/>
                  </a:lnTo>
                  <a:lnTo>
                    <a:pt x="161" y="358"/>
                  </a:lnTo>
                  <a:lnTo>
                    <a:pt x="146" y="358"/>
                  </a:lnTo>
                  <a:lnTo>
                    <a:pt x="146" y="358"/>
                  </a:lnTo>
                  <a:lnTo>
                    <a:pt x="131" y="358"/>
                  </a:lnTo>
                  <a:lnTo>
                    <a:pt x="118" y="356"/>
                  </a:lnTo>
                  <a:lnTo>
                    <a:pt x="103" y="352"/>
                  </a:lnTo>
                  <a:lnTo>
                    <a:pt x="90" y="347"/>
                  </a:lnTo>
                  <a:lnTo>
                    <a:pt x="77" y="341"/>
                  </a:lnTo>
                  <a:lnTo>
                    <a:pt x="65" y="334"/>
                  </a:lnTo>
                  <a:lnTo>
                    <a:pt x="53" y="325"/>
                  </a:lnTo>
                  <a:lnTo>
                    <a:pt x="43" y="315"/>
                  </a:lnTo>
                  <a:lnTo>
                    <a:pt x="33" y="305"/>
                  </a:lnTo>
                  <a:lnTo>
                    <a:pt x="25" y="294"/>
                  </a:lnTo>
                  <a:lnTo>
                    <a:pt x="17" y="282"/>
                  </a:lnTo>
                  <a:lnTo>
                    <a:pt x="12" y="269"/>
                  </a:lnTo>
                  <a:lnTo>
                    <a:pt x="7" y="255"/>
                  </a:lnTo>
                  <a:lnTo>
                    <a:pt x="4" y="242"/>
                  </a:lnTo>
                  <a:lnTo>
                    <a:pt x="1" y="227"/>
                  </a:lnTo>
                  <a:lnTo>
                    <a:pt x="0" y="212"/>
                  </a:lnTo>
                  <a:lnTo>
                    <a:pt x="0" y="212"/>
                  </a:lnTo>
                  <a:lnTo>
                    <a:pt x="1" y="197"/>
                  </a:lnTo>
                  <a:lnTo>
                    <a:pt x="4" y="183"/>
                  </a:lnTo>
                  <a:lnTo>
                    <a:pt x="7" y="168"/>
                  </a:lnTo>
                  <a:lnTo>
                    <a:pt x="12" y="155"/>
                  </a:lnTo>
                  <a:lnTo>
                    <a:pt x="17" y="143"/>
                  </a:lnTo>
                  <a:lnTo>
                    <a:pt x="25" y="130"/>
                  </a:lnTo>
                  <a:lnTo>
                    <a:pt x="33" y="118"/>
                  </a:lnTo>
                  <a:lnTo>
                    <a:pt x="43" y="108"/>
                  </a:lnTo>
                  <a:lnTo>
                    <a:pt x="53" y="99"/>
                  </a:lnTo>
                  <a:lnTo>
                    <a:pt x="65" y="91"/>
                  </a:lnTo>
                  <a:lnTo>
                    <a:pt x="77" y="84"/>
                  </a:lnTo>
                  <a:lnTo>
                    <a:pt x="90" y="77"/>
                  </a:lnTo>
                  <a:lnTo>
                    <a:pt x="103" y="72"/>
                  </a:lnTo>
                  <a:lnTo>
                    <a:pt x="118" y="69"/>
                  </a:lnTo>
                  <a:lnTo>
                    <a:pt x="131" y="66"/>
                  </a:lnTo>
                  <a:lnTo>
                    <a:pt x="146" y="65"/>
                  </a:lnTo>
                  <a:lnTo>
                    <a:pt x="146" y="65"/>
                  </a:lnTo>
                  <a:lnTo>
                    <a:pt x="160" y="66"/>
                  </a:lnTo>
                  <a:lnTo>
                    <a:pt x="174" y="68"/>
                  </a:lnTo>
                  <a:lnTo>
                    <a:pt x="187" y="71"/>
                  </a:lnTo>
                  <a:lnTo>
                    <a:pt x="199" y="76"/>
                  </a:lnTo>
                  <a:lnTo>
                    <a:pt x="212" y="81"/>
                  </a:lnTo>
                  <a:lnTo>
                    <a:pt x="223" y="87"/>
                  </a:lnTo>
                  <a:lnTo>
                    <a:pt x="234" y="95"/>
                  </a:lnTo>
                  <a:lnTo>
                    <a:pt x="244" y="103"/>
                  </a:lnTo>
                  <a:lnTo>
                    <a:pt x="423" y="0"/>
                  </a:lnTo>
                  <a:lnTo>
                    <a:pt x="486" y="79"/>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8" name="Freeform 38">
              <a:extLst>
                <a:ext uri="{FF2B5EF4-FFF2-40B4-BE49-F238E27FC236}">
                  <a16:creationId xmlns:a16="http://schemas.microsoft.com/office/drawing/2014/main" id="{1AC6A642-8D0B-4EC5-A33D-618E3829A9FC}"/>
                </a:ext>
              </a:extLst>
            </p:cNvPr>
            <p:cNvSpPr>
              <a:spLocks/>
            </p:cNvSpPr>
            <p:nvPr/>
          </p:nvSpPr>
          <p:spPr bwMode="auto">
            <a:xfrm>
              <a:off x="6362701" y="4456113"/>
              <a:ext cx="153988" cy="112713"/>
            </a:xfrm>
            <a:custGeom>
              <a:avLst/>
              <a:gdLst>
                <a:gd name="T0" fmla="*/ 291 w 486"/>
                <a:gd name="T1" fmla="*/ 192 h 358"/>
                <a:gd name="T2" fmla="*/ 293 w 486"/>
                <a:gd name="T3" fmla="*/ 202 h 358"/>
                <a:gd name="T4" fmla="*/ 293 w 486"/>
                <a:gd name="T5" fmla="*/ 212 h 358"/>
                <a:gd name="T6" fmla="*/ 290 w 486"/>
                <a:gd name="T7" fmla="*/ 242 h 358"/>
                <a:gd name="T8" fmla="*/ 281 w 486"/>
                <a:gd name="T9" fmla="*/ 269 h 358"/>
                <a:gd name="T10" fmla="*/ 268 w 486"/>
                <a:gd name="T11" fmla="*/ 294 h 358"/>
                <a:gd name="T12" fmla="*/ 250 w 486"/>
                <a:gd name="T13" fmla="*/ 315 h 358"/>
                <a:gd name="T14" fmla="*/ 228 w 486"/>
                <a:gd name="T15" fmla="*/ 334 h 358"/>
                <a:gd name="T16" fmla="*/ 204 w 486"/>
                <a:gd name="T17" fmla="*/ 347 h 358"/>
                <a:gd name="T18" fmla="*/ 176 w 486"/>
                <a:gd name="T19" fmla="*/ 356 h 358"/>
                <a:gd name="T20" fmla="*/ 146 w 486"/>
                <a:gd name="T21" fmla="*/ 358 h 358"/>
                <a:gd name="T22" fmla="*/ 131 w 486"/>
                <a:gd name="T23" fmla="*/ 358 h 358"/>
                <a:gd name="T24" fmla="*/ 103 w 486"/>
                <a:gd name="T25" fmla="*/ 352 h 358"/>
                <a:gd name="T26" fmla="*/ 77 w 486"/>
                <a:gd name="T27" fmla="*/ 341 h 358"/>
                <a:gd name="T28" fmla="*/ 53 w 486"/>
                <a:gd name="T29" fmla="*/ 325 h 358"/>
                <a:gd name="T30" fmla="*/ 33 w 486"/>
                <a:gd name="T31" fmla="*/ 305 h 358"/>
                <a:gd name="T32" fmla="*/ 17 w 486"/>
                <a:gd name="T33" fmla="*/ 282 h 358"/>
                <a:gd name="T34" fmla="*/ 7 w 486"/>
                <a:gd name="T35" fmla="*/ 255 h 358"/>
                <a:gd name="T36" fmla="*/ 1 w 486"/>
                <a:gd name="T37" fmla="*/ 227 h 358"/>
                <a:gd name="T38" fmla="*/ 0 w 486"/>
                <a:gd name="T39" fmla="*/ 212 h 358"/>
                <a:gd name="T40" fmla="*/ 4 w 486"/>
                <a:gd name="T41" fmla="*/ 183 h 358"/>
                <a:gd name="T42" fmla="*/ 12 w 486"/>
                <a:gd name="T43" fmla="*/ 155 h 358"/>
                <a:gd name="T44" fmla="*/ 25 w 486"/>
                <a:gd name="T45" fmla="*/ 130 h 358"/>
                <a:gd name="T46" fmla="*/ 43 w 486"/>
                <a:gd name="T47" fmla="*/ 108 h 358"/>
                <a:gd name="T48" fmla="*/ 65 w 486"/>
                <a:gd name="T49" fmla="*/ 91 h 358"/>
                <a:gd name="T50" fmla="*/ 90 w 486"/>
                <a:gd name="T51" fmla="*/ 77 h 358"/>
                <a:gd name="T52" fmla="*/ 118 w 486"/>
                <a:gd name="T53" fmla="*/ 69 h 358"/>
                <a:gd name="T54" fmla="*/ 146 w 486"/>
                <a:gd name="T55" fmla="*/ 65 h 358"/>
                <a:gd name="T56" fmla="*/ 160 w 486"/>
                <a:gd name="T57" fmla="*/ 66 h 358"/>
                <a:gd name="T58" fmla="*/ 187 w 486"/>
                <a:gd name="T59" fmla="*/ 71 h 358"/>
                <a:gd name="T60" fmla="*/ 212 w 486"/>
                <a:gd name="T61" fmla="*/ 81 h 358"/>
                <a:gd name="T62" fmla="*/ 234 w 486"/>
                <a:gd name="T63" fmla="*/ 95 h 358"/>
                <a:gd name="T64" fmla="*/ 423 w 486"/>
                <a:gd name="T6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486" y="79"/>
                  </a:moveTo>
                  <a:lnTo>
                    <a:pt x="291" y="192"/>
                  </a:lnTo>
                  <a:lnTo>
                    <a:pt x="291" y="192"/>
                  </a:lnTo>
                  <a:lnTo>
                    <a:pt x="293" y="202"/>
                  </a:lnTo>
                  <a:lnTo>
                    <a:pt x="293" y="212"/>
                  </a:lnTo>
                  <a:lnTo>
                    <a:pt x="293" y="212"/>
                  </a:lnTo>
                  <a:lnTo>
                    <a:pt x="293" y="227"/>
                  </a:lnTo>
                  <a:lnTo>
                    <a:pt x="290" y="242"/>
                  </a:lnTo>
                  <a:lnTo>
                    <a:pt x="287" y="255"/>
                  </a:lnTo>
                  <a:lnTo>
                    <a:pt x="281" y="269"/>
                  </a:lnTo>
                  <a:lnTo>
                    <a:pt x="275" y="282"/>
                  </a:lnTo>
                  <a:lnTo>
                    <a:pt x="268" y="294"/>
                  </a:lnTo>
                  <a:lnTo>
                    <a:pt x="259" y="305"/>
                  </a:lnTo>
                  <a:lnTo>
                    <a:pt x="250" y="315"/>
                  </a:lnTo>
                  <a:lnTo>
                    <a:pt x="240" y="325"/>
                  </a:lnTo>
                  <a:lnTo>
                    <a:pt x="228" y="334"/>
                  </a:lnTo>
                  <a:lnTo>
                    <a:pt x="217" y="341"/>
                  </a:lnTo>
                  <a:lnTo>
                    <a:pt x="204" y="347"/>
                  </a:lnTo>
                  <a:lnTo>
                    <a:pt x="190" y="352"/>
                  </a:lnTo>
                  <a:lnTo>
                    <a:pt x="176" y="356"/>
                  </a:lnTo>
                  <a:lnTo>
                    <a:pt x="161" y="358"/>
                  </a:lnTo>
                  <a:lnTo>
                    <a:pt x="146" y="358"/>
                  </a:lnTo>
                  <a:lnTo>
                    <a:pt x="146" y="358"/>
                  </a:lnTo>
                  <a:lnTo>
                    <a:pt x="131" y="358"/>
                  </a:lnTo>
                  <a:lnTo>
                    <a:pt x="118" y="356"/>
                  </a:lnTo>
                  <a:lnTo>
                    <a:pt x="103" y="352"/>
                  </a:lnTo>
                  <a:lnTo>
                    <a:pt x="90" y="347"/>
                  </a:lnTo>
                  <a:lnTo>
                    <a:pt x="77" y="341"/>
                  </a:lnTo>
                  <a:lnTo>
                    <a:pt x="65" y="334"/>
                  </a:lnTo>
                  <a:lnTo>
                    <a:pt x="53" y="325"/>
                  </a:lnTo>
                  <a:lnTo>
                    <a:pt x="43" y="315"/>
                  </a:lnTo>
                  <a:lnTo>
                    <a:pt x="33" y="305"/>
                  </a:lnTo>
                  <a:lnTo>
                    <a:pt x="25" y="294"/>
                  </a:lnTo>
                  <a:lnTo>
                    <a:pt x="17" y="282"/>
                  </a:lnTo>
                  <a:lnTo>
                    <a:pt x="12" y="269"/>
                  </a:lnTo>
                  <a:lnTo>
                    <a:pt x="7" y="255"/>
                  </a:lnTo>
                  <a:lnTo>
                    <a:pt x="4" y="242"/>
                  </a:lnTo>
                  <a:lnTo>
                    <a:pt x="1" y="227"/>
                  </a:lnTo>
                  <a:lnTo>
                    <a:pt x="0" y="212"/>
                  </a:lnTo>
                  <a:lnTo>
                    <a:pt x="0" y="212"/>
                  </a:lnTo>
                  <a:lnTo>
                    <a:pt x="1" y="197"/>
                  </a:lnTo>
                  <a:lnTo>
                    <a:pt x="4" y="183"/>
                  </a:lnTo>
                  <a:lnTo>
                    <a:pt x="7" y="168"/>
                  </a:lnTo>
                  <a:lnTo>
                    <a:pt x="12" y="155"/>
                  </a:lnTo>
                  <a:lnTo>
                    <a:pt x="17" y="143"/>
                  </a:lnTo>
                  <a:lnTo>
                    <a:pt x="25" y="130"/>
                  </a:lnTo>
                  <a:lnTo>
                    <a:pt x="33" y="118"/>
                  </a:lnTo>
                  <a:lnTo>
                    <a:pt x="43" y="108"/>
                  </a:lnTo>
                  <a:lnTo>
                    <a:pt x="53" y="99"/>
                  </a:lnTo>
                  <a:lnTo>
                    <a:pt x="65" y="91"/>
                  </a:lnTo>
                  <a:lnTo>
                    <a:pt x="77" y="84"/>
                  </a:lnTo>
                  <a:lnTo>
                    <a:pt x="90" y="77"/>
                  </a:lnTo>
                  <a:lnTo>
                    <a:pt x="103" y="72"/>
                  </a:lnTo>
                  <a:lnTo>
                    <a:pt x="118" y="69"/>
                  </a:lnTo>
                  <a:lnTo>
                    <a:pt x="131" y="66"/>
                  </a:lnTo>
                  <a:lnTo>
                    <a:pt x="146" y="65"/>
                  </a:lnTo>
                  <a:lnTo>
                    <a:pt x="146" y="65"/>
                  </a:lnTo>
                  <a:lnTo>
                    <a:pt x="160" y="66"/>
                  </a:lnTo>
                  <a:lnTo>
                    <a:pt x="174" y="68"/>
                  </a:lnTo>
                  <a:lnTo>
                    <a:pt x="187" y="71"/>
                  </a:lnTo>
                  <a:lnTo>
                    <a:pt x="199" y="76"/>
                  </a:lnTo>
                  <a:lnTo>
                    <a:pt x="212" y="81"/>
                  </a:lnTo>
                  <a:lnTo>
                    <a:pt x="223" y="87"/>
                  </a:lnTo>
                  <a:lnTo>
                    <a:pt x="234" y="95"/>
                  </a:lnTo>
                  <a:lnTo>
                    <a:pt x="244" y="103"/>
                  </a:lnTo>
                  <a:lnTo>
                    <a:pt x="42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49" name="Freeform 39">
              <a:extLst>
                <a:ext uri="{FF2B5EF4-FFF2-40B4-BE49-F238E27FC236}">
                  <a16:creationId xmlns:a16="http://schemas.microsoft.com/office/drawing/2014/main" id="{0BF90A9F-4852-4686-86B0-7FB53CAB897C}"/>
                </a:ext>
              </a:extLst>
            </p:cNvPr>
            <p:cNvSpPr>
              <a:spLocks/>
            </p:cNvSpPr>
            <p:nvPr/>
          </p:nvSpPr>
          <p:spPr bwMode="auto">
            <a:xfrm>
              <a:off x="6362701" y="4062413"/>
              <a:ext cx="153988" cy="112713"/>
            </a:xfrm>
            <a:custGeom>
              <a:avLst/>
              <a:gdLst>
                <a:gd name="T0" fmla="*/ 291 w 486"/>
                <a:gd name="T1" fmla="*/ 166 h 358"/>
                <a:gd name="T2" fmla="*/ 293 w 486"/>
                <a:gd name="T3" fmla="*/ 156 h 358"/>
                <a:gd name="T4" fmla="*/ 293 w 486"/>
                <a:gd name="T5" fmla="*/ 147 h 358"/>
                <a:gd name="T6" fmla="*/ 290 w 486"/>
                <a:gd name="T7" fmla="*/ 117 h 358"/>
                <a:gd name="T8" fmla="*/ 281 w 486"/>
                <a:gd name="T9" fmla="*/ 89 h 358"/>
                <a:gd name="T10" fmla="*/ 268 w 486"/>
                <a:gd name="T11" fmla="*/ 65 h 358"/>
                <a:gd name="T12" fmla="*/ 250 w 486"/>
                <a:gd name="T13" fmla="*/ 43 h 358"/>
                <a:gd name="T14" fmla="*/ 228 w 486"/>
                <a:gd name="T15" fmla="*/ 24 h 358"/>
                <a:gd name="T16" fmla="*/ 204 w 486"/>
                <a:gd name="T17" fmla="*/ 12 h 358"/>
                <a:gd name="T18" fmla="*/ 176 w 486"/>
                <a:gd name="T19" fmla="*/ 3 h 358"/>
                <a:gd name="T20" fmla="*/ 146 w 486"/>
                <a:gd name="T21" fmla="*/ 0 h 358"/>
                <a:gd name="T22" fmla="*/ 131 w 486"/>
                <a:gd name="T23" fmla="*/ 0 h 358"/>
                <a:gd name="T24" fmla="*/ 103 w 486"/>
                <a:gd name="T25" fmla="*/ 6 h 358"/>
                <a:gd name="T26" fmla="*/ 77 w 486"/>
                <a:gd name="T27" fmla="*/ 18 h 358"/>
                <a:gd name="T28" fmla="*/ 53 w 486"/>
                <a:gd name="T29" fmla="*/ 34 h 358"/>
                <a:gd name="T30" fmla="*/ 33 w 486"/>
                <a:gd name="T31" fmla="*/ 53 h 358"/>
                <a:gd name="T32" fmla="*/ 17 w 486"/>
                <a:gd name="T33" fmla="*/ 76 h 358"/>
                <a:gd name="T34" fmla="*/ 7 w 486"/>
                <a:gd name="T35" fmla="*/ 103 h 358"/>
                <a:gd name="T36" fmla="*/ 1 w 486"/>
                <a:gd name="T37" fmla="*/ 132 h 358"/>
                <a:gd name="T38" fmla="*/ 0 w 486"/>
                <a:gd name="T39" fmla="*/ 147 h 358"/>
                <a:gd name="T40" fmla="*/ 4 w 486"/>
                <a:gd name="T41" fmla="*/ 175 h 358"/>
                <a:gd name="T42" fmla="*/ 12 w 486"/>
                <a:gd name="T43" fmla="*/ 203 h 358"/>
                <a:gd name="T44" fmla="*/ 25 w 486"/>
                <a:gd name="T45" fmla="*/ 228 h 358"/>
                <a:gd name="T46" fmla="*/ 43 w 486"/>
                <a:gd name="T47" fmla="*/ 249 h 358"/>
                <a:gd name="T48" fmla="*/ 65 w 486"/>
                <a:gd name="T49" fmla="*/ 268 h 358"/>
                <a:gd name="T50" fmla="*/ 90 w 486"/>
                <a:gd name="T51" fmla="*/ 281 h 358"/>
                <a:gd name="T52" fmla="*/ 118 w 486"/>
                <a:gd name="T53" fmla="*/ 290 h 358"/>
                <a:gd name="T54" fmla="*/ 146 w 486"/>
                <a:gd name="T55" fmla="*/ 293 h 358"/>
                <a:gd name="T56" fmla="*/ 160 w 486"/>
                <a:gd name="T57" fmla="*/ 292 h 358"/>
                <a:gd name="T58" fmla="*/ 187 w 486"/>
                <a:gd name="T59" fmla="*/ 287 h 358"/>
                <a:gd name="T60" fmla="*/ 212 w 486"/>
                <a:gd name="T61" fmla="*/ 277 h 358"/>
                <a:gd name="T62" fmla="*/ 234 w 486"/>
                <a:gd name="T63" fmla="*/ 263 h 358"/>
                <a:gd name="T64" fmla="*/ 423 w 486"/>
                <a:gd name="T65"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486" y="279"/>
                  </a:moveTo>
                  <a:lnTo>
                    <a:pt x="291" y="166"/>
                  </a:lnTo>
                  <a:lnTo>
                    <a:pt x="291" y="166"/>
                  </a:lnTo>
                  <a:lnTo>
                    <a:pt x="293" y="156"/>
                  </a:lnTo>
                  <a:lnTo>
                    <a:pt x="293" y="147"/>
                  </a:lnTo>
                  <a:lnTo>
                    <a:pt x="293" y="147"/>
                  </a:lnTo>
                  <a:lnTo>
                    <a:pt x="293" y="132"/>
                  </a:lnTo>
                  <a:lnTo>
                    <a:pt x="290" y="117"/>
                  </a:lnTo>
                  <a:lnTo>
                    <a:pt x="287" y="103"/>
                  </a:lnTo>
                  <a:lnTo>
                    <a:pt x="281" y="89"/>
                  </a:lnTo>
                  <a:lnTo>
                    <a:pt x="275" y="76"/>
                  </a:lnTo>
                  <a:lnTo>
                    <a:pt x="268" y="65"/>
                  </a:lnTo>
                  <a:lnTo>
                    <a:pt x="259" y="53"/>
                  </a:lnTo>
                  <a:lnTo>
                    <a:pt x="250" y="43"/>
                  </a:lnTo>
                  <a:lnTo>
                    <a:pt x="240" y="34"/>
                  </a:lnTo>
                  <a:lnTo>
                    <a:pt x="228" y="24"/>
                  </a:lnTo>
                  <a:lnTo>
                    <a:pt x="217" y="18"/>
                  </a:lnTo>
                  <a:lnTo>
                    <a:pt x="204" y="12"/>
                  </a:lnTo>
                  <a:lnTo>
                    <a:pt x="190" y="6"/>
                  </a:lnTo>
                  <a:lnTo>
                    <a:pt x="176" y="3"/>
                  </a:lnTo>
                  <a:lnTo>
                    <a:pt x="161" y="0"/>
                  </a:lnTo>
                  <a:lnTo>
                    <a:pt x="146" y="0"/>
                  </a:lnTo>
                  <a:lnTo>
                    <a:pt x="146" y="0"/>
                  </a:lnTo>
                  <a:lnTo>
                    <a:pt x="131" y="0"/>
                  </a:lnTo>
                  <a:lnTo>
                    <a:pt x="118" y="3"/>
                  </a:lnTo>
                  <a:lnTo>
                    <a:pt x="103" y="6"/>
                  </a:lnTo>
                  <a:lnTo>
                    <a:pt x="90" y="12"/>
                  </a:lnTo>
                  <a:lnTo>
                    <a:pt x="77" y="18"/>
                  </a:lnTo>
                  <a:lnTo>
                    <a:pt x="65" y="24"/>
                  </a:lnTo>
                  <a:lnTo>
                    <a:pt x="53" y="34"/>
                  </a:lnTo>
                  <a:lnTo>
                    <a:pt x="43" y="43"/>
                  </a:lnTo>
                  <a:lnTo>
                    <a:pt x="33" y="53"/>
                  </a:lnTo>
                  <a:lnTo>
                    <a:pt x="25" y="65"/>
                  </a:lnTo>
                  <a:lnTo>
                    <a:pt x="17" y="76"/>
                  </a:lnTo>
                  <a:lnTo>
                    <a:pt x="12" y="89"/>
                  </a:lnTo>
                  <a:lnTo>
                    <a:pt x="7" y="103"/>
                  </a:lnTo>
                  <a:lnTo>
                    <a:pt x="4" y="117"/>
                  </a:lnTo>
                  <a:lnTo>
                    <a:pt x="1" y="132"/>
                  </a:lnTo>
                  <a:lnTo>
                    <a:pt x="0" y="147"/>
                  </a:lnTo>
                  <a:lnTo>
                    <a:pt x="0" y="147"/>
                  </a:lnTo>
                  <a:lnTo>
                    <a:pt x="1" y="162"/>
                  </a:lnTo>
                  <a:lnTo>
                    <a:pt x="4" y="175"/>
                  </a:lnTo>
                  <a:lnTo>
                    <a:pt x="7" y="189"/>
                  </a:lnTo>
                  <a:lnTo>
                    <a:pt x="12" y="203"/>
                  </a:lnTo>
                  <a:lnTo>
                    <a:pt x="17" y="216"/>
                  </a:lnTo>
                  <a:lnTo>
                    <a:pt x="25" y="228"/>
                  </a:lnTo>
                  <a:lnTo>
                    <a:pt x="33" y="239"/>
                  </a:lnTo>
                  <a:lnTo>
                    <a:pt x="43" y="249"/>
                  </a:lnTo>
                  <a:lnTo>
                    <a:pt x="53" y="260"/>
                  </a:lnTo>
                  <a:lnTo>
                    <a:pt x="65" y="268"/>
                  </a:lnTo>
                  <a:lnTo>
                    <a:pt x="77" y="275"/>
                  </a:lnTo>
                  <a:lnTo>
                    <a:pt x="90" y="281"/>
                  </a:lnTo>
                  <a:lnTo>
                    <a:pt x="103" y="286"/>
                  </a:lnTo>
                  <a:lnTo>
                    <a:pt x="118" y="290"/>
                  </a:lnTo>
                  <a:lnTo>
                    <a:pt x="131" y="292"/>
                  </a:lnTo>
                  <a:lnTo>
                    <a:pt x="146" y="293"/>
                  </a:lnTo>
                  <a:lnTo>
                    <a:pt x="146" y="293"/>
                  </a:lnTo>
                  <a:lnTo>
                    <a:pt x="160" y="292"/>
                  </a:lnTo>
                  <a:lnTo>
                    <a:pt x="174" y="290"/>
                  </a:lnTo>
                  <a:lnTo>
                    <a:pt x="187" y="287"/>
                  </a:lnTo>
                  <a:lnTo>
                    <a:pt x="199" y="283"/>
                  </a:lnTo>
                  <a:lnTo>
                    <a:pt x="212" y="277"/>
                  </a:lnTo>
                  <a:lnTo>
                    <a:pt x="223" y="271"/>
                  </a:lnTo>
                  <a:lnTo>
                    <a:pt x="234" y="263"/>
                  </a:lnTo>
                  <a:lnTo>
                    <a:pt x="244" y="255"/>
                  </a:lnTo>
                  <a:lnTo>
                    <a:pt x="423" y="358"/>
                  </a:lnTo>
                  <a:lnTo>
                    <a:pt x="486" y="279"/>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0" name="Freeform 40">
              <a:extLst>
                <a:ext uri="{FF2B5EF4-FFF2-40B4-BE49-F238E27FC236}">
                  <a16:creationId xmlns:a16="http://schemas.microsoft.com/office/drawing/2014/main" id="{2C3BF3FD-A03F-46F9-86F8-C72EA8269DFC}"/>
                </a:ext>
              </a:extLst>
            </p:cNvPr>
            <p:cNvSpPr>
              <a:spLocks/>
            </p:cNvSpPr>
            <p:nvPr/>
          </p:nvSpPr>
          <p:spPr bwMode="auto">
            <a:xfrm>
              <a:off x="6362701" y="4062413"/>
              <a:ext cx="153988" cy="112713"/>
            </a:xfrm>
            <a:custGeom>
              <a:avLst/>
              <a:gdLst>
                <a:gd name="T0" fmla="*/ 291 w 486"/>
                <a:gd name="T1" fmla="*/ 166 h 358"/>
                <a:gd name="T2" fmla="*/ 293 w 486"/>
                <a:gd name="T3" fmla="*/ 156 h 358"/>
                <a:gd name="T4" fmla="*/ 293 w 486"/>
                <a:gd name="T5" fmla="*/ 147 h 358"/>
                <a:gd name="T6" fmla="*/ 290 w 486"/>
                <a:gd name="T7" fmla="*/ 117 h 358"/>
                <a:gd name="T8" fmla="*/ 281 w 486"/>
                <a:gd name="T9" fmla="*/ 89 h 358"/>
                <a:gd name="T10" fmla="*/ 268 w 486"/>
                <a:gd name="T11" fmla="*/ 65 h 358"/>
                <a:gd name="T12" fmla="*/ 250 w 486"/>
                <a:gd name="T13" fmla="*/ 43 h 358"/>
                <a:gd name="T14" fmla="*/ 228 w 486"/>
                <a:gd name="T15" fmla="*/ 24 h 358"/>
                <a:gd name="T16" fmla="*/ 204 w 486"/>
                <a:gd name="T17" fmla="*/ 12 h 358"/>
                <a:gd name="T18" fmla="*/ 176 w 486"/>
                <a:gd name="T19" fmla="*/ 3 h 358"/>
                <a:gd name="T20" fmla="*/ 146 w 486"/>
                <a:gd name="T21" fmla="*/ 0 h 358"/>
                <a:gd name="T22" fmla="*/ 131 w 486"/>
                <a:gd name="T23" fmla="*/ 0 h 358"/>
                <a:gd name="T24" fmla="*/ 103 w 486"/>
                <a:gd name="T25" fmla="*/ 6 h 358"/>
                <a:gd name="T26" fmla="*/ 77 w 486"/>
                <a:gd name="T27" fmla="*/ 18 h 358"/>
                <a:gd name="T28" fmla="*/ 53 w 486"/>
                <a:gd name="T29" fmla="*/ 34 h 358"/>
                <a:gd name="T30" fmla="*/ 33 w 486"/>
                <a:gd name="T31" fmla="*/ 53 h 358"/>
                <a:gd name="T32" fmla="*/ 17 w 486"/>
                <a:gd name="T33" fmla="*/ 76 h 358"/>
                <a:gd name="T34" fmla="*/ 7 w 486"/>
                <a:gd name="T35" fmla="*/ 103 h 358"/>
                <a:gd name="T36" fmla="*/ 1 w 486"/>
                <a:gd name="T37" fmla="*/ 132 h 358"/>
                <a:gd name="T38" fmla="*/ 0 w 486"/>
                <a:gd name="T39" fmla="*/ 147 h 358"/>
                <a:gd name="T40" fmla="*/ 4 w 486"/>
                <a:gd name="T41" fmla="*/ 175 h 358"/>
                <a:gd name="T42" fmla="*/ 12 w 486"/>
                <a:gd name="T43" fmla="*/ 203 h 358"/>
                <a:gd name="T44" fmla="*/ 25 w 486"/>
                <a:gd name="T45" fmla="*/ 228 h 358"/>
                <a:gd name="T46" fmla="*/ 43 w 486"/>
                <a:gd name="T47" fmla="*/ 249 h 358"/>
                <a:gd name="T48" fmla="*/ 65 w 486"/>
                <a:gd name="T49" fmla="*/ 268 h 358"/>
                <a:gd name="T50" fmla="*/ 90 w 486"/>
                <a:gd name="T51" fmla="*/ 281 h 358"/>
                <a:gd name="T52" fmla="*/ 118 w 486"/>
                <a:gd name="T53" fmla="*/ 290 h 358"/>
                <a:gd name="T54" fmla="*/ 146 w 486"/>
                <a:gd name="T55" fmla="*/ 293 h 358"/>
                <a:gd name="T56" fmla="*/ 160 w 486"/>
                <a:gd name="T57" fmla="*/ 292 h 358"/>
                <a:gd name="T58" fmla="*/ 187 w 486"/>
                <a:gd name="T59" fmla="*/ 287 h 358"/>
                <a:gd name="T60" fmla="*/ 212 w 486"/>
                <a:gd name="T61" fmla="*/ 277 h 358"/>
                <a:gd name="T62" fmla="*/ 234 w 486"/>
                <a:gd name="T63" fmla="*/ 263 h 358"/>
                <a:gd name="T64" fmla="*/ 423 w 486"/>
                <a:gd name="T65"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358">
                  <a:moveTo>
                    <a:pt x="486" y="279"/>
                  </a:moveTo>
                  <a:lnTo>
                    <a:pt x="291" y="166"/>
                  </a:lnTo>
                  <a:lnTo>
                    <a:pt x="291" y="166"/>
                  </a:lnTo>
                  <a:lnTo>
                    <a:pt x="293" y="156"/>
                  </a:lnTo>
                  <a:lnTo>
                    <a:pt x="293" y="147"/>
                  </a:lnTo>
                  <a:lnTo>
                    <a:pt x="293" y="147"/>
                  </a:lnTo>
                  <a:lnTo>
                    <a:pt x="293" y="132"/>
                  </a:lnTo>
                  <a:lnTo>
                    <a:pt x="290" y="117"/>
                  </a:lnTo>
                  <a:lnTo>
                    <a:pt x="287" y="103"/>
                  </a:lnTo>
                  <a:lnTo>
                    <a:pt x="281" y="89"/>
                  </a:lnTo>
                  <a:lnTo>
                    <a:pt x="275" y="76"/>
                  </a:lnTo>
                  <a:lnTo>
                    <a:pt x="268" y="65"/>
                  </a:lnTo>
                  <a:lnTo>
                    <a:pt x="259" y="53"/>
                  </a:lnTo>
                  <a:lnTo>
                    <a:pt x="250" y="43"/>
                  </a:lnTo>
                  <a:lnTo>
                    <a:pt x="240" y="34"/>
                  </a:lnTo>
                  <a:lnTo>
                    <a:pt x="228" y="24"/>
                  </a:lnTo>
                  <a:lnTo>
                    <a:pt x="217" y="18"/>
                  </a:lnTo>
                  <a:lnTo>
                    <a:pt x="204" y="12"/>
                  </a:lnTo>
                  <a:lnTo>
                    <a:pt x="190" y="6"/>
                  </a:lnTo>
                  <a:lnTo>
                    <a:pt x="176" y="3"/>
                  </a:lnTo>
                  <a:lnTo>
                    <a:pt x="161" y="0"/>
                  </a:lnTo>
                  <a:lnTo>
                    <a:pt x="146" y="0"/>
                  </a:lnTo>
                  <a:lnTo>
                    <a:pt x="146" y="0"/>
                  </a:lnTo>
                  <a:lnTo>
                    <a:pt x="131" y="0"/>
                  </a:lnTo>
                  <a:lnTo>
                    <a:pt x="118" y="3"/>
                  </a:lnTo>
                  <a:lnTo>
                    <a:pt x="103" y="6"/>
                  </a:lnTo>
                  <a:lnTo>
                    <a:pt x="90" y="12"/>
                  </a:lnTo>
                  <a:lnTo>
                    <a:pt x="77" y="18"/>
                  </a:lnTo>
                  <a:lnTo>
                    <a:pt x="65" y="24"/>
                  </a:lnTo>
                  <a:lnTo>
                    <a:pt x="53" y="34"/>
                  </a:lnTo>
                  <a:lnTo>
                    <a:pt x="43" y="43"/>
                  </a:lnTo>
                  <a:lnTo>
                    <a:pt x="33" y="53"/>
                  </a:lnTo>
                  <a:lnTo>
                    <a:pt x="25" y="65"/>
                  </a:lnTo>
                  <a:lnTo>
                    <a:pt x="17" y="76"/>
                  </a:lnTo>
                  <a:lnTo>
                    <a:pt x="12" y="89"/>
                  </a:lnTo>
                  <a:lnTo>
                    <a:pt x="7" y="103"/>
                  </a:lnTo>
                  <a:lnTo>
                    <a:pt x="4" y="117"/>
                  </a:lnTo>
                  <a:lnTo>
                    <a:pt x="1" y="132"/>
                  </a:lnTo>
                  <a:lnTo>
                    <a:pt x="0" y="147"/>
                  </a:lnTo>
                  <a:lnTo>
                    <a:pt x="0" y="147"/>
                  </a:lnTo>
                  <a:lnTo>
                    <a:pt x="1" y="162"/>
                  </a:lnTo>
                  <a:lnTo>
                    <a:pt x="4" y="175"/>
                  </a:lnTo>
                  <a:lnTo>
                    <a:pt x="7" y="189"/>
                  </a:lnTo>
                  <a:lnTo>
                    <a:pt x="12" y="203"/>
                  </a:lnTo>
                  <a:lnTo>
                    <a:pt x="17" y="216"/>
                  </a:lnTo>
                  <a:lnTo>
                    <a:pt x="25" y="228"/>
                  </a:lnTo>
                  <a:lnTo>
                    <a:pt x="33" y="239"/>
                  </a:lnTo>
                  <a:lnTo>
                    <a:pt x="43" y="249"/>
                  </a:lnTo>
                  <a:lnTo>
                    <a:pt x="53" y="260"/>
                  </a:lnTo>
                  <a:lnTo>
                    <a:pt x="65" y="268"/>
                  </a:lnTo>
                  <a:lnTo>
                    <a:pt x="77" y="275"/>
                  </a:lnTo>
                  <a:lnTo>
                    <a:pt x="90" y="281"/>
                  </a:lnTo>
                  <a:lnTo>
                    <a:pt x="103" y="286"/>
                  </a:lnTo>
                  <a:lnTo>
                    <a:pt x="118" y="290"/>
                  </a:lnTo>
                  <a:lnTo>
                    <a:pt x="131" y="292"/>
                  </a:lnTo>
                  <a:lnTo>
                    <a:pt x="146" y="293"/>
                  </a:lnTo>
                  <a:lnTo>
                    <a:pt x="146" y="293"/>
                  </a:lnTo>
                  <a:lnTo>
                    <a:pt x="160" y="292"/>
                  </a:lnTo>
                  <a:lnTo>
                    <a:pt x="174" y="290"/>
                  </a:lnTo>
                  <a:lnTo>
                    <a:pt x="187" y="287"/>
                  </a:lnTo>
                  <a:lnTo>
                    <a:pt x="199" y="283"/>
                  </a:lnTo>
                  <a:lnTo>
                    <a:pt x="212" y="277"/>
                  </a:lnTo>
                  <a:lnTo>
                    <a:pt x="223" y="271"/>
                  </a:lnTo>
                  <a:lnTo>
                    <a:pt x="234" y="263"/>
                  </a:lnTo>
                  <a:lnTo>
                    <a:pt x="244" y="255"/>
                  </a:lnTo>
                  <a:lnTo>
                    <a:pt x="423" y="35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1" name="Freeform 41">
              <a:extLst>
                <a:ext uri="{FF2B5EF4-FFF2-40B4-BE49-F238E27FC236}">
                  <a16:creationId xmlns:a16="http://schemas.microsoft.com/office/drawing/2014/main" id="{348AEB87-BF3B-425D-977D-B007A26D23AE}"/>
                </a:ext>
              </a:extLst>
            </p:cNvPr>
            <p:cNvSpPr>
              <a:spLocks noEditPoints="1"/>
            </p:cNvSpPr>
            <p:nvPr/>
          </p:nvSpPr>
          <p:spPr bwMode="auto">
            <a:xfrm>
              <a:off x="6613526" y="4433888"/>
              <a:ext cx="438150" cy="144463"/>
            </a:xfrm>
            <a:custGeom>
              <a:avLst/>
              <a:gdLst>
                <a:gd name="T0" fmla="*/ 112 w 1378"/>
                <a:gd name="T1" fmla="*/ 24 h 456"/>
                <a:gd name="T2" fmla="*/ 108 w 1378"/>
                <a:gd name="T3" fmla="*/ 38 h 456"/>
                <a:gd name="T4" fmla="*/ 120 w 1378"/>
                <a:gd name="T5" fmla="*/ 67 h 456"/>
                <a:gd name="T6" fmla="*/ 150 w 1378"/>
                <a:gd name="T7" fmla="*/ 95 h 456"/>
                <a:gd name="T8" fmla="*/ 280 w 1378"/>
                <a:gd name="T9" fmla="*/ 190 h 456"/>
                <a:gd name="T10" fmla="*/ 423 w 1378"/>
                <a:gd name="T11" fmla="*/ 257 h 456"/>
                <a:gd name="T12" fmla="*/ 574 w 1378"/>
                <a:gd name="T13" fmla="*/ 294 h 456"/>
                <a:gd name="T14" fmla="*/ 689 w 1378"/>
                <a:gd name="T15" fmla="*/ 302 h 456"/>
                <a:gd name="T16" fmla="*/ 805 w 1378"/>
                <a:gd name="T17" fmla="*/ 294 h 456"/>
                <a:gd name="T18" fmla="*/ 956 w 1378"/>
                <a:gd name="T19" fmla="*/ 257 h 456"/>
                <a:gd name="T20" fmla="*/ 1099 w 1378"/>
                <a:gd name="T21" fmla="*/ 190 h 456"/>
                <a:gd name="T22" fmla="*/ 1229 w 1378"/>
                <a:gd name="T23" fmla="*/ 95 h 456"/>
                <a:gd name="T24" fmla="*/ 1263 w 1378"/>
                <a:gd name="T25" fmla="*/ 60 h 456"/>
                <a:gd name="T26" fmla="*/ 1269 w 1378"/>
                <a:gd name="T27" fmla="*/ 31 h 456"/>
                <a:gd name="T28" fmla="*/ 1259 w 1378"/>
                <a:gd name="T29" fmla="*/ 12 h 456"/>
                <a:gd name="T30" fmla="*/ 1238 w 1378"/>
                <a:gd name="T31" fmla="*/ 0 h 456"/>
                <a:gd name="T32" fmla="*/ 1209 w 1378"/>
                <a:gd name="T33" fmla="*/ 6 h 456"/>
                <a:gd name="T34" fmla="*/ 1176 w 1378"/>
                <a:gd name="T35" fmla="*/ 37 h 456"/>
                <a:gd name="T36" fmla="*/ 1058 w 1378"/>
                <a:gd name="T37" fmla="*/ 124 h 456"/>
                <a:gd name="T38" fmla="*/ 929 w 1378"/>
                <a:gd name="T39" fmla="*/ 184 h 456"/>
                <a:gd name="T40" fmla="*/ 793 w 1378"/>
                <a:gd name="T41" fmla="*/ 217 h 456"/>
                <a:gd name="T42" fmla="*/ 689 w 1378"/>
                <a:gd name="T43" fmla="*/ 224 h 456"/>
                <a:gd name="T44" fmla="*/ 585 w 1378"/>
                <a:gd name="T45" fmla="*/ 217 h 456"/>
                <a:gd name="T46" fmla="*/ 449 w 1378"/>
                <a:gd name="T47" fmla="*/ 184 h 456"/>
                <a:gd name="T48" fmla="*/ 320 w 1378"/>
                <a:gd name="T49" fmla="*/ 124 h 456"/>
                <a:gd name="T50" fmla="*/ 203 w 1378"/>
                <a:gd name="T51" fmla="*/ 37 h 456"/>
                <a:gd name="T52" fmla="*/ 169 w 1378"/>
                <a:gd name="T53" fmla="*/ 6 h 456"/>
                <a:gd name="T54" fmla="*/ 141 w 1378"/>
                <a:gd name="T55" fmla="*/ 0 h 456"/>
                <a:gd name="T56" fmla="*/ 120 w 1378"/>
                <a:gd name="T57" fmla="*/ 12 h 456"/>
                <a:gd name="T58" fmla="*/ 4 w 1378"/>
                <a:gd name="T59" fmla="*/ 133 h 456"/>
                <a:gd name="T60" fmla="*/ 0 w 1378"/>
                <a:gd name="T61" fmla="*/ 148 h 456"/>
                <a:gd name="T62" fmla="*/ 12 w 1378"/>
                <a:gd name="T63" fmla="*/ 175 h 456"/>
                <a:gd name="T64" fmla="*/ 47 w 1378"/>
                <a:gd name="T65" fmla="*/ 209 h 456"/>
                <a:gd name="T66" fmla="*/ 203 w 1378"/>
                <a:gd name="T67" fmla="*/ 323 h 456"/>
                <a:gd name="T68" fmla="*/ 372 w 1378"/>
                <a:gd name="T69" fmla="*/ 403 h 456"/>
                <a:gd name="T70" fmla="*/ 552 w 1378"/>
                <a:gd name="T71" fmla="*/ 446 h 456"/>
                <a:gd name="T72" fmla="*/ 689 w 1378"/>
                <a:gd name="T73" fmla="*/ 456 h 456"/>
                <a:gd name="T74" fmla="*/ 827 w 1378"/>
                <a:gd name="T75" fmla="*/ 446 h 456"/>
                <a:gd name="T76" fmla="*/ 1007 w 1378"/>
                <a:gd name="T77" fmla="*/ 403 h 456"/>
                <a:gd name="T78" fmla="*/ 1176 w 1378"/>
                <a:gd name="T79" fmla="*/ 323 h 456"/>
                <a:gd name="T80" fmla="*/ 1331 w 1378"/>
                <a:gd name="T81" fmla="*/ 209 h 456"/>
                <a:gd name="T82" fmla="*/ 1372 w 1378"/>
                <a:gd name="T83" fmla="*/ 169 h 456"/>
                <a:gd name="T84" fmla="*/ 1377 w 1378"/>
                <a:gd name="T85" fmla="*/ 140 h 456"/>
                <a:gd name="T86" fmla="*/ 1367 w 1378"/>
                <a:gd name="T87" fmla="*/ 120 h 456"/>
                <a:gd name="T88" fmla="*/ 1346 w 1378"/>
                <a:gd name="T89" fmla="*/ 109 h 456"/>
                <a:gd name="T90" fmla="*/ 1317 w 1378"/>
                <a:gd name="T91" fmla="*/ 114 h 456"/>
                <a:gd name="T92" fmla="*/ 1278 w 1378"/>
                <a:gd name="T93" fmla="*/ 151 h 456"/>
                <a:gd name="T94" fmla="*/ 1137 w 1378"/>
                <a:gd name="T95" fmla="*/ 256 h 456"/>
                <a:gd name="T96" fmla="*/ 980 w 1378"/>
                <a:gd name="T97" fmla="*/ 328 h 456"/>
                <a:gd name="T98" fmla="*/ 815 w 1378"/>
                <a:gd name="T99" fmla="*/ 368 h 456"/>
                <a:gd name="T100" fmla="*/ 689 w 1378"/>
                <a:gd name="T101" fmla="*/ 377 h 456"/>
                <a:gd name="T102" fmla="*/ 563 w 1378"/>
                <a:gd name="T103" fmla="*/ 368 h 456"/>
                <a:gd name="T104" fmla="*/ 399 w 1378"/>
                <a:gd name="T105" fmla="*/ 328 h 456"/>
                <a:gd name="T106" fmla="*/ 242 w 1378"/>
                <a:gd name="T107" fmla="*/ 256 h 456"/>
                <a:gd name="T108" fmla="*/ 100 w 1378"/>
                <a:gd name="T109" fmla="*/ 151 h 456"/>
                <a:gd name="T110" fmla="*/ 61 w 1378"/>
                <a:gd name="T111" fmla="*/ 114 h 456"/>
                <a:gd name="T112" fmla="*/ 32 w 1378"/>
                <a:gd name="T113" fmla="*/ 109 h 456"/>
                <a:gd name="T114" fmla="*/ 12 w 1378"/>
                <a:gd name="T115" fmla="*/ 12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8" h="456">
                  <a:moveTo>
                    <a:pt x="120" y="12"/>
                  </a:moveTo>
                  <a:lnTo>
                    <a:pt x="120" y="12"/>
                  </a:lnTo>
                  <a:lnTo>
                    <a:pt x="115" y="18"/>
                  </a:lnTo>
                  <a:lnTo>
                    <a:pt x="112" y="24"/>
                  </a:lnTo>
                  <a:lnTo>
                    <a:pt x="109" y="31"/>
                  </a:lnTo>
                  <a:lnTo>
                    <a:pt x="108" y="38"/>
                  </a:lnTo>
                  <a:lnTo>
                    <a:pt x="108" y="38"/>
                  </a:lnTo>
                  <a:lnTo>
                    <a:pt x="108" y="38"/>
                  </a:lnTo>
                  <a:lnTo>
                    <a:pt x="109" y="46"/>
                  </a:lnTo>
                  <a:lnTo>
                    <a:pt x="112" y="53"/>
                  </a:lnTo>
                  <a:lnTo>
                    <a:pt x="115" y="60"/>
                  </a:lnTo>
                  <a:lnTo>
                    <a:pt x="120" y="67"/>
                  </a:lnTo>
                  <a:lnTo>
                    <a:pt x="120" y="67"/>
                  </a:lnTo>
                  <a:lnTo>
                    <a:pt x="120" y="67"/>
                  </a:lnTo>
                  <a:lnTo>
                    <a:pt x="120" y="67"/>
                  </a:lnTo>
                  <a:lnTo>
                    <a:pt x="150" y="95"/>
                  </a:lnTo>
                  <a:lnTo>
                    <a:pt x="181" y="122"/>
                  </a:lnTo>
                  <a:lnTo>
                    <a:pt x="213" y="147"/>
                  </a:lnTo>
                  <a:lnTo>
                    <a:pt x="247" y="170"/>
                  </a:lnTo>
                  <a:lnTo>
                    <a:pt x="280" y="190"/>
                  </a:lnTo>
                  <a:lnTo>
                    <a:pt x="314" y="210"/>
                  </a:lnTo>
                  <a:lnTo>
                    <a:pt x="350" y="227"/>
                  </a:lnTo>
                  <a:lnTo>
                    <a:pt x="387" y="243"/>
                  </a:lnTo>
                  <a:lnTo>
                    <a:pt x="423" y="257"/>
                  </a:lnTo>
                  <a:lnTo>
                    <a:pt x="461" y="269"/>
                  </a:lnTo>
                  <a:lnTo>
                    <a:pt x="498" y="279"/>
                  </a:lnTo>
                  <a:lnTo>
                    <a:pt x="536" y="287"/>
                  </a:lnTo>
                  <a:lnTo>
                    <a:pt x="574" y="294"/>
                  </a:lnTo>
                  <a:lnTo>
                    <a:pt x="613" y="299"/>
                  </a:lnTo>
                  <a:lnTo>
                    <a:pt x="651" y="301"/>
                  </a:lnTo>
                  <a:lnTo>
                    <a:pt x="689" y="302"/>
                  </a:lnTo>
                  <a:lnTo>
                    <a:pt x="689" y="302"/>
                  </a:lnTo>
                  <a:lnTo>
                    <a:pt x="689" y="302"/>
                  </a:lnTo>
                  <a:lnTo>
                    <a:pt x="728" y="301"/>
                  </a:lnTo>
                  <a:lnTo>
                    <a:pt x="766" y="299"/>
                  </a:lnTo>
                  <a:lnTo>
                    <a:pt x="805" y="294"/>
                  </a:lnTo>
                  <a:lnTo>
                    <a:pt x="843" y="287"/>
                  </a:lnTo>
                  <a:lnTo>
                    <a:pt x="881" y="279"/>
                  </a:lnTo>
                  <a:lnTo>
                    <a:pt x="919" y="269"/>
                  </a:lnTo>
                  <a:lnTo>
                    <a:pt x="956" y="257"/>
                  </a:lnTo>
                  <a:lnTo>
                    <a:pt x="993" y="243"/>
                  </a:lnTo>
                  <a:lnTo>
                    <a:pt x="1028" y="227"/>
                  </a:lnTo>
                  <a:lnTo>
                    <a:pt x="1064" y="210"/>
                  </a:lnTo>
                  <a:lnTo>
                    <a:pt x="1099" y="190"/>
                  </a:lnTo>
                  <a:lnTo>
                    <a:pt x="1132" y="170"/>
                  </a:lnTo>
                  <a:lnTo>
                    <a:pt x="1165" y="147"/>
                  </a:lnTo>
                  <a:lnTo>
                    <a:pt x="1198" y="122"/>
                  </a:lnTo>
                  <a:lnTo>
                    <a:pt x="1229" y="95"/>
                  </a:lnTo>
                  <a:lnTo>
                    <a:pt x="1259" y="67"/>
                  </a:lnTo>
                  <a:lnTo>
                    <a:pt x="1259" y="67"/>
                  </a:lnTo>
                  <a:lnTo>
                    <a:pt x="1259" y="67"/>
                  </a:lnTo>
                  <a:lnTo>
                    <a:pt x="1263" y="60"/>
                  </a:lnTo>
                  <a:lnTo>
                    <a:pt x="1267" y="53"/>
                  </a:lnTo>
                  <a:lnTo>
                    <a:pt x="1269" y="46"/>
                  </a:lnTo>
                  <a:lnTo>
                    <a:pt x="1270" y="39"/>
                  </a:lnTo>
                  <a:lnTo>
                    <a:pt x="1269" y="31"/>
                  </a:lnTo>
                  <a:lnTo>
                    <a:pt x="1267" y="24"/>
                  </a:lnTo>
                  <a:lnTo>
                    <a:pt x="1263" y="18"/>
                  </a:lnTo>
                  <a:lnTo>
                    <a:pt x="1259" y="12"/>
                  </a:lnTo>
                  <a:lnTo>
                    <a:pt x="1259" y="12"/>
                  </a:lnTo>
                  <a:lnTo>
                    <a:pt x="1259" y="12"/>
                  </a:lnTo>
                  <a:lnTo>
                    <a:pt x="1253" y="6"/>
                  </a:lnTo>
                  <a:lnTo>
                    <a:pt x="1246" y="3"/>
                  </a:lnTo>
                  <a:lnTo>
                    <a:pt x="1238" y="0"/>
                  </a:lnTo>
                  <a:lnTo>
                    <a:pt x="1231" y="0"/>
                  </a:lnTo>
                  <a:lnTo>
                    <a:pt x="1223" y="0"/>
                  </a:lnTo>
                  <a:lnTo>
                    <a:pt x="1216" y="3"/>
                  </a:lnTo>
                  <a:lnTo>
                    <a:pt x="1209" y="6"/>
                  </a:lnTo>
                  <a:lnTo>
                    <a:pt x="1203" y="12"/>
                  </a:lnTo>
                  <a:lnTo>
                    <a:pt x="1203" y="12"/>
                  </a:lnTo>
                  <a:lnTo>
                    <a:pt x="1203" y="12"/>
                  </a:lnTo>
                  <a:lnTo>
                    <a:pt x="1176" y="37"/>
                  </a:lnTo>
                  <a:lnTo>
                    <a:pt x="1148" y="61"/>
                  </a:lnTo>
                  <a:lnTo>
                    <a:pt x="1119" y="83"/>
                  </a:lnTo>
                  <a:lnTo>
                    <a:pt x="1089" y="104"/>
                  </a:lnTo>
                  <a:lnTo>
                    <a:pt x="1058" y="124"/>
                  </a:lnTo>
                  <a:lnTo>
                    <a:pt x="1027" y="141"/>
                  </a:lnTo>
                  <a:lnTo>
                    <a:pt x="995" y="157"/>
                  </a:lnTo>
                  <a:lnTo>
                    <a:pt x="963" y="171"/>
                  </a:lnTo>
                  <a:lnTo>
                    <a:pt x="929" y="184"/>
                  </a:lnTo>
                  <a:lnTo>
                    <a:pt x="896" y="194"/>
                  </a:lnTo>
                  <a:lnTo>
                    <a:pt x="863" y="203"/>
                  </a:lnTo>
                  <a:lnTo>
                    <a:pt x="828" y="211"/>
                  </a:lnTo>
                  <a:lnTo>
                    <a:pt x="793" y="217"/>
                  </a:lnTo>
                  <a:lnTo>
                    <a:pt x="759" y="220"/>
                  </a:lnTo>
                  <a:lnTo>
                    <a:pt x="724" y="224"/>
                  </a:lnTo>
                  <a:lnTo>
                    <a:pt x="689" y="224"/>
                  </a:lnTo>
                  <a:lnTo>
                    <a:pt x="689" y="224"/>
                  </a:lnTo>
                  <a:lnTo>
                    <a:pt x="689" y="224"/>
                  </a:lnTo>
                  <a:lnTo>
                    <a:pt x="654" y="224"/>
                  </a:lnTo>
                  <a:lnTo>
                    <a:pt x="620" y="220"/>
                  </a:lnTo>
                  <a:lnTo>
                    <a:pt x="585" y="217"/>
                  </a:lnTo>
                  <a:lnTo>
                    <a:pt x="551" y="211"/>
                  </a:lnTo>
                  <a:lnTo>
                    <a:pt x="516" y="203"/>
                  </a:lnTo>
                  <a:lnTo>
                    <a:pt x="483" y="194"/>
                  </a:lnTo>
                  <a:lnTo>
                    <a:pt x="449" y="184"/>
                  </a:lnTo>
                  <a:lnTo>
                    <a:pt x="416" y="171"/>
                  </a:lnTo>
                  <a:lnTo>
                    <a:pt x="384" y="157"/>
                  </a:lnTo>
                  <a:lnTo>
                    <a:pt x="351" y="141"/>
                  </a:lnTo>
                  <a:lnTo>
                    <a:pt x="320" y="124"/>
                  </a:lnTo>
                  <a:lnTo>
                    <a:pt x="289" y="104"/>
                  </a:lnTo>
                  <a:lnTo>
                    <a:pt x="260" y="83"/>
                  </a:lnTo>
                  <a:lnTo>
                    <a:pt x="230" y="61"/>
                  </a:lnTo>
                  <a:lnTo>
                    <a:pt x="203" y="37"/>
                  </a:lnTo>
                  <a:lnTo>
                    <a:pt x="175" y="12"/>
                  </a:lnTo>
                  <a:lnTo>
                    <a:pt x="175" y="12"/>
                  </a:lnTo>
                  <a:lnTo>
                    <a:pt x="175" y="12"/>
                  </a:lnTo>
                  <a:lnTo>
                    <a:pt x="169" y="6"/>
                  </a:lnTo>
                  <a:lnTo>
                    <a:pt x="162" y="3"/>
                  </a:lnTo>
                  <a:lnTo>
                    <a:pt x="156" y="0"/>
                  </a:lnTo>
                  <a:lnTo>
                    <a:pt x="147" y="0"/>
                  </a:lnTo>
                  <a:lnTo>
                    <a:pt x="141" y="0"/>
                  </a:lnTo>
                  <a:lnTo>
                    <a:pt x="134" y="3"/>
                  </a:lnTo>
                  <a:lnTo>
                    <a:pt x="127" y="6"/>
                  </a:lnTo>
                  <a:lnTo>
                    <a:pt x="120" y="12"/>
                  </a:lnTo>
                  <a:lnTo>
                    <a:pt x="120" y="12"/>
                  </a:lnTo>
                  <a:close/>
                  <a:moveTo>
                    <a:pt x="12" y="120"/>
                  </a:moveTo>
                  <a:lnTo>
                    <a:pt x="12" y="120"/>
                  </a:lnTo>
                  <a:lnTo>
                    <a:pt x="7" y="126"/>
                  </a:lnTo>
                  <a:lnTo>
                    <a:pt x="4" y="133"/>
                  </a:lnTo>
                  <a:lnTo>
                    <a:pt x="1" y="140"/>
                  </a:lnTo>
                  <a:lnTo>
                    <a:pt x="0" y="148"/>
                  </a:lnTo>
                  <a:lnTo>
                    <a:pt x="0" y="148"/>
                  </a:lnTo>
                  <a:lnTo>
                    <a:pt x="0" y="148"/>
                  </a:lnTo>
                  <a:lnTo>
                    <a:pt x="1" y="155"/>
                  </a:lnTo>
                  <a:lnTo>
                    <a:pt x="4" y="162"/>
                  </a:lnTo>
                  <a:lnTo>
                    <a:pt x="7" y="169"/>
                  </a:lnTo>
                  <a:lnTo>
                    <a:pt x="12" y="175"/>
                  </a:lnTo>
                  <a:lnTo>
                    <a:pt x="12" y="175"/>
                  </a:lnTo>
                  <a:lnTo>
                    <a:pt x="12" y="175"/>
                  </a:lnTo>
                  <a:lnTo>
                    <a:pt x="12" y="175"/>
                  </a:lnTo>
                  <a:lnTo>
                    <a:pt x="47" y="209"/>
                  </a:lnTo>
                  <a:lnTo>
                    <a:pt x="84" y="241"/>
                  </a:lnTo>
                  <a:lnTo>
                    <a:pt x="123" y="270"/>
                  </a:lnTo>
                  <a:lnTo>
                    <a:pt x="162" y="298"/>
                  </a:lnTo>
                  <a:lnTo>
                    <a:pt x="203" y="323"/>
                  </a:lnTo>
                  <a:lnTo>
                    <a:pt x="244" y="346"/>
                  </a:lnTo>
                  <a:lnTo>
                    <a:pt x="286" y="367"/>
                  </a:lnTo>
                  <a:lnTo>
                    <a:pt x="328" y="385"/>
                  </a:lnTo>
                  <a:lnTo>
                    <a:pt x="372" y="403"/>
                  </a:lnTo>
                  <a:lnTo>
                    <a:pt x="417" y="416"/>
                  </a:lnTo>
                  <a:lnTo>
                    <a:pt x="461" y="428"/>
                  </a:lnTo>
                  <a:lnTo>
                    <a:pt x="507" y="438"/>
                  </a:lnTo>
                  <a:lnTo>
                    <a:pt x="552" y="446"/>
                  </a:lnTo>
                  <a:lnTo>
                    <a:pt x="598" y="451"/>
                  </a:lnTo>
                  <a:lnTo>
                    <a:pt x="644" y="454"/>
                  </a:lnTo>
                  <a:lnTo>
                    <a:pt x="689" y="456"/>
                  </a:lnTo>
                  <a:lnTo>
                    <a:pt x="689" y="456"/>
                  </a:lnTo>
                  <a:lnTo>
                    <a:pt x="689" y="456"/>
                  </a:lnTo>
                  <a:lnTo>
                    <a:pt x="735" y="454"/>
                  </a:lnTo>
                  <a:lnTo>
                    <a:pt x="781" y="451"/>
                  </a:lnTo>
                  <a:lnTo>
                    <a:pt x="827" y="446"/>
                  </a:lnTo>
                  <a:lnTo>
                    <a:pt x="872" y="438"/>
                  </a:lnTo>
                  <a:lnTo>
                    <a:pt x="918" y="428"/>
                  </a:lnTo>
                  <a:lnTo>
                    <a:pt x="962" y="416"/>
                  </a:lnTo>
                  <a:lnTo>
                    <a:pt x="1007" y="403"/>
                  </a:lnTo>
                  <a:lnTo>
                    <a:pt x="1050" y="385"/>
                  </a:lnTo>
                  <a:lnTo>
                    <a:pt x="1093" y="367"/>
                  </a:lnTo>
                  <a:lnTo>
                    <a:pt x="1134" y="346"/>
                  </a:lnTo>
                  <a:lnTo>
                    <a:pt x="1176" y="323"/>
                  </a:lnTo>
                  <a:lnTo>
                    <a:pt x="1216" y="298"/>
                  </a:lnTo>
                  <a:lnTo>
                    <a:pt x="1255" y="270"/>
                  </a:lnTo>
                  <a:lnTo>
                    <a:pt x="1294" y="241"/>
                  </a:lnTo>
                  <a:lnTo>
                    <a:pt x="1331" y="209"/>
                  </a:lnTo>
                  <a:lnTo>
                    <a:pt x="1367" y="175"/>
                  </a:lnTo>
                  <a:lnTo>
                    <a:pt x="1367" y="175"/>
                  </a:lnTo>
                  <a:lnTo>
                    <a:pt x="1367" y="175"/>
                  </a:lnTo>
                  <a:lnTo>
                    <a:pt x="1372" y="169"/>
                  </a:lnTo>
                  <a:lnTo>
                    <a:pt x="1375" y="162"/>
                  </a:lnTo>
                  <a:lnTo>
                    <a:pt x="1377" y="155"/>
                  </a:lnTo>
                  <a:lnTo>
                    <a:pt x="1378" y="148"/>
                  </a:lnTo>
                  <a:lnTo>
                    <a:pt x="1377" y="140"/>
                  </a:lnTo>
                  <a:lnTo>
                    <a:pt x="1375" y="133"/>
                  </a:lnTo>
                  <a:lnTo>
                    <a:pt x="1372" y="126"/>
                  </a:lnTo>
                  <a:lnTo>
                    <a:pt x="1367" y="120"/>
                  </a:lnTo>
                  <a:lnTo>
                    <a:pt x="1367" y="120"/>
                  </a:lnTo>
                  <a:lnTo>
                    <a:pt x="1367" y="120"/>
                  </a:lnTo>
                  <a:lnTo>
                    <a:pt x="1360" y="114"/>
                  </a:lnTo>
                  <a:lnTo>
                    <a:pt x="1354" y="111"/>
                  </a:lnTo>
                  <a:lnTo>
                    <a:pt x="1346" y="109"/>
                  </a:lnTo>
                  <a:lnTo>
                    <a:pt x="1339" y="109"/>
                  </a:lnTo>
                  <a:lnTo>
                    <a:pt x="1331" y="109"/>
                  </a:lnTo>
                  <a:lnTo>
                    <a:pt x="1324" y="111"/>
                  </a:lnTo>
                  <a:lnTo>
                    <a:pt x="1317" y="114"/>
                  </a:lnTo>
                  <a:lnTo>
                    <a:pt x="1312" y="120"/>
                  </a:lnTo>
                  <a:lnTo>
                    <a:pt x="1312" y="120"/>
                  </a:lnTo>
                  <a:lnTo>
                    <a:pt x="1312" y="120"/>
                  </a:lnTo>
                  <a:lnTo>
                    <a:pt x="1278" y="151"/>
                  </a:lnTo>
                  <a:lnTo>
                    <a:pt x="1245" y="180"/>
                  </a:lnTo>
                  <a:lnTo>
                    <a:pt x="1209" y="208"/>
                  </a:lnTo>
                  <a:lnTo>
                    <a:pt x="1174" y="232"/>
                  </a:lnTo>
                  <a:lnTo>
                    <a:pt x="1137" y="256"/>
                  </a:lnTo>
                  <a:lnTo>
                    <a:pt x="1099" y="277"/>
                  </a:lnTo>
                  <a:lnTo>
                    <a:pt x="1060" y="295"/>
                  </a:lnTo>
                  <a:lnTo>
                    <a:pt x="1020" y="313"/>
                  </a:lnTo>
                  <a:lnTo>
                    <a:pt x="980" y="328"/>
                  </a:lnTo>
                  <a:lnTo>
                    <a:pt x="940" y="341"/>
                  </a:lnTo>
                  <a:lnTo>
                    <a:pt x="898" y="352"/>
                  </a:lnTo>
                  <a:lnTo>
                    <a:pt x="857" y="361"/>
                  </a:lnTo>
                  <a:lnTo>
                    <a:pt x="815" y="368"/>
                  </a:lnTo>
                  <a:lnTo>
                    <a:pt x="774" y="374"/>
                  </a:lnTo>
                  <a:lnTo>
                    <a:pt x="731" y="376"/>
                  </a:lnTo>
                  <a:lnTo>
                    <a:pt x="689" y="377"/>
                  </a:lnTo>
                  <a:lnTo>
                    <a:pt x="689" y="377"/>
                  </a:lnTo>
                  <a:lnTo>
                    <a:pt x="689" y="377"/>
                  </a:lnTo>
                  <a:lnTo>
                    <a:pt x="647" y="376"/>
                  </a:lnTo>
                  <a:lnTo>
                    <a:pt x="605" y="374"/>
                  </a:lnTo>
                  <a:lnTo>
                    <a:pt x="563" y="368"/>
                  </a:lnTo>
                  <a:lnTo>
                    <a:pt x="522" y="361"/>
                  </a:lnTo>
                  <a:lnTo>
                    <a:pt x="480" y="352"/>
                  </a:lnTo>
                  <a:lnTo>
                    <a:pt x="439" y="341"/>
                  </a:lnTo>
                  <a:lnTo>
                    <a:pt x="399" y="328"/>
                  </a:lnTo>
                  <a:lnTo>
                    <a:pt x="358" y="313"/>
                  </a:lnTo>
                  <a:lnTo>
                    <a:pt x="319" y="295"/>
                  </a:lnTo>
                  <a:lnTo>
                    <a:pt x="280" y="277"/>
                  </a:lnTo>
                  <a:lnTo>
                    <a:pt x="242" y="256"/>
                  </a:lnTo>
                  <a:lnTo>
                    <a:pt x="205" y="232"/>
                  </a:lnTo>
                  <a:lnTo>
                    <a:pt x="169" y="208"/>
                  </a:lnTo>
                  <a:lnTo>
                    <a:pt x="134" y="180"/>
                  </a:lnTo>
                  <a:lnTo>
                    <a:pt x="100" y="151"/>
                  </a:lnTo>
                  <a:lnTo>
                    <a:pt x="67" y="120"/>
                  </a:lnTo>
                  <a:lnTo>
                    <a:pt x="67" y="120"/>
                  </a:lnTo>
                  <a:lnTo>
                    <a:pt x="67" y="120"/>
                  </a:lnTo>
                  <a:lnTo>
                    <a:pt x="61" y="114"/>
                  </a:lnTo>
                  <a:lnTo>
                    <a:pt x="54" y="111"/>
                  </a:lnTo>
                  <a:lnTo>
                    <a:pt x="47" y="109"/>
                  </a:lnTo>
                  <a:lnTo>
                    <a:pt x="39" y="109"/>
                  </a:lnTo>
                  <a:lnTo>
                    <a:pt x="32" y="109"/>
                  </a:lnTo>
                  <a:lnTo>
                    <a:pt x="25" y="111"/>
                  </a:lnTo>
                  <a:lnTo>
                    <a:pt x="18" y="114"/>
                  </a:lnTo>
                  <a:lnTo>
                    <a:pt x="12" y="120"/>
                  </a:lnTo>
                  <a:lnTo>
                    <a:pt x="12" y="120"/>
                  </a:lnTo>
                  <a:close/>
                </a:path>
              </a:pathLst>
            </a:custGeom>
            <a:solidFill>
              <a:srgbClr val="FFFFFF"/>
            </a:solidFill>
            <a:ln w="9525">
              <a:solidFill>
                <a:srgbClr val="000000"/>
              </a:solidFill>
              <a:round/>
              <a:headEnd/>
              <a:tailEnd/>
            </a:ln>
          </p:spPr>
          <p:txBody>
            <a:bodyPr vert="horz" wrap="square" lIns="91404" tIns="45702" rIns="91404" bIns="45702"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marL="0" marR="0" lvl="0" indent="0" algn="l" defTabSz="914034"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sp>
        <p:nvSpPr>
          <p:cNvPr id="26" name="Chevron 37">
            <a:extLst>
              <a:ext uri="{FF2B5EF4-FFF2-40B4-BE49-F238E27FC236}">
                <a16:creationId xmlns:a16="http://schemas.microsoft.com/office/drawing/2014/main" id="{3F0A71B9-7632-422D-9092-079B79AF9FF4}"/>
              </a:ext>
            </a:extLst>
          </p:cNvPr>
          <p:cNvSpPr/>
          <p:nvPr/>
        </p:nvSpPr>
        <p:spPr>
          <a:xfrm>
            <a:off x="1221789" y="1628752"/>
            <a:ext cx="2219954" cy="355559"/>
          </a:xfrm>
          <a:prstGeom prst="chevron">
            <a:avLst>
              <a:gd name="adj" fmla="val 26029"/>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lIns="91440" tIns="45720" rIns="91440" bIns="4572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43" algn="l" rtl="0" fontAlgn="base">
              <a:spcBef>
                <a:spcPct val="0"/>
              </a:spcBef>
              <a:spcAft>
                <a:spcPct val="0"/>
              </a:spcAft>
              <a:defRPr kern="1200">
                <a:solidFill>
                  <a:schemeClr val="lt1"/>
                </a:solidFill>
                <a:latin typeface="+mn-lt"/>
                <a:ea typeface="+mn-ea"/>
                <a:cs typeface="+mn-cs"/>
              </a:defRPr>
            </a:lvl2pPr>
            <a:lvl3pPr marL="1218885" algn="l" rtl="0" fontAlgn="base">
              <a:spcBef>
                <a:spcPct val="0"/>
              </a:spcBef>
              <a:spcAft>
                <a:spcPct val="0"/>
              </a:spcAft>
              <a:defRPr kern="1200">
                <a:solidFill>
                  <a:schemeClr val="lt1"/>
                </a:solidFill>
                <a:latin typeface="+mn-lt"/>
                <a:ea typeface="+mn-ea"/>
                <a:cs typeface="+mn-cs"/>
              </a:defRPr>
            </a:lvl3pPr>
            <a:lvl4pPr marL="1828328" algn="l" rtl="0" fontAlgn="base">
              <a:spcBef>
                <a:spcPct val="0"/>
              </a:spcBef>
              <a:spcAft>
                <a:spcPct val="0"/>
              </a:spcAft>
              <a:defRPr kern="1200">
                <a:solidFill>
                  <a:schemeClr val="lt1"/>
                </a:solidFill>
                <a:latin typeface="+mn-lt"/>
                <a:ea typeface="+mn-ea"/>
                <a:cs typeface="+mn-cs"/>
              </a:defRPr>
            </a:lvl4pPr>
            <a:lvl5pPr marL="2437771" algn="l" rtl="0" fontAlgn="base">
              <a:spcBef>
                <a:spcPct val="0"/>
              </a:spcBef>
              <a:spcAft>
                <a:spcPct val="0"/>
              </a:spcAft>
              <a:defRPr kern="1200">
                <a:solidFill>
                  <a:schemeClr val="lt1"/>
                </a:solidFill>
                <a:latin typeface="+mn-lt"/>
                <a:ea typeface="+mn-ea"/>
                <a:cs typeface="+mn-cs"/>
              </a:defRPr>
            </a:lvl5pPr>
            <a:lvl6pPr marL="3047213" algn="l" defTabSz="1218885" rtl="0" eaLnBrk="1" latinLnBrk="0" hangingPunct="1">
              <a:defRPr kern="1200">
                <a:solidFill>
                  <a:schemeClr val="lt1"/>
                </a:solidFill>
                <a:latin typeface="+mn-lt"/>
                <a:ea typeface="+mn-ea"/>
                <a:cs typeface="+mn-cs"/>
              </a:defRPr>
            </a:lvl6pPr>
            <a:lvl7pPr marL="3656656" algn="l" defTabSz="1218885" rtl="0" eaLnBrk="1" latinLnBrk="0" hangingPunct="1">
              <a:defRPr kern="1200">
                <a:solidFill>
                  <a:schemeClr val="lt1"/>
                </a:solidFill>
                <a:latin typeface="+mn-lt"/>
                <a:ea typeface="+mn-ea"/>
                <a:cs typeface="+mn-cs"/>
              </a:defRPr>
            </a:lvl7pPr>
            <a:lvl8pPr marL="4266097" algn="l" defTabSz="1218885" rtl="0" eaLnBrk="1" latinLnBrk="0" hangingPunct="1">
              <a:defRPr kern="1200">
                <a:solidFill>
                  <a:schemeClr val="lt1"/>
                </a:solidFill>
                <a:latin typeface="+mn-lt"/>
                <a:ea typeface="+mn-ea"/>
                <a:cs typeface="+mn-cs"/>
              </a:defRPr>
            </a:lvl8pPr>
            <a:lvl9pPr marL="4875541" algn="l" defTabSz="1218885" rtl="0" eaLnBrk="1" latinLnBrk="0" hangingPunct="1">
              <a:defRPr kern="1200">
                <a:solidFill>
                  <a:schemeClr val="lt1"/>
                </a:solidFill>
                <a:latin typeface="+mn-lt"/>
                <a:ea typeface="+mn-ea"/>
                <a:cs typeface="+mn-cs"/>
              </a:defRPr>
            </a:lvl9pPr>
          </a:lstStyle>
          <a:p>
            <a:pPr algn="ctr">
              <a:defRPr/>
            </a:pPr>
            <a:r>
              <a:rPr lang="en-US" sz="1200">
                <a:solidFill>
                  <a:srgbClr val="000000"/>
                </a:solidFill>
                <a:latin typeface="Graphik"/>
                <a:cs typeface="Calibri"/>
              </a:rPr>
              <a:t>Health Insurance</a:t>
            </a:r>
            <a:endParaRPr lang="en-AU" sz="1200" b="0" i="0" u="none" strike="noStrike" kern="1200" cap="none" spc="0" normalizeH="0" baseline="0" noProof="0">
              <a:ln>
                <a:noFill/>
              </a:ln>
              <a:solidFill>
                <a:srgbClr val="000000"/>
              </a:solidFill>
              <a:effectLst/>
              <a:uLnTx/>
              <a:uFillTx/>
              <a:latin typeface="Graphik"/>
              <a:cs typeface="Calibri" panose="020F0502020204030204" pitchFamily="34" charset="0"/>
            </a:endParaRPr>
          </a:p>
        </p:txBody>
      </p:sp>
      <p:sp>
        <p:nvSpPr>
          <p:cNvPr id="27" name="Chevron 37">
            <a:extLst>
              <a:ext uri="{FF2B5EF4-FFF2-40B4-BE49-F238E27FC236}">
                <a16:creationId xmlns:a16="http://schemas.microsoft.com/office/drawing/2014/main" id="{6C5A4B42-C896-47A7-99C5-2483C6E1BA5A}"/>
              </a:ext>
            </a:extLst>
          </p:cNvPr>
          <p:cNvSpPr/>
          <p:nvPr/>
        </p:nvSpPr>
        <p:spPr>
          <a:xfrm>
            <a:off x="1221789" y="2424868"/>
            <a:ext cx="2219954" cy="355559"/>
          </a:xfrm>
          <a:prstGeom prst="chevron">
            <a:avLst>
              <a:gd name="adj" fmla="val 26029"/>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43" algn="l" rtl="0" fontAlgn="base">
              <a:spcBef>
                <a:spcPct val="0"/>
              </a:spcBef>
              <a:spcAft>
                <a:spcPct val="0"/>
              </a:spcAft>
              <a:defRPr kern="1200">
                <a:solidFill>
                  <a:schemeClr val="lt1"/>
                </a:solidFill>
                <a:latin typeface="+mn-lt"/>
                <a:ea typeface="+mn-ea"/>
                <a:cs typeface="+mn-cs"/>
              </a:defRPr>
            </a:lvl2pPr>
            <a:lvl3pPr marL="1218885" algn="l" rtl="0" fontAlgn="base">
              <a:spcBef>
                <a:spcPct val="0"/>
              </a:spcBef>
              <a:spcAft>
                <a:spcPct val="0"/>
              </a:spcAft>
              <a:defRPr kern="1200">
                <a:solidFill>
                  <a:schemeClr val="lt1"/>
                </a:solidFill>
                <a:latin typeface="+mn-lt"/>
                <a:ea typeface="+mn-ea"/>
                <a:cs typeface="+mn-cs"/>
              </a:defRPr>
            </a:lvl3pPr>
            <a:lvl4pPr marL="1828328" algn="l" rtl="0" fontAlgn="base">
              <a:spcBef>
                <a:spcPct val="0"/>
              </a:spcBef>
              <a:spcAft>
                <a:spcPct val="0"/>
              </a:spcAft>
              <a:defRPr kern="1200">
                <a:solidFill>
                  <a:schemeClr val="lt1"/>
                </a:solidFill>
                <a:latin typeface="+mn-lt"/>
                <a:ea typeface="+mn-ea"/>
                <a:cs typeface="+mn-cs"/>
              </a:defRPr>
            </a:lvl4pPr>
            <a:lvl5pPr marL="2437771" algn="l" rtl="0" fontAlgn="base">
              <a:spcBef>
                <a:spcPct val="0"/>
              </a:spcBef>
              <a:spcAft>
                <a:spcPct val="0"/>
              </a:spcAft>
              <a:defRPr kern="1200">
                <a:solidFill>
                  <a:schemeClr val="lt1"/>
                </a:solidFill>
                <a:latin typeface="+mn-lt"/>
                <a:ea typeface="+mn-ea"/>
                <a:cs typeface="+mn-cs"/>
              </a:defRPr>
            </a:lvl5pPr>
            <a:lvl6pPr marL="3047213" algn="l" defTabSz="1218885" rtl="0" eaLnBrk="1" latinLnBrk="0" hangingPunct="1">
              <a:defRPr kern="1200">
                <a:solidFill>
                  <a:schemeClr val="lt1"/>
                </a:solidFill>
                <a:latin typeface="+mn-lt"/>
                <a:ea typeface="+mn-ea"/>
                <a:cs typeface="+mn-cs"/>
              </a:defRPr>
            </a:lvl6pPr>
            <a:lvl7pPr marL="3656656" algn="l" defTabSz="1218885" rtl="0" eaLnBrk="1" latinLnBrk="0" hangingPunct="1">
              <a:defRPr kern="1200">
                <a:solidFill>
                  <a:schemeClr val="lt1"/>
                </a:solidFill>
                <a:latin typeface="+mn-lt"/>
                <a:ea typeface="+mn-ea"/>
                <a:cs typeface="+mn-cs"/>
              </a:defRPr>
            </a:lvl7pPr>
            <a:lvl8pPr marL="4266097" algn="l" defTabSz="1218885" rtl="0" eaLnBrk="1" latinLnBrk="0" hangingPunct="1">
              <a:defRPr kern="1200">
                <a:solidFill>
                  <a:schemeClr val="lt1"/>
                </a:solidFill>
                <a:latin typeface="+mn-lt"/>
                <a:ea typeface="+mn-ea"/>
                <a:cs typeface="+mn-cs"/>
              </a:defRPr>
            </a:lvl8pPr>
            <a:lvl9pPr marL="4875541" algn="l" defTabSz="1218885"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Graphik"/>
                <a:ea typeface="+mn-ea"/>
                <a:cs typeface="Calibri" panose="020F0502020204030204" pitchFamily="34" charset="0"/>
              </a:rPr>
              <a:t>Demographic Information</a:t>
            </a:r>
          </a:p>
        </p:txBody>
      </p:sp>
      <p:sp>
        <p:nvSpPr>
          <p:cNvPr id="28" name="Chevron 37">
            <a:extLst>
              <a:ext uri="{FF2B5EF4-FFF2-40B4-BE49-F238E27FC236}">
                <a16:creationId xmlns:a16="http://schemas.microsoft.com/office/drawing/2014/main" id="{5F86B7AA-644F-49D5-8DF6-56A8CDBAB714}"/>
              </a:ext>
            </a:extLst>
          </p:cNvPr>
          <p:cNvSpPr/>
          <p:nvPr/>
        </p:nvSpPr>
        <p:spPr>
          <a:xfrm>
            <a:off x="1221789" y="2822926"/>
            <a:ext cx="2219954" cy="355559"/>
          </a:xfrm>
          <a:prstGeom prst="chevron">
            <a:avLst>
              <a:gd name="adj" fmla="val 26029"/>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43" algn="l" rtl="0" fontAlgn="base">
              <a:spcBef>
                <a:spcPct val="0"/>
              </a:spcBef>
              <a:spcAft>
                <a:spcPct val="0"/>
              </a:spcAft>
              <a:defRPr kern="1200">
                <a:solidFill>
                  <a:schemeClr val="lt1"/>
                </a:solidFill>
                <a:latin typeface="+mn-lt"/>
                <a:ea typeface="+mn-ea"/>
                <a:cs typeface="+mn-cs"/>
              </a:defRPr>
            </a:lvl2pPr>
            <a:lvl3pPr marL="1218885" algn="l" rtl="0" fontAlgn="base">
              <a:spcBef>
                <a:spcPct val="0"/>
              </a:spcBef>
              <a:spcAft>
                <a:spcPct val="0"/>
              </a:spcAft>
              <a:defRPr kern="1200">
                <a:solidFill>
                  <a:schemeClr val="lt1"/>
                </a:solidFill>
                <a:latin typeface="+mn-lt"/>
                <a:ea typeface="+mn-ea"/>
                <a:cs typeface="+mn-cs"/>
              </a:defRPr>
            </a:lvl3pPr>
            <a:lvl4pPr marL="1828328" algn="l" rtl="0" fontAlgn="base">
              <a:spcBef>
                <a:spcPct val="0"/>
              </a:spcBef>
              <a:spcAft>
                <a:spcPct val="0"/>
              </a:spcAft>
              <a:defRPr kern="1200">
                <a:solidFill>
                  <a:schemeClr val="lt1"/>
                </a:solidFill>
                <a:latin typeface="+mn-lt"/>
                <a:ea typeface="+mn-ea"/>
                <a:cs typeface="+mn-cs"/>
              </a:defRPr>
            </a:lvl4pPr>
            <a:lvl5pPr marL="2437771" algn="l" rtl="0" fontAlgn="base">
              <a:spcBef>
                <a:spcPct val="0"/>
              </a:spcBef>
              <a:spcAft>
                <a:spcPct val="0"/>
              </a:spcAft>
              <a:defRPr kern="1200">
                <a:solidFill>
                  <a:schemeClr val="lt1"/>
                </a:solidFill>
                <a:latin typeface="+mn-lt"/>
                <a:ea typeface="+mn-ea"/>
                <a:cs typeface="+mn-cs"/>
              </a:defRPr>
            </a:lvl5pPr>
            <a:lvl6pPr marL="3047213" algn="l" defTabSz="1218885" rtl="0" eaLnBrk="1" latinLnBrk="0" hangingPunct="1">
              <a:defRPr kern="1200">
                <a:solidFill>
                  <a:schemeClr val="lt1"/>
                </a:solidFill>
                <a:latin typeface="+mn-lt"/>
                <a:ea typeface="+mn-ea"/>
                <a:cs typeface="+mn-cs"/>
              </a:defRPr>
            </a:lvl6pPr>
            <a:lvl7pPr marL="3656656" algn="l" defTabSz="1218885" rtl="0" eaLnBrk="1" latinLnBrk="0" hangingPunct="1">
              <a:defRPr kern="1200">
                <a:solidFill>
                  <a:schemeClr val="lt1"/>
                </a:solidFill>
                <a:latin typeface="+mn-lt"/>
                <a:ea typeface="+mn-ea"/>
                <a:cs typeface="+mn-cs"/>
              </a:defRPr>
            </a:lvl7pPr>
            <a:lvl8pPr marL="4266097" algn="l" defTabSz="1218885" rtl="0" eaLnBrk="1" latinLnBrk="0" hangingPunct="1">
              <a:defRPr kern="1200">
                <a:solidFill>
                  <a:schemeClr val="lt1"/>
                </a:solidFill>
                <a:latin typeface="+mn-lt"/>
                <a:ea typeface="+mn-ea"/>
                <a:cs typeface="+mn-cs"/>
              </a:defRPr>
            </a:lvl8pPr>
            <a:lvl9pPr marL="4875541" algn="l" defTabSz="1218885"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Graphik"/>
                <a:ea typeface="+mn-ea"/>
                <a:cs typeface="Calibri" panose="020F0502020204030204" pitchFamily="34" charset="0"/>
              </a:rPr>
              <a:t>Public Program Participation</a:t>
            </a:r>
          </a:p>
        </p:txBody>
      </p:sp>
      <p:sp>
        <p:nvSpPr>
          <p:cNvPr id="29" name="Chevron 37">
            <a:extLst>
              <a:ext uri="{FF2B5EF4-FFF2-40B4-BE49-F238E27FC236}">
                <a16:creationId xmlns:a16="http://schemas.microsoft.com/office/drawing/2014/main" id="{8C46C05E-2597-4AE1-876F-125E3447FF46}"/>
              </a:ext>
            </a:extLst>
          </p:cNvPr>
          <p:cNvSpPr/>
          <p:nvPr/>
        </p:nvSpPr>
        <p:spPr>
          <a:xfrm>
            <a:off x="1221789" y="2026810"/>
            <a:ext cx="2219954" cy="355559"/>
          </a:xfrm>
          <a:prstGeom prst="chevron">
            <a:avLst>
              <a:gd name="adj" fmla="val 26029"/>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43" algn="l" rtl="0" fontAlgn="base">
              <a:spcBef>
                <a:spcPct val="0"/>
              </a:spcBef>
              <a:spcAft>
                <a:spcPct val="0"/>
              </a:spcAft>
              <a:defRPr kern="1200">
                <a:solidFill>
                  <a:schemeClr val="lt1"/>
                </a:solidFill>
                <a:latin typeface="+mn-lt"/>
                <a:ea typeface="+mn-ea"/>
                <a:cs typeface="+mn-cs"/>
              </a:defRPr>
            </a:lvl2pPr>
            <a:lvl3pPr marL="1218885" algn="l" rtl="0" fontAlgn="base">
              <a:spcBef>
                <a:spcPct val="0"/>
              </a:spcBef>
              <a:spcAft>
                <a:spcPct val="0"/>
              </a:spcAft>
              <a:defRPr kern="1200">
                <a:solidFill>
                  <a:schemeClr val="lt1"/>
                </a:solidFill>
                <a:latin typeface="+mn-lt"/>
                <a:ea typeface="+mn-ea"/>
                <a:cs typeface="+mn-cs"/>
              </a:defRPr>
            </a:lvl3pPr>
            <a:lvl4pPr marL="1828328" algn="l" rtl="0" fontAlgn="base">
              <a:spcBef>
                <a:spcPct val="0"/>
              </a:spcBef>
              <a:spcAft>
                <a:spcPct val="0"/>
              </a:spcAft>
              <a:defRPr kern="1200">
                <a:solidFill>
                  <a:schemeClr val="lt1"/>
                </a:solidFill>
                <a:latin typeface="+mn-lt"/>
                <a:ea typeface="+mn-ea"/>
                <a:cs typeface="+mn-cs"/>
              </a:defRPr>
            </a:lvl4pPr>
            <a:lvl5pPr marL="2437771" algn="l" rtl="0" fontAlgn="base">
              <a:spcBef>
                <a:spcPct val="0"/>
              </a:spcBef>
              <a:spcAft>
                <a:spcPct val="0"/>
              </a:spcAft>
              <a:defRPr kern="1200">
                <a:solidFill>
                  <a:schemeClr val="lt1"/>
                </a:solidFill>
                <a:latin typeface="+mn-lt"/>
                <a:ea typeface="+mn-ea"/>
                <a:cs typeface="+mn-cs"/>
              </a:defRPr>
            </a:lvl5pPr>
            <a:lvl6pPr marL="3047213" algn="l" defTabSz="1218885" rtl="0" eaLnBrk="1" latinLnBrk="0" hangingPunct="1">
              <a:defRPr kern="1200">
                <a:solidFill>
                  <a:schemeClr val="lt1"/>
                </a:solidFill>
                <a:latin typeface="+mn-lt"/>
                <a:ea typeface="+mn-ea"/>
                <a:cs typeface="+mn-cs"/>
              </a:defRPr>
            </a:lvl6pPr>
            <a:lvl7pPr marL="3656656" algn="l" defTabSz="1218885" rtl="0" eaLnBrk="1" latinLnBrk="0" hangingPunct="1">
              <a:defRPr kern="1200">
                <a:solidFill>
                  <a:schemeClr val="lt1"/>
                </a:solidFill>
                <a:latin typeface="+mn-lt"/>
                <a:ea typeface="+mn-ea"/>
                <a:cs typeface="+mn-cs"/>
              </a:defRPr>
            </a:lvl7pPr>
            <a:lvl8pPr marL="4266097" algn="l" defTabSz="1218885" rtl="0" eaLnBrk="1" latinLnBrk="0" hangingPunct="1">
              <a:defRPr kern="1200">
                <a:solidFill>
                  <a:schemeClr val="lt1"/>
                </a:solidFill>
                <a:latin typeface="+mn-lt"/>
                <a:ea typeface="+mn-ea"/>
                <a:cs typeface="+mn-cs"/>
              </a:defRPr>
            </a:lvl8pPr>
            <a:lvl9pPr marL="4875541" algn="l" defTabSz="1218885"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a:ea typeface="+mn-ea"/>
                <a:cs typeface="Calibri" panose="020F0502020204030204" pitchFamily="34" charset="0"/>
              </a:rPr>
              <a:t>Screening Information</a:t>
            </a:r>
          </a:p>
        </p:txBody>
      </p:sp>
      <p:pic>
        <p:nvPicPr>
          <p:cNvPr id="52" name="Graphic 42">
            <a:extLst>
              <a:ext uri="{FF2B5EF4-FFF2-40B4-BE49-F238E27FC236}">
                <a16:creationId xmlns:a16="http://schemas.microsoft.com/office/drawing/2014/main" id="{82C85FED-0CBA-4AE4-BE37-C5B81F4F48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501" y="1638710"/>
            <a:ext cx="430212" cy="297790"/>
          </a:xfrm>
          <a:prstGeom prst="rect">
            <a:avLst/>
          </a:prstGeom>
        </p:spPr>
      </p:pic>
      <p:grpSp>
        <p:nvGrpSpPr>
          <p:cNvPr id="53" name="Graphic 17">
            <a:extLst>
              <a:ext uri="{FF2B5EF4-FFF2-40B4-BE49-F238E27FC236}">
                <a16:creationId xmlns:a16="http://schemas.microsoft.com/office/drawing/2014/main" id="{7E00A723-B9F1-491A-A28B-34A3D879B9AA}"/>
              </a:ext>
            </a:extLst>
          </p:cNvPr>
          <p:cNvGrpSpPr/>
          <p:nvPr/>
        </p:nvGrpSpPr>
        <p:grpSpPr>
          <a:xfrm>
            <a:off x="801627" y="2461383"/>
            <a:ext cx="430213" cy="256965"/>
            <a:chOff x="7480299" y="3794597"/>
            <a:chExt cx="874685" cy="570446"/>
          </a:xfrm>
          <a:solidFill>
            <a:schemeClr val="accent2"/>
          </a:solidFill>
        </p:grpSpPr>
        <p:sp>
          <p:nvSpPr>
            <p:cNvPr id="54" name="Freeform: Shape 53">
              <a:extLst>
                <a:ext uri="{FF2B5EF4-FFF2-40B4-BE49-F238E27FC236}">
                  <a16:creationId xmlns:a16="http://schemas.microsoft.com/office/drawing/2014/main" id="{B1A84542-B147-4615-951C-B8D300AAC2CA}"/>
                </a:ext>
              </a:extLst>
            </p:cNvPr>
            <p:cNvSpPr/>
            <p:nvPr/>
          </p:nvSpPr>
          <p:spPr>
            <a:xfrm>
              <a:off x="7813791" y="3794597"/>
              <a:ext cx="541193" cy="570446"/>
            </a:xfrm>
            <a:custGeom>
              <a:avLst/>
              <a:gdLst>
                <a:gd name="connsiteX0" fmla="*/ 46806 w 541192"/>
                <a:gd name="connsiteY0" fmla="*/ 577467 h 570446"/>
                <a:gd name="connsiteX1" fmla="*/ 112627 w 541192"/>
                <a:gd name="connsiteY1" fmla="*/ 205507 h 570446"/>
                <a:gd name="connsiteX2" fmla="*/ 170403 w 541192"/>
                <a:gd name="connsiteY2" fmla="*/ 526566 h 570446"/>
                <a:gd name="connsiteX3" fmla="*/ 280835 w 541192"/>
                <a:gd name="connsiteY3" fmla="*/ 526566 h 570446"/>
                <a:gd name="connsiteX4" fmla="*/ 318134 w 541192"/>
                <a:gd name="connsiteY4" fmla="*/ 388342 h 570446"/>
                <a:gd name="connsiteX5" fmla="*/ 544118 w 541192"/>
                <a:gd name="connsiteY5" fmla="*/ 388342 h 570446"/>
                <a:gd name="connsiteX6" fmla="*/ 544118 w 541192"/>
                <a:gd name="connsiteY6" fmla="*/ 300581 h 570446"/>
                <a:gd name="connsiteX7" fmla="*/ 250850 w 541192"/>
                <a:gd name="connsiteY7" fmla="*/ 300581 h 570446"/>
                <a:gd name="connsiteX8" fmla="*/ 231835 w 541192"/>
                <a:gd name="connsiteY8" fmla="*/ 370790 h 570446"/>
                <a:gd name="connsiteX9" fmla="*/ 166015 w 541192"/>
                <a:gd name="connsiteY9" fmla="*/ 0 h 570446"/>
                <a:gd name="connsiteX10" fmla="*/ 59970 w 541192"/>
                <a:gd name="connsiteY10" fmla="*/ 0 h 570446"/>
                <a:gd name="connsiteX11" fmla="*/ 0 w 541192"/>
                <a:gd name="connsiteY11" fmla="*/ 345924 h 5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1192" h="570446">
                  <a:moveTo>
                    <a:pt x="46806" y="577467"/>
                  </a:moveTo>
                  <a:lnTo>
                    <a:pt x="112627" y="205507"/>
                  </a:lnTo>
                  <a:lnTo>
                    <a:pt x="170403" y="526566"/>
                  </a:lnTo>
                  <a:lnTo>
                    <a:pt x="280835" y="526566"/>
                  </a:lnTo>
                  <a:lnTo>
                    <a:pt x="318134" y="388342"/>
                  </a:lnTo>
                  <a:lnTo>
                    <a:pt x="544118" y="388342"/>
                  </a:lnTo>
                  <a:lnTo>
                    <a:pt x="544118" y="300581"/>
                  </a:lnTo>
                  <a:lnTo>
                    <a:pt x="250850" y="300581"/>
                  </a:lnTo>
                  <a:lnTo>
                    <a:pt x="231835" y="370790"/>
                  </a:lnTo>
                  <a:lnTo>
                    <a:pt x="166015" y="0"/>
                  </a:lnTo>
                  <a:lnTo>
                    <a:pt x="59970" y="0"/>
                  </a:lnTo>
                  <a:lnTo>
                    <a:pt x="0" y="345924"/>
                  </a:lnTo>
                  <a:close/>
                </a:path>
              </a:pathLst>
            </a:custGeom>
            <a:grpFill/>
            <a:ln w="14605" cap="flat">
              <a:solidFill>
                <a:schemeClr val="accent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5" name="Freeform: Shape 54">
              <a:extLst>
                <a:ext uri="{FF2B5EF4-FFF2-40B4-BE49-F238E27FC236}">
                  <a16:creationId xmlns:a16="http://schemas.microsoft.com/office/drawing/2014/main" id="{7E0CD0EE-5B5B-4EC3-ACEB-1ED4CCEC3CB2}"/>
                </a:ext>
              </a:extLst>
            </p:cNvPr>
            <p:cNvSpPr/>
            <p:nvPr/>
          </p:nvSpPr>
          <p:spPr>
            <a:xfrm>
              <a:off x="7813791" y="3794597"/>
              <a:ext cx="102388" cy="570446"/>
            </a:xfrm>
            <a:custGeom>
              <a:avLst/>
              <a:gdLst>
                <a:gd name="connsiteX0" fmla="*/ 0 w 102387"/>
                <a:gd name="connsiteY0" fmla="*/ 345924 h 570446"/>
                <a:gd name="connsiteX1" fmla="*/ 46806 w 102387"/>
                <a:gd name="connsiteY1" fmla="*/ 577467 h 570446"/>
                <a:gd name="connsiteX2" fmla="*/ 112627 w 102387"/>
                <a:gd name="connsiteY2" fmla="*/ 205507 h 570446"/>
                <a:gd name="connsiteX3" fmla="*/ 59970 w 102387"/>
                <a:gd name="connsiteY3" fmla="*/ 0 h 570446"/>
              </a:gdLst>
              <a:ahLst/>
              <a:cxnLst>
                <a:cxn ang="0">
                  <a:pos x="connsiteX0" y="connsiteY0"/>
                </a:cxn>
                <a:cxn ang="0">
                  <a:pos x="connsiteX1" y="connsiteY1"/>
                </a:cxn>
                <a:cxn ang="0">
                  <a:pos x="connsiteX2" y="connsiteY2"/>
                </a:cxn>
                <a:cxn ang="0">
                  <a:pos x="connsiteX3" y="connsiteY3"/>
                </a:cxn>
              </a:cxnLst>
              <a:rect l="l" t="t" r="r" b="b"/>
              <a:pathLst>
                <a:path w="102387" h="570446">
                  <a:moveTo>
                    <a:pt x="0" y="345924"/>
                  </a:moveTo>
                  <a:lnTo>
                    <a:pt x="46806" y="577467"/>
                  </a:lnTo>
                  <a:lnTo>
                    <a:pt x="112627" y="205507"/>
                  </a:lnTo>
                  <a:lnTo>
                    <a:pt x="59970" y="0"/>
                  </a:lnTo>
                  <a:close/>
                </a:path>
              </a:pathLst>
            </a:custGeom>
            <a:grpFill/>
            <a:ln w="14605" cap="flat">
              <a:solidFill>
                <a:schemeClr val="accent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6" name="Freeform: Shape 55">
              <a:extLst>
                <a:ext uri="{FF2B5EF4-FFF2-40B4-BE49-F238E27FC236}">
                  <a16:creationId xmlns:a16="http://schemas.microsoft.com/office/drawing/2014/main" id="{7D572BB6-2756-4FE1-8961-6CD7CC4D474E}"/>
                </a:ext>
              </a:extLst>
            </p:cNvPr>
            <p:cNvSpPr/>
            <p:nvPr/>
          </p:nvSpPr>
          <p:spPr>
            <a:xfrm>
              <a:off x="7480299" y="3934283"/>
              <a:ext cx="380298" cy="424178"/>
            </a:xfrm>
            <a:custGeom>
              <a:avLst/>
              <a:gdLst>
                <a:gd name="connsiteX0" fmla="*/ 0 w 380297"/>
                <a:gd name="connsiteY0" fmla="*/ 248656 h 424177"/>
                <a:gd name="connsiteX1" fmla="*/ 197462 w 380297"/>
                <a:gd name="connsiteY1" fmla="*/ 248656 h 424177"/>
                <a:gd name="connsiteX2" fmla="*/ 230080 w 380297"/>
                <a:gd name="connsiteY2" fmla="*/ 164844 h 424177"/>
                <a:gd name="connsiteX3" fmla="*/ 303214 w 380297"/>
                <a:gd name="connsiteY3" fmla="*/ 437781 h 424177"/>
                <a:gd name="connsiteX4" fmla="*/ 380298 w 380297"/>
                <a:gd name="connsiteY4" fmla="*/ 437781 h 424177"/>
                <a:gd name="connsiteX5" fmla="*/ 333492 w 380297"/>
                <a:gd name="connsiteY5" fmla="*/ 206238 h 424177"/>
                <a:gd name="connsiteX6" fmla="*/ 280104 w 380297"/>
                <a:gd name="connsiteY6" fmla="*/ 0 h 424177"/>
                <a:gd name="connsiteX7" fmla="*/ 196000 w 380297"/>
                <a:gd name="connsiteY7" fmla="*/ 0 h 424177"/>
                <a:gd name="connsiteX8" fmla="*/ 138224 w 380297"/>
                <a:gd name="connsiteY8" fmla="*/ 161626 h 424177"/>
                <a:gd name="connsiteX9" fmla="*/ 0 w 380297"/>
                <a:gd name="connsiteY9" fmla="*/ 160895 h 42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297" h="424177">
                  <a:moveTo>
                    <a:pt x="0" y="248656"/>
                  </a:moveTo>
                  <a:lnTo>
                    <a:pt x="197462" y="248656"/>
                  </a:lnTo>
                  <a:lnTo>
                    <a:pt x="230080" y="164844"/>
                  </a:lnTo>
                  <a:lnTo>
                    <a:pt x="303214" y="437781"/>
                  </a:lnTo>
                  <a:lnTo>
                    <a:pt x="380298" y="437781"/>
                  </a:lnTo>
                  <a:lnTo>
                    <a:pt x="333492" y="206238"/>
                  </a:lnTo>
                  <a:lnTo>
                    <a:pt x="280104" y="0"/>
                  </a:lnTo>
                  <a:lnTo>
                    <a:pt x="196000" y="0"/>
                  </a:lnTo>
                  <a:lnTo>
                    <a:pt x="138224" y="161626"/>
                  </a:lnTo>
                  <a:lnTo>
                    <a:pt x="0" y="160895"/>
                  </a:lnTo>
                  <a:close/>
                </a:path>
              </a:pathLst>
            </a:custGeom>
            <a:grpFill/>
            <a:ln w="14605" cap="flat">
              <a:solidFill>
                <a:schemeClr val="accent2"/>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grpSp>
        <p:nvGrpSpPr>
          <p:cNvPr id="57" name="icnMedical">
            <a:extLst>
              <a:ext uri="{FF2B5EF4-FFF2-40B4-BE49-F238E27FC236}">
                <a16:creationId xmlns:a16="http://schemas.microsoft.com/office/drawing/2014/main" id="{F0DB21CE-E09A-43B7-8CC7-682556886D0E}"/>
              </a:ext>
            </a:extLst>
          </p:cNvPr>
          <p:cNvGrpSpPr>
            <a:grpSpLocks noChangeAspect="1"/>
          </p:cNvGrpSpPr>
          <p:nvPr/>
        </p:nvGrpSpPr>
        <p:grpSpPr>
          <a:xfrm>
            <a:off x="819500" y="1999590"/>
            <a:ext cx="346571" cy="355556"/>
            <a:chOff x="10485322" y="2844985"/>
            <a:chExt cx="485775" cy="493712"/>
          </a:xfrm>
          <a:solidFill>
            <a:schemeClr val="accent2"/>
          </a:solidFill>
        </p:grpSpPr>
        <p:sp>
          <p:nvSpPr>
            <p:cNvPr id="58" name="Freeform 117">
              <a:extLst>
                <a:ext uri="{FF2B5EF4-FFF2-40B4-BE49-F238E27FC236}">
                  <a16:creationId xmlns:a16="http://schemas.microsoft.com/office/drawing/2014/main" id="{4B728284-B223-4428-B06D-FB77A08B95B5}"/>
                </a:ext>
              </a:extLst>
            </p:cNvPr>
            <p:cNvSpPr>
              <a:spLocks/>
            </p:cNvSpPr>
            <p:nvPr/>
          </p:nvSpPr>
          <p:spPr bwMode="auto">
            <a:xfrm>
              <a:off x="10582160" y="3289485"/>
              <a:ext cx="342900" cy="49212"/>
            </a:xfrm>
            <a:custGeom>
              <a:avLst/>
              <a:gdLst>
                <a:gd name="T0" fmla="*/ 0 w 216"/>
                <a:gd name="T1" fmla="*/ 0 h 31"/>
                <a:gd name="T2" fmla="*/ 0 w 216"/>
                <a:gd name="T3" fmla="*/ 31 h 31"/>
                <a:gd name="T4" fmla="*/ 214 w 216"/>
                <a:gd name="T5" fmla="*/ 31 h 31"/>
                <a:gd name="T6" fmla="*/ 216 w 216"/>
                <a:gd name="T7" fmla="*/ 0 h 31"/>
                <a:gd name="T8" fmla="*/ 0 w 216"/>
                <a:gd name="T9" fmla="*/ 0 h 31"/>
              </a:gdLst>
              <a:ahLst/>
              <a:cxnLst>
                <a:cxn ang="0">
                  <a:pos x="T0" y="T1"/>
                </a:cxn>
                <a:cxn ang="0">
                  <a:pos x="T2" y="T3"/>
                </a:cxn>
                <a:cxn ang="0">
                  <a:pos x="T4" y="T5"/>
                </a:cxn>
                <a:cxn ang="0">
                  <a:pos x="T6" y="T7"/>
                </a:cxn>
                <a:cxn ang="0">
                  <a:pos x="T8" y="T9"/>
                </a:cxn>
              </a:cxnLst>
              <a:rect l="0" t="0" r="r" b="b"/>
              <a:pathLst>
                <a:path w="216" h="31">
                  <a:moveTo>
                    <a:pt x="0" y="0"/>
                  </a:moveTo>
                  <a:lnTo>
                    <a:pt x="0" y="31"/>
                  </a:lnTo>
                  <a:lnTo>
                    <a:pt x="214" y="31"/>
                  </a:lnTo>
                  <a:lnTo>
                    <a:pt x="216" y="0"/>
                  </a:lnTo>
                  <a:lnTo>
                    <a:pt x="0"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9" name="Freeform 118">
              <a:extLst>
                <a:ext uri="{FF2B5EF4-FFF2-40B4-BE49-F238E27FC236}">
                  <a16:creationId xmlns:a16="http://schemas.microsoft.com/office/drawing/2014/main" id="{0C220A19-E874-4BD0-9D31-9367899DC09A}"/>
                </a:ext>
              </a:extLst>
            </p:cNvPr>
            <p:cNvSpPr>
              <a:spLocks/>
            </p:cNvSpPr>
            <p:nvPr/>
          </p:nvSpPr>
          <p:spPr bwMode="auto">
            <a:xfrm>
              <a:off x="10631372" y="3041835"/>
              <a:ext cx="193675" cy="198437"/>
            </a:xfrm>
            <a:custGeom>
              <a:avLst/>
              <a:gdLst>
                <a:gd name="T0" fmla="*/ 46 w 122"/>
                <a:gd name="T1" fmla="*/ 0 h 125"/>
                <a:gd name="T2" fmla="*/ 76 w 122"/>
                <a:gd name="T3" fmla="*/ 0 h 125"/>
                <a:gd name="T4" fmla="*/ 76 w 122"/>
                <a:gd name="T5" fmla="*/ 47 h 125"/>
                <a:gd name="T6" fmla="*/ 122 w 122"/>
                <a:gd name="T7" fmla="*/ 47 h 125"/>
                <a:gd name="T8" fmla="*/ 122 w 122"/>
                <a:gd name="T9" fmla="*/ 78 h 125"/>
                <a:gd name="T10" fmla="*/ 76 w 122"/>
                <a:gd name="T11" fmla="*/ 78 h 125"/>
                <a:gd name="T12" fmla="*/ 76 w 122"/>
                <a:gd name="T13" fmla="*/ 125 h 125"/>
                <a:gd name="T14" fmla="*/ 46 w 122"/>
                <a:gd name="T15" fmla="*/ 125 h 125"/>
                <a:gd name="T16" fmla="*/ 46 w 122"/>
                <a:gd name="T17" fmla="*/ 78 h 125"/>
                <a:gd name="T18" fmla="*/ 0 w 122"/>
                <a:gd name="T19" fmla="*/ 78 h 125"/>
                <a:gd name="T20" fmla="*/ 0 w 122"/>
                <a:gd name="T21" fmla="*/ 47 h 125"/>
                <a:gd name="T22" fmla="*/ 46 w 122"/>
                <a:gd name="T23" fmla="*/ 47 h 125"/>
                <a:gd name="T24" fmla="*/ 46 w 122"/>
                <a:gd name="T2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25">
                  <a:moveTo>
                    <a:pt x="46" y="0"/>
                  </a:moveTo>
                  <a:lnTo>
                    <a:pt x="76" y="0"/>
                  </a:lnTo>
                  <a:lnTo>
                    <a:pt x="76" y="47"/>
                  </a:lnTo>
                  <a:lnTo>
                    <a:pt x="122" y="47"/>
                  </a:lnTo>
                  <a:lnTo>
                    <a:pt x="122" y="78"/>
                  </a:lnTo>
                  <a:lnTo>
                    <a:pt x="76" y="78"/>
                  </a:lnTo>
                  <a:lnTo>
                    <a:pt x="76" y="125"/>
                  </a:lnTo>
                  <a:lnTo>
                    <a:pt x="46" y="125"/>
                  </a:lnTo>
                  <a:lnTo>
                    <a:pt x="46" y="78"/>
                  </a:lnTo>
                  <a:lnTo>
                    <a:pt x="0" y="78"/>
                  </a:lnTo>
                  <a:lnTo>
                    <a:pt x="0" y="47"/>
                  </a:lnTo>
                  <a:lnTo>
                    <a:pt x="46" y="47"/>
                  </a:lnTo>
                  <a:lnTo>
                    <a:pt x="46"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60" name="Freeform 119">
              <a:extLst>
                <a:ext uri="{FF2B5EF4-FFF2-40B4-BE49-F238E27FC236}">
                  <a16:creationId xmlns:a16="http://schemas.microsoft.com/office/drawing/2014/main" id="{A676A622-12F2-43E1-B6A6-96F9884B6C68}"/>
                </a:ext>
              </a:extLst>
            </p:cNvPr>
            <p:cNvSpPr>
              <a:spLocks noEditPoints="1"/>
            </p:cNvSpPr>
            <p:nvPr/>
          </p:nvSpPr>
          <p:spPr bwMode="auto">
            <a:xfrm>
              <a:off x="10485322" y="2844985"/>
              <a:ext cx="485775" cy="493712"/>
            </a:xfrm>
            <a:custGeom>
              <a:avLst/>
              <a:gdLst>
                <a:gd name="T0" fmla="*/ 1042 w 1604"/>
                <a:gd name="T1" fmla="*/ 320 h 1603"/>
                <a:gd name="T2" fmla="*/ 561 w 1604"/>
                <a:gd name="T3" fmla="*/ 320 h 1603"/>
                <a:gd name="T4" fmla="*/ 561 w 1604"/>
                <a:gd name="T5" fmla="*/ 160 h 1603"/>
                <a:gd name="T6" fmla="*/ 1042 w 1604"/>
                <a:gd name="T7" fmla="*/ 160 h 1603"/>
                <a:gd name="T8" fmla="*/ 1042 w 1604"/>
                <a:gd name="T9" fmla="*/ 320 h 1603"/>
                <a:gd name="T10" fmla="*/ 1443 w 1604"/>
                <a:gd name="T11" fmla="*/ 320 h 1603"/>
                <a:gd name="T12" fmla="*/ 1203 w 1604"/>
                <a:gd name="T13" fmla="*/ 320 h 1603"/>
                <a:gd name="T14" fmla="*/ 1203 w 1604"/>
                <a:gd name="T15" fmla="*/ 160 h 1603"/>
                <a:gd name="T16" fmla="*/ 1042 w 1604"/>
                <a:gd name="T17" fmla="*/ 0 h 1603"/>
                <a:gd name="T18" fmla="*/ 561 w 1604"/>
                <a:gd name="T19" fmla="*/ 0 h 1603"/>
                <a:gd name="T20" fmla="*/ 401 w 1604"/>
                <a:gd name="T21" fmla="*/ 160 h 1603"/>
                <a:gd name="T22" fmla="*/ 401 w 1604"/>
                <a:gd name="T23" fmla="*/ 320 h 1603"/>
                <a:gd name="T24" fmla="*/ 160 w 1604"/>
                <a:gd name="T25" fmla="*/ 320 h 1603"/>
                <a:gd name="T26" fmla="*/ 0 w 1604"/>
                <a:gd name="T27" fmla="*/ 481 h 1603"/>
                <a:gd name="T28" fmla="*/ 0 w 1604"/>
                <a:gd name="T29" fmla="*/ 1443 h 1603"/>
                <a:gd name="T30" fmla="*/ 160 w 1604"/>
                <a:gd name="T31" fmla="*/ 1603 h 1603"/>
                <a:gd name="T32" fmla="*/ 160 w 1604"/>
                <a:gd name="T33" fmla="*/ 481 h 1603"/>
                <a:gd name="T34" fmla="*/ 1443 w 1604"/>
                <a:gd name="T35" fmla="*/ 481 h 1603"/>
                <a:gd name="T36" fmla="*/ 1443 w 1604"/>
                <a:gd name="T37" fmla="*/ 1443 h 1603"/>
                <a:gd name="T38" fmla="*/ 1443 w 1604"/>
                <a:gd name="T39" fmla="*/ 1603 h 1603"/>
                <a:gd name="T40" fmla="*/ 1604 w 1604"/>
                <a:gd name="T41" fmla="*/ 1443 h 1603"/>
                <a:gd name="T42" fmla="*/ 1604 w 1604"/>
                <a:gd name="T43" fmla="*/ 481 h 1603"/>
                <a:gd name="T44" fmla="*/ 1443 w 1604"/>
                <a:gd name="T45" fmla="*/ 32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4" h="1603">
                  <a:moveTo>
                    <a:pt x="1042" y="320"/>
                  </a:moveTo>
                  <a:lnTo>
                    <a:pt x="561" y="320"/>
                  </a:lnTo>
                  <a:lnTo>
                    <a:pt x="561" y="160"/>
                  </a:lnTo>
                  <a:lnTo>
                    <a:pt x="1042" y="160"/>
                  </a:lnTo>
                  <a:lnTo>
                    <a:pt x="1042" y="320"/>
                  </a:lnTo>
                  <a:close/>
                  <a:moveTo>
                    <a:pt x="1443" y="320"/>
                  </a:moveTo>
                  <a:lnTo>
                    <a:pt x="1203" y="320"/>
                  </a:lnTo>
                  <a:lnTo>
                    <a:pt x="1203" y="160"/>
                  </a:lnTo>
                  <a:lnTo>
                    <a:pt x="1042" y="0"/>
                  </a:lnTo>
                  <a:lnTo>
                    <a:pt x="561" y="0"/>
                  </a:lnTo>
                  <a:lnTo>
                    <a:pt x="401" y="160"/>
                  </a:lnTo>
                  <a:lnTo>
                    <a:pt x="401" y="320"/>
                  </a:lnTo>
                  <a:lnTo>
                    <a:pt x="160" y="320"/>
                  </a:lnTo>
                  <a:lnTo>
                    <a:pt x="0" y="481"/>
                  </a:lnTo>
                  <a:lnTo>
                    <a:pt x="0" y="1443"/>
                  </a:lnTo>
                  <a:lnTo>
                    <a:pt x="160" y="1603"/>
                  </a:lnTo>
                  <a:lnTo>
                    <a:pt x="160" y="481"/>
                  </a:lnTo>
                  <a:lnTo>
                    <a:pt x="1443" y="481"/>
                  </a:lnTo>
                  <a:lnTo>
                    <a:pt x="1443" y="1443"/>
                  </a:lnTo>
                  <a:lnTo>
                    <a:pt x="1443" y="1603"/>
                  </a:lnTo>
                  <a:lnTo>
                    <a:pt x="1604" y="1443"/>
                  </a:lnTo>
                  <a:lnTo>
                    <a:pt x="1604" y="481"/>
                  </a:lnTo>
                  <a:lnTo>
                    <a:pt x="1443" y="32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grpSp>
        <p:nvGrpSpPr>
          <p:cNvPr id="61" name="icnDef/Sec">
            <a:extLst>
              <a:ext uri="{FF2B5EF4-FFF2-40B4-BE49-F238E27FC236}">
                <a16:creationId xmlns:a16="http://schemas.microsoft.com/office/drawing/2014/main" id="{89C1D026-C94C-444F-9936-E564152770D8}"/>
              </a:ext>
            </a:extLst>
          </p:cNvPr>
          <p:cNvGrpSpPr>
            <a:grpSpLocks noChangeAspect="1"/>
          </p:cNvGrpSpPr>
          <p:nvPr/>
        </p:nvGrpSpPr>
        <p:grpSpPr>
          <a:xfrm>
            <a:off x="838550" y="2839405"/>
            <a:ext cx="321975" cy="261183"/>
            <a:chOff x="2286814" y="937048"/>
            <a:chExt cx="449449" cy="438151"/>
          </a:xfrm>
          <a:solidFill>
            <a:schemeClr val="accent2"/>
          </a:solidFill>
        </p:grpSpPr>
        <p:sp>
          <p:nvSpPr>
            <p:cNvPr id="62" name="Freeform 12">
              <a:extLst>
                <a:ext uri="{FF2B5EF4-FFF2-40B4-BE49-F238E27FC236}">
                  <a16:creationId xmlns:a16="http://schemas.microsoft.com/office/drawing/2014/main" id="{DCBE44A3-CA87-44B8-8689-644AAC4098EA}"/>
                </a:ext>
              </a:extLst>
            </p:cNvPr>
            <p:cNvSpPr>
              <a:spLocks/>
            </p:cNvSpPr>
            <p:nvPr/>
          </p:nvSpPr>
          <p:spPr bwMode="auto">
            <a:xfrm>
              <a:off x="2691813" y="937048"/>
              <a:ext cx="44450" cy="336550"/>
            </a:xfrm>
            <a:custGeom>
              <a:avLst/>
              <a:gdLst>
                <a:gd name="T0" fmla="*/ 28 w 28"/>
                <a:gd name="T1" fmla="*/ 14 h 212"/>
                <a:gd name="T2" fmla="*/ 28 w 28"/>
                <a:gd name="T3" fmla="*/ 212 h 212"/>
                <a:gd name="T4" fmla="*/ 0 w 28"/>
                <a:gd name="T5" fmla="*/ 212 h 212"/>
                <a:gd name="T6" fmla="*/ 0 w 28"/>
                <a:gd name="T7" fmla="*/ 0 h 212"/>
                <a:gd name="T8" fmla="*/ 14 w 28"/>
                <a:gd name="T9" fmla="*/ 0 h 212"/>
                <a:gd name="T10" fmla="*/ 28 w 28"/>
                <a:gd name="T11" fmla="*/ 14 h 212"/>
              </a:gdLst>
              <a:ahLst/>
              <a:cxnLst>
                <a:cxn ang="0">
                  <a:pos x="T0" y="T1"/>
                </a:cxn>
                <a:cxn ang="0">
                  <a:pos x="T2" y="T3"/>
                </a:cxn>
                <a:cxn ang="0">
                  <a:pos x="T4" y="T5"/>
                </a:cxn>
                <a:cxn ang="0">
                  <a:pos x="T6" y="T7"/>
                </a:cxn>
                <a:cxn ang="0">
                  <a:pos x="T8" y="T9"/>
                </a:cxn>
                <a:cxn ang="0">
                  <a:pos x="T10" y="T11"/>
                </a:cxn>
              </a:cxnLst>
              <a:rect l="0" t="0" r="r" b="b"/>
              <a:pathLst>
                <a:path w="28" h="212">
                  <a:moveTo>
                    <a:pt x="28" y="14"/>
                  </a:moveTo>
                  <a:lnTo>
                    <a:pt x="28" y="212"/>
                  </a:lnTo>
                  <a:lnTo>
                    <a:pt x="0" y="212"/>
                  </a:lnTo>
                  <a:lnTo>
                    <a:pt x="0" y="0"/>
                  </a:lnTo>
                  <a:lnTo>
                    <a:pt x="14" y="0"/>
                  </a:lnTo>
                  <a:lnTo>
                    <a:pt x="28" y="14"/>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63" name="Freeform 13">
              <a:extLst>
                <a:ext uri="{FF2B5EF4-FFF2-40B4-BE49-F238E27FC236}">
                  <a16:creationId xmlns:a16="http://schemas.microsoft.com/office/drawing/2014/main" id="{E738918A-2180-4D25-B617-C8712CD2CD33}"/>
                </a:ext>
              </a:extLst>
            </p:cNvPr>
            <p:cNvSpPr>
              <a:spLocks/>
            </p:cNvSpPr>
            <p:nvPr/>
          </p:nvSpPr>
          <p:spPr bwMode="auto">
            <a:xfrm>
              <a:off x="2286814" y="937049"/>
              <a:ext cx="442913" cy="438150"/>
            </a:xfrm>
            <a:custGeom>
              <a:avLst/>
              <a:gdLst>
                <a:gd name="T0" fmla="*/ 0 w 279"/>
                <a:gd name="T1" fmla="*/ 14 h 276"/>
                <a:gd name="T2" fmla="*/ 14 w 279"/>
                <a:gd name="T3" fmla="*/ 0 h 276"/>
                <a:gd name="T4" fmla="*/ 223 w 279"/>
                <a:gd name="T5" fmla="*/ 0 h 276"/>
                <a:gd name="T6" fmla="*/ 223 w 279"/>
                <a:gd name="T7" fmla="*/ 99 h 276"/>
                <a:gd name="T8" fmla="*/ 140 w 279"/>
                <a:gd name="T9" fmla="*/ 198 h 276"/>
                <a:gd name="T10" fmla="*/ 84 w 279"/>
                <a:gd name="T11" fmla="*/ 151 h 276"/>
                <a:gd name="T12" fmla="*/ 84 w 279"/>
                <a:gd name="T13" fmla="*/ 114 h 276"/>
                <a:gd name="T14" fmla="*/ 136 w 279"/>
                <a:gd name="T15" fmla="*/ 158 h 276"/>
                <a:gd name="T16" fmla="*/ 195 w 279"/>
                <a:gd name="T17" fmla="*/ 87 h 276"/>
                <a:gd name="T18" fmla="*/ 195 w 279"/>
                <a:gd name="T19" fmla="*/ 28 h 276"/>
                <a:gd name="T20" fmla="*/ 28 w 279"/>
                <a:gd name="T21" fmla="*/ 28 h 276"/>
                <a:gd name="T22" fmla="*/ 28 w 279"/>
                <a:gd name="T23" fmla="*/ 204 h 276"/>
                <a:gd name="T24" fmla="*/ 140 w 279"/>
                <a:gd name="T25" fmla="*/ 245 h 276"/>
                <a:gd name="T26" fmla="*/ 265 w 279"/>
                <a:gd name="T27" fmla="*/ 199 h 276"/>
                <a:gd name="T28" fmla="*/ 279 w 279"/>
                <a:gd name="T29" fmla="*/ 185 h 276"/>
                <a:gd name="T30" fmla="*/ 279 w 279"/>
                <a:gd name="T31" fmla="*/ 215 h 276"/>
                <a:gd name="T32" fmla="*/ 265 w 279"/>
                <a:gd name="T33" fmla="*/ 230 h 276"/>
                <a:gd name="T34" fmla="*/ 140 w 279"/>
                <a:gd name="T35" fmla="*/ 276 h 276"/>
                <a:gd name="T36" fmla="*/ 14 w 279"/>
                <a:gd name="T37" fmla="*/ 229 h 276"/>
                <a:gd name="T38" fmla="*/ 1 w 279"/>
                <a:gd name="T39" fmla="*/ 216 h 276"/>
                <a:gd name="T40" fmla="*/ 0 w 279"/>
                <a:gd name="T41" fmla="*/ 1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9" h="276">
                  <a:moveTo>
                    <a:pt x="0" y="14"/>
                  </a:moveTo>
                  <a:lnTo>
                    <a:pt x="14" y="0"/>
                  </a:lnTo>
                  <a:lnTo>
                    <a:pt x="223" y="0"/>
                  </a:lnTo>
                  <a:lnTo>
                    <a:pt x="223" y="99"/>
                  </a:lnTo>
                  <a:lnTo>
                    <a:pt x="140" y="198"/>
                  </a:lnTo>
                  <a:lnTo>
                    <a:pt x="84" y="151"/>
                  </a:lnTo>
                  <a:lnTo>
                    <a:pt x="84" y="114"/>
                  </a:lnTo>
                  <a:lnTo>
                    <a:pt x="136" y="158"/>
                  </a:lnTo>
                  <a:lnTo>
                    <a:pt x="195" y="87"/>
                  </a:lnTo>
                  <a:lnTo>
                    <a:pt x="195" y="28"/>
                  </a:lnTo>
                  <a:lnTo>
                    <a:pt x="28" y="28"/>
                  </a:lnTo>
                  <a:lnTo>
                    <a:pt x="28" y="204"/>
                  </a:lnTo>
                  <a:lnTo>
                    <a:pt x="140" y="245"/>
                  </a:lnTo>
                  <a:lnTo>
                    <a:pt x="265" y="199"/>
                  </a:lnTo>
                  <a:lnTo>
                    <a:pt x="279" y="185"/>
                  </a:lnTo>
                  <a:lnTo>
                    <a:pt x="279" y="215"/>
                  </a:lnTo>
                  <a:lnTo>
                    <a:pt x="265" y="230"/>
                  </a:lnTo>
                  <a:lnTo>
                    <a:pt x="140" y="276"/>
                  </a:lnTo>
                  <a:lnTo>
                    <a:pt x="14" y="229"/>
                  </a:lnTo>
                  <a:lnTo>
                    <a:pt x="1" y="216"/>
                  </a:lnTo>
                  <a:lnTo>
                    <a:pt x="0" y="14"/>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grpSp>
        <p:nvGrpSpPr>
          <p:cNvPr id="64" name="Group 226">
            <a:extLst>
              <a:ext uri="{FF2B5EF4-FFF2-40B4-BE49-F238E27FC236}">
                <a16:creationId xmlns:a16="http://schemas.microsoft.com/office/drawing/2014/main" id="{D04BB2D6-2758-4920-8DAA-2ED1D851CB07}"/>
              </a:ext>
            </a:extLst>
          </p:cNvPr>
          <p:cNvGrpSpPr>
            <a:grpSpLocks noChangeAspect="1"/>
          </p:cNvGrpSpPr>
          <p:nvPr/>
        </p:nvGrpSpPr>
        <p:grpSpPr bwMode="auto">
          <a:xfrm>
            <a:off x="231004" y="1098993"/>
            <a:ext cx="473112" cy="431180"/>
            <a:chOff x="2437" y="456"/>
            <a:chExt cx="356" cy="390"/>
          </a:xfrm>
          <a:solidFill>
            <a:schemeClr val="accent1"/>
          </a:solidFill>
        </p:grpSpPr>
        <p:sp>
          <p:nvSpPr>
            <p:cNvPr id="65" name="Freeform 227">
              <a:extLst>
                <a:ext uri="{FF2B5EF4-FFF2-40B4-BE49-F238E27FC236}">
                  <a16:creationId xmlns:a16="http://schemas.microsoft.com/office/drawing/2014/main" id="{C0832F09-0F08-4740-961B-9F697538A596}"/>
                </a:ext>
              </a:extLst>
            </p:cNvPr>
            <p:cNvSpPr>
              <a:spLocks noEditPoints="1"/>
            </p:cNvSpPr>
            <p:nvPr/>
          </p:nvSpPr>
          <p:spPr bwMode="auto">
            <a:xfrm>
              <a:off x="2437" y="456"/>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2" y="108"/>
                    <a:pt x="0" y="84"/>
                    <a:pt x="0" y="54"/>
                  </a:cubicBezTo>
                  <a:cubicBezTo>
                    <a:pt x="0" y="23"/>
                    <a:pt x="52"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5A5A5A"/>
                </a:solidFill>
                <a:effectLst/>
                <a:uLnTx/>
                <a:uFillTx/>
                <a:latin typeface="Graphik"/>
                <a:ea typeface="+mn-ea"/>
                <a:cs typeface="Calibri" panose="020F0502020204030204" pitchFamily="34" charset="0"/>
              </a:endParaRPr>
            </a:p>
          </p:txBody>
        </p:sp>
        <p:sp>
          <p:nvSpPr>
            <p:cNvPr id="66" name="Freeform 228">
              <a:extLst>
                <a:ext uri="{FF2B5EF4-FFF2-40B4-BE49-F238E27FC236}">
                  <a16:creationId xmlns:a16="http://schemas.microsoft.com/office/drawing/2014/main" id="{B4801ED8-A53A-4681-9A19-A2B608071B4E}"/>
                </a:ext>
              </a:extLst>
            </p:cNvPr>
            <p:cNvSpPr>
              <a:spLocks/>
            </p:cNvSpPr>
            <p:nvPr/>
          </p:nvSpPr>
          <p:spPr bwMode="auto">
            <a:xfrm>
              <a:off x="2437" y="598"/>
              <a:ext cx="356" cy="89"/>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5A5A5A"/>
                </a:solidFill>
                <a:effectLst/>
                <a:uLnTx/>
                <a:uFillTx/>
                <a:latin typeface="Graphik"/>
                <a:ea typeface="+mn-ea"/>
                <a:cs typeface="Calibri" panose="020F0502020204030204" pitchFamily="34" charset="0"/>
              </a:endParaRPr>
            </a:p>
          </p:txBody>
        </p:sp>
        <p:sp>
          <p:nvSpPr>
            <p:cNvPr id="67" name="Freeform 229">
              <a:extLst>
                <a:ext uri="{FF2B5EF4-FFF2-40B4-BE49-F238E27FC236}">
                  <a16:creationId xmlns:a16="http://schemas.microsoft.com/office/drawing/2014/main" id="{4535FF1D-0770-4B23-8601-8222A7E43873}"/>
                </a:ext>
              </a:extLst>
            </p:cNvPr>
            <p:cNvSpPr>
              <a:spLocks/>
            </p:cNvSpPr>
            <p:nvPr/>
          </p:nvSpPr>
          <p:spPr bwMode="auto">
            <a:xfrm>
              <a:off x="2437" y="678"/>
              <a:ext cx="356" cy="88"/>
            </a:xfrm>
            <a:custGeom>
              <a:avLst/>
              <a:gdLst>
                <a:gd name="T0" fmla="*/ 120 w 240"/>
                <a:gd name="T1" fmla="*/ 60 h 60"/>
                <a:gd name="T2" fmla="*/ 0 w 240"/>
                <a:gd name="T3" fmla="*/ 6 h 60"/>
                <a:gd name="T4" fmla="*/ 6 w 240"/>
                <a:gd name="T5" fmla="*/ 0 h 60"/>
                <a:gd name="T6" fmla="*/ 12 w 240"/>
                <a:gd name="T7" fmla="*/ 6 h 60"/>
                <a:gd name="T8" fmla="*/ 120 w 240"/>
                <a:gd name="T9" fmla="*/ 48 h 60"/>
                <a:gd name="T10" fmla="*/ 228 w 240"/>
                <a:gd name="T11" fmla="*/ 6 h 60"/>
                <a:gd name="T12" fmla="*/ 234 w 240"/>
                <a:gd name="T13" fmla="*/ 0 h 60"/>
                <a:gd name="T14" fmla="*/ 240 w 240"/>
                <a:gd name="T15" fmla="*/ 6 h 60"/>
                <a:gd name="T16" fmla="*/ 120 w 240"/>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60">
                  <a:moveTo>
                    <a:pt x="120" y="60"/>
                  </a:moveTo>
                  <a:cubicBezTo>
                    <a:pt x="52" y="60"/>
                    <a:pt x="0" y="36"/>
                    <a:pt x="0" y="6"/>
                  </a:cubicBezTo>
                  <a:cubicBezTo>
                    <a:pt x="0" y="2"/>
                    <a:pt x="2" y="0"/>
                    <a:pt x="6" y="0"/>
                  </a:cubicBezTo>
                  <a:cubicBezTo>
                    <a:pt x="9" y="0"/>
                    <a:pt x="12" y="2"/>
                    <a:pt x="12" y="6"/>
                  </a:cubicBezTo>
                  <a:cubicBezTo>
                    <a:pt x="12" y="26"/>
                    <a:pt x="56" y="48"/>
                    <a:pt x="120" y="48"/>
                  </a:cubicBezTo>
                  <a:cubicBezTo>
                    <a:pt x="183" y="48"/>
                    <a:pt x="228" y="26"/>
                    <a:pt x="228" y="6"/>
                  </a:cubicBezTo>
                  <a:cubicBezTo>
                    <a:pt x="228" y="2"/>
                    <a:pt x="230" y="0"/>
                    <a:pt x="234" y="0"/>
                  </a:cubicBezTo>
                  <a:cubicBezTo>
                    <a:pt x="237" y="0"/>
                    <a:pt x="240" y="2"/>
                    <a:pt x="240" y="6"/>
                  </a:cubicBezTo>
                  <a:cubicBezTo>
                    <a:pt x="240" y="36"/>
                    <a:pt x="187" y="60"/>
                    <a:pt x="120" y="6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5A5A5A"/>
                </a:solidFill>
                <a:effectLst/>
                <a:uLnTx/>
                <a:uFillTx/>
                <a:latin typeface="Graphik"/>
                <a:ea typeface="+mn-ea"/>
                <a:cs typeface="Calibri" panose="020F0502020204030204" pitchFamily="34" charset="0"/>
              </a:endParaRPr>
            </a:p>
          </p:txBody>
        </p:sp>
        <p:sp>
          <p:nvSpPr>
            <p:cNvPr id="68" name="Freeform 230">
              <a:extLst>
                <a:ext uri="{FF2B5EF4-FFF2-40B4-BE49-F238E27FC236}">
                  <a16:creationId xmlns:a16="http://schemas.microsoft.com/office/drawing/2014/main" id="{A89A1463-E9C5-4A26-93BE-D7A60C1196D0}"/>
                </a:ext>
              </a:extLst>
            </p:cNvPr>
            <p:cNvSpPr>
              <a:spLocks/>
            </p:cNvSpPr>
            <p:nvPr/>
          </p:nvSpPr>
          <p:spPr bwMode="auto">
            <a:xfrm>
              <a:off x="2437" y="527"/>
              <a:ext cx="356" cy="319"/>
            </a:xfrm>
            <a:custGeom>
              <a:avLst/>
              <a:gdLst>
                <a:gd name="T0" fmla="*/ 120 w 240"/>
                <a:gd name="T1" fmla="*/ 216 h 216"/>
                <a:gd name="T2" fmla="*/ 0 w 240"/>
                <a:gd name="T3" fmla="*/ 162 h 216"/>
                <a:gd name="T4" fmla="*/ 0 w 240"/>
                <a:gd name="T5" fmla="*/ 6 h 216"/>
                <a:gd name="T6" fmla="*/ 6 w 240"/>
                <a:gd name="T7" fmla="*/ 0 h 216"/>
                <a:gd name="T8" fmla="*/ 12 w 240"/>
                <a:gd name="T9" fmla="*/ 6 h 216"/>
                <a:gd name="T10" fmla="*/ 12 w 240"/>
                <a:gd name="T11" fmla="*/ 162 h 216"/>
                <a:gd name="T12" fmla="*/ 120 w 240"/>
                <a:gd name="T13" fmla="*/ 204 h 216"/>
                <a:gd name="T14" fmla="*/ 228 w 240"/>
                <a:gd name="T15" fmla="*/ 162 h 216"/>
                <a:gd name="T16" fmla="*/ 228 w 240"/>
                <a:gd name="T17" fmla="*/ 6 h 216"/>
                <a:gd name="T18" fmla="*/ 234 w 240"/>
                <a:gd name="T19" fmla="*/ 0 h 216"/>
                <a:gd name="T20" fmla="*/ 240 w 240"/>
                <a:gd name="T21" fmla="*/ 6 h 216"/>
                <a:gd name="T22" fmla="*/ 240 w 240"/>
                <a:gd name="T23" fmla="*/ 162 h 216"/>
                <a:gd name="T24" fmla="*/ 120 w 240"/>
                <a:gd name="T2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16">
                  <a:moveTo>
                    <a:pt x="120" y="216"/>
                  </a:moveTo>
                  <a:cubicBezTo>
                    <a:pt x="52" y="216"/>
                    <a:pt x="0" y="192"/>
                    <a:pt x="0" y="162"/>
                  </a:cubicBezTo>
                  <a:cubicBezTo>
                    <a:pt x="0" y="6"/>
                    <a:pt x="0" y="6"/>
                    <a:pt x="0" y="6"/>
                  </a:cubicBezTo>
                  <a:cubicBezTo>
                    <a:pt x="0" y="2"/>
                    <a:pt x="2" y="0"/>
                    <a:pt x="6" y="0"/>
                  </a:cubicBezTo>
                  <a:cubicBezTo>
                    <a:pt x="9" y="0"/>
                    <a:pt x="12" y="2"/>
                    <a:pt x="12" y="6"/>
                  </a:cubicBezTo>
                  <a:cubicBezTo>
                    <a:pt x="12" y="162"/>
                    <a:pt x="12" y="162"/>
                    <a:pt x="12" y="162"/>
                  </a:cubicBezTo>
                  <a:cubicBezTo>
                    <a:pt x="12" y="182"/>
                    <a:pt x="56" y="204"/>
                    <a:pt x="120" y="204"/>
                  </a:cubicBezTo>
                  <a:cubicBezTo>
                    <a:pt x="183" y="204"/>
                    <a:pt x="228" y="182"/>
                    <a:pt x="228" y="162"/>
                  </a:cubicBezTo>
                  <a:cubicBezTo>
                    <a:pt x="228" y="6"/>
                    <a:pt x="228" y="6"/>
                    <a:pt x="228" y="6"/>
                  </a:cubicBezTo>
                  <a:cubicBezTo>
                    <a:pt x="228" y="2"/>
                    <a:pt x="230" y="0"/>
                    <a:pt x="234" y="0"/>
                  </a:cubicBezTo>
                  <a:cubicBezTo>
                    <a:pt x="237" y="0"/>
                    <a:pt x="240" y="2"/>
                    <a:pt x="240" y="6"/>
                  </a:cubicBezTo>
                  <a:cubicBezTo>
                    <a:pt x="240" y="162"/>
                    <a:pt x="240" y="162"/>
                    <a:pt x="240" y="162"/>
                  </a:cubicBezTo>
                  <a:cubicBezTo>
                    <a:pt x="240" y="192"/>
                    <a:pt x="187" y="216"/>
                    <a:pt x="120" y="21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5A5A5A"/>
                </a:solidFill>
                <a:effectLst/>
                <a:uLnTx/>
                <a:uFillTx/>
                <a:latin typeface="Graphik"/>
                <a:ea typeface="+mn-ea"/>
                <a:cs typeface="Calibri" panose="020F0502020204030204" pitchFamily="34" charset="0"/>
              </a:endParaRPr>
            </a:p>
          </p:txBody>
        </p:sp>
      </p:grpSp>
      <p:sp>
        <p:nvSpPr>
          <p:cNvPr id="69" name="Rectangle 68">
            <a:extLst>
              <a:ext uri="{FF2B5EF4-FFF2-40B4-BE49-F238E27FC236}">
                <a16:creationId xmlns:a16="http://schemas.microsoft.com/office/drawing/2014/main" id="{94A14621-4761-43BF-BBFE-011B089AA9F2}"/>
              </a:ext>
            </a:extLst>
          </p:cNvPr>
          <p:cNvSpPr/>
          <p:nvPr/>
        </p:nvSpPr>
        <p:spPr>
          <a:xfrm>
            <a:off x="830099" y="1189223"/>
            <a:ext cx="2848878" cy="30058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Calibri" panose="020F0502020204030204" pitchFamily="34" charset="0"/>
              </a:rPr>
              <a:t>California Health Interview Survey</a:t>
            </a:r>
          </a:p>
        </p:txBody>
      </p:sp>
      <p:sp>
        <p:nvSpPr>
          <p:cNvPr id="79" name="Right Brace 78">
            <a:extLst>
              <a:ext uri="{FF2B5EF4-FFF2-40B4-BE49-F238E27FC236}">
                <a16:creationId xmlns:a16="http://schemas.microsoft.com/office/drawing/2014/main" id="{BA4F4B8B-1EC9-4335-832C-2381A20FCD10}"/>
              </a:ext>
            </a:extLst>
          </p:cNvPr>
          <p:cNvSpPr/>
          <p:nvPr/>
        </p:nvSpPr>
        <p:spPr>
          <a:xfrm>
            <a:off x="3513665" y="1628751"/>
            <a:ext cx="119322" cy="1944753"/>
          </a:xfrm>
          <a:prstGeom prst="rightBrace">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grpSp>
        <p:nvGrpSpPr>
          <p:cNvPr id="81" name="Group 171">
            <a:extLst>
              <a:ext uri="{FF2B5EF4-FFF2-40B4-BE49-F238E27FC236}">
                <a16:creationId xmlns:a16="http://schemas.microsoft.com/office/drawing/2014/main" id="{EF2A6052-4D30-4BB1-B43D-EF4D97086BF7}"/>
              </a:ext>
            </a:extLst>
          </p:cNvPr>
          <p:cNvGrpSpPr>
            <a:grpSpLocks noChangeAspect="1"/>
          </p:cNvGrpSpPr>
          <p:nvPr/>
        </p:nvGrpSpPr>
        <p:grpSpPr bwMode="auto">
          <a:xfrm>
            <a:off x="4401514" y="1628751"/>
            <a:ext cx="1142872" cy="832852"/>
            <a:chOff x="1392" y="1728"/>
            <a:chExt cx="355" cy="408"/>
          </a:xfrm>
          <a:solidFill>
            <a:schemeClr val="accent2"/>
          </a:solidFill>
        </p:grpSpPr>
        <p:sp>
          <p:nvSpPr>
            <p:cNvPr id="82" name="Freeform 172">
              <a:extLst>
                <a:ext uri="{FF2B5EF4-FFF2-40B4-BE49-F238E27FC236}">
                  <a16:creationId xmlns:a16="http://schemas.microsoft.com/office/drawing/2014/main" id="{CB0B54CA-6A5C-402D-BC09-D4F5CE80222F}"/>
                </a:ext>
              </a:extLst>
            </p:cNvPr>
            <p:cNvSpPr>
              <a:spLocks noEditPoints="1"/>
            </p:cNvSpPr>
            <p:nvPr/>
          </p:nvSpPr>
          <p:spPr bwMode="auto">
            <a:xfrm>
              <a:off x="1392" y="1799"/>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83" name="Freeform 173">
              <a:extLst>
                <a:ext uri="{FF2B5EF4-FFF2-40B4-BE49-F238E27FC236}">
                  <a16:creationId xmlns:a16="http://schemas.microsoft.com/office/drawing/2014/main" id="{C51DD178-0401-4661-A8F2-BEA579738ADE}"/>
                </a:ext>
              </a:extLst>
            </p:cNvPr>
            <p:cNvSpPr>
              <a:spLocks noEditPoints="1"/>
            </p:cNvSpPr>
            <p:nvPr/>
          </p:nvSpPr>
          <p:spPr bwMode="auto">
            <a:xfrm>
              <a:off x="1392" y="1923"/>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84" name="Freeform 174">
              <a:extLst>
                <a:ext uri="{FF2B5EF4-FFF2-40B4-BE49-F238E27FC236}">
                  <a16:creationId xmlns:a16="http://schemas.microsoft.com/office/drawing/2014/main" id="{57C62AC1-2135-498B-8A44-602085B2DC74}"/>
                </a:ext>
              </a:extLst>
            </p:cNvPr>
            <p:cNvSpPr>
              <a:spLocks noEditPoints="1"/>
            </p:cNvSpPr>
            <p:nvPr/>
          </p:nvSpPr>
          <p:spPr bwMode="auto">
            <a:xfrm>
              <a:off x="1392" y="2047"/>
              <a:ext cx="249" cy="89"/>
            </a:xfrm>
            <a:custGeom>
              <a:avLst/>
              <a:gdLst>
                <a:gd name="T0" fmla="*/ 162 w 168"/>
                <a:gd name="T1" fmla="*/ 60 h 60"/>
                <a:gd name="T2" fmla="*/ 6 w 168"/>
                <a:gd name="T3" fmla="*/ 60 h 60"/>
                <a:gd name="T4" fmla="*/ 0 w 168"/>
                <a:gd name="T5" fmla="*/ 54 h 60"/>
                <a:gd name="T6" fmla="*/ 0 w 168"/>
                <a:gd name="T7" fmla="*/ 6 h 60"/>
                <a:gd name="T8" fmla="*/ 6 w 168"/>
                <a:gd name="T9" fmla="*/ 0 h 60"/>
                <a:gd name="T10" fmla="*/ 162 w 168"/>
                <a:gd name="T11" fmla="*/ 0 h 60"/>
                <a:gd name="T12" fmla="*/ 168 w 168"/>
                <a:gd name="T13" fmla="*/ 6 h 60"/>
                <a:gd name="T14" fmla="*/ 168 w 168"/>
                <a:gd name="T15" fmla="*/ 54 h 60"/>
                <a:gd name="T16" fmla="*/ 162 w 168"/>
                <a:gd name="T17" fmla="*/ 60 h 60"/>
                <a:gd name="T18" fmla="*/ 12 w 168"/>
                <a:gd name="T19" fmla="*/ 48 h 60"/>
                <a:gd name="T20" fmla="*/ 156 w 168"/>
                <a:gd name="T21" fmla="*/ 48 h 60"/>
                <a:gd name="T22" fmla="*/ 156 w 168"/>
                <a:gd name="T23" fmla="*/ 12 h 60"/>
                <a:gd name="T24" fmla="*/ 12 w 168"/>
                <a:gd name="T25" fmla="*/ 12 h 60"/>
                <a:gd name="T26" fmla="*/ 12 w 16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60">
                  <a:moveTo>
                    <a:pt x="162" y="60"/>
                  </a:moveTo>
                  <a:cubicBezTo>
                    <a:pt x="6" y="60"/>
                    <a:pt x="6" y="60"/>
                    <a:pt x="6" y="60"/>
                  </a:cubicBezTo>
                  <a:cubicBezTo>
                    <a:pt x="3" y="60"/>
                    <a:pt x="0" y="57"/>
                    <a:pt x="0" y="54"/>
                  </a:cubicBezTo>
                  <a:cubicBezTo>
                    <a:pt x="0" y="6"/>
                    <a:pt x="0" y="6"/>
                    <a:pt x="0" y="6"/>
                  </a:cubicBezTo>
                  <a:cubicBezTo>
                    <a:pt x="0" y="3"/>
                    <a:pt x="3" y="0"/>
                    <a:pt x="6" y="0"/>
                  </a:cubicBezTo>
                  <a:cubicBezTo>
                    <a:pt x="162" y="0"/>
                    <a:pt x="162" y="0"/>
                    <a:pt x="162" y="0"/>
                  </a:cubicBezTo>
                  <a:cubicBezTo>
                    <a:pt x="165" y="0"/>
                    <a:pt x="168" y="3"/>
                    <a:pt x="168" y="6"/>
                  </a:cubicBezTo>
                  <a:cubicBezTo>
                    <a:pt x="168" y="54"/>
                    <a:pt x="168" y="54"/>
                    <a:pt x="168" y="54"/>
                  </a:cubicBezTo>
                  <a:cubicBezTo>
                    <a:pt x="168" y="57"/>
                    <a:pt x="165" y="60"/>
                    <a:pt x="162" y="60"/>
                  </a:cubicBezTo>
                  <a:close/>
                  <a:moveTo>
                    <a:pt x="12" y="48"/>
                  </a:moveTo>
                  <a:cubicBezTo>
                    <a:pt x="156" y="48"/>
                    <a:pt x="156" y="48"/>
                    <a:pt x="156" y="48"/>
                  </a:cubicBezTo>
                  <a:cubicBezTo>
                    <a:pt x="156" y="12"/>
                    <a:pt x="156" y="12"/>
                    <a:pt x="156" y="12"/>
                  </a:cubicBezTo>
                  <a:cubicBezTo>
                    <a:pt x="12" y="12"/>
                    <a:pt x="12" y="12"/>
                    <a:pt x="12" y="12"/>
                  </a:cubicBezTo>
                  <a:lnTo>
                    <a:pt x="12" y="4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85" name="Freeform 175">
              <a:extLst>
                <a:ext uri="{FF2B5EF4-FFF2-40B4-BE49-F238E27FC236}">
                  <a16:creationId xmlns:a16="http://schemas.microsoft.com/office/drawing/2014/main" id="{86C84383-72F4-44BB-9224-CEDD9EBC355D}"/>
                </a:ext>
              </a:extLst>
            </p:cNvPr>
            <p:cNvSpPr>
              <a:spLocks/>
            </p:cNvSpPr>
            <p:nvPr/>
          </p:nvSpPr>
          <p:spPr bwMode="auto">
            <a:xfrm>
              <a:off x="1632" y="1728"/>
              <a:ext cx="115" cy="372"/>
            </a:xfrm>
            <a:custGeom>
              <a:avLst/>
              <a:gdLst>
                <a:gd name="T0" fmla="*/ 72 w 78"/>
                <a:gd name="T1" fmla="*/ 252 h 252"/>
                <a:gd name="T2" fmla="*/ 0 w 78"/>
                <a:gd name="T3" fmla="*/ 252 h 252"/>
                <a:gd name="T4" fmla="*/ 0 w 78"/>
                <a:gd name="T5" fmla="*/ 240 h 252"/>
                <a:gd name="T6" fmla="*/ 66 w 78"/>
                <a:gd name="T7" fmla="*/ 240 h 252"/>
                <a:gd name="T8" fmla="*/ 66 w 78"/>
                <a:gd name="T9" fmla="*/ 0 h 252"/>
                <a:gd name="T10" fmla="*/ 78 w 78"/>
                <a:gd name="T11" fmla="*/ 0 h 252"/>
                <a:gd name="T12" fmla="*/ 78 w 78"/>
                <a:gd name="T13" fmla="*/ 246 h 252"/>
                <a:gd name="T14" fmla="*/ 72 w 78"/>
                <a:gd name="T15" fmla="*/ 252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252">
                  <a:moveTo>
                    <a:pt x="72" y="252"/>
                  </a:moveTo>
                  <a:cubicBezTo>
                    <a:pt x="0" y="252"/>
                    <a:pt x="0" y="252"/>
                    <a:pt x="0" y="252"/>
                  </a:cubicBezTo>
                  <a:cubicBezTo>
                    <a:pt x="0" y="240"/>
                    <a:pt x="0" y="240"/>
                    <a:pt x="0" y="240"/>
                  </a:cubicBezTo>
                  <a:cubicBezTo>
                    <a:pt x="66" y="240"/>
                    <a:pt x="66" y="240"/>
                    <a:pt x="66" y="240"/>
                  </a:cubicBezTo>
                  <a:cubicBezTo>
                    <a:pt x="66" y="0"/>
                    <a:pt x="66" y="0"/>
                    <a:pt x="66" y="0"/>
                  </a:cubicBezTo>
                  <a:cubicBezTo>
                    <a:pt x="78" y="0"/>
                    <a:pt x="78" y="0"/>
                    <a:pt x="78" y="0"/>
                  </a:cubicBezTo>
                  <a:cubicBezTo>
                    <a:pt x="78" y="246"/>
                    <a:pt x="78" y="246"/>
                    <a:pt x="78" y="246"/>
                  </a:cubicBezTo>
                  <a:cubicBezTo>
                    <a:pt x="78" y="249"/>
                    <a:pt x="75" y="252"/>
                    <a:pt x="72" y="25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86" name="Rectangle 176">
              <a:extLst>
                <a:ext uri="{FF2B5EF4-FFF2-40B4-BE49-F238E27FC236}">
                  <a16:creationId xmlns:a16="http://schemas.microsoft.com/office/drawing/2014/main" id="{71C36D8E-6FED-4E9D-BFD8-004B9D8C9CEE}"/>
                </a:ext>
              </a:extLst>
            </p:cNvPr>
            <p:cNvSpPr>
              <a:spLocks noChangeArrowheads="1"/>
            </p:cNvSpPr>
            <p:nvPr/>
          </p:nvSpPr>
          <p:spPr bwMode="auto">
            <a:xfrm>
              <a:off x="1632" y="1835"/>
              <a:ext cx="106" cy="17"/>
            </a:xfrm>
            <a:prstGeom prst="rect">
              <a:avLst/>
            </a:prstGeom>
            <a:grp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87" name="Rectangle 177">
              <a:extLst>
                <a:ext uri="{FF2B5EF4-FFF2-40B4-BE49-F238E27FC236}">
                  <a16:creationId xmlns:a16="http://schemas.microsoft.com/office/drawing/2014/main" id="{8361D878-6740-4831-8107-173AB0620ECF}"/>
                </a:ext>
              </a:extLst>
            </p:cNvPr>
            <p:cNvSpPr>
              <a:spLocks noChangeArrowheads="1"/>
            </p:cNvSpPr>
            <p:nvPr/>
          </p:nvSpPr>
          <p:spPr bwMode="auto">
            <a:xfrm>
              <a:off x="1632" y="1959"/>
              <a:ext cx="106" cy="17"/>
            </a:xfrm>
            <a:prstGeom prst="rect">
              <a:avLst/>
            </a:prstGeom>
            <a:grp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sp>
        <p:nvSpPr>
          <p:cNvPr id="88" name="Rectangle 87">
            <a:extLst>
              <a:ext uri="{FF2B5EF4-FFF2-40B4-BE49-F238E27FC236}">
                <a16:creationId xmlns:a16="http://schemas.microsoft.com/office/drawing/2014/main" id="{0D90AEE6-3843-4026-B0FE-4EB0C0757CA2}"/>
              </a:ext>
            </a:extLst>
          </p:cNvPr>
          <p:cNvSpPr/>
          <p:nvPr/>
        </p:nvSpPr>
        <p:spPr>
          <a:xfrm>
            <a:off x="4137381" y="2576188"/>
            <a:ext cx="1759317" cy="608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500C0"/>
                </a:solidFill>
                <a:effectLst/>
                <a:uLnTx/>
                <a:uFillTx/>
                <a:latin typeface="Graphik"/>
                <a:ea typeface="+mn-ea"/>
                <a:cs typeface="Calibri" panose="020F0502020204030204" pitchFamily="34" charset="0"/>
              </a:rPr>
              <a:t>300+ FEATURE GENERATION</a:t>
            </a:r>
          </a:p>
        </p:txBody>
      </p:sp>
      <p:sp>
        <p:nvSpPr>
          <p:cNvPr id="89" name="Isosceles Triangle 88">
            <a:extLst>
              <a:ext uri="{FF2B5EF4-FFF2-40B4-BE49-F238E27FC236}">
                <a16:creationId xmlns:a16="http://schemas.microsoft.com/office/drawing/2014/main" id="{009A9B81-C6A4-4F3D-8441-DBD51A213D7C}"/>
              </a:ext>
            </a:extLst>
          </p:cNvPr>
          <p:cNvSpPr/>
          <p:nvPr/>
        </p:nvSpPr>
        <p:spPr bwMode="auto">
          <a:xfrm rot="5400000">
            <a:off x="5533003" y="2182407"/>
            <a:ext cx="1777973" cy="310133"/>
          </a:xfrm>
          <a:prstGeom prst="triangle">
            <a:avLst>
              <a:gd name="adj" fmla="val 50000"/>
            </a:avLst>
          </a:prstGeom>
          <a:solidFill>
            <a:schemeClr val="bg1">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28600" marR="0" lvl="0" indent="-228600" algn="ctr" defTabSz="914400" rtl="0" eaLnBrk="1" fontAlgn="base" latinLnBrk="0" hangingPunct="1">
              <a:lnSpc>
                <a:spcPct val="100000"/>
              </a:lnSpc>
              <a:spcBef>
                <a:spcPct val="50000"/>
              </a:spcBef>
              <a:spcAft>
                <a:spcPct val="0"/>
              </a:spcAft>
              <a:buClr>
                <a:srgbClr val="0768A9"/>
              </a:buClr>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grpSp>
        <p:nvGrpSpPr>
          <p:cNvPr id="80" name="Group 38">
            <a:extLst>
              <a:ext uri="{FF2B5EF4-FFF2-40B4-BE49-F238E27FC236}">
                <a16:creationId xmlns:a16="http://schemas.microsoft.com/office/drawing/2014/main" id="{370031B1-02E5-417F-9678-C8C62D3FED0F}"/>
              </a:ext>
            </a:extLst>
          </p:cNvPr>
          <p:cNvGrpSpPr>
            <a:grpSpLocks noChangeAspect="1"/>
          </p:cNvGrpSpPr>
          <p:nvPr/>
        </p:nvGrpSpPr>
        <p:grpSpPr bwMode="auto">
          <a:xfrm>
            <a:off x="7299593" y="1628751"/>
            <a:ext cx="811349" cy="832852"/>
            <a:chOff x="4482" y="439"/>
            <a:chExt cx="415" cy="426"/>
          </a:xfrm>
          <a:solidFill>
            <a:schemeClr val="accent2"/>
          </a:solidFill>
        </p:grpSpPr>
        <p:sp>
          <p:nvSpPr>
            <p:cNvPr id="90" name="Freeform 39">
              <a:extLst>
                <a:ext uri="{FF2B5EF4-FFF2-40B4-BE49-F238E27FC236}">
                  <a16:creationId xmlns:a16="http://schemas.microsoft.com/office/drawing/2014/main" id="{A480AE28-8D6B-4DEE-9C9D-62C23B13D4C9}"/>
                </a:ext>
              </a:extLst>
            </p:cNvPr>
            <p:cNvSpPr>
              <a:spLocks noEditPoints="1"/>
            </p:cNvSpPr>
            <p:nvPr/>
          </p:nvSpPr>
          <p:spPr bwMode="auto">
            <a:xfrm>
              <a:off x="4651" y="439"/>
              <a:ext cx="246" cy="249"/>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9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1"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9" y="24"/>
                    <a:pt x="139" y="24"/>
                    <a:pt x="139"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9"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7"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1" name="Freeform 40">
              <a:extLst>
                <a:ext uri="{FF2B5EF4-FFF2-40B4-BE49-F238E27FC236}">
                  <a16:creationId xmlns:a16="http://schemas.microsoft.com/office/drawing/2014/main" id="{9A824797-01B8-4898-9286-21DF9BA0D977}"/>
                </a:ext>
              </a:extLst>
            </p:cNvPr>
            <p:cNvSpPr>
              <a:spLocks noEditPoints="1"/>
            </p:cNvSpPr>
            <p:nvPr/>
          </p:nvSpPr>
          <p:spPr bwMode="auto">
            <a:xfrm>
              <a:off x="4729" y="519"/>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2" name="Freeform 41">
              <a:extLst>
                <a:ext uri="{FF2B5EF4-FFF2-40B4-BE49-F238E27FC236}">
                  <a16:creationId xmlns:a16="http://schemas.microsoft.com/office/drawing/2014/main" id="{E87668B2-D6E4-4FA4-9622-6F230F9935CF}"/>
                </a:ext>
              </a:extLst>
            </p:cNvPr>
            <p:cNvSpPr>
              <a:spLocks noEditPoints="1"/>
            </p:cNvSpPr>
            <p:nvPr/>
          </p:nvSpPr>
          <p:spPr bwMode="auto">
            <a:xfrm>
              <a:off x="4482" y="617"/>
              <a:ext cx="246" cy="248"/>
            </a:xfrm>
            <a:custGeom>
              <a:avLst/>
              <a:gdLst>
                <a:gd name="T0" fmla="*/ 66 w 166"/>
                <a:gd name="T1" fmla="*/ 168 h 168"/>
                <a:gd name="T2" fmla="*/ 60 w 166"/>
                <a:gd name="T3" fmla="*/ 146 h 168"/>
                <a:gd name="T4" fmla="*/ 27 w 166"/>
                <a:gd name="T5" fmla="*/ 143 h 168"/>
                <a:gd name="T6" fmla="*/ 1 w 166"/>
                <a:gd name="T7" fmla="*/ 110 h 168"/>
                <a:gd name="T8" fmla="*/ 3 w 166"/>
                <a:gd name="T9" fmla="*/ 102 h 168"/>
                <a:gd name="T10" fmla="*/ 18 w 166"/>
                <a:gd name="T11" fmla="*/ 74 h 168"/>
                <a:gd name="T12" fmla="*/ 1 w 166"/>
                <a:gd name="T13" fmla="*/ 62 h 168"/>
                <a:gd name="T14" fmla="*/ 20 w 166"/>
                <a:gd name="T15" fmla="*/ 26 h 168"/>
                <a:gd name="T16" fmla="*/ 42 w 166"/>
                <a:gd name="T17" fmla="*/ 32 h 168"/>
                <a:gd name="T18" fmla="*/ 60 w 166"/>
                <a:gd name="T19" fmla="*/ 6 h 168"/>
                <a:gd name="T20" fmla="*/ 102 w 166"/>
                <a:gd name="T21" fmla="*/ 0 h 168"/>
                <a:gd name="T22" fmla="*/ 108 w 166"/>
                <a:gd name="T23" fmla="*/ 23 h 168"/>
                <a:gd name="T24" fmla="*/ 138 w 166"/>
                <a:gd name="T25" fmla="*/ 24 h 168"/>
                <a:gd name="T26" fmla="*/ 147 w 166"/>
                <a:gd name="T27" fmla="*/ 26 h 168"/>
                <a:gd name="T28" fmla="*/ 165 w 166"/>
                <a:gd name="T29" fmla="*/ 62 h 168"/>
                <a:gd name="T30" fmla="*/ 148 w 166"/>
                <a:gd name="T31" fmla="*/ 74 h 168"/>
                <a:gd name="T32" fmla="*/ 163 w 166"/>
                <a:gd name="T33" fmla="*/ 102 h 168"/>
                <a:gd name="T34" fmla="*/ 165 w 166"/>
                <a:gd name="T35" fmla="*/ 110 h 168"/>
                <a:gd name="T36" fmla="*/ 143 w 166"/>
                <a:gd name="T37" fmla="*/ 144 h 168"/>
                <a:gd name="T38" fmla="*/ 125 w 166"/>
                <a:gd name="T39" fmla="*/ 135 h 168"/>
                <a:gd name="T40" fmla="*/ 108 w 166"/>
                <a:gd name="T41" fmla="*/ 162 h 168"/>
                <a:gd name="T42" fmla="*/ 72 w 166"/>
                <a:gd name="T43" fmla="*/ 156 h 168"/>
                <a:gd name="T44" fmla="*/ 96 w 166"/>
                <a:gd name="T45" fmla="*/ 141 h 168"/>
                <a:gd name="T46" fmla="*/ 120 w 166"/>
                <a:gd name="T47" fmla="*/ 123 h 168"/>
                <a:gd name="T48" fmla="*/ 139 w 166"/>
                <a:gd name="T49" fmla="*/ 130 h 168"/>
                <a:gd name="T50" fmla="*/ 139 w 166"/>
                <a:gd name="T51" fmla="*/ 102 h 168"/>
                <a:gd name="T52" fmla="*/ 136 w 166"/>
                <a:gd name="T53" fmla="*/ 72 h 168"/>
                <a:gd name="T54" fmla="*/ 151 w 166"/>
                <a:gd name="T55" fmla="*/ 58 h 168"/>
                <a:gd name="T56" fmla="*/ 127 w 166"/>
                <a:gd name="T57" fmla="*/ 45 h 168"/>
                <a:gd name="T58" fmla="*/ 100 w 166"/>
                <a:gd name="T59" fmla="*/ 32 h 168"/>
                <a:gd name="T60" fmla="*/ 96 w 166"/>
                <a:gd name="T61" fmla="*/ 12 h 168"/>
                <a:gd name="T62" fmla="*/ 72 w 166"/>
                <a:gd name="T63" fmla="*/ 26 h 168"/>
                <a:gd name="T64" fmla="*/ 48 w 166"/>
                <a:gd name="T65" fmla="*/ 44 h 168"/>
                <a:gd name="T66" fmla="*/ 27 w 166"/>
                <a:gd name="T67" fmla="*/ 37 h 168"/>
                <a:gd name="T68" fmla="*/ 28 w 166"/>
                <a:gd name="T69" fmla="*/ 65 h 168"/>
                <a:gd name="T70" fmla="*/ 30 w 166"/>
                <a:gd name="T71" fmla="*/ 95 h 168"/>
                <a:gd name="T72" fmla="*/ 15 w 166"/>
                <a:gd name="T73" fmla="*/ 109 h 168"/>
                <a:gd name="T74" fmla="*/ 40 w 166"/>
                <a:gd name="T75" fmla="*/ 123 h 168"/>
                <a:gd name="T76" fmla="*/ 68 w 166"/>
                <a:gd name="T77" fmla="*/ 135 h 168"/>
                <a:gd name="T78" fmla="*/ 72 w 166"/>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5" y="145"/>
                    <a:pt x="21" y="144"/>
                    <a:pt x="19" y="141"/>
                  </a:cubicBezTo>
                  <a:cubicBezTo>
                    <a:pt x="1" y="110"/>
                    <a:pt x="1" y="110"/>
                    <a:pt x="1" y="110"/>
                  </a:cubicBezTo>
                  <a:cubicBezTo>
                    <a:pt x="0" y="109"/>
                    <a:pt x="0" y="107"/>
                    <a:pt x="1" y="106"/>
                  </a:cubicBezTo>
                  <a:cubicBezTo>
                    <a:pt x="1" y="104"/>
                    <a:pt x="2" y="103"/>
                    <a:pt x="3" y="102"/>
                  </a:cubicBezTo>
                  <a:cubicBezTo>
                    <a:pt x="18" y="94"/>
                    <a:pt x="18" y="94"/>
                    <a:pt x="18" y="94"/>
                  </a:cubicBezTo>
                  <a:cubicBezTo>
                    <a:pt x="17" y="87"/>
                    <a:pt x="17" y="80"/>
                    <a:pt x="18" y="74"/>
                  </a:cubicBezTo>
                  <a:cubicBezTo>
                    <a:pt x="4" y="65"/>
                    <a:pt x="4" y="65"/>
                    <a:pt x="4" y="65"/>
                  </a:cubicBezTo>
                  <a:cubicBezTo>
                    <a:pt x="2" y="65"/>
                    <a:pt x="1" y="63"/>
                    <a:pt x="1" y="62"/>
                  </a:cubicBezTo>
                  <a:cubicBezTo>
                    <a:pt x="0" y="60"/>
                    <a:pt x="1" y="59"/>
                    <a:pt x="1" y="57"/>
                  </a:cubicBezTo>
                  <a:cubicBezTo>
                    <a:pt x="20" y="26"/>
                    <a:pt x="20" y="26"/>
                    <a:pt x="20" y="26"/>
                  </a:cubicBezTo>
                  <a:cubicBezTo>
                    <a:pt x="21" y="23"/>
                    <a:pt x="25" y="22"/>
                    <a:pt x="28"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6" y="0"/>
                    <a:pt x="108" y="2"/>
                    <a:pt x="108" y="6"/>
                  </a:cubicBezTo>
                  <a:cubicBezTo>
                    <a:pt x="108" y="23"/>
                    <a:pt x="108" y="23"/>
                    <a:pt x="108" y="23"/>
                  </a:cubicBezTo>
                  <a:cubicBezTo>
                    <a:pt x="115" y="26"/>
                    <a:pt x="121" y="29"/>
                    <a:pt x="125" y="32"/>
                  </a:cubicBezTo>
                  <a:cubicBezTo>
                    <a:pt x="138" y="24"/>
                    <a:pt x="138" y="24"/>
                    <a:pt x="138" y="24"/>
                  </a:cubicBezTo>
                  <a:cubicBezTo>
                    <a:pt x="140" y="23"/>
                    <a:pt x="142" y="23"/>
                    <a:pt x="143" y="23"/>
                  </a:cubicBezTo>
                  <a:cubicBezTo>
                    <a:pt x="145" y="24"/>
                    <a:pt x="146" y="25"/>
                    <a:pt x="147" y="26"/>
                  </a:cubicBezTo>
                  <a:cubicBezTo>
                    <a:pt x="165" y="57"/>
                    <a:pt x="165" y="57"/>
                    <a:pt x="165" y="57"/>
                  </a:cubicBezTo>
                  <a:cubicBezTo>
                    <a:pt x="166" y="59"/>
                    <a:pt x="166" y="60"/>
                    <a:pt x="165" y="62"/>
                  </a:cubicBezTo>
                  <a:cubicBezTo>
                    <a:pt x="165" y="63"/>
                    <a:pt x="164" y="65"/>
                    <a:pt x="163" y="65"/>
                  </a:cubicBezTo>
                  <a:cubicBezTo>
                    <a:pt x="148" y="74"/>
                    <a:pt x="148" y="74"/>
                    <a:pt x="148" y="74"/>
                  </a:cubicBezTo>
                  <a:cubicBezTo>
                    <a:pt x="149" y="80"/>
                    <a:pt x="149" y="87"/>
                    <a:pt x="148" y="94"/>
                  </a:cubicBezTo>
                  <a:cubicBezTo>
                    <a:pt x="163" y="102"/>
                    <a:pt x="163" y="102"/>
                    <a:pt x="163" y="102"/>
                  </a:cubicBezTo>
                  <a:cubicBezTo>
                    <a:pt x="164" y="103"/>
                    <a:pt x="165" y="104"/>
                    <a:pt x="165" y="106"/>
                  </a:cubicBezTo>
                  <a:cubicBezTo>
                    <a:pt x="166" y="107"/>
                    <a:pt x="166" y="109"/>
                    <a:pt x="165" y="110"/>
                  </a:cubicBezTo>
                  <a:cubicBezTo>
                    <a:pt x="147" y="141"/>
                    <a:pt x="147" y="141"/>
                    <a:pt x="147" y="141"/>
                  </a:cubicBezTo>
                  <a:cubicBezTo>
                    <a:pt x="146" y="143"/>
                    <a:pt x="145" y="144"/>
                    <a:pt x="143" y="144"/>
                  </a:cubicBezTo>
                  <a:cubicBezTo>
                    <a:pt x="142" y="144"/>
                    <a:pt x="140" y="144"/>
                    <a:pt x="138" y="143"/>
                  </a:cubicBezTo>
                  <a:cubicBezTo>
                    <a:pt x="125" y="135"/>
                    <a:pt x="125" y="135"/>
                    <a:pt x="125" y="135"/>
                  </a:cubicBezTo>
                  <a:cubicBezTo>
                    <a:pt x="121" y="138"/>
                    <a:pt x="115" y="142"/>
                    <a:pt x="108" y="145"/>
                  </a:cubicBezTo>
                  <a:cubicBezTo>
                    <a:pt x="108" y="162"/>
                    <a:pt x="108" y="162"/>
                    <a:pt x="108" y="162"/>
                  </a:cubicBezTo>
                  <a:cubicBezTo>
                    <a:pt x="108" y="165"/>
                    <a:pt x="106" y="168"/>
                    <a:pt x="102" y="168"/>
                  </a:cubicBezTo>
                  <a:close/>
                  <a:moveTo>
                    <a:pt x="72" y="156"/>
                  </a:moveTo>
                  <a:cubicBezTo>
                    <a:pt x="96" y="156"/>
                    <a:pt x="96" y="156"/>
                    <a:pt x="96" y="156"/>
                  </a:cubicBezTo>
                  <a:cubicBezTo>
                    <a:pt x="96" y="141"/>
                    <a:pt x="96" y="141"/>
                    <a:pt x="96" y="141"/>
                  </a:cubicBezTo>
                  <a:cubicBezTo>
                    <a:pt x="96" y="139"/>
                    <a:pt x="98" y="136"/>
                    <a:pt x="100" y="135"/>
                  </a:cubicBezTo>
                  <a:cubicBezTo>
                    <a:pt x="109" y="131"/>
                    <a:pt x="116" y="127"/>
                    <a:pt x="120" y="123"/>
                  </a:cubicBezTo>
                  <a:cubicBezTo>
                    <a:pt x="122" y="122"/>
                    <a:pt x="125" y="121"/>
                    <a:pt x="127" y="123"/>
                  </a:cubicBezTo>
                  <a:cubicBezTo>
                    <a:pt x="139" y="130"/>
                    <a:pt x="139" y="130"/>
                    <a:pt x="139" y="130"/>
                  </a:cubicBezTo>
                  <a:cubicBezTo>
                    <a:pt x="151" y="109"/>
                    <a:pt x="151" y="109"/>
                    <a:pt x="151" y="109"/>
                  </a:cubicBezTo>
                  <a:cubicBezTo>
                    <a:pt x="139" y="102"/>
                    <a:pt x="139" y="102"/>
                    <a:pt x="139" y="102"/>
                  </a:cubicBezTo>
                  <a:cubicBezTo>
                    <a:pt x="136" y="101"/>
                    <a:pt x="135" y="98"/>
                    <a:pt x="136" y="95"/>
                  </a:cubicBezTo>
                  <a:cubicBezTo>
                    <a:pt x="137" y="87"/>
                    <a:pt x="137" y="80"/>
                    <a:pt x="136" y="72"/>
                  </a:cubicBezTo>
                  <a:cubicBezTo>
                    <a:pt x="135" y="69"/>
                    <a:pt x="136" y="67"/>
                    <a:pt x="139"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8" y="31"/>
                    <a:pt x="96" y="29"/>
                    <a:pt x="96" y="26"/>
                  </a:cubicBezTo>
                  <a:cubicBezTo>
                    <a:pt x="96" y="12"/>
                    <a:pt x="96" y="12"/>
                    <a:pt x="96" y="12"/>
                  </a:cubicBezTo>
                  <a:cubicBezTo>
                    <a:pt x="72" y="12"/>
                    <a:pt x="72" y="12"/>
                    <a:pt x="72" y="12"/>
                  </a:cubicBezTo>
                  <a:cubicBezTo>
                    <a:pt x="72" y="26"/>
                    <a:pt x="72" y="26"/>
                    <a:pt x="72" y="26"/>
                  </a:cubicBezTo>
                  <a:cubicBezTo>
                    <a:pt x="72" y="29"/>
                    <a:pt x="71" y="32"/>
                    <a:pt x="68" y="32"/>
                  </a:cubicBezTo>
                  <a:cubicBezTo>
                    <a:pt x="58" y="35"/>
                    <a:pt x="54" y="38"/>
                    <a:pt x="48" y="44"/>
                  </a:cubicBezTo>
                  <a:cubicBezTo>
                    <a:pt x="46" y="45"/>
                    <a:pt x="43" y="46"/>
                    <a:pt x="40" y="45"/>
                  </a:cubicBezTo>
                  <a:cubicBezTo>
                    <a:pt x="27" y="37"/>
                    <a:pt x="27" y="37"/>
                    <a:pt x="27" y="37"/>
                  </a:cubicBezTo>
                  <a:cubicBezTo>
                    <a:pt x="15" y="58"/>
                    <a:pt x="15" y="58"/>
                    <a:pt x="15" y="58"/>
                  </a:cubicBezTo>
                  <a:cubicBezTo>
                    <a:pt x="28" y="65"/>
                    <a:pt x="28" y="65"/>
                    <a:pt x="28" y="65"/>
                  </a:cubicBezTo>
                  <a:cubicBezTo>
                    <a:pt x="30" y="67"/>
                    <a:pt x="31" y="69"/>
                    <a:pt x="30" y="72"/>
                  </a:cubicBezTo>
                  <a:cubicBezTo>
                    <a:pt x="29" y="80"/>
                    <a:pt x="29" y="88"/>
                    <a:pt x="30" y="95"/>
                  </a:cubicBezTo>
                  <a:cubicBezTo>
                    <a:pt x="31" y="98"/>
                    <a:pt x="30" y="101"/>
                    <a:pt x="28" y="102"/>
                  </a:cubicBezTo>
                  <a:cubicBezTo>
                    <a:pt x="15" y="109"/>
                    <a:pt x="15" y="109"/>
                    <a:pt x="15" y="109"/>
                  </a:cubicBezTo>
                  <a:cubicBezTo>
                    <a:pt x="27" y="130"/>
                    <a:pt x="27" y="130"/>
                    <a:pt x="27" y="130"/>
                  </a:cubicBezTo>
                  <a:cubicBezTo>
                    <a:pt x="40" y="123"/>
                    <a:pt x="40" y="123"/>
                    <a:pt x="40" y="123"/>
                  </a:cubicBezTo>
                  <a:cubicBezTo>
                    <a:pt x="43" y="121"/>
                    <a:pt x="45" y="122"/>
                    <a:pt x="47" y="123"/>
                  </a:cubicBezTo>
                  <a:cubicBezTo>
                    <a:pt x="54" y="129"/>
                    <a:pt x="57" y="133"/>
                    <a:pt x="68" y="135"/>
                  </a:cubicBezTo>
                  <a:cubicBezTo>
                    <a:pt x="71" y="136"/>
                    <a:pt x="72" y="138"/>
                    <a:pt x="72" y="141"/>
                  </a:cubicBezTo>
                  <a:lnTo>
                    <a:pt x="72" y="156"/>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3" name="Freeform 42">
              <a:extLst>
                <a:ext uri="{FF2B5EF4-FFF2-40B4-BE49-F238E27FC236}">
                  <a16:creationId xmlns:a16="http://schemas.microsoft.com/office/drawing/2014/main" id="{15CAA787-BA90-4895-B8DE-27D25319880F}"/>
                </a:ext>
              </a:extLst>
            </p:cNvPr>
            <p:cNvSpPr>
              <a:spLocks noEditPoints="1"/>
            </p:cNvSpPr>
            <p:nvPr/>
          </p:nvSpPr>
          <p:spPr bwMode="auto">
            <a:xfrm>
              <a:off x="4561" y="696"/>
              <a:ext cx="88"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sp>
        <p:nvSpPr>
          <p:cNvPr id="94" name="Rectangle 93">
            <a:extLst>
              <a:ext uri="{FF2B5EF4-FFF2-40B4-BE49-F238E27FC236}">
                <a16:creationId xmlns:a16="http://schemas.microsoft.com/office/drawing/2014/main" id="{33611246-1DB0-4612-BED3-33FBC7CF922A}"/>
              </a:ext>
            </a:extLst>
          </p:cNvPr>
          <p:cNvSpPr/>
          <p:nvPr/>
        </p:nvSpPr>
        <p:spPr>
          <a:xfrm>
            <a:off x="6441194" y="2576188"/>
            <a:ext cx="2518372" cy="608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500C0"/>
                </a:solidFill>
                <a:effectLst/>
                <a:uLnTx/>
                <a:uFillTx/>
                <a:latin typeface="Graphik"/>
                <a:ea typeface="+mn-ea"/>
                <a:cs typeface="Calibri" panose="020F0502020204030204" pitchFamily="34" charset="0"/>
              </a:rPr>
              <a:t>MACHINE LEARNING ALGORITHM</a:t>
            </a:r>
          </a:p>
        </p:txBody>
      </p:sp>
      <p:sp>
        <p:nvSpPr>
          <p:cNvPr id="95" name="Isosceles Triangle 94">
            <a:extLst>
              <a:ext uri="{FF2B5EF4-FFF2-40B4-BE49-F238E27FC236}">
                <a16:creationId xmlns:a16="http://schemas.microsoft.com/office/drawing/2014/main" id="{D8B80D7F-3E05-4C43-8F2A-58C8641D2F7F}"/>
              </a:ext>
            </a:extLst>
          </p:cNvPr>
          <p:cNvSpPr/>
          <p:nvPr/>
        </p:nvSpPr>
        <p:spPr bwMode="auto">
          <a:xfrm rot="5400000">
            <a:off x="8099559" y="2156306"/>
            <a:ext cx="1777973" cy="310133"/>
          </a:xfrm>
          <a:prstGeom prst="triangle">
            <a:avLst>
              <a:gd name="adj" fmla="val 50000"/>
            </a:avLst>
          </a:prstGeom>
          <a:solidFill>
            <a:schemeClr val="bg1">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28600" marR="0" lvl="0" indent="-228600" algn="ctr" defTabSz="914400" rtl="0" eaLnBrk="1" fontAlgn="base" latinLnBrk="0" hangingPunct="1">
              <a:lnSpc>
                <a:spcPct val="100000"/>
              </a:lnSpc>
              <a:spcBef>
                <a:spcPct val="50000"/>
              </a:spcBef>
              <a:spcAft>
                <a:spcPct val="0"/>
              </a:spcAft>
              <a:buClr>
                <a:srgbClr val="0768A9"/>
              </a:buClr>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5" name="Rectangle 4">
            <a:extLst>
              <a:ext uri="{FF2B5EF4-FFF2-40B4-BE49-F238E27FC236}">
                <a16:creationId xmlns:a16="http://schemas.microsoft.com/office/drawing/2014/main" id="{CF8A6310-8D14-4C59-A64A-1834F055C627}"/>
              </a:ext>
            </a:extLst>
          </p:cNvPr>
          <p:cNvSpPr/>
          <p:nvPr/>
        </p:nvSpPr>
        <p:spPr>
          <a:xfrm>
            <a:off x="8995854" y="2576188"/>
            <a:ext cx="2710544" cy="523220"/>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500C0"/>
                </a:solidFill>
                <a:effectLst/>
                <a:uLnTx/>
                <a:uFillTx/>
                <a:latin typeface="Graphik"/>
                <a:ea typeface="+mn-ea"/>
                <a:cs typeface="Calibri" panose="020F0502020204030204" pitchFamily="34" charset="0"/>
              </a:rPr>
              <a:t>Predictive Model with Test Data Validation</a:t>
            </a:r>
          </a:p>
        </p:txBody>
      </p:sp>
      <p:grpSp>
        <p:nvGrpSpPr>
          <p:cNvPr id="8" name="Group 7">
            <a:extLst>
              <a:ext uri="{FF2B5EF4-FFF2-40B4-BE49-F238E27FC236}">
                <a16:creationId xmlns:a16="http://schemas.microsoft.com/office/drawing/2014/main" id="{1F14ABE8-DE7E-413E-ABC5-2B609B0A36CF}"/>
              </a:ext>
            </a:extLst>
          </p:cNvPr>
          <p:cNvGrpSpPr/>
          <p:nvPr/>
        </p:nvGrpSpPr>
        <p:grpSpPr>
          <a:xfrm>
            <a:off x="9866148" y="1628751"/>
            <a:ext cx="811349" cy="832852"/>
            <a:chOff x="9903925" y="1392689"/>
            <a:chExt cx="968292" cy="1255830"/>
          </a:xfrm>
          <a:solidFill>
            <a:schemeClr val="accent2"/>
          </a:solidFill>
        </p:grpSpPr>
        <p:grpSp>
          <p:nvGrpSpPr>
            <p:cNvPr id="6" name="Group 5">
              <a:extLst>
                <a:ext uri="{FF2B5EF4-FFF2-40B4-BE49-F238E27FC236}">
                  <a16:creationId xmlns:a16="http://schemas.microsoft.com/office/drawing/2014/main" id="{FBE5394F-9552-4FE5-9882-868D2EE916B1}"/>
                </a:ext>
              </a:extLst>
            </p:cNvPr>
            <p:cNvGrpSpPr/>
            <p:nvPr/>
          </p:nvGrpSpPr>
          <p:grpSpPr>
            <a:xfrm>
              <a:off x="9903925" y="1392689"/>
              <a:ext cx="968292" cy="1255830"/>
              <a:chOff x="9617468" y="1492935"/>
              <a:chExt cx="1195814" cy="1591930"/>
            </a:xfrm>
            <a:grpFill/>
          </p:grpSpPr>
          <p:sp>
            <p:nvSpPr>
              <p:cNvPr id="98" name="Freeform 79">
                <a:extLst>
                  <a:ext uri="{FF2B5EF4-FFF2-40B4-BE49-F238E27FC236}">
                    <a16:creationId xmlns:a16="http://schemas.microsoft.com/office/drawing/2014/main" id="{92E5BDD9-66DA-4CFE-88DC-A2E1F67B81E7}"/>
                  </a:ext>
                </a:extLst>
              </p:cNvPr>
              <p:cNvSpPr>
                <a:spLocks noEditPoints="1"/>
              </p:cNvSpPr>
              <p:nvPr/>
            </p:nvSpPr>
            <p:spPr bwMode="auto">
              <a:xfrm>
                <a:off x="9617468" y="1492935"/>
                <a:ext cx="1195814" cy="15919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99" name="Freeform 80">
                <a:extLst>
                  <a:ext uri="{FF2B5EF4-FFF2-40B4-BE49-F238E27FC236}">
                    <a16:creationId xmlns:a16="http://schemas.microsoft.com/office/drawing/2014/main" id="{B47F270C-ED5C-4BEC-8EFF-DC0DA8E1DE66}"/>
                  </a:ext>
                </a:extLst>
              </p:cNvPr>
              <p:cNvSpPr>
                <a:spLocks/>
              </p:cNvSpPr>
              <p:nvPr/>
            </p:nvSpPr>
            <p:spPr bwMode="auto">
              <a:xfrm>
                <a:off x="10349904" y="1492935"/>
                <a:ext cx="463378" cy="467116"/>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0" name="Freeform 81">
                <a:extLst>
                  <a:ext uri="{FF2B5EF4-FFF2-40B4-BE49-F238E27FC236}">
                    <a16:creationId xmlns:a16="http://schemas.microsoft.com/office/drawing/2014/main" id="{E8AD2F88-5799-465E-BB24-3AF10869A0E7}"/>
                  </a:ext>
                </a:extLst>
              </p:cNvPr>
              <p:cNvSpPr>
                <a:spLocks/>
              </p:cNvSpPr>
              <p:nvPr/>
            </p:nvSpPr>
            <p:spPr bwMode="auto">
              <a:xfrm>
                <a:off x="10215375" y="2061856"/>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1" name="Freeform 82">
                <a:extLst>
                  <a:ext uri="{FF2B5EF4-FFF2-40B4-BE49-F238E27FC236}">
                    <a16:creationId xmlns:a16="http://schemas.microsoft.com/office/drawing/2014/main" id="{C3F9BE26-80A9-4547-9D46-0D5D041DC235}"/>
                  </a:ext>
                </a:extLst>
              </p:cNvPr>
              <p:cNvSpPr>
                <a:spLocks/>
              </p:cNvSpPr>
              <p:nvPr/>
            </p:nvSpPr>
            <p:spPr bwMode="auto">
              <a:xfrm>
                <a:off x="10215375" y="2327177"/>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2" name="Freeform 83">
                <a:extLst>
                  <a:ext uri="{FF2B5EF4-FFF2-40B4-BE49-F238E27FC236}">
                    <a16:creationId xmlns:a16="http://schemas.microsoft.com/office/drawing/2014/main" id="{CFA932ED-AE9F-47E6-AC7E-5CF56D120047}"/>
                  </a:ext>
                </a:extLst>
              </p:cNvPr>
              <p:cNvSpPr>
                <a:spLocks/>
              </p:cNvSpPr>
              <p:nvPr/>
            </p:nvSpPr>
            <p:spPr bwMode="auto">
              <a:xfrm>
                <a:off x="10215375" y="2592499"/>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3" name="Freeform 84">
                <a:extLst>
                  <a:ext uri="{FF2B5EF4-FFF2-40B4-BE49-F238E27FC236}">
                    <a16:creationId xmlns:a16="http://schemas.microsoft.com/office/drawing/2014/main" id="{0BF5F549-37A5-4DB3-BC14-8DE888658FD8}"/>
                  </a:ext>
                </a:extLst>
              </p:cNvPr>
              <p:cNvSpPr>
                <a:spLocks/>
              </p:cNvSpPr>
              <p:nvPr/>
            </p:nvSpPr>
            <p:spPr bwMode="auto">
              <a:xfrm>
                <a:off x="9815525" y="1927326"/>
                <a:ext cx="340060" cy="231689"/>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4" name="Freeform 85">
                <a:extLst>
                  <a:ext uri="{FF2B5EF4-FFF2-40B4-BE49-F238E27FC236}">
                    <a16:creationId xmlns:a16="http://schemas.microsoft.com/office/drawing/2014/main" id="{82597170-9C70-4AA8-A73C-8AFFFFBECE80}"/>
                  </a:ext>
                </a:extLst>
              </p:cNvPr>
              <p:cNvSpPr>
                <a:spLocks/>
              </p:cNvSpPr>
              <p:nvPr/>
            </p:nvSpPr>
            <p:spPr bwMode="auto">
              <a:xfrm>
                <a:off x="9815525" y="2192648"/>
                <a:ext cx="340060" cy="231689"/>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11" name="Freeform 83">
                <a:extLst>
                  <a:ext uri="{FF2B5EF4-FFF2-40B4-BE49-F238E27FC236}">
                    <a16:creationId xmlns:a16="http://schemas.microsoft.com/office/drawing/2014/main" id="{5A1A112F-61ED-46EC-8B08-6E35E439A3C2}"/>
                  </a:ext>
                </a:extLst>
              </p:cNvPr>
              <p:cNvSpPr>
                <a:spLocks/>
              </p:cNvSpPr>
              <p:nvPr/>
            </p:nvSpPr>
            <p:spPr bwMode="auto">
              <a:xfrm>
                <a:off x="10228912" y="2836895"/>
                <a:ext cx="306643"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nvGrpSpPr>
            <p:cNvPr id="106" name="Group 60">
              <a:extLst>
                <a:ext uri="{FF2B5EF4-FFF2-40B4-BE49-F238E27FC236}">
                  <a16:creationId xmlns:a16="http://schemas.microsoft.com/office/drawing/2014/main" id="{3E52847A-DFB5-4D19-B872-24A4BB4EBFC8}"/>
                </a:ext>
              </a:extLst>
            </p:cNvPr>
            <p:cNvGrpSpPr>
              <a:grpSpLocks noChangeAspect="1"/>
            </p:cNvGrpSpPr>
            <p:nvPr/>
          </p:nvGrpSpPr>
          <p:grpSpPr bwMode="auto">
            <a:xfrm>
              <a:off x="9903925" y="1489756"/>
              <a:ext cx="814252" cy="812342"/>
              <a:chOff x="348" y="1721"/>
              <a:chExt cx="426" cy="425"/>
            </a:xfrm>
            <a:grpFill/>
          </p:grpSpPr>
          <p:sp>
            <p:nvSpPr>
              <p:cNvPr id="107" name="Freeform 61">
                <a:extLst>
                  <a:ext uri="{FF2B5EF4-FFF2-40B4-BE49-F238E27FC236}">
                    <a16:creationId xmlns:a16="http://schemas.microsoft.com/office/drawing/2014/main" id="{6C732205-C6BF-43A6-9B88-4B60C7394CCF}"/>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sp>
            <p:nvSpPr>
              <p:cNvPr id="108" name="Freeform 62">
                <a:extLst>
                  <a:ext uri="{FF2B5EF4-FFF2-40B4-BE49-F238E27FC236}">
                    <a16:creationId xmlns:a16="http://schemas.microsoft.com/office/drawing/2014/main" id="{7C916E1A-01BD-4BD3-AE28-42E18417D718}"/>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Graphik"/>
                  <a:ea typeface="+mn-ea"/>
                  <a:cs typeface="+mn-cs"/>
                </a:endParaRPr>
              </a:p>
            </p:txBody>
          </p:sp>
        </p:grpSp>
      </p:grpSp>
      <p:cxnSp>
        <p:nvCxnSpPr>
          <p:cNvPr id="207" name="Straight Connector 206">
            <a:extLst>
              <a:ext uri="{FF2B5EF4-FFF2-40B4-BE49-F238E27FC236}">
                <a16:creationId xmlns:a16="http://schemas.microsoft.com/office/drawing/2014/main" id="{82AC2897-69CA-48F2-8B24-9DF11B879212}"/>
              </a:ext>
            </a:extLst>
          </p:cNvPr>
          <p:cNvCxnSpPr/>
          <p:nvPr/>
        </p:nvCxnSpPr>
        <p:spPr>
          <a:xfrm>
            <a:off x="208547" y="3589420"/>
            <a:ext cx="1164372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D4D6DF5A-D6CD-4235-AA54-0BE36F195290}"/>
              </a:ext>
            </a:extLst>
          </p:cNvPr>
          <p:cNvGrpSpPr/>
          <p:nvPr/>
        </p:nvGrpSpPr>
        <p:grpSpPr>
          <a:xfrm>
            <a:off x="399892" y="3741951"/>
            <a:ext cx="10314243" cy="2861932"/>
            <a:chOff x="460061" y="3675208"/>
            <a:chExt cx="10314243" cy="2861932"/>
          </a:xfrm>
        </p:grpSpPr>
        <p:sp>
          <p:nvSpPr>
            <p:cNvPr id="161" name="Rectangle 160">
              <a:extLst>
                <a:ext uri="{FF2B5EF4-FFF2-40B4-BE49-F238E27FC236}">
                  <a16:creationId xmlns:a16="http://schemas.microsoft.com/office/drawing/2014/main" id="{673C71DE-FE8A-447A-BEB2-BB9DFEAEEE52}"/>
                </a:ext>
              </a:extLst>
            </p:cNvPr>
            <p:cNvSpPr/>
            <p:nvPr/>
          </p:nvSpPr>
          <p:spPr>
            <a:xfrm>
              <a:off x="682115" y="3675208"/>
              <a:ext cx="2757643" cy="47349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FFFFFF"/>
                  </a:solidFill>
                  <a:latin typeface="Graphik"/>
                  <a:cs typeface="Calibri" panose="020F0502020204030204" pitchFamily="34" charset="0"/>
                </a:rPr>
                <a:t>Draft for Research Paper</a:t>
              </a:r>
              <a:endParaRPr kumimoji="0" lang="en-US" sz="1400" b="1" i="0" u="none" strike="noStrike" kern="1200" cap="none" spc="0" normalizeH="0" baseline="0" noProof="0">
                <a:ln>
                  <a:noFill/>
                </a:ln>
                <a:solidFill>
                  <a:srgbClr val="FFFFFF"/>
                </a:solidFill>
                <a:effectLst/>
                <a:uLnTx/>
                <a:uFillTx/>
                <a:latin typeface="Graphik"/>
                <a:ea typeface="+mn-ea"/>
                <a:cs typeface="Calibri" panose="020F0502020204030204" pitchFamily="34" charset="0"/>
              </a:endParaRPr>
            </a:p>
          </p:txBody>
        </p:sp>
        <p:grpSp>
          <p:nvGrpSpPr>
            <p:cNvPr id="146" name="Group 145">
              <a:extLst>
                <a:ext uri="{FF2B5EF4-FFF2-40B4-BE49-F238E27FC236}">
                  <a16:creationId xmlns:a16="http://schemas.microsoft.com/office/drawing/2014/main" id="{EC8A6662-E75C-4439-ADC9-7DF95235FED4}"/>
                </a:ext>
              </a:extLst>
            </p:cNvPr>
            <p:cNvGrpSpPr/>
            <p:nvPr/>
          </p:nvGrpSpPr>
          <p:grpSpPr>
            <a:xfrm>
              <a:off x="1662184" y="4300800"/>
              <a:ext cx="650825" cy="593213"/>
              <a:chOff x="9903925" y="1392689"/>
              <a:chExt cx="968292" cy="1255830"/>
            </a:xfrm>
            <a:solidFill>
              <a:schemeClr val="accent2"/>
            </a:solidFill>
          </p:grpSpPr>
          <p:grpSp>
            <p:nvGrpSpPr>
              <p:cNvPr id="147" name="Group 146">
                <a:extLst>
                  <a:ext uri="{FF2B5EF4-FFF2-40B4-BE49-F238E27FC236}">
                    <a16:creationId xmlns:a16="http://schemas.microsoft.com/office/drawing/2014/main" id="{F141FCF3-B8BD-4C57-AB31-81E3C37212E3}"/>
                  </a:ext>
                </a:extLst>
              </p:cNvPr>
              <p:cNvGrpSpPr/>
              <p:nvPr/>
            </p:nvGrpSpPr>
            <p:grpSpPr>
              <a:xfrm>
                <a:off x="9903925" y="1392689"/>
                <a:ext cx="968292" cy="1255830"/>
                <a:chOff x="9617468" y="1492935"/>
                <a:chExt cx="1195814" cy="1591930"/>
              </a:xfrm>
              <a:grpFill/>
            </p:grpSpPr>
            <p:sp>
              <p:nvSpPr>
                <p:cNvPr id="151" name="Freeform 79">
                  <a:extLst>
                    <a:ext uri="{FF2B5EF4-FFF2-40B4-BE49-F238E27FC236}">
                      <a16:creationId xmlns:a16="http://schemas.microsoft.com/office/drawing/2014/main" id="{9C303701-9E46-42BB-B773-7C3CF634E840}"/>
                    </a:ext>
                  </a:extLst>
                </p:cNvPr>
                <p:cNvSpPr>
                  <a:spLocks noEditPoints="1"/>
                </p:cNvSpPr>
                <p:nvPr/>
              </p:nvSpPr>
              <p:spPr bwMode="auto">
                <a:xfrm>
                  <a:off x="9617468" y="1492935"/>
                  <a:ext cx="1195814" cy="15919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2" name="Freeform 80">
                  <a:extLst>
                    <a:ext uri="{FF2B5EF4-FFF2-40B4-BE49-F238E27FC236}">
                      <a16:creationId xmlns:a16="http://schemas.microsoft.com/office/drawing/2014/main" id="{4275398B-D7AA-47DC-B1BA-B5FE99C26E99}"/>
                    </a:ext>
                  </a:extLst>
                </p:cNvPr>
                <p:cNvSpPr>
                  <a:spLocks/>
                </p:cNvSpPr>
                <p:nvPr/>
              </p:nvSpPr>
              <p:spPr bwMode="auto">
                <a:xfrm>
                  <a:off x="10349904" y="1492935"/>
                  <a:ext cx="463378" cy="467116"/>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3" name="Freeform 81">
                  <a:extLst>
                    <a:ext uri="{FF2B5EF4-FFF2-40B4-BE49-F238E27FC236}">
                      <a16:creationId xmlns:a16="http://schemas.microsoft.com/office/drawing/2014/main" id="{7EC307F1-BCC6-476F-92C6-3C81217CF55B}"/>
                    </a:ext>
                  </a:extLst>
                </p:cNvPr>
                <p:cNvSpPr>
                  <a:spLocks/>
                </p:cNvSpPr>
                <p:nvPr/>
              </p:nvSpPr>
              <p:spPr bwMode="auto">
                <a:xfrm>
                  <a:off x="10215375" y="2061856"/>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4" name="Freeform 82">
                  <a:extLst>
                    <a:ext uri="{FF2B5EF4-FFF2-40B4-BE49-F238E27FC236}">
                      <a16:creationId xmlns:a16="http://schemas.microsoft.com/office/drawing/2014/main" id="{2E1DE99D-B6EF-40A0-93B2-29B4B331FBF2}"/>
                    </a:ext>
                  </a:extLst>
                </p:cNvPr>
                <p:cNvSpPr>
                  <a:spLocks/>
                </p:cNvSpPr>
                <p:nvPr/>
              </p:nvSpPr>
              <p:spPr bwMode="auto">
                <a:xfrm>
                  <a:off x="10215375" y="2327177"/>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5" name="Freeform 83">
                  <a:extLst>
                    <a:ext uri="{FF2B5EF4-FFF2-40B4-BE49-F238E27FC236}">
                      <a16:creationId xmlns:a16="http://schemas.microsoft.com/office/drawing/2014/main" id="{8AD8D309-3470-45AB-8730-9DD46EA6E53D}"/>
                    </a:ext>
                  </a:extLst>
                </p:cNvPr>
                <p:cNvSpPr>
                  <a:spLocks/>
                </p:cNvSpPr>
                <p:nvPr/>
              </p:nvSpPr>
              <p:spPr bwMode="auto">
                <a:xfrm>
                  <a:off x="10215375" y="2592499"/>
                  <a:ext cx="332586"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6" name="Freeform 84">
                  <a:extLst>
                    <a:ext uri="{FF2B5EF4-FFF2-40B4-BE49-F238E27FC236}">
                      <a16:creationId xmlns:a16="http://schemas.microsoft.com/office/drawing/2014/main" id="{6347817D-62FA-4A1D-B5AB-288AEBA6B2CF}"/>
                    </a:ext>
                  </a:extLst>
                </p:cNvPr>
                <p:cNvSpPr>
                  <a:spLocks/>
                </p:cNvSpPr>
                <p:nvPr/>
              </p:nvSpPr>
              <p:spPr bwMode="auto">
                <a:xfrm>
                  <a:off x="9815525" y="1927326"/>
                  <a:ext cx="340060" cy="231689"/>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7" name="Freeform 85">
                  <a:extLst>
                    <a:ext uri="{FF2B5EF4-FFF2-40B4-BE49-F238E27FC236}">
                      <a16:creationId xmlns:a16="http://schemas.microsoft.com/office/drawing/2014/main" id="{83516699-090E-486D-9605-CF11DAB78D9E}"/>
                    </a:ext>
                  </a:extLst>
                </p:cNvPr>
                <p:cNvSpPr>
                  <a:spLocks/>
                </p:cNvSpPr>
                <p:nvPr/>
              </p:nvSpPr>
              <p:spPr bwMode="auto">
                <a:xfrm>
                  <a:off x="9815525" y="2192648"/>
                  <a:ext cx="340060" cy="231689"/>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9" name="Freeform 83">
                  <a:extLst>
                    <a:ext uri="{FF2B5EF4-FFF2-40B4-BE49-F238E27FC236}">
                      <a16:creationId xmlns:a16="http://schemas.microsoft.com/office/drawing/2014/main" id="{7145C304-DD85-4850-9757-22A7C79402C0}"/>
                    </a:ext>
                  </a:extLst>
                </p:cNvPr>
                <p:cNvSpPr>
                  <a:spLocks/>
                </p:cNvSpPr>
                <p:nvPr/>
              </p:nvSpPr>
              <p:spPr bwMode="auto">
                <a:xfrm>
                  <a:off x="10228912" y="2836895"/>
                  <a:ext cx="306643" cy="6352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48" name="Group 60">
                <a:extLst>
                  <a:ext uri="{FF2B5EF4-FFF2-40B4-BE49-F238E27FC236}">
                    <a16:creationId xmlns:a16="http://schemas.microsoft.com/office/drawing/2014/main" id="{CE46F12E-E878-4AD4-B6EA-C70849953FC3}"/>
                  </a:ext>
                </a:extLst>
              </p:cNvPr>
              <p:cNvGrpSpPr>
                <a:grpSpLocks noChangeAspect="1"/>
              </p:cNvGrpSpPr>
              <p:nvPr/>
            </p:nvGrpSpPr>
            <p:grpSpPr bwMode="auto">
              <a:xfrm>
                <a:off x="9903925" y="1489756"/>
                <a:ext cx="814252" cy="812342"/>
                <a:chOff x="348" y="1721"/>
                <a:chExt cx="426" cy="425"/>
              </a:xfrm>
              <a:grpFill/>
            </p:grpSpPr>
            <p:sp>
              <p:nvSpPr>
                <p:cNvPr id="149" name="Freeform 61">
                  <a:extLst>
                    <a:ext uri="{FF2B5EF4-FFF2-40B4-BE49-F238E27FC236}">
                      <a16:creationId xmlns:a16="http://schemas.microsoft.com/office/drawing/2014/main" id="{A2658BCC-11CD-4061-9946-4AC09D7A9B5C}"/>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50" name="Freeform 62">
                  <a:extLst>
                    <a:ext uri="{FF2B5EF4-FFF2-40B4-BE49-F238E27FC236}">
                      <a16:creationId xmlns:a16="http://schemas.microsoft.com/office/drawing/2014/main" id="{C5F31FE0-FC67-4F61-A977-2BAB2A69DCFE}"/>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grpSp>
          <p:nvGrpSpPr>
            <p:cNvPr id="162" name="Group 31">
              <a:extLst>
                <a:ext uri="{FF2B5EF4-FFF2-40B4-BE49-F238E27FC236}">
                  <a16:creationId xmlns:a16="http://schemas.microsoft.com/office/drawing/2014/main" id="{0E9B90AC-5241-469B-B22A-24D2A2962C73}"/>
                </a:ext>
              </a:extLst>
            </p:cNvPr>
            <p:cNvGrpSpPr>
              <a:grpSpLocks noChangeAspect="1"/>
            </p:cNvGrpSpPr>
            <p:nvPr/>
          </p:nvGrpSpPr>
          <p:grpSpPr bwMode="auto">
            <a:xfrm>
              <a:off x="911796" y="5010787"/>
              <a:ext cx="504310" cy="365217"/>
              <a:chOff x="3619" y="663"/>
              <a:chExt cx="440" cy="430"/>
            </a:xfrm>
            <a:solidFill>
              <a:schemeClr val="accent2"/>
            </a:solidFill>
          </p:grpSpPr>
          <p:sp>
            <p:nvSpPr>
              <p:cNvPr id="163" name="Freeform 32">
                <a:extLst>
                  <a:ext uri="{FF2B5EF4-FFF2-40B4-BE49-F238E27FC236}">
                    <a16:creationId xmlns:a16="http://schemas.microsoft.com/office/drawing/2014/main" id="{CC7CD5FB-060B-4B62-8C15-E0B2BD37FCA7}"/>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64" name="Freeform 33">
                <a:extLst>
                  <a:ext uri="{FF2B5EF4-FFF2-40B4-BE49-F238E27FC236}">
                    <a16:creationId xmlns:a16="http://schemas.microsoft.com/office/drawing/2014/main" id="{B7991E23-472C-4220-A6DD-AA12F3BAC06B}"/>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65" name="Freeform 34">
                <a:extLst>
                  <a:ext uri="{FF2B5EF4-FFF2-40B4-BE49-F238E27FC236}">
                    <a16:creationId xmlns:a16="http://schemas.microsoft.com/office/drawing/2014/main" id="{7D6B0879-774D-4CCC-9B7A-BCFC8D7455AE}"/>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66" name="Freeform 35">
                <a:extLst>
                  <a:ext uri="{FF2B5EF4-FFF2-40B4-BE49-F238E27FC236}">
                    <a16:creationId xmlns:a16="http://schemas.microsoft.com/office/drawing/2014/main" id="{3E318D49-D795-4404-A6EA-949C7A207EB2}"/>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67" name="Freeform 36">
                <a:extLst>
                  <a:ext uri="{FF2B5EF4-FFF2-40B4-BE49-F238E27FC236}">
                    <a16:creationId xmlns:a16="http://schemas.microsoft.com/office/drawing/2014/main" id="{F09F356C-F788-40F4-BB15-1682F76E0B3C}"/>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68" name="Freeform 37">
                <a:extLst>
                  <a:ext uri="{FF2B5EF4-FFF2-40B4-BE49-F238E27FC236}">
                    <a16:creationId xmlns:a16="http://schemas.microsoft.com/office/drawing/2014/main" id="{8655D670-B29A-4EB3-9957-B54AFBFB15C5}"/>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69" name="Group 31">
              <a:extLst>
                <a:ext uri="{FF2B5EF4-FFF2-40B4-BE49-F238E27FC236}">
                  <a16:creationId xmlns:a16="http://schemas.microsoft.com/office/drawing/2014/main" id="{AAFC880B-FDD2-48B6-961B-E7C58635EA1C}"/>
                </a:ext>
              </a:extLst>
            </p:cNvPr>
            <p:cNvGrpSpPr>
              <a:grpSpLocks noChangeAspect="1"/>
            </p:cNvGrpSpPr>
            <p:nvPr/>
          </p:nvGrpSpPr>
          <p:grpSpPr bwMode="auto">
            <a:xfrm>
              <a:off x="1727546" y="5223972"/>
              <a:ext cx="504310" cy="365217"/>
              <a:chOff x="3619" y="663"/>
              <a:chExt cx="440" cy="430"/>
            </a:xfrm>
            <a:solidFill>
              <a:schemeClr val="accent2"/>
            </a:solidFill>
          </p:grpSpPr>
          <p:sp>
            <p:nvSpPr>
              <p:cNvPr id="170" name="Freeform 32">
                <a:extLst>
                  <a:ext uri="{FF2B5EF4-FFF2-40B4-BE49-F238E27FC236}">
                    <a16:creationId xmlns:a16="http://schemas.microsoft.com/office/drawing/2014/main" id="{2313AE71-32F5-4C1D-8405-ACE94620D9CC}"/>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71" name="Freeform 33">
                <a:extLst>
                  <a:ext uri="{FF2B5EF4-FFF2-40B4-BE49-F238E27FC236}">
                    <a16:creationId xmlns:a16="http://schemas.microsoft.com/office/drawing/2014/main" id="{F3C522A8-F805-4EA3-A8E4-09E44FB396E4}"/>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72" name="Freeform 34">
                <a:extLst>
                  <a:ext uri="{FF2B5EF4-FFF2-40B4-BE49-F238E27FC236}">
                    <a16:creationId xmlns:a16="http://schemas.microsoft.com/office/drawing/2014/main" id="{69DD742D-35B6-42A3-B3B6-F381307A47B6}"/>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73" name="Freeform 35">
                <a:extLst>
                  <a:ext uri="{FF2B5EF4-FFF2-40B4-BE49-F238E27FC236}">
                    <a16:creationId xmlns:a16="http://schemas.microsoft.com/office/drawing/2014/main" id="{E54104CE-7ACA-4D50-BB94-2B2493E5EAF5}"/>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74" name="Freeform 36">
                <a:extLst>
                  <a:ext uri="{FF2B5EF4-FFF2-40B4-BE49-F238E27FC236}">
                    <a16:creationId xmlns:a16="http://schemas.microsoft.com/office/drawing/2014/main" id="{07331D50-B544-434D-B61E-74BFEC03ED58}"/>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75" name="Freeform 37">
                <a:extLst>
                  <a:ext uri="{FF2B5EF4-FFF2-40B4-BE49-F238E27FC236}">
                    <a16:creationId xmlns:a16="http://schemas.microsoft.com/office/drawing/2014/main" id="{CFB83902-6623-49C3-A9FA-8A27841636C7}"/>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0" name="Group 9">
              <a:extLst>
                <a:ext uri="{FF2B5EF4-FFF2-40B4-BE49-F238E27FC236}">
                  <a16:creationId xmlns:a16="http://schemas.microsoft.com/office/drawing/2014/main" id="{2821D384-B057-490A-BF43-DB9F03A93C69}"/>
                </a:ext>
              </a:extLst>
            </p:cNvPr>
            <p:cNvGrpSpPr/>
            <p:nvPr/>
          </p:nvGrpSpPr>
          <p:grpSpPr>
            <a:xfrm>
              <a:off x="1091038" y="5625611"/>
              <a:ext cx="373983" cy="324477"/>
              <a:chOff x="933629" y="5868889"/>
              <a:chExt cx="360185" cy="421714"/>
            </a:xfrm>
            <a:solidFill>
              <a:schemeClr val="accent2"/>
            </a:solidFill>
          </p:grpSpPr>
          <p:grpSp>
            <p:nvGrpSpPr>
              <p:cNvPr id="176" name="Group 164">
                <a:extLst>
                  <a:ext uri="{FF2B5EF4-FFF2-40B4-BE49-F238E27FC236}">
                    <a16:creationId xmlns:a16="http://schemas.microsoft.com/office/drawing/2014/main" id="{18040E3B-36F8-45EE-A71D-FC5CB140E85B}"/>
                  </a:ext>
                </a:extLst>
              </p:cNvPr>
              <p:cNvGrpSpPr>
                <a:grpSpLocks noChangeAspect="1"/>
              </p:cNvGrpSpPr>
              <p:nvPr/>
            </p:nvGrpSpPr>
            <p:grpSpPr bwMode="auto">
              <a:xfrm>
                <a:off x="933629" y="5871548"/>
                <a:ext cx="159962" cy="419055"/>
                <a:chOff x="6974" y="3267"/>
                <a:chExt cx="142" cy="372"/>
              </a:xfrm>
              <a:grpFill/>
            </p:grpSpPr>
            <p:sp>
              <p:nvSpPr>
                <p:cNvPr id="177" name="Freeform 165">
                  <a:extLst>
                    <a:ext uri="{FF2B5EF4-FFF2-40B4-BE49-F238E27FC236}">
                      <a16:creationId xmlns:a16="http://schemas.microsoft.com/office/drawing/2014/main" id="{1BCDF4F7-BD1C-49BC-A8FD-AFC234E674FE}"/>
                    </a:ext>
                  </a:extLst>
                </p:cNvPr>
                <p:cNvSpPr>
                  <a:spLocks noEditPoints="1"/>
                </p:cNvSpPr>
                <p:nvPr/>
              </p:nvSpPr>
              <p:spPr bwMode="auto">
                <a:xfrm>
                  <a:off x="6974" y="3391"/>
                  <a:ext cx="142" cy="248"/>
                </a:xfrm>
                <a:custGeom>
                  <a:avLst/>
                  <a:gdLst>
                    <a:gd name="T0" fmla="*/ 66 w 96"/>
                    <a:gd name="T1" fmla="*/ 168 h 168"/>
                    <a:gd name="T2" fmla="*/ 30 w 96"/>
                    <a:gd name="T3" fmla="*/ 168 h 168"/>
                    <a:gd name="T4" fmla="*/ 24 w 96"/>
                    <a:gd name="T5" fmla="*/ 162 h 168"/>
                    <a:gd name="T6" fmla="*/ 24 w 96"/>
                    <a:gd name="T7" fmla="*/ 96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6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6"/>
                        <a:pt x="24" y="162"/>
                      </a:cubicBezTo>
                      <a:cubicBezTo>
                        <a:pt x="24" y="96"/>
                        <a:pt x="24" y="96"/>
                        <a:pt x="24" y="96"/>
                      </a:cubicBezTo>
                      <a:cubicBezTo>
                        <a:pt x="10" y="93"/>
                        <a:pt x="0" y="81"/>
                        <a:pt x="0" y="66"/>
                      </a:cubicBezTo>
                      <a:cubicBezTo>
                        <a:pt x="0" y="6"/>
                        <a:pt x="0" y="6"/>
                        <a:pt x="0" y="6"/>
                      </a:cubicBezTo>
                      <a:cubicBezTo>
                        <a:pt x="0" y="3"/>
                        <a:pt x="3" y="0"/>
                        <a:pt x="6" y="0"/>
                      </a:cubicBezTo>
                      <a:cubicBezTo>
                        <a:pt x="90" y="0"/>
                        <a:pt x="90" y="0"/>
                        <a:pt x="90" y="0"/>
                      </a:cubicBezTo>
                      <a:cubicBezTo>
                        <a:pt x="93" y="0"/>
                        <a:pt x="96" y="3"/>
                        <a:pt x="96" y="6"/>
                      </a:cubicBezTo>
                      <a:cubicBezTo>
                        <a:pt x="96" y="66"/>
                        <a:pt x="96" y="66"/>
                        <a:pt x="96" y="66"/>
                      </a:cubicBezTo>
                      <a:cubicBezTo>
                        <a:pt x="96" y="81"/>
                        <a:pt x="86" y="93"/>
                        <a:pt x="72" y="96"/>
                      </a:cubicBezTo>
                      <a:cubicBezTo>
                        <a:pt x="72" y="162"/>
                        <a:pt x="72" y="162"/>
                        <a:pt x="72" y="162"/>
                      </a:cubicBezTo>
                      <a:cubicBezTo>
                        <a:pt x="72" y="166"/>
                        <a:pt x="69" y="168"/>
                        <a:pt x="66" y="168"/>
                      </a:cubicBezTo>
                      <a:close/>
                      <a:moveTo>
                        <a:pt x="36" y="156"/>
                      </a:moveTo>
                      <a:cubicBezTo>
                        <a:pt x="60" y="156"/>
                        <a:pt x="60" y="156"/>
                        <a:pt x="60" y="156"/>
                      </a:cubicBezTo>
                      <a:cubicBezTo>
                        <a:pt x="60" y="90"/>
                        <a:pt x="60" y="90"/>
                        <a:pt x="60" y="90"/>
                      </a:cubicBezTo>
                      <a:cubicBezTo>
                        <a:pt x="60" y="87"/>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7"/>
                        <a:pt x="36" y="90"/>
                      </a:cubicBezTo>
                      <a:lnTo>
                        <a:pt x="36" y="1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78" name="Freeform 166">
                  <a:extLst>
                    <a:ext uri="{FF2B5EF4-FFF2-40B4-BE49-F238E27FC236}">
                      <a16:creationId xmlns:a16="http://schemas.microsoft.com/office/drawing/2014/main" id="{9E49EC06-0924-4571-907D-BAE31D2FA3E4}"/>
                    </a:ext>
                  </a:extLst>
                </p:cNvPr>
                <p:cNvSpPr>
                  <a:spLocks noEditPoints="1"/>
                </p:cNvSpPr>
                <p:nvPr/>
              </p:nvSpPr>
              <p:spPr bwMode="auto">
                <a:xfrm>
                  <a:off x="6992" y="3267"/>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81" name="Group 164">
                <a:extLst>
                  <a:ext uri="{FF2B5EF4-FFF2-40B4-BE49-F238E27FC236}">
                    <a16:creationId xmlns:a16="http://schemas.microsoft.com/office/drawing/2014/main" id="{763768B5-1FE2-4B2B-AFF2-60141C43CC97}"/>
                  </a:ext>
                </a:extLst>
              </p:cNvPr>
              <p:cNvGrpSpPr>
                <a:grpSpLocks noChangeAspect="1"/>
              </p:cNvGrpSpPr>
              <p:nvPr/>
            </p:nvGrpSpPr>
            <p:grpSpPr bwMode="auto">
              <a:xfrm>
                <a:off x="1133852" y="5868889"/>
                <a:ext cx="159962" cy="419055"/>
                <a:chOff x="6974" y="3267"/>
                <a:chExt cx="142" cy="372"/>
              </a:xfrm>
              <a:grpFill/>
            </p:grpSpPr>
            <p:sp>
              <p:nvSpPr>
                <p:cNvPr id="182" name="Freeform 165">
                  <a:extLst>
                    <a:ext uri="{FF2B5EF4-FFF2-40B4-BE49-F238E27FC236}">
                      <a16:creationId xmlns:a16="http://schemas.microsoft.com/office/drawing/2014/main" id="{B95DC793-F6A5-4C4D-BA89-E6376D4F0EAD}"/>
                    </a:ext>
                  </a:extLst>
                </p:cNvPr>
                <p:cNvSpPr>
                  <a:spLocks noEditPoints="1"/>
                </p:cNvSpPr>
                <p:nvPr/>
              </p:nvSpPr>
              <p:spPr bwMode="auto">
                <a:xfrm>
                  <a:off x="6974" y="3391"/>
                  <a:ext cx="142" cy="248"/>
                </a:xfrm>
                <a:custGeom>
                  <a:avLst/>
                  <a:gdLst>
                    <a:gd name="T0" fmla="*/ 66 w 96"/>
                    <a:gd name="T1" fmla="*/ 168 h 168"/>
                    <a:gd name="T2" fmla="*/ 30 w 96"/>
                    <a:gd name="T3" fmla="*/ 168 h 168"/>
                    <a:gd name="T4" fmla="*/ 24 w 96"/>
                    <a:gd name="T5" fmla="*/ 162 h 168"/>
                    <a:gd name="T6" fmla="*/ 24 w 96"/>
                    <a:gd name="T7" fmla="*/ 96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6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6"/>
                        <a:pt x="24" y="162"/>
                      </a:cubicBezTo>
                      <a:cubicBezTo>
                        <a:pt x="24" y="96"/>
                        <a:pt x="24" y="96"/>
                        <a:pt x="24" y="96"/>
                      </a:cubicBezTo>
                      <a:cubicBezTo>
                        <a:pt x="10" y="93"/>
                        <a:pt x="0" y="81"/>
                        <a:pt x="0" y="66"/>
                      </a:cubicBezTo>
                      <a:cubicBezTo>
                        <a:pt x="0" y="6"/>
                        <a:pt x="0" y="6"/>
                        <a:pt x="0" y="6"/>
                      </a:cubicBezTo>
                      <a:cubicBezTo>
                        <a:pt x="0" y="3"/>
                        <a:pt x="3" y="0"/>
                        <a:pt x="6" y="0"/>
                      </a:cubicBezTo>
                      <a:cubicBezTo>
                        <a:pt x="90" y="0"/>
                        <a:pt x="90" y="0"/>
                        <a:pt x="90" y="0"/>
                      </a:cubicBezTo>
                      <a:cubicBezTo>
                        <a:pt x="93" y="0"/>
                        <a:pt x="96" y="3"/>
                        <a:pt x="96" y="6"/>
                      </a:cubicBezTo>
                      <a:cubicBezTo>
                        <a:pt x="96" y="66"/>
                        <a:pt x="96" y="66"/>
                        <a:pt x="96" y="66"/>
                      </a:cubicBezTo>
                      <a:cubicBezTo>
                        <a:pt x="96" y="81"/>
                        <a:pt x="86" y="93"/>
                        <a:pt x="72" y="96"/>
                      </a:cubicBezTo>
                      <a:cubicBezTo>
                        <a:pt x="72" y="162"/>
                        <a:pt x="72" y="162"/>
                        <a:pt x="72" y="162"/>
                      </a:cubicBezTo>
                      <a:cubicBezTo>
                        <a:pt x="72" y="166"/>
                        <a:pt x="69" y="168"/>
                        <a:pt x="66" y="168"/>
                      </a:cubicBezTo>
                      <a:close/>
                      <a:moveTo>
                        <a:pt x="36" y="156"/>
                      </a:moveTo>
                      <a:cubicBezTo>
                        <a:pt x="60" y="156"/>
                        <a:pt x="60" y="156"/>
                        <a:pt x="60" y="156"/>
                      </a:cubicBezTo>
                      <a:cubicBezTo>
                        <a:pt x="60" y="90"/>
                        <a:pt x="60" y="90"/>
                        <a:pt x="60" y="90"/>
                      </a:cubicBezTo>
                      <a:cubicBezTo>
                        <a:pt x="60" y="87"/>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7"/>
                        <a:pt x="36" y="90"/>
                      </a:cubicBezTo>
                      <a:lnTo>
                        <a:pt x="36" y="1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83" name="Freeform 166">
                  <a:extLst>
                    <a:ext uri="{FF2B5EF4-FFF2-40B4-BE49-F238E27FC236}">
                      <a16:creationId xmlns:a16="http://schemas.microsoft.com/office/drawing/2014/main" id="{FB0C31E5-F93B-4732-9DB2-73EAC665FFFF}"/>
                    </a:ext>
                  </a:extLst>
                </p:cNvPr>
                <p:cNvSpPr>
                  <a:spLocks noEditPoints="1"/>
                </p:cNvSpPr>
                <p:nvPr/>
              </p:nvSpPr>
              <p:spPr bwMode="auto">
                <a:xfrm>
                  <a:off x="6992" y="3267"/>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grpSp>
          <p:nvGrpSpPr>
            <p:cNvPr id="186" name="Group 31">
              <a:extLst>
                <a:ext uri="{FF2B5EF4-FFF2-40B4-BE49-F238E27FC236}">
                  <a16:creationId xmlns:a16="http://schemas.microsoft.com/office/drawing/2014/main" id="{769A5C77-6C21-49C4-A270-E4AE44E85CDA}"/>
                </a:ext>
              </a:extLst>
            </p:cNvPr>
            <p:cNvGrpSpPr>
              <a:grpSpLocks noChangeAspect="1"/>
            </p:cNvGrpSpPr>
            <p:nvPr/>
          </p:nvGrpSpPr>
          <p:grpSpPr bwMode="auto">
            <a:xfrm>
              <a:off x="2332618" y="5574828"/>
              <a:ext cx="504310" cy="365217"/>
              <a:chOff x="3619" y="663"/>
              <a:chExt cx="440" cy="430"/>
            </a:xfrm>
            <a:solidFill>
              <a:schemeClr val="accent2"/>
            </a:solidFill>
          </p:grpSpPr>
          <p:sp>
            <p:nvSpPr>
              <p:cNvPr id="187" name="Freeform 32">
                <a:extLst>
                  <a:ext uri="{FF2B5EF4-FFF2-40B4-BE49-F238E27FC236}">
                    <a16:creationId xmlns:a16="http://schemas.microsoft.com/office/drawing/2014/main" id="{0536381B-A8AA-44FE-BD2B-2CF6BF994AE6}"/>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88" name="Freeform 33">
                <a:extLst>
                  <a:ext uri="{FF2B5EF4-FFF2-40B4-BE49-F238E27FC236}">
                    <a16:creationId xmlns:a16="http://schemas.microsoft.com/office/drawing/2014/main" id="{4D0A5265-67A9-4C48-BFE7-9911ED1F0278}"/>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89" name="Freeform 34">
                <a:extLst>
                  <a:ext uri="{FF2B5EF4-FFF2-40B4-BE49-F238E27FC236}">
                    <a16:creationId xmlns:a16="http://schemas.microsoft.com/office/drawing/2014/main" id="{CFF1BCBF-1A12-4DCF-BBC6-B91B12CEF908}"/>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90" name="Freeform 35">
                <a:extLst>
                  <a:ext uri="{FF2B5EF4-FFF2-40B4-BE49-F238E27FC236}">
                    <a16:creationId xmlns:a16="http://schemas.microsoft.com/office/drawing/2014/main" id="{60FA8AED-A098-4906-911C-BF10839809E9}"/>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91" name="Freeform 36">
                <a:extLst>
                  <a:ext uri="{FF2B5EF4-FFF2-40B4-BE49-F238E27FC236}">
                    <a16:creationId xmlns:a16="http://schemas.microsoft.com/office/drawing/2014/main" id="{B22D72F2-6CC5-4622-8B7B-72DCC0B215ED}"/>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sp>
            <p:nvSpPr>
              <p:cNvPr id="192" name="Freeform 37">
                <a:extLst>
                  <a:ext uri="{FF2B5EF4-FFF2-40B4-BE49-F238E27FC236}">
                    <a16:creationId xmlns:a16="http://schemas.microsoft.com/office/drawing/2014/main" id="{1E91561E-D60D-469A-BFD7-5D0FF1009FE9}"/>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93" name="Group 192">
              <a:extLst>
                <a:ext uri="{FF2B5EF4-FFF2-40B4-BE49-F238E27FC236}">
                  <a16:creationId xmlns:a16="http://schemas.microsoft.com/office/drawing/2014/main" id="{211CFC48-70C8-40E2-910C-3E5A45FA421D}"/>
                </a:ext>
              </a:extLst>
            </p:cNvPr>
            <p:cNvGrpSpPr/>
            <p:nvPr/>
          </p:nvGrpSpPr>
          <p:grpSpPr>
            <a:xfrm>
              <a:off x="2584755" y="5044970"/>
              <a:ext cx="373983" cy="324477"/>
              <a:chOff x="933629" y="5868889"/>
              <a:chExt cx="360185" cy="421714"/>
            </a:xfrm>
            <a:solidFill>
              <a:schemeClr val="accent2"/>
            </a:solidFill>
          </p:grpSpPr>
          <p:grpSp>
            <p:nvGrpSpPr>
              <p:cNvPr id="194" name="Group 164">
                <a:extLst>
                  <a:ext uri="{FF2B5EF4-FFF2-40B4-BE49-F238E27FC236}">
                    <a16:creationId xmlns:a16="http://schemas.microsoft.com/office/drawing/2014/main" id="{3CF95063-A51F-44B2-A2A6-D0328F90B108}"/>
                  </a:ext>
                </a:extLst>
              </p:cNvPr>
              <p:cNvGrpSpPr>
                <a:grpSpLocks noChangeAspect="1"/>
              </p:cNvGrpSpPr>
              <p:nvPr/>
            </p:nvGrpSpPr>
            <p:grpSpPr bwMode="auto">
              <a:xfrm>
                <a:off x="933629" y="5871548"/>
                <a:ext cx="159962" cy="419055"/>
                <a:chOff x="6974" y="3267"/>
                <a:chExt cx="142" cy="372"/>
              </a:xfrm>
              <a:grpFill/>
            </p:grpSpPr>
            <p:sp>
              <p:nvSpPr>
                <p:cNvPr id="198" name="Freeform 165">
                  <a:extLst>
                    <a:ext uri="{FF2B5EF4-FFF2-40B4-BE49-F238E27FC236}">
                      <a16:creationId xmlns:a16="http://schemas.microsoft.com/office/drawing/2014/main" id="{640D4FDE-EDE2-4859-8795-960C26971641}"/>
                    </a:ext>
                  </a:extLst>
                </p:cNvPr>
                <p:cNvSpPr>
                  <a:spLocks noEditPoints="1"/>
                </p:cNvSpPr>
                <p:nvPr/>
              </p:nvSpPr>
              <p:spPr bwMode="auto">
                <a:xfrm>
                  <a:off x="6974" y="3391"/>
                  <a:ext cx="142" cy="248"/>
                </a:xfrm>
                <a:custGeom>
                  <a:avLst/>
                  <a:gdLst>
                    <a:gd name="T0" fmla="*/ 66 w 96"/>
                    <a:gd name="T1" fmla="*/ 168 h 168"/>
                    <a:gd name="T2" fmla="*/ 30 w 96"/>
                    <a:gd name="T3" fmla="*/ 168 h 168"/>
                    <a:gd name="T4" fmla="*/ 24 w 96"/>
                    <a:gd name="T5" fmla="*/ 162 h 168"/>
                    <a:gd name="T6" fmla="*/ 24 w 96"/>
                    <a:gd name="T7" fmla="*/ 96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6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6"/>
                        <a:pt x="24" y="162"/>
                      </a:cubicBezTo>
                      <a:cubicBezTo>
                        <a:pt x="24" y="96"/>
                        <a:pt x="24" y="96"/>
                        <a:pt x="24" y="96"/>
                      </a:cubicBezTo>
                      <a:cubicBezTo>
                        <a:pt x="10" y="93"/>
                        <a:pt x="0" y="81"/>
                        <a:pt x="0" y="66"/>
                      </a:cubicBezTo>
                      <a:cubicBezTo>
                        <a:pt x="0" y="6"/>
                        <a:pt x="0" y="6"/>
                        <a:pt x="0" y="6"/>
                      </a:cubicBezTo>
                      <a:cubicBezTo>
                        <a:pt x="0" y="3"/>
                        <a:pt x="3" y="0"/>
                        <a:pt x="6" y="0"/>
                      </a:cubicBezTo>
                      <a:cubicBezTo>
                        <a:pt x="90" y="0"/>
                        <a:pt x="90" y="0"/>
                        <a:pt x="90" y="0"/>
                      </a:cubicBezTo>
                      <a:cubicBezTo>
                        <a:pt x="93" y="0"/>
                        <a:pt x="96" y="3"/>
                        <a:pt x="96" y="6"/>
                      </a:cubicBezTo>
                      <a:cubicBezTo>
                        <a:pt x="96" y="66"/>
                        <a:pt x="96" y="66"/>
                        <a:pt x="96" y="66"/>
                      </a:cubicBezTo>
                      <a:cubicBezTo>
                        <a:pt x="96" y="81"/>
                        <a:pt x="86" y="93"/>
                        <a:pt x="72" y="96"/>
                      </a:cubicBezTo>
                      <a:cubicBezTo>
                        <a:pt x="72" y="162"/>
                        <a:pt x="72" y="162"/>
                        <a:pt x="72" y="162"/>
                      </a:cubicBezTo>
                      <a:cubicBezTo>
                        <a:pt x="72" y="166"/>
                        <a:pt x="69" y="168"/>
                        <a:pt x="66" y="168"/>
                      </a:cubicBezTo>
                      <a:close/>
                      <a:moveTo>
                        <a:pt x="36" y="156"/>
                      </a:moveTo>
                      <a:cubicBezTo>
                        <a:pt x="60" y="156"/>
                        <a:pt x="60" y="156"/>
                        <a:pt x="60" y="156"/>
                      </a:cubicBezTo>
                      <a:cubicBezTo>
                        <a:pt x="60" y="90"/>
                        <a:pt x="60" y="90"/>
                        <a:pt x="60" y="90"/>
                      </a:cubicBezTo>
                      <a:cubicBezTo>
                        <a:pt x="60" y="87"/>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7"/>
                        <a:pt x="36" y="90"/>
                      </a:cubicBezTo>
                      <a:lnTo>
                        <a:pt x="36" y="1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99" name="Freeform 166">
                  <a:extLst>
                    <a:ext uri="{FF2B5EF4-FFF2-40B4-BE49-F238E27FC236}">
                      <a16:creationId xmlns:a16="http://schemas.microsoft.com/office/drawing/2014/main" id="{1B7FE46D-B61A-40BB-9109-56CCF31E0F68}"/>
                    </a:ext>
                  </a:extLst>
                </p:cNvPr>
                <p:cNvSpPr>
                  <a:spLocks noEditPoints="1"/>
                </p:cNvSpPr>
                <p:nvPr/>
              </p:nvSpPr>
              <p:spPr bwMode="auto">
                <a:xfrm>
                  <a:off x="6992" y="3267"/>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nvGrpSpPr>
              <p:cNvPr id="195" name="Group 164">
                <a:extLst>
                  <a:ext uri="{FF2B5EF4-FFF2-40B4-BE49-F238E27FC236}">
                    <a16:creationId xmlns:a16="http://schemas.microsoft.com/office/drawing/2014/main" id="{AE264EE1-F5FC-4FCE-9587-B70FC57C9FCB}"/>
                  </a:ext>
                </a:extLst>
              </p:cNvPr>
              <p:cNvGrpSpPr>
                <a:grpSpLocks noChangeAspect="1"/>
              </p:cNvGrpSpPr>
              <p:nvPr/>
            </p:nvGrpSpPr>
            <p:grpSpPr bwMode="auto">
              <a:xfrm>
                <a:off x="1133852" y="5868889"/>
                <a:ext cx="159962" cy="419055"/>
                <a:chOff x="6974" y="3267"/>
                <a:chExt cx="142" cy="372"/>
              </a:xfrm>
              <a:grpFill/>
            </p:grpSpPr>
            <p:sp>
              <p:nvSpPr>
                <p:cNvPr id="196" name="Freeform 165">
                  <a:extLst>
                    <a:ext uri="{FF2B5EF4-FFF2-40B4-BE49-F238E27FC236}">
                      <a16:creationId xmlns:a16="http://schemas.microsoft.com/office/drawing/2014/main" id="{A9AFFAC3-E7A5-4EFA-A2EC-E98EA6FDC8C4}"/>
                    </a:ext>
                  </a:extLst>
                </p:cNvPr>
                <p:cNvSpPr>
                  <a:spLocks noEditPoints="1"/>
                </p:cNvSpPr>
                <p:nvPr/>
              </p:nvSpPr>
              <p:spPr bwMode="auto">
                <a:xfrm>
                  <a:off x="6974" y="3391"/>
                  <a:ext cx="142" cy="248"/>
                </a:xfrm>
                <a:custGeom>
                  <a:avLst/>
                  <a:gdLst>
                    <a:gd name="T0" fmla="*/ 66 w 96"/>
                    <a:gd name="T1" fmla="*/ 168 h 168"/>
                    <a:gd name="T2" fmla="*/ 30 w 96"/>
                    <a:gd name="T3" fmla="*/ 168 h 168"/>
                    <a:gd name="T4" fmla="*/ 24 w 96"/>
                    <a:gd name="T5" fmla="*/ 162 h 168"/>
                    <a:gd name="T6" fmla="*/ 24 w 96"/>
                    <a:gd name="T7" fmla="*/ 96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6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6"/>
                        <a:pt x="24" y="162"/>
                      </a:cubicBezTo>
                      <a:cubicBezTo>
                        <a:pt x="24" y="96"/>
                        <a:pt x="24" y="96"/>
                        <a:pt x="24" y="96"/>
                      </a:cubicBezTo>
                      <a:cubicBezTo>
                        <a:pt x="10" y="93"/>
                        <a:pt x="0" y="81"/>
                        <a:pt x="0" y="66"/>
                      </a:cubicBezTo>
                      <a:cubicBezTo>
                        <a:pt x="0" y="6"/>
                        <a:pt x="0" y="6"/>
                        <a:pt x="0" y="6"/>
                      </a:cubicBezTo>
                      <a:cubicBezTo>
                        <a:pt x="0" y="3"/>
                        <a:pt x="3" y="0"/>
                        <a:pt x="6" y="0"/>
                      </a:cubicBezTo>
                      <a:cubicBezTo>
                        <a:pt x="90" y="0"/>
                        <a:pt x="90" y="0"/>
                        <a:pt x="90" y="0"/>
                      </a:cubicBezTo>
                      <a:cubicBezTo>
                        <a:pt x="93" y="0"/>
                        <a:pt x="96" y="3"/>
                        <a:pt x="96" y="6"/>
                      </a:cubicBezTo>
                      <a:cubicBezTo>
                        <a:pt x="96" y="66"/>
                        <a:pt x="96" y="66"/>
                        <a:pt x="96" y="66"/>
                      </a:cubicBezTo>
                      <a:cubicBezTo>
                        <a:pt x="96" y="81"/>
                        <a:pt x="86" y="93"/>
                        <a:pt x="72" y="96"/>
                      </a:cubicBezTo>
                      <a:cubicBezTo>
                        <a:pt x="72" y="162"/>
                        <a:pt x="72" y="162"/>
                        <a:pt x="72" y="162"/>
                      </a:cubicBezTo>
                      <a:cubicBezTo>
                        <a:pt x="72" y="166"/>
                        <a:pt x="69" y="168"/>
                        <a:pt x="66" y="168"/>
                      </a:cubicBezTo>
                      <a:close/>
                      <a:moveTo>
                        <a:pt x="36" y="156"/>
                      </a:moveTo>
                      <a:cubicBezTo>
                        <a:pt x="60" y="156"/>
                        <a:pt x="60" y="156"/>
                        <a:pt x="60" y="156"/>
                      </a:cubicBezTo>
                      <a:cubicBezTo>
                        <a:pt x="60" y="90"/>
                        <a:pt x="60" y="90"/>
                        <a:pt x="60" y="90"/>
                      </a:cubicBezTo>
                      <a:cubicBezTo>
                        <a:pt x="60" y="87"/>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7"/>
                        <a:pt x="36" y="90"/>
                      </a:cubicBezTo>
                      <a:lnTo>
                        <a:pt x="36" y="1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sp>
              <p:nvSpPr>
                <p:cNvPr id="197" name="Freeform 166">
                  <a:extLst>
                    <a:ext uri="{FF2B5EF4-FFF2-40B4-BE49-F238E27FC236}">
                      <a16:creationId xmlns:a16="http://schemas.microsoft.com/office/drawing/2014/main" id="{7538A571-D190-4488-81FA-65E0B8BD0F39}"/>
                    </a:ext>
                  </a:extLst>
                </p:cNvPr>
                <p:cNvSpPr>
                  <a:spLocks noEditPoints="1"/>
                </p:cNvSpPr>
                <p:nvPr/>
              </p:nvSpPr>
              <p:spPr bwMode="auto">
                <a:xfrm>
                  <a:off x="6992" y="3267"/>
                  <a:ext cx="106" cy="10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500C0"/>
                    </a:solidFill>
                    <a:effectLst/>
                    <a:uLnTx/>
                    <a:uFillTx/>
                    <a:latin typeface="Graphik"/>
                    <a:ea typeface="+mn-ea"/>
                    <a:cs typeface="+mn-cs"/>
                  </a:endParaRPr>
                </a:p>
              </p:txBody>
            </p:sp>
          </p:grpSp>
        </p:grpSp>
        <p:cxnSp>
          <p:nvCxnSpPr>
            <p:cNvPr id="12" name="Straight Connector 11">
              <a:extLst>
                <a:ext uri="{FF2B5EF4-FFF2-40B4-BE49-F238E27FC236}">
                  <a16:creationId xmlns:a16="http://schemas.microsoft.com/office/drawing/2014/main" id="{4A2E5924-85B6-43DB-AC00-6A680265814A}"/>
                </a:ext>
              </a:extLst>
            </p:cNvPr>
            <p:cNvCxnSpPr>
              <a:stCxn id="151" idx="2"/>
            </p:cNvCxnSpPr>
            <p:nvPr/>
          </p:nvCxnSpPr>
          <p:spPr>
            <a:xfrm flipH="1">
              <a:off x="1376938" y="4881654"/>
              <a:ext cx="285246" cy="129133"/>
            </a:xfrm>
            <a:prstGeom prst="line">
              <a:avLst/>
            </a:prstGeom>
            <a:solidFill>
              <a:schemeClr val="accent2"/>
            </a:solidFill>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E8B7B303-72D2-47F0-80A3-E176AB3C774D}"/>
                </a:ext>
              </a:extLst>
            </p:cNvPr>
            <p:cNvCxnSpPr>
              <a:cxnSpLocks/>
            </p:cNvCxnSpPr>
            <p:nvPr/>
          </p:nvCxnSpPr>
          <p:spPr>
            <a:xfrm>
              <a:off x="1937742" y="4881271"/>
              <a:ext cx="16763" cy="287330"/>
            </a:xfrm>
            <a:prstGeom prst="line">
              <a:avLst/>
            </a:prstGeom>
            <a:solidFill>
              <a:schemeClr val="accent2"/>
            </a:solidFill>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3BA18CAA-978A-4CB2-9ED9-65995032998A}"/>
                </a:ext>
              </a:extLst>
            </p:cNvPr>
            <p:cNvCxnSpPr>
              <a:cxnSpLocks/>
            </p:cNvCxnSpPr>
            <p:nvPr/>
          </p:nvCxnSpPr>
          <p:spPr>
            <a:xfrm>
              <a:off x="2354980" y="4884320"/>
              <a:ext cx="289824" cy="87602"/>
            </a:xfrm>
            <a:prstGeom prst="line">
              <a:avLst/>
            </a:prstGeom>
            <a:solidFill>
              <a:schemeClr val="accent2"/>
            </a:solidFill>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B186F715-2472-436D-9B32-B08727D9C6F3}"/>
                </a:ext>
              </a:extLst>
            </p:cNvPr>
            <p:cNvCxnSpPr>
              <a:cxnSpLocks/>
            </p:cNvCxnSpPr>
            <p:nvPr/>
          </p:nvCxnSpPr>
          <p:spPr>
            <a:xfrm flipH="1">
              <a:off x="1375096" y="4862981"/>
              <a:ext cx="460894" cy="711847"/>
            </a:xfrm>
            <a:prstGeom prst="line">
              <a:avLst/>
            </a:prstGeom>
            <a:solidFill>
              <a:schemeClr val="accent2"/>
            </a:solidFill>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81C73BB-DD07-4E89-BF94-198F44DAE389}"/>
                </a:ext>
              </a:extLst>
            </p:cNvPr>
            <p:cNvCxnSpPr>
              <a:cxnSpLocks/>
            </p:cNvCxnSpPr>
            <p:nvPr/>
          </p:nvCxnSpPr>
          <p:spPr>
            <a:xfrm>
              <a:off x="2122546" y="4851143"/>
              <a:ext cx="353361" cy="636083"/>
            </a:xfrm>
            <a:prstGeom prst="line">
              <a:avLst/>
            </a:prstGeom>
            <a:solidFill>
              <a:schemeClr val="accent2"/>
            </a:solidFill>
            <a:ln w="317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06" name="Isosceles Triangle 205">
              <a:extLst>
                <a:ext uri="{FF2B5EF4-FFF2-40B4-BE49-F238E27FC236}">
                  <a16:creationId xmlns:a16="http://schemas.microsoft.com/office/drawing/2014/main" id="{CFA0AE95-5373-4DFA-8DF5-A3D404EF25BE}"/>
                </a:ext>
              </a:extLst>
            </p:cNvPr>
            <p:cNvSpPr/>
            <p:nvPr/>
          </p:nvSpPr>
          <p:spPr bwMode="auto">
            <a:xfrm rot="5400000">
              <a:off x="5595810" y="4851590"/>
              <a:ext cx="1777973" cy="310133"/>
            </a:xfrm>
            <a:prstGeom prst="triangle">
              <a:avLst>
                <a:gd name="adj" fmla="val 50000"/>
              </a:avLst>
            </a:prstGeom>
            <a:solidFill>
              <a:schemeClr val="bg1">
                <a:lumMod val="75000"/>
              </a:schemeClr>
            </a:solid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28600" marR="0" lvl="0" indent="-228600" algn="ctr" defTabSz="914400" rtl="0" eaLnBrk="1" fontAlgn="base" latinLnBrk="0" hangingPunct="1">
                <a:lnSpc>
                  <a:spcPct val="100000"/>
                </a:lnSpc>
                <a:spcBef>
                  <a:spcPct val="50000"/>
                </a:spcBef>
                <a:spcAft>
                  <a:spcPct val="0"/>
                </a:spcAft>
                <a:buClr>
                  <a:srgbClr val="0768A9"/>
                </a:buClr>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Calibri" panose="020F0502020204030204" pitchFamily="34" charset="0"/>
              </a:endParaRPr>
            </a:p>
          </p:txBody>
        </p:sp>
        <p:sp>
          <p:nvSpPr>
            <p:cNvPr id="215" name="TextBox 214">
              <a:extLst>
                <a:ext uri="{FF2B5EF4-FFF2-40B4-BE49-F238E27FC236}">
                  <a16:creationId xmlns:a16="http://schemas.microsoft.com/office/drawing/2014/main" id="{8E01C805-8F64-40C0-B4B0-D49EEEC72CA7}"/>
                </a:ext>
              </a:extLst>
            </p:cNvPr>
            <p:cNvSpPr txBox="1"/>
            <p:nvPr/>
          </p:nvSpPr>
          <p:spPr>
            <a:xfrm>
              <a:off x="460061" y="6167808"/>
              <a:ext cx="364329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Graphik"/>
                  <a:ea typeface="+mn-ea"/>
                  <a:cs typeface="+mn-cs"/>
                </a:rPr>
                <a:t>*Abstract submitted. Detailed Research Paper in progress. </a:t>
              </a:r>
            </a:p>
          </p:txBody>
        </p:sp>
        <p:sp>
          <p:nvSpPr>
            <p:cNvPr id="160" name="Rectangle 159">
              <a:extLst>
                <a:ext uri="{FF2B5EF4-FFF2-40B4-BE49-F238E27FC236}">
                  <a16:creationId xmlns:a16="http://schemas.microsoft.com/office/drawing/2014/main" id="{329091F6-0701-4F35-B036-20AEA68BB8D4}"/>
                </a:ext>
              </a:extLst>
            </p:cNvPr>
            <p:cNvSpPr/>
            <p:nvPr/>
          </p:nvSpPr>
          <p:spPr>
            <a:xfrm>
              <a:off x="8016661" y="4391799"/>
              <a:ext cx="2757643" cy="89195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Graphik"/>
                  <a:ea typeface="+mn-ea"/>
                  <a:cs typeface="Calibri" panose="020F0502020204030204" pitchFamily="34" charset="0"/>
                </a:rPr>
                <a:t>Accenture </a:t>
              </a:r>
              <a:r>
                <a:rPr lang="en-US" sz="1400" b="1">
                  <a:solidFill>
                    <a:srgbClr val="FFFFFF"/>
                  </a:solidFill>
                  <a:latin typeface="Graphik"/>
                  <a:cs typeface="Calibri" panose="020F0502020204030204" pitchFamily="34" charset="0"/>
                </a:rPr>
                <a:t>approves before published to </a:t>
              </a:r>
              <a:r>
                <a:rPr kumimoji="0" lang="en-US" sz="1400" b="1" i="0" u="none" strike="noStrike" kern="1200" cap="none" spc="0" normalizeH="0" baseline="0" noProof="0">
                  <a:ln>
                    <a:noFill/>
                  </a:ln>
                  <a:solidFill>
                    <a:srgbClr val="FFFFFF"/>
                  </a:solidFill>
                  <a:effectLst/>
                  <a:uLnTx/>
                  <a:uFillTx/>
                  <a:latin typeface="Graphik"/>
                  <a:ea typeface="+mn-ea"/>
                  <a:cs typeface="Calibri" panose="020F0502020204030204" pitchFamily="34" charset="0"/>
                </a:rPr>
                <a:t>BMJ Open Diabetes Research &amp; Care</a:t>
              </a:r>
            </a:p>
          </p:txBody>
        </p:sp>
      </p:grpSp>
      <p:pic>
        <p:nvPicPr>
          <p:cNvPr id="3" name="Picture 2">
            <a:extLst>
              <a:ext uri="{FF2B5EF4-FFF2-40B4-BE49-F238E27FC236}">
                <a16:creationId xmlns:a16="http://schemas.microsoft.com/office/drawing/2014/main" id="{A8B53AFA-458E-40E7-82CF-CD96B3E50623}"/>
              </a:ext>
            </a:extLst>
          </p:cNvPr>
          <p:cNvPicPr>
            <a:picLocks noChangeAspect="1"/>
          </p:cNvPicPr>
          <p:nvPr/>
        </p:nvPicPr>
        <p:blipFill>
          <a:blip r:embed="rId5"/>
          <a:stretch>
            <a:fillRect/>
          </a:stretch>
        </p:blipFill>
        <p:spPr>
          <a:xfrm>
            <a:off x="6693704" y="923873"/>
            <a:ext cx="1886198" cy="541275"/>
          </a:xfrm>
          <a:prstGeom prst="rect">
            <a:avLst/>
          </a:prstGeom>
        </p:spPr>
      </p:pic>
      <p:sp>
        <p:nvSpPr>
          <p:cNvPr id="158" name="Chevron 37">
            <a:extLst>
              <a:ext uri="{FF2B5EF4-FFF2-40B4-BE49-F238E27FC236}">
                <a16:creationId xmlns:a16="http://schemas.microsoft.com/office/drawing/2014/main" id="{C3B376F4-FC7D-4AA1-A491-24C794AB7354}"/>
              </a:ext>
            </a:extLst>
          </p:cNvPr>
          <p:cNvSpPr/>
          <p:nvPr/>
        </p:nvSpPr>
        <p:spPr>
          <a:xfrm>
            <a:off x="1238762" y="3217948"/>
            <a:ext cx="2219954" cy="355559"/>
          </a:xfrm>
          <a:prstGeom prst="chevron">
            <a:avLst>
              <a:gd name="adj" fmla="val 26029"/>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609443" algn="l" rtl="0" fontAlgn="base">
              <a:spcBef>
                <a:spcPct val="0"/>
              </a:spcBef>
              <a:spcAft>
                <a:spcPct val="0"/>
              </a:spcAft>
              <a:defRPr kern="1200">
                <a:solidFill>
                  <a:schemeClr val="lt1"/>
                </a:solidFill>
                <a:latin typeface="+mn-lt"/>
                <a:ea typeface="+mn-ea"/>
                <a:cs typeface="+mn-cs"/>
              </a:defRPr>
            </a:lvl2pPr>
            <a:lvl3pPr marL="1218885" algn="l" rtl="0" fontAlgn="base">
              <a:spcBef>
                <a:spcPct val="0"/>
              </a:spcBef>
              <a:spcAft>
                <a:spcPct val="0"/>
              </a:spcAft>
              <a:defRPr kern="1200">
                <a:solidFill>
                  <a:schemeClr val="lt1"/>
                </a:solidFill>
                <a:latin typeface="+mn-lt"/>
                <a:ea typeface="+mn-ea"/>
                <a:cs typeface="+mn-cs"/>
              </a:defRPr>
            </a:lvl3pPr>
            <a:lvl4pPr marL="1828328" algn="l" rtl="0" fontAlgn="base">
              <a:spcBef>
                <a:spcPct val="0"/>
              </a:spcBef>
              <a:spcAft>
                <a:spcPct val="0"/>
              </a:spcAft>
              <a:defRPr kern="1200">
                <a:solidFill>
                  <a:schemeClr val="lt1"/>
                </a:solidFill>
                <a:latin typeface="+mn-lt"/>
                <a:ea typeface="+mn-ea"/>
                <a:cs typeface="+mn-cs"/>
              </a:defRPr>
            </a:lvl4pPr>
            <a:lvl5pPr marL="2437771" algn="l" rtl="0" fontAlgn="base">
              <a:spcBef>
                <a:spcPct val="0"/>
              </a:spcBef>
              <a:spcAft>
                <a:spcPct val="0"/>
              </a:spcAft>
              <a:defRPr kern="1200">
                <a:solidFill>
                  <a:schemeClr val="lt1"/>
                </a:solidFill>
                <a:latin typeface="+mn-lt"/>
                <a:ea typeface="+mn-ea"/>
                <a:cs typeface="+mn-cs"/>
              </a:defRPr>
            </a:lvl5pPr>
            <a:lvl6pPr marL="3047213" algn="l" defTabSz="1218885" rtl="0" eaLnBrk="1" latinLnBrk="0" hangingPunct="1">
              <a:defRPr kern="1200">
                <a:solidFill>
                  <a:schemeClr val="lt1"/>
                </a:solidFill>
                <a:latin typeface="+mn-lt"/>
                <a:ea typeface="+mn-ea"/>
                <a:cs typeface="+mn-cs"/>
              </a:defRPr>
            </a:lvl6pPr>
            <a:lvl7pPr marL="3656656" algn="l" defTabSz="1218885" rtl="0" eaLnBrk="1" latinLnBrk="0" hangingPunct="1">
              <a:defRPr kern="1200">
                <a:solidFill>
                  <a:schemeClr val="lt1"/>
                </a:solidFill>
                <a:latin typeface="+mn-lt"/>
                <a:ea typeface="+mn-ea"/>
                <a:cs typeface="+mn-cs"/>
              </a:defRPr>
            </a:lvl7pPr>
            <a:lvl8pPr marL="4266097" algn="l" defTabSz="1218885" rtl="0" eaLnBrk="1" latinLnBrk="0" hangingPunct="1">
              <a:defRPr kern="1200">
                <a:solidFill>
                  <a:schemeClr val="lt1"/>
                </a:solidFill>
                <a:latin typeface="+mn-lt"/>
                <a:ea typeface="+mn-ea"/>
                <a:cs typeface="+mn-cs"/>
              </a:defRPr>
            </a:lvl8pPr>
            <a:lvl9pPr marL="4875541" algn="l" defTabSz="1218885"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200" b="0" i="0" u="none" strike="noStrike" kern="1200" cap="none" spc="0" normalizeH="0" baseline="0" noProof="0">
                <a:ln>
                  <a:noFill/>
                </a:ln>
                <a:solidFill>
                  <a:srgbClr val="000000"/>
                </a:solidFill>
                <a:effectLst/>
                <a:uLnTx/>
                <a:uFillTx/>
                <a:latin typeface="Graphik"/>
                <a:ea typeface="+mn-ea"/>
                <a:cs typeface="Calibri" panose="020F0502020204030204" pitchFamily="34" charset="0"/>
              </a:rPr>
              <a:t>………</a:t>
            </a:r>
          </a:p>
        </p:txBody>
      </p:sp>
      <p:pic>
        <p:nvPicPr>
          <p:cNvPr id="11" name="Graphic 10" descr="Care with solid fill">
            <a:extLst>
              <a:ext uri="{FF2B5EF4-FFF2-40B4-BE49-F238E27FC236}">
                <a16:creationId xmlns:a16="http://schemas.microsoft.com/office/drawing/2014/main" id="{97B507F7-025C-41E7-90CE-44446D6496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9764" y="3244435"/>
            <a:ext cx="320040" cy="320040"/>
          </a:xfrm>
          <a:prstGeom prst="rect">
            <a:avLst/>
          </a:prstGeom>
        </p:spPr>
      </p:pic>
      <p:sp>
        <p:nvSpPr>
          <p:cNvPr id="15" name="Slide Number Placeholder 14">
            <a:extLst>
              <a:ext uri="{FF2B5EF4-FFF2-40B4-BE49-F238E27FC236}">
                <a16:creationId xmlns:a16="http://schemas.microsoft.com/office/drawing/2014/main" id="{AC0ADE7E-872D-CDE5-9F1B-206DBF8FBA69}"/>
              </a:ext>
            </a:extLst>
          </p:cNvPr>
          <p:cNvSpPr>
            <a:spLocks noGrp="1"/>
          </p:cNvSpPr>
          <p:nvPr>
            <p:ph type="sldNum" sz="quarter" idx="11"/>
          </p:nvPr>
        </p:nvSpPr>
        <p:spPr/>
        <p:txBody>
          <a:bodyPr/>
          <a:lstStyle/>
          <a:p>
            <a:fld id="{FC1BBE33-A891-48E8-970C-4A8D55F96D53}" type="slidenum">
              <a:rPr lang="en-AU" smtClean="0"/>
              <a:pPr/>
              <a:t>12</a:t>
            </a:fld>
            <a:endParaRPr lang="en-US"/>
          </a:p>
        </p:txBody>
      </p:sp>
      <p:sp>
        <p:nvSpPr>
          <p:cNvPr id="7" name="Footer Placeholder 6">
            <a:extLst>
              <a:ext uri="{FF2B5EF4-FFF2-40B4-BE49-F238E27FC236}">
                <a16:creationId xmlns:a16="http://schemas.microsoft.com/office/drawing/2014/main" id="{83C1C032-D117-DD62-4CB3-5A4F055B710A}"/>
              </a:ext>
            </a:extLst>
          </p:cNvPr>
          <p:cNvSpPr>
            <a:spLocks noGrp="1"/>
          </p:cNvSpPr>
          <p:nvPr>
            <p:ph type="ftr" sz="quarter" idx="10"/>
          </p:nvPr>
        </p:nvSpPr>
        <p:spPr/>
        <p:txBody>
          <a:bodyPr/>
          <a:lstStyle/>
          <a:p>
            <a:r>
              <a:rPr lang="en-AU"/>
              <a:t>Copyright © 2022 Accenture. All rights reserved.</a:t>
            </a:r>
            <a:endParaRPr lang="en-US"/>
          </a:p>
        </p:txBody>
      </p:sp>
    </p:spTree>
    <p:extLst>
      <p:ext uri="{BB962C8B-B14F-4D97-AF65-F5344CB8AC3E}">
        <p14:creationId xmlns:p14="http://schemas.microsoft.com/office/powerpoint/2010/main" val="3110790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a:lstStyle/>
          <a:p>
            <a:r>
              <a:rPr lang="en-GB"/>
              <a:t>Copyright © 2022 Accenture. All rights reserved.</a:t>
            </a:r>
          </a:p>
        </p:txBody>
      </p:sp>
      <p:sp>
        <p:nvSpPr>
          <p:cNvPr id="3" name="Slide Number Placeholder 2">
            <a:extLst>
              <a:ext uri="{FF2B5EF4-FFF2-40B4-BE49-F238E27FC236}">
                <a16:creationId xmlns:a16="http://schemas.microsoft.com/office/drawing/2014/main" id="{304EEE27-A466-473E-8708-A9E787D2E72D}"/>
              </a:ext>
            </a:extLst>
          </p:cNvPr>
          <p:cNvSpPr>
            <a:spLocks noGrp="1"/>
          </p:cNvSpPr>
          <p:nvPr>
            <p:ph type="sldNum" sz="quarter" idx="4"/>
          </p:nvPr>
        </p:nvSpPr>
        <p:spPr/>
        <p:txBody>
          <a:bodyPr/>
          <a:lstStyle/>
          <a:p>
            <a:fld id="{4F9AC08D-23A9-440E-BCB9-AA1E9877CC38}" type="slidenum">
              <a:rPr lang="en-US" smtClean="0"/>
              <a:pPr/>
              <a:t>13</a:t>
            </a:fld>
            <a:endParaRPr lang="en-US"/>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441325" cy="707886"/>
          </a:xfrm>
          <a:prstGeom prst="rect">
            <a:avLst/>
          </a:prstGeom>
          <a:noFill/>
        </p:spPr>
        <p:txBody>
          <a:bodyPr wrap="square" rtlCol="0">
            <a:spAutoFit/>
          </a:bodyPr>
          <a:lstStyle/>
          <a:p>
            <a:r>
              <a:rPr lang="en-US" sz="4000" b="1">
                <a:solidFill>
                  <a:schemeClr val="bg1"/>
                </a:solidFill>
                <a:latin typeface="+mj-lt"/>
              </a:rPr>
              <a:t>Output &amp; Recommendation</a:t>
            </a:r>
          </a:p>
        </p:txBody>
      </p:sp>
      <p:sp>
        <p:nvSpPr>
          <p:cNvPr id="6" name="TextBox 5">
            <a:extLst>
              <a:ext uri="{FF2B5EF4-FFF2-40B4-BE49-F238E27FC236}">
                <a16:creationId xmlns:a16="http://schemas.microsoft.com/office/drawing/2014/main" id="{BE475FB9-AF91-4EC1-9F3A-802B09F24777}"/>
              </a:ext>
            </a:extLst>
          </p:cNvPr>
          <p:cNvSpPr txBox="1"/>
          <p:nvPr/>
        </p:nvSpPr>
        <p:spPr>
          <a:xfrm>
            <a:off x="1372475" y="3075057"/>
            <a:ext cx="1002862" cy="707886"/>
          </a:xfrm>
          <a:prstGeom prst="rect">
            <a:avLst/>
          </a:prstGeom>
          <a:noFill/>
        </p:spPr>
        <p:txBody>
          <a:bodyPr wrap="square" rtlCol="0">
            <a:spAutoFit/>
          </a:bodyPr>
          <a:lstStyle/>
          <a:p>
            <a:r>
              <a:rPr lang="en-US" sz="4000" b="1">
                <a:solidFill>
                  <a:schemeClr val="bg1">
                    <a:lumMod val="65000"/>
                  </a:schemeClr>
                </a:solidFill>
                <a:latin typeface="+mj-lt"/>
              </a:rPr>
              <a:t>04</a:t>
            </a:r>
          </a:p>
        </p:txBody>
      </p:sp>
    </p:spTree>
    <p:extLst>
      <p:ext uri="{BB962C8B-B14F-4D97-AF65-F5344CB8AC3E}">
        <p14:creationId xmlns:p14="http://schemas.microsoft.com/office/powerpoint/2010/main" val="41115848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AEC1F-35C1-FA25-D31B-B0C4BA9F23D9}"/>
              </a:ext>
            </a:extLst>
          </p:cNvPr>
          <p:cNvSpPr>
            <a:spLocks noGrp="1"/>
          </p:cNvSpPr>
          <p:nvPr>
            <p:ph type="title"/>
          </p:nvPr>
        </p:nvSpPr>
        <p:spPr/>
        <p:txBody>
          <a:bodyPr/>
          <a:lstStyle/>
          <a:p>
            <a:r>
              <a:rPr lang="en-US"/>
              <a:t>Data Preparation</a:t>
            </a:r>
          </a:p>
        </p:txBody>
      </p:sp>
      <p:sp>
        <p:nvSpPr>
          <p:cNvPr id="3" name="Footer Placeholder 2">
            <a:extLst>
              <a:ext uri="{FF2B5EF4-FFF2-40B4-BE49-F238E27FC236}">
                <a16:creationId xmlns:a16="http://schemas.microsoft.com/office/drawing/2014/main" id="{44EBC059-569D-41BC-60BD-7E75393E12BB}"/>
              </a:ext>
            </a:extLst>
          </p:cNvPr>
          <p:cNvSpPr>
            <a:spLocks noGrp="1"/>
          </p:cNvSpPr>
          <p:nvPr>
            <p:ph type="ftr"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alpha val="50000"/>
                  </a:srgbClr>
                </a:solidFill>
                <a:effectLst/>
                <a:uLnTx/>
                <a:uFillTx/>
                <a:latin typeface="Graphik"/>
                <a:ea typeface="+mn-ea"/>
                <a:cs typeface="+mn-cs"/>
              </a:rPr>
              <a:t>Copyright © 2022 Accenture. All rights reserved.</a:t>
            </a:r>
          </a:p>
        </p:txBody>
      </p:sp>
      <p:sp>
        <p:nvSpPr>
          <p:cNvPr id="4" name="Slide Number Placeholder 3">
            <a:extLst>
              <a:ext uri="{FF2B5EF4-FFF2-40B4-BE49-F238E27FC236}">
                <a16:creationId xmlns:a16="http://schemas.microsoft.com/office/drawing/2014/main" id="{C8F6E987-DA34-7669-9832-E0062C7DEE3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BBE33-A891-48E8-970C-4A8D55F96D53}" type="slidenum">
              <a:rPr kumimoji="0" lang="en-AU" sz="800" b="0" i="0" u="none" strike="noStrike" kern="1200" cap="none" spc="0" normalizeH="0" baseline="0" noProof="0" smtClean="0">
                <a:ln>
                  <a:noFill/>
                </a:ln>
                <a:solidFill>
                  <a:srgbClr val="000000">
                    <a:alpha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800" b="0" i="0" u="none" strike="noStrike" kern="1200" cap="none" spc="0" normalizeH="0" baseline="0" noProof="0">
              <a:ln>
                <a:noFill/>
              </a:ln>
              <a:solidFill>
                <a:srgbClr val="000000">
                  <a:alpha val="50000"/>
                </a:srgbClr>
              </a:solidFill>
              <a:effectLst/>
              <a:uLnTx/>
              <a:uFillTx/>
              <a:latin typeface="Graphik"/>
              <a:ea typeface="+mn-ea"/>
              <a:cs typeface="+mn-cs"/>
            </a:endParaRPr>
          </a:p>
        </p:txBody>
      </p:sp>
      <p:pic>
        <p:nvPicPr>
          <p:cNvPr id="8" name="Picture 7">
            <a:extLst>
              <a:ext uri="{FF2B5EF4-FFF2-40B4-BE49-F238E27FC236}">
                <a16:creationId xmlns:a16="http://schemas.microsoft.com/office/drawing/2014/main" id="{E1DA898B-8D2C-5B75-EDEB-05CE93825DC2}"/>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1814"/>
          <a:stretch/>
        </p:blipFill>
        <p:spPr>
          <a:xfrm>
            <a:off x="3904864" y="1558379"/>
            <a:ext cx="8138798" cy="4534590"/>
          </a:xfrm>
          <a:prstGeom prst="rect">
            <a:avLst/>
          </a:prstGeom>
          <a:ln w="3175" cap="sq">
            <a:solidFill>
              <a:schemeClr val="accent2">
                <a:lumMod val="75000"/>
              </a:schemeClr>
            </a:solidFill>
            <a:miter lim="800000"/>
          </a:ln>
          <a:effectLst>
            <a:outerShdw blurRad="57150" dist="50800" dir="2700000" algn="tl" rotWithShape="0">
              <a:srgbClr val="000000">
                <a:alpha val="40000"/>
              </a:srgbClr>
            </a:outerShdw>
          </a:effectLst>
        </p:spPr>
      </p:pic>
      <p:graphicFrame>
        <p:nvGraphicFramePr>
          <p:cNvPr id="11" name="Diagram 10">
            <a:extLst>
              <a:ext uri="{FF2B5EF4-FFF2-40B4-BE49-F238E27FC236}">
                <a16:creationId xmlns:a16="http://schemas.microsoft.com/office/drawing/2014/main" id="{4BA18CDF-B5FA-B502-FA7C-5B333E99B4CB}"/>
              </a:ext>
            </a:extLst>
          </p:cNvPr>
          <p:cNvGraphicFramePr/>
          <p:nvPr>
            <p:extLst>
              <p:ext uri="{D42A27DB-BD31-4B8C-83A1-F6EECF244321}">
                <p14:modId xmlns:p14="http://schemas.microsoft.com/office/powerpoint/2010/main" val="775271748"/>
              </p:ext>
            </p:extLst>
          </p:nvPr>
        </p:nvGraphicFramePr>
        <p:xfrm>
          <a:off x="321213" y="857348"/>
          <a:ext cx="2913320" cy="545553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2" name="Arrow: Pentagon 11">
            <a:extLst>
              <a:ext uri="{FF2B5EF4-FFF2-40B4-BE49-F238E27FC236}">
                <a16:creationId xmlns:a16="http://schemas.microsoft.com/office/drawing/2014/main" id="{B4DFC58A-AED1-E3A0-CA20-7C24DCC6F2DD}"/>
              </a:ext>
            </a:extLst>
          </p:cNvPr>
          <p:cNvSpPr/>
          <p:nvPr/>
        </p:nvSpPr>
        <p:spPr>
          <a:xfrm>
            <a:off x="3449344" y="1848134"/>
            <a:ext cx="295514" cy="4032183"/>
          </a:xfrm>
          <a:prstGeom prst="homePlate">
            <a:avLst>
              <a:gd name="adj" fmla="val 86921"/>
            </a:avLst>
          </a:prstGeom>
          <a:solidFill>
            <a:schemeClr val="tx2">
              <a:lumMod val="20000"/>
              <a:lumOff val="80000"/>
            </a:schemeClr>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09822770-664E-AE2B-00A0-46642E58112D}"/>
              </a:ext>
            </a:extLst>
          </p:cNvPr>
          <p:cNvSpPr/>
          <p:nvPr/>
        </p:nvSpPr>
        <p:spPr>
          <a:xfrm>
            <a:off x="-17911" y="2302800"/>
            <a:ext cx="352981" cy="584775"/>
          </a:xfrm>
          <a:prstGeom prst="rect">
            <a:avLst/>
          </a:prstGeom>
          <a:noFill/>
        </p:spPr>
        <p:txBody>
          <a:bodyPr wrap="none" lIns="91440" tIns="45720" rIns="91440" bIns="45720">
            <a:spAutoFit/>
          </a:bodyPr>
          <a:lstStyle/>
          <a:p>
            <a:pPr algn="ctr"/>
            <a:r>
              <a:rPr lang="en-US" sz="3200" b="0" cap="none" spc="0">
                <a:ln w="0"/>
                <a:solidFill>
                  <a:schemeClr val="tx1"/>
                </a:solidFill>
                <a:effectLst>
                  <a:outerShdw blurRad="38100" dist="19050" dir="2700000" algn="tl" rotWithShape="0">
                    <a:schemeClr val="dk1">
                      <a:alpha val="40000"/>
                    </a:schemeClr>
                  </a:outerShdw>
                </a:effectLst>
              </a:rPr>
              <a:t>1</a:t>
            </a:r>
          </a:p>
        </p:txBody>
      </p:sp>
      <p:sp>
        <p:nvSpPr>
          <p:cNvPr id="14" name="Rectangle 13">
            <a:extLst>
              <a:ext uri="{FF2B5EF4-FFF2-40B4-BE49-F238E27FC236}">
                <a16:creationId xmlns:a16="http://schemas.microsoft.com/office/drawing/2014/main" id="{67F4FBD0-9547-2E63-508B-BEFA2BB54FD0}"/>
              </a:ext>
            </a:extLst>
          </p:cNvPr>
          <p:cNvSpPr/>
          <p:nvPr/>
        </p:nvSpPr>
        <p:spPr>
          <a:xfrm>
            <a:off x="-43907" y="3381942"/>
            <a:ext cx="417102" cy="584775"/>
          </a:xfrm>
          <a:prstGeom prst="rect">
            <a:avLst/>
          </a:prstGeom>
          <a:noFill/>
        </p:spPr>
        <p:txBody>
          <a:bodyPr wrap="none" lIns="91440" tIns="45720" rIns="91440" bIns="45720">
            <a:spAutoFit/>
          </a:bodyPr>
          <a:lstStyle/>
          <a:p>
            <a:pPr algn="ctr"/>
            <a:r>
              <a:rPr lang="en-US" sz="3200" b="0" cap="none" spc="0">
                <a:ln w="0"/>
                <a:solidFill>
                  <a:schemeClr val="tx1"/>
                </a:solidFill>
                <a:effectLst>
                  <a:outerShdw blurRad="38100" dist="19050" dir="2700000" algn="tl" rotWithShape="0">
                    <a:schemeClr val="dk1">
                      <a:alpha val="40000"/>
                    </a:schemeClr>
                  </a:outerShdw>
                </a:effectLst>
              </a:rPr>
              <a:t>2</a:t>
            </a:r>
          </a:p>
        </p:txBody>
      </p:sp>
      <p:sp>
        <p:nvSpPr>
          <p:cNvPr id="15" name="Rectangle 14">
            <a:extLst>
              <a:ext uri="{FF2B5EF4-FFF2-40B4-BE49-F238E27FC236}">
                <a16:creationId xmlns:a16="http://schemas.microsoft.com/office/drawing/2014/main" id="{71A96CF0-012E-39F9-9578-E19E3E374408}"/>
              </a:ext>
            </a:extLst>
          </p:cNvPr>
          <p:cNvSpPr/>
          <p:nvPr/>
        </p:nvSpPr>
        <p:spPr>
          <a:xfrm>
            <a:off x="-43907" y="4538651"/>
            <a:ext cx="378977" cy="584775"/>
          </a:xfrm>
          <a:prstGeom prst="rect">
            <a:avLst/>
          </a:prstGeom>
          <a:noFill/>
        </p:spPr>
        <p:txBody>
          <a:bodyPr wrap="square" lIns="91440" tIns="45720" rIns="91440" bIns="45720">
            <a:spAutoFit/>
          </a:bodyPr>
          <a:lstStyle/>
          <a:p>
            <a:pPr algn="ctr"/>
            <a:r>
              <a:rPr lang="en-US" sz="3200" b="0" cap="none" spc="0">
                <a:ln w="0"/>
                <a:solidFill>
                  <a:schemeClr val="tx1"/>
                </a:solidFill>
                <a:effectLst>
                  <a:outerShdw blurRad="38100" dist="19050" dir="2700000" algn="tl" rotWithShape="0">
                    <a:schemeClr val="dk1">
                      <a:alpha val="40000"/>
                    </a:schemeClr>
                  </a:outerShdw>
                </a:effectLst>
              </a:rPr>
              <a:t>3</a:t>
            </a:r>
          </a:p>
        </p:txBody>
      </p:sp>
      <p:sp>
        <p:nvSpPr>
          <p:cNvPr id="16" name="Rectangle 15">
            <a:extLst>
              <a:ext uri="{FF2B5EF4-FFF2-40B4-BE49-F238E27FC236}">
                <a16:creationId xmlns:a16="http://schemas.microsoft.com/office/drawing/2014/main" id="{D238EA72-51FB-E121-3BBA-20A4688559FC}"/>
              </a:ext>
            </a:extLst>
          </p:cNvPr>
          <p:cNvSpPr/>
          <p:nvPr/>
        </p:nvSpPr>
        <p:spPr>
          <a:xfrm>
            <a:off x="305813" y="774734"/>
            <a:ext cx="11737849" cy="646331"/>
          </a:xfrm>
          <a:prstGeom prst="rect">
            <a:avLst/>
          </a:prstGeom>
        </p:spPr>
        <p:txBody>
          <a:bodyPr wrap="square" lIns="91440" tIns="45720" rIns="91440" bIns="45720" anchor="t">
            <a:spAutoFit/>
          </a:bodyPr>
          <a:lstStyle/>
          <a:p>
            <a:r>
              <a:rPr lang="en-US"/>
              <a:t>The first and most important step in an analysis is data preparation. Students followed a 3-step process to obtain the data, format the data, and transform the data so that insightful conclusions could be made.</a:t>
            </a:r>
          </a:p>
        </p:txBody>
      </p:sp>
    </p:spTree>
    <p:extLst>
      <p:ext uri="{BB962C8B-B14F-4D97-AF65-F5344CB8AC3E}">
        <p14:creationId xmlns:p14="http://schemas.microsoft.com/office/powerpoint/2010/main" val="3959028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15</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Exploratory Data Analysis</a:t>
            </a:r>
          </a:p>
        </p:txBody>
      </p:sp>
      <p:sp>
        <p:nvSpPr>
          <p:cNvPr id="68" name="Rectangle 67">
            <a:extLst>
              <a:ext uri="{FF2B5EF4-FFF2-40B4-BE49-F238E27FC236}">
                <a16:creationId xmlns:a16="http://schemas.microsoft.com/office/drawing/2014/main" id="{9469CF9C-6538-47BA-8C2E-A6E6626086F0}"/>
              </a:ext>
            </a:extLst>
          </p:cNvPr>
          <p:cNvSpPr/>
          <p:nvPr/>
        </p:nvSpPr>
        <p:spPr>
          <a:xfrm>
            <a:off x="305814" y="723689"/>
            <a:ext cx="10968437" cy="830997"/>
          </a:xfrm>
          <a:prstGeom prst="rect">
            <a:avLst/>
          </a:prstGeom>
        </p:spPr>
        <p:txBody>
          <a:bodyPr wrap="square" lIns="91440" tIns="45720" rIns="91440" bIns="45720" anchor="t">
            <a:spAutoFit/>
          </a:bodyPr>
          <a:lstStyle/>
          <a:p>
            <a:r>
              <a:rPr lang="en-US" sz="1600"/>
              <a:t>The below charts show the breakdown of Type 2 Diabetes status by sex, age, and race. The data show that there is a relationship between sex, age, and race and Type 2 Diabetes, but the specific factors and level of impact be determined using statistical modeling.</a:t>
            </a:r>
          </a:p>
        </p:txBody>
      </p:sp>
      <p:pic>
        <p:nvPicPr>
          <p:cNvPr id="2" name="Picture 2" descr="Chart, bar chart&#10;&#10;Description automatically generated">
            <a:extLst>
              <a:ext uri="{FF2B5EF4-FFF2-40B4-BE49-F238E27FC236}">
                <a16:creationId xmlns:a16="http://schemas.microsoft.com/office/drawing/2014/main" id="{9F7061C9-F83F-9C7D-D827-47DA3FBB7BB2}"/>
              </a:ext>
            </a:extLst>
          </p:cNvPr>
          <p:cNvPicPr>
            <a:picLocks noChangeAspect="1"/>
          </p:cNvPicPr>
          <p:nvPr/>
        </p:nvPicPr>
        <p:blipFill rotWithShape="1">
          <a:blip r:embed="rId3"/>
          <a:srcRect l="10333" t="16071" r="10833" b="4167"/>
          <a:stretch/>
        </p:blipFill>
        <p:spPr>
          <a:xfrm>
            <a:off x="1497754" y="1554686"/>
            <a:ext cx="4292278" cy="2419725"/>
          </a:xfrm>
          <a:prstGeom prst="rect">
            <a:avLst/>
          </a:prstGeom>
          <a:ln w="635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2" descr="Chart, bar chart&#10;&#10;Description automatically generated">
            <a:extLst>
              <a:ext uri="{FF2B5EF4-FFF2-40B4-BE49-F238E27FC236}">
                <a16:creationId xmlns:a16="http://schemas.microsoft.com/office/drawing/2014/main" id="{7D3576DD-4DAD-AD5A-AEA1-7C856DFEE411}"/>
              </a:ext>
            </a:extLst>
          </p:cNvPr>
          <p:cNvPicPr>
            <a:picLocks noChangeAspect="1"/>
          </p:cNvPicPr>
          <p:nvPr/>
        </p:nvPicPr>
        <p:blipFill rotWithShape="1">
          <a:blip r:embed="rId4"/>
          <a:srcRect l="4289" t="4435" r="4063" b="4839"/>
          <a:stretch/>
        </p:blipFill>
        <p:spPr>
          <a:xfrm>
            <a:off x="3579001" y="4031952"/>
            <a:ext cx="4556480" cy="2472498"/>
          </a:xfrm>
          <a:prstGeom prst="rect">
            <a:avLst/>
          </a:prstGeom>
          <a:ln w="635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4" descr="Chart, bar chart&#10;&#10;Description automatically generated">
            <a:extLst>
              <a:ext uri="{FF2B5EF4-FFF2-40B4-BE49-F238E27FC236}">
                <a16:creationId xmlns:a16="http://schemas.microsoft.com/office/drawing/2014/main" id="{EA9B2C33-C056-D13D-52A4-198DE5483E23}"/>
              </a:ext>
            </a:extLst>
          </p:cNvPr>
          <p:cNvPicPr>
            <a:picLocks noChangeAspect="1"/>
          </p:cNvPicPr>
          <p:nvPr/>
        </p:nvPicPr>
        <p:blipFill rotWithShape="1">
          <a:blip r:embed="rId5"/>
          <a:srcRect l="4457" t="5326" r="4457" b="4467"/>
          <a:stretch/>
        </p:blipFill>
        <p:spPr>
          <a:xfrm>
            <a:off x="5892026" y="1544985"/>
            <a:ext cx="4486909" cy="2429426"/>
          </a:xfrm>
          <a:prstGeom prst="rect">
            <a:avLst/>
          </a:prstGeom>
          <a:ln w="635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218439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16</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Class Imbalance</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1312056" cy="646331"/>
          </a:xfrm>
          <a:prstGeom prst="rect">
            <a:avLst/>
          </a:prstGeom>
        </p:spPr>
        <p:txBody>
          <a:bodyPr wrap="square" lIns="91440" tIns="45720" rIns="91440" bIns="45720" anchor="t">
            <a:spAutoFit/>
          </a:bodyPr>
          <a:lstStyle/>
          <a:p>
            <a:r>
              <a:rPr lang="en-US"/>
              <a:t>A common issue in health data is class imbalance, in which the data contains a far higher proportion of cases negative for type 2 diabetes. If not accounted for properly, this can cause bias.</a:t>
            </a:r>
          </a:p>
        </p:txBody>
      </p:sp>
      <p:pic>
        <p:nvPicPr>
          <p:cNvPr id="3" name="Picture 5" descr="Chart, treemap chart&#10;&#10;Description automatically generated">
            <a:extLst>
              <a:ext uri="{FF2B5EF4-FFF2-40B4-BE49-F238E27FC236}">
                <a16:creationId xmlns:a16="http://schemas.microsoft.com/office/drawing/2014/main" id="{544AC272-3CE2-CED8-479A-B44783C188E1}"/>
              </a:ext>
            </a:extLst>
          </p:cNvPr>
          <p:cNvPicPr>
            <a:picLocks noChangeAspect="1"/>
          </p:cNvPicPr>
          <p:nvPr/>
        </p:nvPicPr>
        <p:blipFill rotWithShape="1">
          <a:blip r:embed="rId2"/>
          <a:srcRect l="12465" t="16792" r="12605" b="2757"/>
          <a:stretch/>
        </p:blipFill>
        <p:spPr>
          <a:xfrm>
            <a:off x="548244" y="2178822"/>
            <a:ext cx="5307764" cy="3176984"/>
          </a:xfrm>
          <a:prstGeom prst="rect">
            <a:avLst/>
          </a:prstGeom>
        </p:spPr>
      </p:pic>
      <p:sp>
        <p:nvSpPr>
          <p:cNvPr id="2" name="TextBox 1">
            <a:extLst>
              <a:ext uri="{FF2B5EF4-FFF2-40B4-BE49-F238E27FC236}">
                <a16:creationId xmlns:a16="http://schemas.microsoft.com/office/drawing/2014/main" id="{F01C2F6C-38D3-FD06-B2A3-21F7B1A1970A}"/>
              </a:ext>
            </a:extLst>
          </p:cNvPr>
          <p:cNvSpPr txBox="1"/>
          <p:nvPr/>
        </p:nvSpPr>
        <p:spPr>
          <a:xfrm>
            <a:off x="5961841" y="1692234"/>
            <a:ext cx="4682835" cy="55399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t>Ways to deal with Class Imbalance:</a:t>
            </a:r>
          </a:p>
          <a:p>
            <a:pPr marL="285750" indent="-285750">
              <a:buFont typeface="Arial"/>
              <a:buChar char="•"/>
            </a:pPr>
            <a:r>
              <a:rPr lang="en-US" b="1"/>
              <a:t>Cost-Sensitive Learning</a:t>
            </a:r>
          </a:p>
          <a:p>
            <a:pPr marL="742950" lvl="1" indent="-285750">
              <a:buFont typeface="Arial,Sans-Serif"/>
              <a:buChar char="•"/>
            </a:pPr>
            <a:r>
              <a:rPr lang="en-US">
                <a:ea typeface="+mn-lt"/>
                <a:cs typeface="+mn-lt"/>
              </a:rPr>
              <a:t>Takes the costs of prediction errors (and potentially other costs) into account when training a machine learning model.</a:t>
            </a:r>
          </a:p>
          <a:p>
            <a:pPr marL="742950" lvl="1" indent="-285750">
              <a:buFont typeface="Arial,Sans-Serif"/>
              <a:buChar char="•"/>
            </a:pPr>
            <a:r>
              <a:rPr lang="en-US">
                <a:ea typeface="+mn-lt"/>
                <a:cs typeface="+mn-lt"/>
              </a:rPr>
              <a:t>Assigns different costs to the type of misclassification errors.</a:t>
            </a:r>
            <a:endParaRPr lang="en-US"/>
          </a:p>
          <a:p>
            <a:pPr marL="285750" indent="-285750">
              <a:buFont typeface="Arial"/>
              <a:buChar char="•"/>
            </a:pPr>
            <a:r>
              <a:rPr lang="en-US" b="1"/>
              <a:t>Synthetic Minority Oversampling Technique</a:t>
            </a:r>
          </a:p>
          <a:p>
            <a:pPr marL="742950" lvl="1" indent="-285750">
              <a:buFont typeface="Arial"/>
              <a:buChar char="•"/>
            </a:pPr>
            <a:r>
              <a:rPr lang="en-US"/>
              <a:t>Oversampling method that selects a random sample in the minority class, finds its k nearest neighbors, randomly selects a neighbor, and then creates a synthetic example between the two examples. </a:t>
            </a:r>
          </a:p>
          <a:p>
            <a:pPr lvl="1"/>
            <a:endParaRPr lang="en-US"/>
          </a:p>
          <a:p>
            <a:pPr marL="742950" lvl="1" indent="-285750">
              <a:buFont typeface="Arial"/>
              <a:buChar char="•"/>
            </a:pPr>
            <a:endParaRPr lang="en-US"/>
          </a:p>
          <a:p>
            <a:pPr marL="742950" lvl="1" indent="-285750">
              <a:buFont typeface="Arial"/>
              <a:buChar char="•"/>
            </a:pPr>
            <a:endParaRPr lang="en-US"/>
          </a:p>
          <a:p>
            <a:pPr marL="742950" lvl="1" indent="-285750">
              <a:buFont typeface="Arial"/>
              <a:buChar char="•"/>
            </a:pPr>
            <a:endParaRPr lang="en-US"/>
          </a:p>
        </p:txBody>
      </p:sp>
    </p:spTree>
    <p:extLst>
      <p:ext uri="{BB962C8B-B14F-4D97-AF65-F5344CB8AC3E}">
        <p14:creationId xmlns:p14="http://schemas.microsoft.com/office/powerpoint/2010/main" val="31252699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a:xfrm>
            <a:off x="281780" y="271793"/>
            <a:ext cx="10028239" cy="777600"/>
          </a:xfrm>
        </p:spPr>
        <p:txBody>
          <a:bodyPr/>
          <a:lstStyle/>
          <a:p>
            <a:r>
              <a:rPr lang="en-US"/>
              <a:t>Key Outcomes</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17</a:t>
            </a:fld>
            <a:endParaRPr lang="en-AU"/>
          </a:p>
        </p:txBody>
      </p:sp>
      <p:sp>
        <p:nvSpPr>
          <p:cNvPr id="7" name="Rectangle: Rounded Corners 6">
            <a:extLst>
              <a:ext uri="{FF2B5EF4-FFF2-40B4-BE49-F238E27FC236}">
                <a16:creationId xmlns:a16="http://schemas.microsoft.com/office/drawing/2014/main" id="{B6AA4EA8-6C50-45C9-899A-53DD238BE0A1}"/>
              </a:ext>
            </a:extLst>
          </p:cNvPr>
          <p:cNvSpPr/>
          <p:nvPr/>
        </p:nvSpPr>
        <p:spPr>
          <a:xfrm>
            <a:off x="997527" y="1493786"/>
            <a:ext cx="4298373" cy="4525137"/>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a:solidFill>
                <a:schemeClr val="tx1"/>
              </a:solidFill>
            </a:endParaRPr>
          </a:p>
          <a:p>
            <a:pPr marL="285750" indent="-285750">
              <a:buFont typeface="Arial" panose="020B0604020202020204" pitchFamily="34" charset="0"/>
              <a:buChar char="•"/>
            </a:pPr>
            <a:r>
              <a:rPr lang="en-US">
                <a:solidFill>
                  <a:schemeClr val="tx1"/>
                </a:solidFill>
              </a:rPr>
              <a:t>Model combines several other machine learning models to best predict an outcome </a:t>
            </a:r>
          </a:p>
          <a:p>
            <a:pPr marL="285750" indent="-285750">
              <a:buFont typeface="Arial" panose="020B0604020202020204" pitchFamily="34" charset="0"/>
              <a:buChar char="•"/>
            </a:pPr>
            <a:r>
              <a:rPr lang="en-US">
                <a:solidFill>
                  <a:schemeClr val="tx1"/>
                </a:solidFill>
              </a:rPr>
              <a:t>Able to use this model on other diabetes data </a:t>
            </a:r>
          </a:p>
          <a:p>
            <a:pPr marL="285750" indent="-285750">
              <a:buFont typeface="Arial" panose="020B0604020202020204" pitchFamily="34" charset="0"/>
              <a:buChar char="•"/>
            </a:pPr>
            <a:r>
              <a:rPr lang="en-US">
                <a:solidFill>
                  <a:schemeClr val="tx1"/>
                </a:solidFill>
              </a:rPr>
              <a:t>For this data, </a:t>
            </a:r>
            <a:r>
              <a:rPr lang="en-US" err="1">
                <a:solidFill>
                  <a:schemeClr val="tx1"/>
                </a:solidFill>
              </a:rPr>
              <a:t>XGBoost</a:t>
            </a:r>
            <a:r>
              <a:rPr lang="en-US">
                <a:solidFill>
                  <a:schemeClr val="tx1"/>
                </a:solidFill>
              </a:rPr>
              <a:t> is the best model </a:t>
            </a:r>
          </a:p>
          <a:p>
            <a:pPr marL="742950" lvl="1" indent="-285750">
              <a:buFont typeface="Arial,Sans-Serif"/>
              <a:buChar char="•"/>
            </a:pPr>
            <a:r>
              <a:rPr lang="en-US">
                <a:solidFill>
                  <a:schemeClr val="tx1"/>
                </a:solidFill>
                <a:ea typeface="+mn-lt"/>
                <a:cs typeface="+mn-lt"/>
              </a:rPr>
              <a:t>F1 Score (0.8982)</a:t>
            </a:r>
          </a:p>
          <a:p>
            <a:pPr marL="742950" lvl="1" indent="-285750">
              <a:buFont typeface="Arial,Sans-Serif"/>
              <a:buChar char="•"/>
            </a:pPr>
            <a:r>
              <a:rPr lang="en-US">
                <a:solidFill>
                  <a:schemeClr val="tx1"/>
                </a:solidFill>
                <a:ea typeface="+mn-lt"/>
                <a:cs typeface="+mn-lt"/>
              </a:rPr>
              <a:t>ROC AUC Score (0.8744)</a:t>
            </a:r>
            <a:endParaRPr lang="en-US">
              <a:solidFill>
                <a:schemeClr val="tx1"/>
              </a:solidFill>
            </a:endParaRPr>
          </a:p>
        </p:txBody>
      </p:sp>
      <p:sp>
        <p:nvSpPr>
          <p:cNvPr id="8" name="Rectangle: Rounded Corners 7">
            <a:extLst>
              <a:ext uri="{FF2B5EF4-FFF2-40B4-BE49-F238E27FC236}">
                <a16:creationId xmlns:a16="http://schemas.microsoft.com/office/drawing/2014/main" id="{4562BB59-0E5D-4757-8222-76831882F9E8}"/>
              </a:ext>
            </a:extLst>
          </p:cNvPr>
          <p:cNvSpPr/>
          <p:nvPr/>
        </p:nvSpPr>
        <p:spPr>
          <a:xfrm>
            <a:off x="6896102" y="1505665"/>
            <a:ext cx="4298372" cy="4525138"/>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chemeClr val="tx1"/>
              </a:solidFill>
            </a:endParaRPr>
          </a:p>
          <a:p>
            <a:pPr marL="285750" indent="-285750">
              <a:buFont typeface="Arial" panose="020B0604020202020204" pitchFamily="34" charset="0"/>
              <a:buChar char="•"/>
            </a:pPr>
            <a:endParaRPr lang="en-US">
              <a:solidFill>
                <a:schemeClr val="tx1"/>
              </a:solidFill>
            </a:endParaRPr>
          </a:p>
          <a:p>
            <a:pPr marL="285750" indent="-285750">
              <a:buFont typeface="Arial" panose="020B0604020202020204" pitchFamily="34" charset="0"/>
              <a:buChar char="•"/>
            </a:pPr>
            <a:r>
              <a:rPr lang="en-US">
                <a:solidFill>
                  <a:schemeClr val="tx1"/>
                </a:solidFill>
              </a:rPr>
              <a:t>Top 10 features:</a:t>
            </a:r>
          </a:p>
          <a:p>
            <a:pPr marL="742950" lvl="1" indent="-285750">
              <a:buFont typeface="Arial" panose="020B0604020202020204" pitchFamily="34" charset="0"/>
              <a:buChar char="•"/>
            </a:pPr>
            <a:r>
              <a:rPr lang="en-US">
                <a:solidFill>
                  <a:schemeClr val="tx1"/>
                </a:solidFill>
              </a:rPr>
              <a:t>Age</a:t>
            </a:r>
          </a:p>
          <a:p>
            <a:pPr marL="742950" lvl="1" indent="-285750">
              <a:buFont typeface="Arial" panose="020B0604020202020204" pitchFamily="34" charset="0"/>
              <a:buChar char="•"/>
            </a:pPr>
            <a:r>
              <a:rPr lang="en-US">
                <a:solidFill>
                  <a:schemeClr val="tx1"/>
                </a:solidFill>
              </a:rPr>
              <a:t>Race</a:t>
            </a:r>
          </a:p>
          <a:p>
            <a:pPr marL="742950" lvl="1" indent="-285750">
              <a:buFont typeface="Arial" panose="020B0604020202020204" pitchFamily="34" charset="0"/>
              <a:buChar char="•"/>
            </a:pPr>
            <a:r>
              <a:rPr lang="en-US">
                <a:solidFill>
                  <a:schemeClr val="tx1"/>
                </a:solidFill>
              </a:rPr>
              <a:t>Sex</a:t>
            </a:r>
          </a:p>
          <a:p>
            <a:pPr marL="742950" lvl="1" indent="-285750">
              <a:buFont typeface="Arial" panose="020B0604020202020204" pitchFamily="34" charset="0"/>
              <a:buChar char="•"/>
            </a:pPr>
            <a:r>
              <a:rPr lang="en-US">
                <a:solidFill>
                  <a:schemeClr val="tx1"/>
                </a:solidFill>
              </a:rPr>
              <a:t>Weight</a:t>
            </a:r>
          </a:p>
          <a:p>
            <a:pPr marL="742950" lvl="1" indent="-285750">
              <a:buFont typeface="Arial" panose="020B0604020202020204" pitchFamily="34" charset="0"/>
              <a:buChar char="•"/>
            </a:pPr>
            <a:r>
              <a:rPr lang="en-US">
                <a:solidFill>
                  <a:schemeClr val="tx1"/>
                </a:solidFill>
              </a:rPr>
              <a:t>BMI</a:t>
            </a:r>
          </a:p>
          <a:p>
            <a:pPr marL="742950" lvl="1" indent="-285750">
              <a:buFont typeface="Arial" panose="020B0604020202020204" pitchFamily="34" charset="0"/>
              <a:buChar char="•"/>
            </a:pPr>
            <a:r>
              <a:rPr lang="en-US">
                <a:solidFill>
                  <a:schemeClr val="tx1"/>
                </a:solidFill>
              </a:rPr>
              <a:t>High blood pressure</a:t>
            </a:r>
          </a:p>
          <a:p>
            <a:pPr marL="742950" lvl="1" indent="-285750">
              <a:buFont typeface="Arial" panose="020B0604020202020204" pitchFamily="34" charset="0"/>
              <a:buChar char="•"/>
            </a:pPr>
            <a:r>
              <a:rPr lang="en-US">
                <a:solidFill>
                  <a:schemeClr val="tx1"/>
                </a:solidFill>
              </a:rPr>
              <a:t>Heart disease</a:t>
            </a:r>
          </a:p>
          <a:p>
            <a:pPr marL="742950" lvl="1" indent="-285750">
              <a:buFont typeface="Arial" panose="020B0604020202020204" pitchFamily="34" charset="0"/>
              <a:buChar char="•"/>
            </a:pPr>
            <a:r>
              <a:rPr lang="en-US">
                <a:solidFill>
                  <a:schemeClr val="tx1"/>
                </a:solidFill>
              </a:rPr>
              <a:t>Prediabetes</a:t>
            </a:r>
          </a:p>
          <a:p>
            <a:pPr marL="742950" lvl="1" indent="-285750">
              <a:buFont typeface="Arial" panose="020B0604020202020204" pitchFamily="34" charset="0"/>
              <a:buChar char="•"/>
            </a:pPr>
            <a:r>
              <a:rPr lang="en-US">
                <a:solidFill>
                  <a:schemeClr val="tx1"/>
                </a:solidFill>
              </a:rPr>
              <a:t>Diet </a:t>
            </a:r>
          </a:p>
        </p:txBody>
      </p:sp>
      <p:sp>
        <p:nvSpPr>
          <p:cNvPr id="9" name="Rectangle: Rounded Corners 8">
            <a:extLst>
              <a:ext uri="{FF2B5EF4-FFF2-40B4-BE49-F238E27FC236}">
                <a16:creationId xmlns:a16="http://schemas.microsoft.com/office/drawing/2014/main" id="{6A9C9546-A544-42D2-AEEF-679763B1DC93}"/>
              </a:ext>
            </a:extLst>
          </p:cNvPr>
          <p:cNvSpPr/>
          <p:nvPr/>
        </p:nvSpPr>
        <p:spPr>
          <a:xfrm>
            <a:off x="997527" y="1493787"/>
            <a:ext cx="4298373" cy="10594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ntified most accurate </a:t>
            </a:r>
            <a:r>
              <a:rPr lang="en-US" b="1"/>
              <a:t>model</a:t>
            </a:r>
            <a:r>
              <a:rPr lang="en-US"/>
              <a:t> for predicting type 2 diabetes </a:t>
            </a:r>
          </a:p>
        </p:txBody>
      </p:sp>
      <p:sp>
        <p:nvSpPr>
          <p:cNvPr id="10" name="Rectangle: Rounded Corners 9">
            <a:extLst>
              <a:ext uri="{FF2B5EF4-FFF2-40B4-BE49-F238E27FC236}">
                <a16:creationId xmlns:a16="http://schemas.microsoft.com/office/drawing/2014/main" id="{9E6EF220-F937-4464-84D5-5B5C81AC2D34}"/>
              </a:ext>
            </a:extLst>
          </p:cNvPr>
          <p:cNvSpPr/>
          <p:nvPr/>
        </p:nvSpPr>
        <p:spPr>
          <a:xfrm>
            <a:off x="6896102" y="1493787"/>
            <a:ext cx="4298373" cy="10594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ntified top risk </a:t>
            </a:r>
            <a:r>
              <a:rPr lang="en-US" b="1"/>
              <a:t>factors</a:t>
            </a:r>
            <a:r>
              <a:rPr lang="en-US"/>
              <a:t> for type 2 diabetes</a:t>
            </a:r>
          </a:p>
        </p:txBody>
      </p:sp>
      <p:sp>
        <p:nvSpPr>
          <p:cNvPr id="12" name="TextBox 11">
            <a:extLst>
              <a:ext uri="{FF2B5EF4-FFF2-40B4-BE49-F238E27FC236}">
                <a16:creationId xmlns:a16="http://schemas.microsoft.com/office/drawing/2014/main" id="{872B4EE1-D3C6-49F8-9B3D-34770CA0DE0A}"/>
              </a:ext>
            </a:extLst>
          </p:cNvPr>
          <p:cNvSpPr txBox="1"/>
          <p:nvPr/>
        </p:nvSpPr>
        <p:spPr>
          <a:xfrm>
            <a:off x="328552" y="831275"/>
            <a:ext cx="10865922" cy="553998"/>
          </a:xfrm>
          <a:prstGeom prst="rect">
            <a:avLst/>
          </a:prstGeom>
          <a:noFill/>
        </p:spPr>
        <p:txBody>
          <a:bodyPr wrap="square" lIns="0" tIns="0" rIns="0" bIns="0" rtlCol="0">
            <a:spAutoFit/>
          </a:bodyPr>
          <a:lstStyle/>
          <a:p>
            <a:pPr algn="l"/>
            <a:r>
              <a:rPr lang="en-US"/>
              <a:t>This analysis identified an accurate model for this type of data and the associated risk factors for type 2 diabetes. </a:t>
            </a:r>
          </a:p>
        </p:txBody>
      </p:sp>
    </p:spTree>
    <p:extLst>
      <p:ext uri="{BB962C8B-B14F-4D97-AF65-F5344CB8AC3E}">
        <p14:creationId xmlns:p14="http://schemas.microsoft.com/office/powerpoint/2010/main" val="1146469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a:xfrm>
            <a:off x="281780" y="271793"/>
            <a:ext cx="10028239" cy="777600"/>
          </a:xfrm>
        </p:spPr>
        <p:txBody>
          <a:bodyPr/>
          <a:lstStyle/>
          <a:p>
            <a:r>
              <a:rPr lang="en-US"/>
              <a:t>BMJ Publication</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18</a:t>
            </a:fld>
            <a:endParaRPr lang="en-AU"/>
          </a:p>
        </p:txBody>
      </p:sp>
      <p:sp>
        <p:nvSpPr>
          <p:cNvPr id="2" name="TextBox 1">
            <a:extLst>
              <a:ext uri="{FF2B5EF4-FFF2-40B4-BE49-F238E27FC236}">
                <a16:creationId xmlns:a16="http://schemas.microsoft.com/office/drawing/2014/main" id="{CC5BE684-C950-433F-A6A2-FE56B2BBFC9D}"/>
              </a:ext>
            </a:extLst>
          </p:cNvPr>
          <p:cNvSpPr txBox="1"/>
          <p:nvPr/>
        </p:nvSpPr>
        <p:spPr>
          <a:xfrm>
            <a:off x="736270" y="1931313"/>
            <a:ext cx="10236530" cy="3323987"/>
          </a:xfrm>
          <a:prstGeom prst="rect">
            <a:avLst/>
          </a:prstGeom>
          <a:noFill/>
        </p:spPr>
        <p:txBody>
          <a:bodyPr wrap="square" lIns="0" tIns="0" rIns="0" bIns="0" rtlCol="0" anchor="t">
            <a:spAutoFit/>
          </a:bodyPr>
          <a:lstStyle/>
          <a:p>
            <a:r>
              <a:rPr lang="en-US" b="1">
                <a:solidFill>
                  <a:schemeClr val="accent2"/>
                </a:solidFill>
              </a:rPr>
              <a:t>We are working on submitting a </a:t>
            </a:r>
            <a:r>
              <a:rPr lang="en-US" b="1">
                <a:solidFill>
                  <a:schemeClr val="accent2"/>
                </a:solidFill>
                <a:hlinkClick r:id="rId3">
                  <a:extLst>
                    <a:ext uri="{A12FA001-AC4F-418D-AE19-62706E023703}">
                      <ahyp:hlinkClr xmlns:ahyp="http://schemas.microsoft.com/office/drawing/2018/hyperlinkcolor" val="tx"/>
                    </a:ext>
                  </a:extLst>
                </a:hlinkClick>
              </a:rPr>
              <a:t>paper</a:t>
            </a:r>
            <a:r>
              <a:rPr lang="en-US" b="1">
                <a:solidFill>
                  <a:schemeClr val="accent2"/>
                </a:solidFill>
              </a:rPr>
              <a:t> on this analysis to the British Medical Journal. If accepted, Accenture will gain major credentials for our work in public health analytics.</a:t>
            </a:r>
          </a:p>
          <a:p>
            <a:pPr algn="l"/>
            <a:endParaRPr lang="en-US" b="1">
              <a:solidFill>
                <a:schemeClr val="accent2"/>
              </a:solidFill>
            </a:endParaRPr>
          </a:p>
          <a:p>
            <a:pPr marL="285750" indent="-285750">
              <a:buFont typeface="Arial"/>
              <a:buChar char="•"/>
            </a:pPr>
            <a:r>
              <a:rPr lang="en-US">
                <a:solidFill>
                  <a:schemeClr val="accent2"/>
                </a:solidFill>
              </a:rPr>
              <a:t>3,000-word manuscript</a:t>
            </a:r>
          </a:p>
          <a:p>
            <a:pPr marL="285750" indent="-285750">
              <a:buFont typeface="Arial"/>
              <a:buChar char="•"/>
            </a:pPr>
            <a:r>
              <a:rPr lang="en-US">
                <a:solidFill>
                  <a:schemeClr val="accent2"/>
                </a:solidFill>
              </a:rPr>
              <a:t>300-word abstract </a:t>
            </a:r>
          </a:p>
          <a:p>
            <a:pPr marL="285750" indent="-285750">
              <a:buFont typeface="Arial"/>
              <a:buChar char="•"/>
            </a:pPr>
            <a:r>
              <a:rPr lang="en-US">
                <a:solidFill>
                  <a:schemeClr val="accent2"/>
                </a:solidFill>
              </a:rPr>
              <a:t>Reviewed by a scientific panel chosen by BMJ where we submitted 3 reviewer preferences</a:t>
            </a:r>
          </a:p>
          <a:p>
            <a:pPr marL="285750" indent="-285750">
              <a:buFont typeface="Arial"/>
              <a:buChar char="•"/>
            </a:pPr>
            <a:r>
              <a:rPr lang="en-US">
                <a:solidFill>
                  <a:schemeClr val="accent2"/>
                </a:solidFill>
              </a:rPr>
              <a:t>Shawna Tuli is first author with Vishrut Chokshi, Marty Hodgett, Manish </a:t>
            </a:r>
            <a:r>
              <a:rPr lang="en-US" err="1">
                <a:solidFill>
                  <a:schemeClr val="accent2"/>
                </a:solidFill>
              </a:rPr>
              <a:t>Dasaur</a:t>
            </a:r>
            <a:r>
              <a:rPr lang="en-US">
                <a:solidFill>
                  <a:schemeClr val="accent2"/>
                </a:solidFill>
              </a:rPr>
              <a:t>, Dalal </a:t>
            </a:r>
            <a:r>
              <a:rPr lang="en-US" err="1">
                <a:solidFill>
                  <a:schemeClr val="accent2"/>
                </a:solidFill>
              </a:rPr>
              <a:t>Sachin</a:t>
            </a:r>
            <a:r>
              <a:rPr lang="en-US">
                <a:solidFill>
                  <a:schemeClr val="accent2"/>
                </a:solidFill>
              </a:rPr>
              <a:t>, Michelle Smith, Praneet Raj, Bryan S. Price, Erik Kronstadt, Anthony Agbasi, Mei-Chi Chen, Nile Hanov, Jeffrey Vu, Jeffrey Lu, Ella Liang, Kelly </a:t>
            </a:r>
            <a:r>
              <a:rPr lang="en-US" err="1">
                <a:solidFill>
                  <a:schemeClr val="accent2"/>
                </a:solidFill>
              </a:rPr>
              <a:t>Im</a:t>
            </a:r>
            <a:r>
              <a:rPr lang="en-US">
                <a:solidFill>
                  <a:schemeClr val="accent2"/>
                </a:solidFill>
              </a:rPr>
              <a:t> (UCI) , Brian Wang (UCI), Alvin Zou (UCI) as co-authors</a:t>
            </a:r>
          </a:p>
          <a:p>
            <a:pPr marL="285750" indent="-285750">
              <a:buFont typeface="Arial"/>
              <a:buChar char="•"/>
            </a:pPr>
            <a:endParaRPr lang="en-US" b="1">
              <a:solidFill>
                <a:srgbClr val="7500C0"/>
              </a:solidFill>
            </a:endParaRPr>
          </a:p>
          <a:p>
            <a:endParaRPr lang="en-US" err="1"/>
          </a:p>
        </p:txBody>
      </p:sp>
      <p:pic>
        <p:nvPicPr>
          <p:cNvPr id="6" name="Picture 6" descr="A picture containing text, clipart&#10;&#10;Description automatically generated">
            <a:extLst>
              <a:ext uri="{FF2B5EF4-FFF2-40B4-BE49-F238E27FC236}">
                <a16:creationId xmlns:a16="http://schemas.microsoft.com/office/drawing/2014/main" id="{E7FCBCDE-0CE5-1D5D-C87A-83B65A447E98}"/>
              </a:ext>
            </a:extLst>
          </p:cNvPr>
          <p:cNvPicPr>
            <a:picLocks noChangeAspect="1"/>
          </p:cNvPicPr>
          <p:nvPr/>
        </p:nvPicPr>
        <p:blipFill>
          <a:blip r:embed="rId4"/>
          <a:stretch>
            <a:fillRect/>
          </a:stretch>
        </p:blipFill>
        <p:spPr>
          <a:xfrm>
            <a:off x="8219440" y="325677"/>
            <a:ext cx="3515360" cy="923447"/>
          </a:xfrm>
          <a:prstGeom prst="rect">
            <a:avLst/>
          </a:prstGeom>
        </p:spPr>
      </p:pic>
    </p:spTree>
    <p:extLst>
      <p:ext uri="{BB962C8B-B14F-4D97-AF65-F5344CB8AC3E}">
        <p14:creationId xmlns:p14="http://schemas.microsoft.com/office/powerpoint/2010/main" val="3586114410"/>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a:lstStyle/>
          <a:p>
            <a:r>
              <a:rPr lang="en-GB"/>
              <a:t>Copyright © 2022 Accenture. All rights reserved.</a:t>
            </a:r>
          </a:p>
        </p:txBody>
      </p:sp>
      <p:sp>
        <p:nvSpPr>
          <p:cNvPr id="3" name="Slide Number Placeholder 2">
            <a:extLst>
              <a:ext uri="{FF2B5EF4-FFF2-40B4-BE49-F238E27FC236}">
                <a16:creationId xmlns:a16="http://schemas.microsoft.com/office/drawing/2014/main" id="{304EEE27-A466-473E-8708-A9E787D2E72D}"/>
              </a:ext>
            </a:extLst>
          </p:cNvPr>
          <p:cNvSpPr>
            <a:spLocks noGrp="1"/>
          </p:cNvSpPr>
          <p:nvPr>
            <p:ph type="sldNum" sz="quarter" idx="4"/>
          </p:nvPr>
        </p:nvSpPr>
        <p:spPr/>
        <p:txBody>
          <a:bodyPr/>
          <a:lstStyle/>
          <a:p>
            <a:fld id="{4F9AC08D-23A9-440E-BCB9-AA1E9877CC38}" type="slidenum">
              <a:rPr lang="en-US" smtClean="0"/>
              <a:pPr/>
              <a:t>19</a:t>
            </a:fld>
            <a:endParaRPr lang="en-US"/>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956195" cy="1323439"/>
          </a:xfrm>
          <a:prstGeom prst="rect">
            <a:avLst/>
          </a:prstGeom>
          <a:noFill/>
        </p:spPr>
        <p:txBody>
          <a:bodyPr wrap="square" rtlCol="0">
            <a:spAutoFit/>
          </a:bodyPr>
          <a:lstStyle/>
          <a:p>
            <a:r>
              <a:rPr lang="en-US" sz="4000" b="1">
                <a:solidFill>
                  <a:schemeClr val="bg1"/>
                </a:solidFill>
                <a:latin typeface="+mj-lt"/>
              </a:rPr>
              <a:t>Client Engagement Opportunities</a:t>
            </a:r>
          </a:p>
        </p:txBody>
      </p:sp>
      <p:sp>
        <p:nvSpPr>
          <p:cNvPr id="6" name="TextBox 5">
            <a:extLst>
              <a:ext uri="{FF2B5EF4-FFF2-40B4-BE49-F238E27FC236}">
                <a16:creationId xmlns:a16="http://schemas.microsoft.com/office/drawing/2014/main" id="{BE475FB9-AF91-4EC1-9F3A-802B09F24777}"/>
              </a:ext>
            </a:extLst>
          </p:cNvPr>
          <p:cNvSpPr txBox="1"/>
          <p:nvPr/>
        </p:nvSpPr>
        <p:spPr>
          <a:xfrm>
            <a:off x="1372475" y="3075057"/>
            <a:ext cx="1002862" cy="707886"/>
          </a:xfrm>
          <a:prstGeom prst="rect">
            <a:avLst/>
          </a:prstGeom>
          <a:noFill/>
        </p:spPr>
        <p:txBody>
          <a:bodyPr wrap="square" rtlCol="0">
            <a:spAutoFit/>
          </a:bodyPr>
          <a:lstStyle/>
          <a:p>
            <a:r>
              <a:rPr kumimoji="0" lang="en-GB" sz="4000" b="1" i="0" u="none" strike="noStrike" kern="1200" cap="none" spc="0" normalizeH="0" baseline="0" noProof="0">
                <a:ln>
                  <a:noFill/>
                </a:ln>
                <a:solidFill>
                  <a:srgbClr val="A100FF"/>
                </a:solidFill>
                <a:effectLst/>
                <a:uLnTx/>
                <a:uFillTx/>
                <a:latin typeface="Graphik Black"/>
                <a:ea typeface="+mn-ea"/>
                <a:cs typeface="+mn-cs"/>
              </a:rPr>
              <a:t>05</a:t>
            </a:r>
            <a:endParaRPr kumimoji="0" lang="en-US" sz="4000" b="1" i="0" u="none" strike="noStrike" kern="1200" cap="none" spc="0" normalizeH="0" baseline="0" noProof="0">
              <a:ln>
                <a:noFill/>
              </a:ln>
              <a:solidFill>
                <a:srgbClr val="A100FF"/>
              </a:solidFill>
              <a:effectLst/>
              <a:uLnTx/>
              <a:uFillTx/>
              <a:latin typeface="Graphik Black"/>
              <a:ea typeface="+mn-ea"/>
              <a:cs typeface="+mn-cs"/>
            </a:endParaRPr>
          </a:p>
        </p:txBody>
      </p:sp>
    </p:spTree>
    <p:extLst>
      <p:ext uri="{BB962C8B-B14F-4D97-AF65-F5344CB8AC3E}">
        <p14:creationId xmlns:p14="http://schemas.microsoft.com/office/powerpoint/2010/main" val="3049272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9">
            <a:extLst>
              <a:ext uri="{FF2B5EF4-FFF2-40B4-BE49-F238E27FC236}">
                <a16:creationId xmlns:a16="http://schemas.microsoft.com/office/drawing/2014/main" id="{673B9C6F-A43D-FC0B-7E81-40257EEA5E07}"/>
              </a:ext>
            </a:extLst>
          </p:cNvPr>
          <p:cNvSpPr>
            <a:spLocks noGrp="1"/>
          </p:cNvSpPr>
          <p:nvPr>
            <p:ph type="ftr" sz="quarter" idx="16"/>
          </p:nvPr>
        </p:nvSpPr>
        <p:spPr>
          <a:xfrm>
            <a:off x="8096146" y="6393634"/>
            <a:ext cx="3733634" cy="270112"/>
          </a:xfrm>
        </p:spPr>
        <p:txBody>
          <a:bodyPr lIns="91440" tIns="0" rIns="91440" bIns="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alpha val="50000"/>
                  </a:srgbClr>
                </a:solidFill>
                <a:effectLst/>
                <a:uLnTx/>
                <a:uFillTx/>
                <a:latin typeface="Graphik"/>
                <a:ea typeface="+mn-ea"/>
                <a:cs typeface="+mn-cs"/>
              </a:rPr>
              <a:t>Copyright © </a:t>
            </a:r>
            <a:r>
              <a:rPr lang="en-GB">
                <a:solidFill>
                  <a:srgbClr val="000000">
                    <a:alpha val="50000"/>
                  </a:srgbClr>
                </a:solidFill>
                <a:latin typeface="Graphik"/>
              </a:rPr>
              <a:t>2022</a:t>
            </a:r>
            <a:r>
              <a:rPr kumimoji="0" lang="en-GB" sz="800" b="0" i="0" u="none" strike="noStrike" kern="1200" cap="none" spc="0" normalizeH="0" baseline="0" noProof="0">
                <a:ln>
                  <a:noFill/>
                </a:ln>
                <a:solidFill>
                  <a:srgbClr val="000000">
                    <a:alpha val="50000"/>
                  </a:srgbClr>
                </a:solidFill>
                <a:effectLst/>
                <a:uLnTx/>
                <a:uFillTx/>
                <a:latin typeface="Graphik"/>
                <a:ea typeface="+mn-ea"/>
                <a:cs typeface="+mn-cs"/>
              </a:rPr>
              <a:t> Accenture. All rights reserved.</a:t>
            </a:r>
          </a:p>
        </p:txBody>
      </p:sp>
      <p:sp>
        <p:nvSpPr>
          <p:cNvPr id="52" name="Title 2" descr="Agenda title">
            <a:extLst>
              <a:ext uri="{FF2B5EF4-FFF2-40B4-BE49-F238E27FC236}">
                <a16:creationId xmlns:a16="http://schemas.microsoft.com/office/drawing/2014/main" id="{70EC08D6-75CA-4ACD-AE0F-6326124A2380}"/>
              </a:ext>
            </a:extLst>
          </p:cNvPr>
          <p:cNvSpPr txBox="1">
            <a:spLocks/>
          </p:cNvSpPr>
          <p:nvPr/>
        </p:nvSpPr>
        <p:spPr>
          <a:xfrm>
            <a:off x="381002" y="1371601"/>
            <a:ext cx="3267011" cy="810399"/>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200" b="0" i="0" u="none" strike="noStrike" kern="1200" cap="none" spc="0" normalizeH="0" baseline="0" noProof="0">
                <a:ln>
                  <a:noFill/>
                </a:ln>
                <a:solidFill>
                  <a:srgbClr val="000000"/>
                </a:solidFill>
                <a:effectLst/>
                <a:uLnTx/>
                <a:uFillTx/>
                <a:latin typeface="Graphik Black"/>
                <a:ea typeface="+mj-ea"/>
                <a:cs typeface="+mj-cs"/>
              </a:rPr>
              <a:t>Agenda</a:t>
            </a:r>
            <a:endParaRPr kumimoji="0" lang="en-US" sz="3200" b="0" i="0" u="none" strike="noStrike" kern="1200" cap="none" spc="0" normalizeH="0" baseline="0" noProof="0">
              <a:ln>
                <a:noFill/>
              </a:ln>
              <a:solidFill>
                <a:srgbClr val="000000"/>
              </a:solidFill>
              <a:effectLst/>
              <a:uLnTx/>
              <a:uFillTx/>
              <a:latin typeface="Graphik Black"/>
              <a:ea typeface="+mj-ea"/>
              <a:cs typeface="+mj-cs"/>
            </a:endParaRPr>
          </a:p>
        </p:txBody>
      </p:sp>
      <p:sp>
        <p:nvSpPr>
          <p:cNvPr id="53" name="Text Placeholder 12" descr="No. 1">
            <a:extLst>
              <a:ext uri="{FF2B5EF4-FFF2-40B4-BE49-F238E27FC236}">
                <a16:creationId xmlns:a16="http://schemas.microsoft.com/office/drawing/2014/main" id="{2EF7787F-F9A0-43A7-A40B-3E808D476C79}"/>
              </a:ext>
            </a:extLst>
          </p:cNvPr>
          <p:cNvSpPr txBox="1">
            <a:spLocks/>
          </p:cNvSpPr>
          <p:nvPr/>
        </p:nvSpPr>
        <p:spPr>
          <a:xfrm>
            <a:off x="4361010" y="2021305"/>
            <a:ext cx="405128" cy="485340"/>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A100FF"/>
                </a:solidFill>
                <a:effectLst/>
                <a:uLnTx/>
                <a:uFillTx/>
                <a:latin typeface="Graphik Black"/>
                <a:ea typeface="+mn-ea"/>
                <a:cs typeface="+mn-cs"/>
              </a:rPr>
              <a:t>02</a:t>
            </a:r>
            <a:endParaRPr kumimoji="0" lang="en-US" sz="1800" b="1" i="0" u="none" strike="noStrike" kern="1200" cap="none" spc="0" normalizeH="0" baseline="0" noProof="0">
              <a:ln>
                <a:noFill/>
              </a:ln>
              <a:solidFill>
                <a:srgbClr val="A100FF"/>
              </a:solidFill>
              <a:effectLst/>
              <a:uLnTx/>
              <a:uFillTx/>
              <a:latin typeface="Graphik Black"/>
              <a:ea typeface="+mn-ea"/>
              <a:cs typeface="+mn-cs"/>
            </a:endParaRPr>
          </a:p>
        </p:txBody>
      </p:sp>
      <p:sp>
        <p:nvSpPr>
          <p:cNvPr id="54" name="Text Placeholder 4" descr="Agenda Item 1">
            <a:extLst>
              <a:ext uri="{FF2B5EF4-FFF2-40B4-BE49-F238E27FC236}">
                <a16:creationId xmlns:a16="http://schemas.microsoft.com/office/drawing/2014/main" id="{467D5365-0F72-45F1-850D-493B092086BE}"/>
              </a:ext>
            </a:extLst>
          </p:cNvPr>
          <p:cNvSpPr txBox="1">
            <a:spLocks/>
          </p:cNvSpPr>
          <p:nvPr/>
        </p:nvSpPr>
        <p:spPr>
          <a:xfrm>
            <a:off x="4901739" y="2021305"/>
            <a:ext cx="2953039" cy="4853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000000"/>
                </a:solidFill>
                <a:effectLst/>
                <a:uLnTx/>
                <a:uFillTx/>
                <a:latin typeface="Graphik"/>
                <a:ea typeface="+mn-ea"/>
                <a:cs typeface="+mn-cs"/>
              </a:rPr>
              <a:t>Context</a:t>
            </a:r>
            <a:endParaRPr kumimoji="0" lang="en-US" sz="1600" b="1" i="0" u="none" strike="noStrike" kern="1200" cap="none" spc="0" normalizeH="0" baseline="0" noProof="0">
              <a:ln>
                <a:noFill/>
              </a:ln>
              <a:solidFill>
                <a:srgbClr val="000000"/>
              </a:solidFill>
              <a:effectLst/>
              <a:uLnTx/>
              <a:uFillTx/>
              <a:latin typeface="Graphik"/>
              <a:ea typeface="+mn-ea"/>
              <a:cs typeface="+mn-cs"/>
            </a:endParaRPr>
          </a:p>
        </p:txBody>
      </p:sp>
      <p:sp>
        <p:nvSpPr>
          <p:cNvPr id="57" name="Text Placeholder 14" descr="No. 3">
            <a:extLst>
              <a:ext uri="{FF2B5EF4-FFF2-40B4-BE49-F238E27FC236}">
                <a16:creationId xmlns:a16="http://schemas.microsoft.com/office/drawing/2014/main" id="{00E620F7-27A8-4C48-8B1B-0AD94EC52CBD}"/>
              </a:ext>
            </a:extLst>
          </p:cNvPr>
          <p:cNvSpPr txBox="1">
            <a:spLocks/>
          </p:cNvSpPr>
          <p:nvPr/>
        </p:nvSpPr>
        <p:spPr>
          <a:xfrm>
            <a:off x="4361010" y="2626183"/>
            <a:ext cx="405128" cy="485340"/>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A100FF"/>
                </a:solidFill>
                <a:effectLst/>
                <a:uLnTx/>
                <a:uFillTx/>
                <a:latin typeface="Graphik Black"/>
                <a:ea typeface="+mn-ea"/>
                <a:cs typeface="+mn-cs"/>
              </a:rPr>
              <a:t>03</a:t>
            </a:r>
            <a:endParaRPr kumimoji="0" lang="en-US" sz="1800" b="1" i="0" u="none" strike="noStrike" kern="1200" cap="none" spc="0" normalizeH="0" baseline="0" noProof="0">
              <a:ln>
                <a:noFill/>
              </a:ln>
              <a:solidFill>
                <a:srgbClr val="A100FF"/>
              </a:solidFill>
              <a:effectLst/>
              <a:uLnTx/>
              <a:uFillTx/>
              <a:latin typeface="Graphik Black"/>
              <a:ea typeface="+mn-ea"/>
              <a:cs typeface="+mn-cs"/>
            </a:endParaRPr>
          </a:p>
        </p:txBody>
      </p:sp>
      <p:sp>
        <p:nvSpPr>
          <p:cNvPr id="58" name="Text Placeholder 6" descr="Agenda Item 3">
            <a:extLst>
              <a:ext uri="{FF2B5EF4-FFF2-40B4-BE49-F238E27FC236}">
                <a16:creationId xmlns:a16="http://schemas.microsoft.com/office/drawing/2014/main" id="{E474A916-B7C6-42E5-B5E4-A8C2AB24424F}"/>
              </a:ext>
            </a:extLst>
          </p:cNvPr>
          <p:cNvSpPr txBox="1">
            <a:spLocks/>
          </p:cNvSpPr>
          <p:nvPr/>
        </p:nvSpPr>
        <p:spPr>
          <a:xfrm>
            <a:off x="4901739" y="2626183"/>
            <a:ext cx="2953039" cy="4853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000000"/>
                </a:solidFill>
                <a:effectLst/>
                <a:uLnTx/>
                <a:uFillTx/>
                <a:latin typeface="Graphik"/>
                <a:ea typeface="+mn-ea"/>
                <a:cs typeface="+mn-cs"/>
              </a:rPr>
              <a:t>Framework &amp; Approach</a:t>
            </a:r>
            <a:endParaRPr kumimoji="0" lang="en-US" sz="1600" b="1" i="0" u="none" strike="noStrike" kern="1200" cap="none" spc="0" normalizeH="0" baseline="0" noProof="0">
              <a:ln>
                <a:noFill/>
              </a:ln>
              <a:solidFill>
                <a:srgbClr val="000000"/>
              </a:solidFill>
              <a:effectLst/>
              <a:uLnTx/>
              <a:uFillTx/>
              <a:latin typeface="Graphik"/>
              <a:ea typeface="+mn-ea"/>
              <a:cs typeface="+mn-cs"/>
            </a:endParaRPr>
          </a:p>
        </p:txBody>
      </p:sp>
      <p:sp>
        <p:nvSpPr>
          <p:cNvPr id="59" name="Text Placeholder 15" descr="No. 4">
            <a:extLst>
              <a:ext uri="{FF2B5EF4-FFF2-40B4-BE49-F238E27FC236}">
                <a16:creationId xmlns:a16="http://schemas.microsoft.com/office/drawing/2014/main" id="{9F55ABB2-3BB3-4D72-AB6E-BD5B72D50399}"/>
              </a:ext>
            </a:extLst>
          </p:cNvPr>
          <p:cNvSpPr txBox="1">
            <a:spLocks/>
          </p:cNvSpPr>
          <p:nvPr/>
        </p:nvSpPr>
        <p:spPr>
          <a:xfrm>
            <a:off x="4361010" y="3231061"/>
            <a:ext cx="405128" cy="485340"/>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A100FF"/>
                </a:solidFill>
                <a:effectLst/>
                <a:uLnTx/>
                <a:uFillTx/>
                <a:latin typeface="Graphik Black"/>
                <a:ea typeface="+mn-ea"/>
                <a:cs typeface="+mn-cs"/>
              </a:rPr>
              <a:t>04</a:t>
            </a:r>
            <a:endParaRPr kumimoji="0" lang="en-US" sz="1800" b="1" i="0" u="none" strike="noStrike" kern="1200" cap="none" spc="0" normalizeH="0" baseline="0" noProof="0">
              <a:ln>
                <a:noFill/>
              </a:ln>
              <a:solidFill>
                <a:srgbClr val="A100FF"/>
              </a:solidFill>
              <a:effectLst/>
              <a:uLnTx/>
              <a:uFillTx/>
              <a:latin typeface="Graphik Black"/>
              <a:ea typeface="+mn-ea"/>
              <a:cs typeface="+mn-cs"/>
            </a:endParaRPr>
          </a:p>
        </p:txBody>
      </p:sp>
      <p:sp>
        <p:nvSpPr>
          <p:cNvPr id="60" name="Text Placeholder 7" descr="Agenda Item 4">
            <a:extLst>
              <a:ext uri="{FF2B5EF4-FFF2-40B4-BE49-F238E27FC236}">
                <a16:creationId xmlns:a16="http://schemas.microsoft.com/office/drawing/2014/main" id="{5088C541-E3A2-482C-B3BD-D897F65BDF59}"/>
              </a:ext>
            </a:extLst>
          </p:cNvPr>
          <p:cNvSpPr txBox="1">
            <a:spLocks/>
          </p:cNvSpPr>
          <p:nvPr/>
        </p:nvSpPr>
        <p:spPr>
          <a:xfrm>
            <a:off x="4901739" y="3231061"/>
            <a:ext cx="3375645" cy="4853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000000"/>
                </a:solidFill>
                <a:effectLst/>
                <a:uLnTx/>
                <a:uFillTx/>
                <a:latin typeface="Graphik"/>
                <a:ea typeface="+mn-ea"/>
                <a:cs typeface="+mn-cs"/>
              </a:rPr>
              <a:t>Output &amp; Recommendation</a:t>
            </a:r>
            <a:endParaRPr kumimoji="0" lang="en-US" sz="1600" b="1" i="0" u="none" strike="noStrike" kern="1200" cap="none" spc="0" normalizeH="0" baseline="0" noProof="0">
              <a:ln>
                <a:noFill/>
              </a:ln>
              <a:solidFill>
                <a:srgbClr val="000000"/>
              </a:solidFill>
              <a:effectLst/>
              <a:uLnTx/>
              <a:uFillTx/>
              <a:latin typeface="Graphik"/>
              <a:ea typeface="+mn-ea"/>
              <a:cs typeface="+mn-cs"/>
            </a:endParaRPr>
          </a:p>
        </p:txBody>
      </p:sp>
      <p:sp>
        <p:nvSpPr>
          <p:cNvPr id="61" name="Text Placeholder 16" descr="No. 5">
            <a:extLst>
              <a:ext uri="{FF2B5EF4-FFF2-40B4-BE49-F238E27FC236}">
                <a16:creationId xmlns:a16="http://schemas.microsoft.com/office/drawing/2014/main" id="{828872EE-D929-4C46-9896-F4C4A4A99991}"/>
              </a:ext>
            </a:extLst>
          </p:cNvPr>
          <p:cNvSpPr txBox="1">
            <a:spLocks/>
          </p:cNvSpPr>
          <p:nvPr/>
        </p:nvSpPr>
        <p:spPr>
          <a:xfrm>
            <a:off x="4361010" y="3835939"/>
            <a:ext cx="405128" cy="485340"/>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A100FF"/>
                </a:solidFill>
                <a:effectLst/>
                <a:uLnTx/>
                <a:uFillTx/>
                <a:latin typeface="Graphik Black"/>
                <a:ea typeface="+mn-ea"/>
                <a:cs typeface="+mn-cs"/>
              </a:rPr>
              <a:t>05</a:t>
            </a:r>
            <a:endParaRPr kumimoji="0" lang="en-US" sz="1800" b="1" i="0" u="none" strike="noStrike" kern="1200" cap="none" spc="0" normalizeH="0" baseline="0" noProof="0">
              <a:ln>
                <a:noFill/>
              </a:ln>
              <a:solidFill>
                <a:srgbClr val="A100FF"/>
              </a:solidFill>
              <a:effectLst/>
              <a:uLnTx/>
              <a:uFillTx/>
              <a:latin typeface="Graphik Black"/>
              <a:ea typeface="+mn-ea"/>
              <a:cs typeface="+mn-cs"/>
            </a:endParaRPr>
          </a:p>
        </p:txBody>
      </p:sp>
      <p:sp>
        <p:nvSpPr>
          <p:cNvPr id="62" name="Text Placeholder 8" descr="Agenda Item 5">
            <a:extLst>
              <a:ext uri="{FF2B5EF4-FFF2-40B4-BE49-F238E27FC236}">
                <a16:creationId xmlns:a16="http://schemas.microsoft.com/office/drawing/2014/main" id="{52AC5BD7-0D60-4583-B5EC-5DC0CE4DB99F}"/>
              </a:ext>
            </a:extLst>
          </p:cNvPr>
          <p:cNvSpPr txBox="1">
            <a:spLocks/>
          </p:cNvSpPr>
          <p:nvPr/>
        </p:nvSpPr>
        <p:spPr>
          <a:xfrm>
            <a:off x="4901739" y="3835939"/>
            <a:ext cx="2953039" cy="4853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000000"/>
                </a:solidFill>
                <a:effectLst/>
                <a:uLnTx/>
                <a:uFillTx/>
                <a:latin typeface="Graphik"/>
                <a:ea typeface="+mn-ea"/>
                <a:cs typeface="+mn-cs"/>
              </a:rPr>
              <a:t>Enhancement Opportunities</a:t>
            </a:r>
            <a:endParaRPr kumimoji="0" lang="en-US" sz="1600" b="1" i="0" u="none" strike="noStrike" kern="1200" cap="none" spc="0" normalizeH="0" baseline="0" noProof="0">
              <a:ln>
                <a:noFill/>
              </a:ln>
              <a:solidFill>
                <a:srgbClr val="000000"/>
              </a:solidFill>
              <a:effectLst/>
              <a:uLnTx/>
              <a:uFillTx/>
              <a:latin typeface="Graphik"/>
              <a:ea typeface="+mn-ea"/>
              <a:cs typeface="+mn-cs"/>
            </a:endParaRPr>
          </a:p>
        </p:txBody>
      </p:sp>
      <p:cxnSp>
        <p:nvCxnSpPr>
          <p:cNvPr id="5" name="Straight Connector 4">
            <a:extLst>
              <a:ext uri="{FF2B5EF4-FFF2-40B4-BE49-F238E27FC236}">
                <a16:creationId xmlns:a16="http://schemas.microsoft.com/office/drawing/2014/main" id="{F40710FE-1EDC-4A60-A870-65DBF76442EC}"/>
              </a:ext>
            </a:extLst>
          </p:cNvPr>
          <p:cNvCxnSpPr/>
          <p:nvPr/>
        </p:nvCxnSpPr>
        <p:spPr>
          <a:xfrm>
            <a:off x="3982453" y="986589"/>
            <a:ext cx="0" cy="5269832"/>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 Placeholder 12" descr="No. 1">
            <a:extLst>
              <a:ext uri="{FF2B5EF4-FFF2-40B4-BE49-F238E27FC236}">
                <a16:creationId xmlns:a16="http://schemas.microsoft.com/office/drawing/2014/main" id="{8289A3F1-7938-4BDC-ACFD-E26B4B0AB5C5}"/>
              </a:ext>
            </a:extLst>
          </p:cNvPr>
          <p:cNvSpPr txBox="1">
            <a:spLocks/>
          </p:cNvSpPr>
          <p:nvPr/>
        </p:nvSpPr>
        <p:spPr>
          <a:xfrm>
            <a:off x="4361010" y="1416427"/>
            <a:ext cx="405128" cy="485340"/>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A100FF"/>
                </a:solidFill>
                <a:effectLst/>
                <a:uLnTx/>
                <a:uFillTx/>
                <a:latin typeface="Graphik Black"/>
                <a:ea typeface="+mn-ea"/>
                <a:cs typeface="+mn-cs"/>
              </a:rPr>
              <a:t>01</a:t>
            </a:r>
            <a:endParaRPr kumimoji="0" lang="en-US" sz="1800" b="1" i="0" u="none" strike="noStrike" kern="1200" cap="none" spc="0" normalizeH="0" baseline="0" noProof="0">
              <a:ln>
                <a:noFill/>
              </a:ln>
              <a:solidFill>
                <a:srgbClr val="A100FF"/>
              </a:solidFill>
              <a:effectLst/>
              <a:uLnTx/>
              <a:uFillTx/>
              <a:latin typeface="Graphik Black"/>
              <a:ea typeface="+mn-ea"/>
              <a:cs typeface="+mn-cs"/>
            </a:endParaRPr>
          </a:p>
        </p:txBody>
      </p:sp>
      <p:sp>
        <p:nvSpPr>
          <p:cNvPr id="64" name="Text Placeholder 4" descr="Agenda Item 1">
            <a:extLst>
              <a:ext uri="{FF2B5EF4-FFF2-40B4-BE49-F238E27FC236}">
                <a16:creationId xmlns:a16="http://schemas.microsoft.com/office/drawing/2014/main" id="{D8D6942C-C508-492A-92DA-E8F6E0F176C8}"/>
              </a:ext>
            </a:extLst>
          </p:cNvPr>
          <p:cNvSpPr txBox="1">
            <a:spLocks/>
          </p:cNvSpPr>
          <p:nvPr/>
        </p:nvSpPr>
        <p:spPr>
          <a:xfrm>
            <a:off x="4901739" y="1416427"/>
            <a:ext cx="2953039" cy="4853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800"/>
              </a:spcBef>
              <a:spcAft>
                <a:spcPts val="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000000"/>
                </a:solidFill>
                <a:effectLst/>
                <a:uLnTx/>
                <a:uFillTx/>
                <a:latin typeface="Graphik"/>
                <a:ea typeface="+mn-ea"/>
                <a:cs typeface="+mn-cs"/>
              </a:rPr>
              <a:t>UC Irvine Relationship</a:t>
            </a:r>
            <a:endParaRPr kumimoji="0" lang="en-US" sz="1600" b="1" i="0" u="none" strike="noStrike" kern="1200" cap="none" spc="0" normalizeH="0" baseline="0" noProof="0">
              <a:ln>
                <a:noFill/>
              </a:ln>
              <a:solidFill>
                <a:srgbClr val="000000"/>
              </a:solidFill>
              <a:effectLst/>
              <a:uLnTx/>
              <a:uFillTx/>
              <a:latin typeface="Graphik"/>
              <a:ea typeface="+mn-ea"/>
              <a:cs typeface="+mn-cs"/>
            </a:endParaRPr>
          </a:p>
        </p:txBody>
      </p:sp>
      <p:sp>
        <p:nvSpPr>
          <p:cNvPr id="2" name="Slide Number Placeholder 1">
            <a:extLst>
              <a:ext uri="{FF2B5EF4-FFF2-40B4-BE49-F238E27FC236}">
                <a16:creationId xmlns:a16="http://schemas.microsoft.com/office/drawing/2014/main" id="{33D90426-B9F2-B300-AB0D-1E621EE42DF3}"/>
              </a:ext>
            </a:extLst>
          </p:cNvPr>
          <p:cNvSpPr>
            <a:spLocks noGrp="1"/>
          </p:cNvSpPr>
          <p:nvPr>
            <p:ph type="sldNum" sz="quarter" idx="4"/>
          </p:nvPr>
        </p:nvSpPr>
        <p:spPr/>
        <p:txBody>
          <a:bodyPr/>
          <a:lstStyle/>
          <a:p>
            <a:fld id="{4F9AC08D-23A9-440E-BCB9-AA1E9877CC38}" type="slidenum">
              <a:rPr lang="en-US" smtClean="0"/>
              <a:pPr/>
              <a:t>2</a:t>
            </a:fld>
            <a:endParaRPr lang="en-US"/>
          </a:p>
        </p:txBody>
      </p:sp>
    </p:spTree>
    <p:extLst>
      <p:ext uri="{BB962C8B-B14F-4D97-AF65-F5344CB8AC3E}">
        <p14:creationId xmlns:p14="http://schemas.microsoft.com/office/powerpoint/2010/main" val="4675567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a:xfrm>
            <a:off x="281780" y="271793"/>
            <a:ext cx="10028239" cy="777600"/>
          </a:xfrm>
        </p:spPr>
        <p:txBody>
          <a:bodyPr/>
          <a:lstStyle/>
          <a:p>
            <a:r>
              <a:rPr lang="en-US"/>
              <a:t>How this matters for clients</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20</a:t>
            </a:fld>
            <a:endParaRPr lang="en-AU"/>
          </a:p>
        </p:txBody>
      </p:sp>
      <p:sp>
        <p:nvSpPr>
          <p:cNvPr id="7" name="Rectangle: Rounded Corners 6">
            <a:extLst>
              <a:ext uri="{FF2B5EF4-FFF2-40B4-BE49-F238E27FC236}">
                <a16:creationId xmlns:a16="http://schemas.microsoft.com/office/drawing/2014/main" id="{B6AA4EA8-6C50-45C9-899A-53DD238BE0A1}"/>
              </a:ext>
            </a:extLst>
          </p:cNvPr>
          <p:cNvSpPr/>
          <p:nvPr/>
        </p:nvSpPr>
        <p:spPr>
          <a:xfrm>
            <a:off x="1737756" y="1649597"/>
            <a:ext cx="8716488" cy="1977220"/>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a:solidFill>
                <a:schemeClr val="tx1"/>
              </a:solidFill>
            </a:endParaRPr>
          </a:p>
          <a:p>
            <a:pPr marL="285750" indent="-285750">
              <a:buFont typeface="Arial" panose="020B0604020202020204" pitchFamily="34" charset="0"/>
              <a:buChar char="•"/>
            </a:pPr>
            <a:endParaRPr lang="en-US">
              <a:solidFill>
                <a:schemeClr val="tx1"/>
              </a:solidFill>
            </a:endParaRPr>
          </a:p>
          <a:p>
            <a:pPr marL="285750" indent="-285750">
              <a:buFont typeface="Arial" panose="020B0604020202020204" pitchFamily="34" charset="0"/>
              <a:buChar char="•"/>
            </a:pPr>
            <a:r>
              <a:rPr lang="en-US">
                <a:solidFill>
                  <a:schemeClr val="tx1"/>
                </a:solidFill>
              </a:rPr>
              <a:t>Combines several different datasets both publicly and privately available that encompasses the many factors in a person’s life  </a:t>
            </a:r>
          </a:p>
          <a:p>
            <a:pPr marL="742950" lvl="1" indent="-285750">
              <a:buFont typeface="Arial" panose="020B0604020202020204" pitchFamily="34" charset="0"/>
              <a:buChar char="•"/>
            </a:pPr>
            <a:r>
              <a:rPr lang="en-US">
                <a:solidFill>
                  <a:schemeClr val="tx1"/>
                </a:solidFill>
              </a:rPr>
              <a:t>EX: geographical data, employment data, emissions data</a:t>
            </a:r>
          </a:p>
          <a:p>
            <a:pPr marL="285750" indent="-285750">
              <a:buFont typeface="Arial" panose="020B0604020202020204" pitchFamily="34" charset="0"/>
              <a:buChar char="•"/>
            </a:pPr>
            <a:r>
              <a:rPr lang="en-US">
                <a:solidFill>
                  <a:schemeClr val="tx1"/>
                </a:solidFill>
              </a:rPr>
              <a:t>Predicts several different health outcomes</a:t>
            </a:r>
          </a:p>
        </p:txBody>
      </p:sp>
      <p:sp>
        <p:nvSpPr>
          <p:cNvPr id="9" name="Rectangle: Rounded Corners 8">
            <a:extLst>
              <a:ext uri="{FF2B5EF4-FFF2-40B4-BE49-F238E27FC236}">
                <a16:creationId xmlns:a16="http://schemas.microsoft.com/office/drawing/2014/main" id="{6A9C9546-A544-42D2-AEEF-679763B1DC93}"/>
              </a:ext>
            </a:extLst>
          </p:cNvPr>
          <p:cNvSpPr/>
          <p:nvPr/>
        </p:nvSpPr>
        <p:spPr>
          <a:xfrm>
            <a:off x="1737756" y="1608875"/>
            <a:ext cx="8716489" cy="6894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evelop and deliver a comprehensive public health analytics solution</a:t>
            </a:r>
          </a:p>
        </p:txBody>
      </p:sp>
      <p:sp>
        <p:nvSpPr>
          <p:cNvPr id="12" name="TextBox 11">
            <a:extLst>
              <a:ext uri="{FF2B5EF4-FFF2-40B4-BE49-F238E27FC236}">
                <a16:creationId xmlns:a16="http://schemas.microsoft.com/office/drawing/2014/main" id="{872B4EE1-D3C6-49F8-9B3D-34770CA0DE0A}"/>
              </a:ext>
            </a:extLst>
          </p:cNvPr>
          <p:cNvSpPr txBox="1"/>
          <p:nvPr/>
        </p:nvSpPr>
        <p:spPr>
          <a:xfrm>
            <a:off x="328552" y="831275"/>
            <a:ext cx="10865922" cy="553998"/>
          </a:xfrm>
          <a:prstGeom prst="rect">
            <a:avLst/>
          </a:prstGeom>
          <a:noFill/>
        </p:spPr>
        <p:txBody>
          <a:bodyPr wrap="square" lIns="0" tIns="0" rIns="0" bIns="0" rtlCol="0">
            <a:spAutoFit/>
          </a:bodyPr>
          <a:lstStyle/>
          <a:p>
            <a:pPr algn="l"/>
            <a:r>
              <a:rPr lang="en-US"/>
              <a:t>This analysis shows how public health data can be compiled and analyzed to provide actionable insights for clients.</a:t>
            </a:r>
          </a:p>
        </p:txBody>
      </p:sp>
      <p:sp>
        <p:nvSpPr>
          <p:cNvPr id="14" name="Rectangle: Rounded Corners 13">
            <a:extLst>
              <a:ext uri="{FF2B5EF4-FFF2-40B4-BE49-F238E27FC236}">
                <a16:creationId xmlns:a16="http://schemas.microsoft.com/office/drawing/2014/main" id="{27B6F995-73A6-4C65-BE53-3909197B8655}"/>
              </a:ext>
            </a:extLst>
          </p:cNvPr>
          <p:cNvSpPr/>
          <p:nvPr/>
        </p:nvSpPr>
        <p:spPr>
          <a:xfrm>
            <a:off x="1737756" y="3943279"/>
            <a:ext cx="8716488" cy="2470909"/>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chemeClr val="tx1"/>
              </a:solidFill>
            </a:endParaRPr>
          </a:p>
          <a:p>
            <a:pPr marL="285750" indent="-285750">
              <a:buFont typeface="Arial" panose="020B0604020202020204" pitchFamily="34" charset="0"/>
              <a:buChar char="•"/>
            </a:pPr>
            <a:r>
              <a:rPr lang="en-US">
                <a:solidFill>
                  <a:schemeClr val="tx1"/>
                </a:solidFill>
              </a:rPr>
              <a:t>Enable clients to reach their strategic goals by approaching public health holistically and innovatively</a:t>
            </a:r>
          </a:p>
          <a:p>
            <a:pPr marL="285750" indent="-285750">
              <a:buFont typeface="Arial" panose="020B0604020202020204" pitchFamily="34" charset="0"/>
              <a:buChar char="•"/>
            </a:pPr>
            <a:r>
              <a:rPr lang="en-US">
                <a:solidFill>
                  <a:schemeClr val="tx1"/>
                </a:solidFill>
              </a:rPr>
              <a:t>Empower departments to better utilize their human resources to focus on specific areas</a:t>
            </a:r>
          </a:p>
          <a:p>
            <a:pPr marL="285750" indent="-285750">
              <a:buFont typeface="Arial" panose="020B0604020202020204" pitchFamily="34" charset="0"/>
              <a:buChar char="•"/>
            </a:pPr>
            <a:r>
              <a:rPr lang="en-US">
                <a:solidFill>
                  <a:schemeClr val="tx1"/>
                </a:solidFill>
              </a:rPr>
              <a:t>Public Services use case – use for city planning</a:t>
            </a:r>
          </a:p>
          <a:p>
            <a:pPr marL="285750" indent="-285750">
              <a:buFont typeface="Arial" panose="020B0604020202020204" pitchFamily="34" charset="0"/>
              <a:buChar char="•"/>
            </a:pPr>
            <a:r>
              <a:rPr lang="en-US">
                <a:solidFill>
                  <a:schemeClr val="tx1"/>
                </a:solidFill>
                <a:ea typeface="+mn-lt"/>
                <a:cs typeface="+mn-lt"/>
              </a:rPr>
              <a:t>Health use case – conduct different patient segmentation analyses to create new frameworks, strategies, and processes for patient care </a:t>
            </a:r>
            <a:endParaRPr lang="en-US">
              <a:solidFill>
                <a:schemeClr val="tx1"/>
              </a:solidFill>
            </a:endParaRPr>
          </a:p>
        </p:txBody>
      </p:sp>
      <p:sp>
        <p:nvSpPr>
          <p:cNvPr id="15" name="Rectangle: Rounded Corners 14">
            <a:extLst>
              <a:ext uri="{FF2B5EF4-FFF2-40B4-BE49-F238E27FC236}">
                <a16:creationId xmlns:a16="http://schemas.microsoft.com/office/drawing/2014/main" id="{82E2E084-FA0C-43A8-9B8D-07476138B4A2}"/>
              </a:ext>
            </a:extLst>
          </p:cNvPr>
          <p:cNvSpPr/>
          <p:nvPr/>
        </p:nvSpPr>
        <p:spPr>
          <a:xfrm>
            <a:off x="1737756" y="3775119"/>
            <a:ext cx="8716489" cy="55399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Value for clients</a:t>
            </a:r>
          </a:p>
        </p:txBody>
      </p:sp>
    </p:spTree>
    <p:extLst>
      <p:ext uri="{BB962C8B-B14F-4D97-AF65-F5344CB8AC3E}">
        <p14:creationId xmlns:p14="http://schemas.microsoft.com/office/powerpoint/2010/main" val="35594451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a:lstStyle/>
          <a:p>
            <a:r>
              <a:rPr lang="en-GB"/>
              <a:t>Copyright © 2022 Accenture. All rights reserved.</a:t>
            </a:r>
          </a:p>
        </p:txBody>
      </p:sp>
      <p:sp>
        <p:nvSpPr>
          <p:cNvPr id="3" name="Slide Number Placeholder 2">
            <a:extLst>
              <a:ext uri="{FF2B5EF4-FFF2-40B4-BE49-F238E27FC236}">
                <a16:creationId xmlns:a16="http://schemas.microsoft.com/office/drawing/2014/main" id="{304EEE27-A466-473E-8708-A9E787D2E72D}"/>
              </a:ext>
            </a:extLst>
          </p:cNvPr>
          <p:cNvSpPr>
            <a:spLocks noGrp="1"/>
          </p:cNvSpPr>
          <p:nvPr>
            <p:ph type="sldNum" sz="quarter" idx="4"/>
          </p:nvPr>
        </p:nvSpPr>
        <p:spPr/>
        <p:txBody>
          <a:bodyPr/>
          <a:lstStyle/>
          <a:p>
            <a:fld id="{4F9AC08D-23A9-440E-BCB9-AA1E9877CC38}" type="slidenum">
              <a:rPr lang="en-US" smtClean="0"/>
              <a:pPr/>
              <a:t>21</a:t>
            </a:fld>
            <a:endParaRPr lang="en-US"/>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441325" cy="707886"/>
          </a:xfrm>
          <a:prstGeom prst="rect">
            <a:avLst/>
          </a:prstGeom>
          <a:noFill/>
        </p:spPr>
        <p:txBody>
          <a:bodyPr wrap="square" rtlCol="0">
            <a:spAutoFit/>
          </a:bodyPr>
          <a:lstStyle/>
          <a:p>
            <a:r>
              <a:rPr lang="en-US" sz="4000" b="1">
                <a:solidFill>
                  <a:schemeClr val="bg1"/>
                </a:solidFill>
                <a:latin typeface="+mj-lt"/>
              </a:rPr>
              <a:t>APPENDIX</a:t>
            </a:r>
          </a:p>
        </p:txBody>
      </p:sp>
    </p:spTree>
    <p:extLst>
      <p:ext uri="{BB962C8B-B14F-4D97-AF65-F5344CB8AC3E}">
        <p14:creationId xmlns:p14="http://schemas.microsoft.com/office/powerpoint/2010/main" val="1031067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22</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Class Imbalance</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pic>
        <p:nvPicPr>
          <p:cNvPr id="3" name="Picture 5" descr="Chart, treemap chart&#10;&#10;Description automatically generated">
            <a:extLst>
              <a:ext uri="{FF2B5EF4-FFF2-40B4-BE49-F238E27FC236}">
                <a16:creationId xmlns:a16="http://schemas.microsoft.com/office/drawing/2014/main" id="{544AC272-3CE2-CED8-479A-B44783C188E1}"/>
              </a:ext>
            </a:extLst>
          </p:cNvPr>
          <p:cNvPicPr>
            <a:picLocks noChangeAspect="1"/>
          </p:cNvPicPr>
          <p:nvPr/>
        </p:nvPicPr>
        <p:blipFill rotWithShape="1">
          <a:blip r:embed="rId2"/>
          <a:srcRect l="12465" t="16792" r="12605" b="2757"/>
          <a:stretch/>
        </p:blipFill>
        <p:spPr>
          <a:xfrm>
            <a:off x="548244" y="2178822"/>
            <a:ext cx="5307764" cy="3176984"/>
          </a:xfrm>
          <a:prstGeom prst="rect">
            <a:avLst/>
          </a:prstGeom>
        </p:spPr>
      </p:pic>
      <p:sp>
        <p:nvSpPr>
          <p:cNvPr id="2" name="TextBox 1">
            <a:extLst>
              <a:ext uri="{FF2B5EF4-FFF2-40B4-BE49-F238E27FC236}">
                <a16:creationId xmlns:a16="http://schemas.microsoft.com/office/drawing/2014/main" id="{F01C2F6C-38D3-FD06-B2A3-21F7B1A1970A}"/>
              </a:ext>
            </a:extLst>
          </p:cNvPr>
          <p:cNvSpPr txBox="1"/>
          <p:nvPr/>
        </p:nvSpPr>
        <p:spPr>
          <a:xfrm>
            <a:off x="5941622" y="1834738"/>
            <a:ext cx="4682835" cy="470898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t>Ways to deal with Class Imbalance:</a:t>
            </a:r>
          </a:p>
          <a:p>
            <a:pPr marL="285750" indent="-285750">
              <a:buFont typeface="Arial"/>
              <a:buChar char="•"/>
            </a:pPr>
            <a:r>
              <a:rPr lang="en-US" b="1"/>
              <a:t>Cost-Sensitive Learning</a:t>
            </a:r>
          </a:p>
          <a:p>
            <a:pPr marL="742950" lvl="1" indent="-285750">
              <a:buFont typeface="Arial,Sans-Serif"/>
              <a:buChar char="•"/>
            </a:pPr>
            <a:r>
              <a:rPr lang="en-US">
                <a:ea typeface="+mn-lt"/>
                <a:cs typeface="+mn-lt"/>
              </a:rPr>
              <a:t>Takes the costs of prediction errors (and potentially other costs) into account when training a machine learning model.</a:t>
            </a:r>
          </a:p>
          <a:p>
            <a:pPr marL="742950" lvl="1" indent="-285750">
              <a:buFont typeface="Arial,Sans-Serif"/>
              <a:buChar char="•"/>
            </a:pPr>
            <a:r>
              <a:rPr lang="en-US">
                <a:ea typeface="+mn-lt"/>
                <a:cs typeface="+mn-lt"/>
              </a:rPr>
              <a:t>Assigns different costs to the type of misclassification errors.</a:t>
            </a:r>
            <a:endParaRPr lang="en-US"/>
          </a:p>
          <a:p>
            <a:pPr marL="285750" indent="-285750">
              <a:buFont typeface="Arial"/>
              <a:buChar char="•"/>
            </a:pPr>
            <a:r>
              <a:rPr lang="en-US" b="1"/>
              <a:t>Synthetic Minority Oversampling Technique</a:t>
            </a:r>
          </a:p>
          <a:p>
            <a:pPr marL="742950" lvl="1" indent="-285750">
              <a:buFont typeface="Arial"/>
              <a:buChar char="•"/>
            </a:pPr>
            <a:r>
              <a:rPr lang="en-US"/>
              <a:t>Oversampling method that selects a random sample in the minority class, finds its k nearest neighbors, randomly selects a neighbor, and then creates a synthetic example between the two examples. </a:t>
            </a:r>
          </a:p>
          <a:p>
            <a:pPr lvl="1"/>
            <a:endParaRPr lang="en-US"/>
          </a:p>
          <a:p>
            <a:pPr marL="742950" lvl="1" indent="-285750">
              <a:buFont typeface="Arial"/>
              <a:buChar char="•"/>
            </a:pPr>
            <a:endParaRPr lang="en-US"/>
          </a:p>
          <a:p>
            <a:pPr marL="742950" lvl="1" indent="-285750">
              <a:buFont typeface="Arial"/>
              <a:buChar char="•"/>
            </a:pPr>
            <a:endParaRPr lang="en-US"/>
          </a:p>
          <a:p>
            <a:pPr marL="742950" lvl="1" indent="-285750">
              <a:buFont typeface="Arial"/>
              <a:buChar char="•"/>
            </a:pPr>
            <a:endParaRPr lang="en-US"/>
          </a:p>
        </p:txBody>
      </p:sp>
    </p:spTree>
    <p:extLst>
      <p:ext uri="{BB962C8B-B14F-4D97-AF65-F5344CB8AC3E}">
        <p14:creationId xmlns:p14="http://schemas.microsoft.com/office/powerpoint/2010/main" val="2942800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D7CA5D-9651-DA29-DAC8-1F979EBC0BDE}"/>
              </a:ext>
            </a:extLst>
          </p:cNvPr>
          <p:cNvSpPr>
            <a:spLocks noGrp="1"/>
          </p:cNvSpPr>
          <p:nvPr>
            <p:ph type="title"/>
          </p:nvPr>
        </p:nvSpPr>
        <p:spPr/>
        <p:txBody>
          <a:bodyPr/>
          <a:lstStyle/>
          <a:p>
            <a:r>
              <a:rPr lang="en-US"/>
              <a:t>Feature Selection </a:t>
            </a:r>
          </a:p>
        </p:txBody>
      </p:sp>
      <p:sp>
        <p:nvSpPr>
          <p:cNvPr id="4" name="Footer Placeholder 3">
            <a:extLst>
              <a:ext uri="{FF2B5EF4-FFF2-40B4-BE49-F238E27FC236}">
                <a16:creationId xmlns:a16="http://schemas.microsoft.com/office/drawing/2014/main" id="{369EAA29-08DA-8A64-5351-21D3CA957240}"/>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D5814F93-AD1B-2018-D087-C48710F687C0}"/>
              </a:ext>
            </a:extLst>
          </p:cNvPr>
          <p:cNvSpPr>
            <a:spLocks noGrp="1"/>
          </p:cNvSpPr>
          <p:nvPr>
            <p:ph type="sldNum" sz="quarter" idx="38"/>
          </p:nvPr>
        </p:nvSpPr>
        <p:spPr/>
        <p:txBody>
          <a:bodyPr/>
          <a:lstStyle/>
          <a:p>
            <a:fld id="{FC1BBE33-A891-48E8-970C-4A8D55F96D53}" type="slidenum">
              <a:rPr lang="en-AU" smtClean="0"/>
              <a:pPr/>
              <a:t>23</a:t>
            </a:fld>
            <a:endParaRPr lang="en-AU"/>
          </a:p>
        </p:txBody>
      </p:sp>
      <p:sp>
        <p:nvSpPr>
          <p:cNvPr id="6" name="TextBox 5">
            <a:extLst>
              <a:ext uri="{FF2B5EF4-FFF2-40B4-BE49-F238E27FC236}">
                <a16:creationId xmlns:a16="http://schemas.microsoft.com/office/drawing/2014/main" id="{0C1CCB6E-D4E6-D34A-2EB8-6DDB29914029}"/>
              </a:ext>
            </a:extLst>
          </p:cNvPr>
          <p:cNvSpPr txBox="1"/>
          <p:nvPr/>
        </p:nvSpPr>
        <p:spPr>
          <a:xfrm>
            <a:off x="334851" y="1053922"/>
            <a:ext cx="11447171"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a:t>Used a Random Forest Classifier to get the important features for feature selection</a:t>
            </a:r>
          </a:p>
          <a:p>
            <a:pPr marL="742950" lvl="1" indent="-285750">
              <a:buFont typeface="Arial"/>
              <a:buChar char="•"/>
            </a:pPr>
            <a:r>
              <a:rPr lang="en-US">
                <a:ea typeface="+mn-lt"/>
                <a:cs typeface="+mn-lt"/>
              </a:rPr>
              <a:t>Number of features: 785 -&gt; 245</a:t>
            </a:r>
            <a:endParaRPr lang="en-US"/>
          </a:p>
          <a:p>
            <a:pPr marL="285750" indent="-285750">
              <a:buFont typeface="Arial"/>
              <a:buChar char="•"/>
            </a:pPr>
            <a:r>
              <a:rPr lang="en-US"/>
              <a:t>Some of the important features </a:t>
            </a:r>
          </a:p>
          <a:p>
            <a:pPr marL="742950" lvl="1" indent="-285750">
              <a:buFont typeface="Arial"/>
              <a:buChar char="•"/>
            </a:pPr>
            <a:r>
              <a:rPr lang="en-US"/>
              <a:t>AB99 - Doctor Ever Told Surveyed To Have Pre-Diabetes </a:t>
            </a:r>
          </a:p>
          <a:p>
            <a:pPr marL="742950" lvl="1" indent="-285750">
              <a:buFont typeface="Arial"/>
              <a:buChar char="•"/>
            </a:pPr>
            <a:r>
              <a:rPr lang="en-US"/>
              <a:t>BMI_P - Body Mass Index</a:t>
            </a:r>
          </a:p>
          <a:p>
            <a:pPr marL="742950" lvl="1" indent="-285750">
              <a:buFont typeface="Arial"/>
              <a:buChar char="•"/>
            </a:pPr>
            <a:r>
              <a:rPr lang="en-US"/>
              <a:t>WGHT_P – Weight (pounds)</a:t>
            </a:r>
          </a:p>
        </p:txBody>
      </p:sp>
    </p:spTree>
    <p:extLst>
      <p:ext uri="{BB962C8B-B14F-4D97-AF65-F5344CB8AC3E}">
        <p14:creationId xmlns:p14="http://schemas.microsoft.com/office/powerpoint/2010/main" val="1565003956"/>
      </p:ext>
    </p:extLst>
  </p:cSld>
  <p:clrMapOvr>
    <a:masterClrMapping/>
  </p:clrMapOvr>
  <p:extLst>
    <p:ext uri="{6950BFC3-D8DA-4A85-94F7-54DA5524770B}">
      <p188:commentRel xmlns:p188="http://schemas.microsoft.com/office/powerpoint/2018/8/main" r:id="rId2"/>
    </p:ext>
  </p:extLs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p:txBody>
          <a:bodyPr/>
          <a:lstStyle/>
          <a:p>
            <a:r>
              <a:rPr lang="en-US"/>
              <a:t>National </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24</a:t>
            </a:fld>
            <a:endParaRPr lang="en-AU"/>
          </a:p>
        </p:txBody>
      </p:sp>
      <p:sp>
        <p:nvSpPr>
          <p:cNvPr id="7" name="TextBox 6">
            <a:extLst>
              <a:ext uri="{FF2B5EF4-FFF2-40B4-BE49-F238E27FC236}">
                <a16:creationId xmlns:a16="http://schemas.microsoft.com/office/drawing/2014/main" id="{2CBC9EC8-4305-0E05-AFDA-4B4384D6D700}"/>
              </a:ext>
            </a:extLst>
          </p:cNvPr>
          <p:cNvSpPr txBox="1"/>
          <p:nvPr/>
        </p:nvSpPr>
        <p:spPr>
          <a:xfrm>
            <a:off x="334851" y="1096851"/>
            <a:ext cx="10878354" cy="221599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b="0" i="0">
                <a:effectLst/>
                <a:latin typeface="Arial" panose="020B0604020202020204" pitchFamily="34" charset="0"/>
              </a:rPr>
              <a:t>How can we continue this project?○Extend our findings to datasets that cover more </a:t>
            </a:r>
            <a:r>
              <a:rPr lang="en-US" b="0" i="0" err="1">
                <a:effectLst/>
                <a:latin typeface="Arial" panose="020B0604020202020204" pitchFamily="34" charset="0"/>
              </a:rPr>
              <a:t>regions○National</a:t>
            </a:r>
            <a:r>
              <a:rPr lang="en-US" b="0" i="0">
                <a:effectLst/>
                <a:latin typeface="Arial" panose="020B0604020202020204" pitchFamily="34" charset="0"/>
              </a:rPr>
              <a:t> Health Interview Survey (NHIS) dataset for nationwide coverage</a:t>
            </a:r>
            <a:endParaRPr lang="en-US"/>
          </a:p>
          <a:p>
            <a:pPr marL="285750" indent="-285750">
              <a:buFont typeface="Arial"/>
              <a:buChar char="•"/>
            </a:pPr>
            <a:endParaRPr lang="en-US"/>
          </a:p>
          <a:p>
            <a:pPr marL="285750" indent="-285750">
              <a:buFont typeface="Arial"/>
              <a:buChar char="•"/>
            </a:pPr>
            <a:r>
              <a:rPr lang="en-US"/>
              <a:t>How to bring this to clients:</a:t>
            </a:r>
          </a:p>
          <a:p>
            <a:pPr marL="742950" lvl="1" indent="-285750">
              <a:buFont typeface="Arial"/>
              <a:buChar char="•"/>
            </a:pPr>
            <a:r>
              <a:rPr lang="en-US"/>
              <a:t>Scale to be a comprehensive analytics solution that contains many datasets (not just health either – think census tracts, geographical data, employment data, emissions data – social determinants of health) and determines the risk for a variety of chronic diseases</a:t>
            </a:r>
          </a:p>
          <a:p>
            <a:pPr marL="742950" lvl="1" indent="-285750">
              <a:buFont typeface="Arial"/>
              <a:buChar char="•"/>
            </a:pPr>
            <a:r>
              <a:rPr lang="en-US"/>
              <a:t>Value for clients – </a:t>
            </a:r>
          </a:p>
        </p:txBody>
      </p:sp>
    </p:spTree>
    <p:extLst>
      <p:ext uri="{BB962C8B-B14F-4D97-AF65-F5344CB8AC3E}">
        <p14:creationId xmlns:p14="http://schemas.microsoft.com/office/powerpoint/2010/main" val="28789712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D7CA5D-9651-DA29-DAC8-1F979EBC0BDE}"/>
              </a:ext>
            </a:extLst>
          </p:cNvPr>
          <p:cNvSpPr>
            <a:spLocks noGrp="1"/>
          </p:cNvSpPr>
          <p:nvPr>
            <p:ph type="title"/>
          </p:nvPr>
        </p:nvSpPr>
        <p:spPr/>
        <p:txBody>
          <a:bodyPr/>
          <a:lstStyle/>
          <a:p>
            <a:r>
              <a:rPr lang="en-US"/>
              <a:t>Models</a:t>
            </a:r>
          </a:p>
        </p:txBody>
      </p:sp>
      <p:sp>
        <p:nvSpPr>
          <p:cNvPr id="4" name="Footer Placeholder 3">
            <a:extLst>
              <a:ext uri="{FF2B5EF4-FFF2-40B4-BE49-F238E27FC236}">
                <a16:creationId xmlns:a16="http://schemas.microsoft.com/office/drawing/2014/main" id="{369EAA29-08DA-8A64-5351-21D3CA957240}"/>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D5814F93-AD1B-2018-D087-C48710F687C0}"/>
              </a:ext>
            </a:extLst>
          </p:cNvPr>
          <p:cNvSpPr>
            <a:spLocks noGrp="1"/>
          </p:cNvSpPr>
          <p:nvPr>
            <p:ph type="sldNum" sz="quarter" idx="38"/>
          </p:nvPr>
        </p:nvSpPr>
        <p:spPr/>
        <p:txBody>
          <a:bodyPr/>
          <a:lstStyle/>
          <a:p>
            <a:fld id="{FC1BBE33-A891-48E8-970C-4A8D55F96D53}" type="slidenum">
              <a:rPr lang="en-AU" smtClean="0"/>
              <a:pPr/>
              <a:t>25</a:t>
            </a:fld>
            <a:endParaRPr lang="en-AU"/>
          </a:p>
        </p:txBody>
      </p:sp>
      <p:sp>
        <p:nvSpPr>
          <p:cNvPr id="6" name="TextBox 5">
            <a:extLst>
              <a:ext uri="{FF2B5EF4-FFF2-40B4-BE49-F238E27FC236}">
                <a16:creationId xmlns:a16="http://schemas.microsoft.com/office/drawing/2014/main" id="{0C1CCB6E-D4E6-D34A-2EB8-6DDB29914029}"/>
              </a:ext>
            </a:extLst>
          </p:cNvPr>
          <p:cNvSpPr txBox="1"/>
          <p:nvPr/>
        </p:nvSpPr>
        <p:spPr>
          <a:xfrm>
            <a:off x="334851" y="1053922"/>
            <a:ext cx="9729989" cy="38779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b="1"/>
              <a:t>K-Nearest Neighbors</a:t>
            </a:r>
          </a:p>
          <a:p>
            <a:pPr marL="742950" lvl="1" indent="-285750">
              <a:buFont typeface="Arial"/>
              <a:buChar char="•"/>
            </a:pPr>
            <a:r>
              <a:rPr lang="en-US"/>
              <a:t>Takes</a:t>
            </a:r>
            <a:r>
              <a:rPr lang="en-US">
                <a:ea typeface="+mn-lt"/>
                <a:cs typeface="+mn-lt"/>
              </a:rPr>
              <a:t> the k nearest neighbors of a data point and assigns the data point the same label based on majority rule and clusters the data points into k groups.</a:t>
            </a:r>
            <a:endParaRPr lang="en-US"/>
          </a:p>
          <a:p>
            <a:pPr marL="285750" indent="-285750">
              <a:buFont typeface="Arial"/>
              <a:buChar char="•"/>
            </a:pPr>
            <a:r>
              <a:rPr lang="en-US" b="1"/>
              <a:t>Stochastic Gradient Descent</a:t>
            </a:r>
          </a:p>
          <a:p>
            <a:pPr marL="742950" lvl="1" indent="-285750">
              <a:buFont typeface="Arial"/>
              <a:buChar char="•"/>
            </a:pPr>
            <a:r>
              <a:rPr lang="en-US"/>
              <a:t>Iterative algorithm that starts from a random point on a function and randomly picks one point at each iteration to travel down its slope until it reaches the lowest points of the function. </a:t>
            </a:r>
          </a:p>
          <a:p>
            <a:pPr marL="285750" indent="-285750">
              <a:buFont typeface="Arial"/>
              <a:buChar char="•"/>
            </a:pPr>
            <a:r>
              <a:rPr lang="en-US" b="1"/>
              <a:t>Decision Trees</a:t>
            </a:r>
          </a:p>
          <a:p>
            <a:pPr marL="742950" lvl="1" indent="-285750">
              <a:buFont typeface="Arial"/>
              <a:buChar char="•"/>
            </a:pPr>
            <a:r>
              <a:rPr lang="en-US"/>
              <a:t>Builds up a set of decision rules in the form of a tree which helps predict an outcome. </a:t>
            </a:r>
          </a:p>
          <a:p>
            <a:pPr marL="285750" indent="-285750">
              <a:buFont typeface="Arial"/>
              <a:buChar char="•"/>
            </a:pPr>
            <a:r>
              <a:rPr lang="en-US" b="1"/>
              <a:t>Random Forest</a:t>
            </a:r>
          </a:p>
          <a:p>
            <a:pPr marL="742950" lvl="1" indent="-285750">
              <a:buFont typeface="Arial"/>
              <a:buChar char="•"/>
            </a:pPr>
            <a:r>
              <a:rPr lang="en-US"/>
              <a:t>Consists of many decision trees and takes the prediction from each tree and selects the final prediction based on majority rule. </a:t>
            </a:r>
          </a:p>
          <a:p>
            <a:pPr marL="285750" indent="-285750">
              <a:buFont typeface="Arial"/>
              <a:buChar char="•"/>
            </a:pPr>
            <a:r>
              <a:rPr lang="en-US" b="1" err="1"/>
              <a:t>XGBoost</a:t>
            </a:r>
            <a:endParaRPr lang="en-US" b="1"/>
          </a:p>
          <a:p>
            <a:pPr marL="742950" lvl="1" indent="-285750">
              <a:buFont typeface="Arial"/>
              <a:buChar char="•"/>
            </a:pPr>
            <a:r>
              <a:rPr lang="en-US"/>
              <a:t>Algorithm that combines decision trees and gradient boosting.</a:t>
            </a:r>
          </a:p>
          <a:p>
            <a:pPr marL="742950" lvl="1" indent="-285750">
              <a:buFont typeface="Arial"/>
              <a:buChar char="•"/>
            </a:pPr>
            <a:r>
              <a:rPr lang="en-US"/>
              <a:t>Combines the predictions of numerous simple decision trees into one. </a:t>
            </a:r>
          </a:p>
        </p:txBody>
      </p:sp>
    </p:spTree>
    <p:extLst>
      <p:ext uri="{BB962C8B-B14F-4D97-AF65-F5344CB8AC3E}">
        <p14:creationId xmlns:p14="http://schemas.microsoft.com/office/powerpoint/2010/main" val="36717266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4B8EB7-1AFA-1B19-8B81-8A2832BD96CB}"/>
              </a:ext>
            </a:extLst>
          </p:cNvPr>
          <p:cNvSpPr>
            <a:spLocks noGrp="1"/>
          </p:cNvSpPr>
          <p:nvPr>
            <p:ph type="title"/>
          </p:nvPr>
        </p:nvSpPr>
        <p:spPr/>
        <p:txBody>
          <a:bodyPr/>
          <a:lstStyle/>
          <a:p>
            <a:r>
              <a:rPr lang="en-US"/>
              <a:t>Performance Metric Definitions</a:t>
            </a:r>
          </a:p>
        </p:txBody>
      </p:sp>
      <p:sp>
        <p:nvSpPr>
          <p:cNvPr id="4" name="Footer Placeholder 3">
            <a:extLst>
              <a:ext uri="{FF2B5EF4-FFF2-40B4-BE49-F238E27FC236}">
                <a16:creationId xmlns:a16="http://schemas.microsoft.com/office/drawing/2014/main" id="{461D6677-600E-7058-83A1-ACFC623E0B9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868ED1B-A5C6-93DC-EB98-EA2504E62803}"/>
              </a:ext>
            </a:extLst>
          </p:cNvPr>
          <p:cNvSpPr>
            <a:spLocks noGrp="1"/>
          </p:cNvSpPr>
          <p:nvPr>
            <p:ph type="sldNum" sz="quarter" idx="38"/>
          </p:nvPr>
        </p:nvSpPr>
        <p:spPr/>
        <p:txBody>
          <a:bodyPr/>
          <a:lstStyle/>
          <a:p>
            <a:fld id="{FC1BBE33-A891-48E8-970C-4A8D55F96D53}" type="slidenum">
              <a:rPr lang="en-AU" smtClean="0"/>
              <a:pPr/>
              <a:t>26</a:t>
            </a:fld>
            <a:endParaRPr lang="en-AU"/>
          </a:p>
        </p:txBody>
      </p:sp>
      <p:sp>
        <p:nvSpPr>
          <p:cNvPr id="8" name="TextBox 7">
            <a:extLst>
              <a:ext uri="{FF2B5EF4-FFF2-40B4-BE49-F238E27FC236}">
                <a16:creationId xmlns:a16="http://schemas.microsoft.com/office/drawing/2014/main" id="{900949E1-C6F7-6551-42DE-A4F24F56FC32}"/>
              </a:ext>
            </a:extLst>
          </p:cNvPr>
          <p:cNvSpPr txBox="1"/>
          <p:nvPr/>
        </p:nvSpPr>
        <p:spPr>
          <a:xfrm>
            <a:off x="334851" y="1053923"/>
            <a:ext cx="9987567" cy="541686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
              <a:buChar char="•"/>
            </a:pPr>
            <a:r>
              <a:rPr lang="en-US" sz="1600" b="1"/>
              <a:t>Accuracy</a:t>
            </a:r>
          </a:p>
          <a:p>
            <a:pPr marL="742950" lvl="1" indent="-285750">
              <a:buFont typeface="Arial"/>
              <a:buChar char="•"/>
            </a:pPr>
            <a:r>
              <a:rPr lang="en-US" sz="1600"/>
              <a:t>The proportion of respondents who have or don't have Type 2 diabetes and are correctly classified among the total number of cases examined. </a:t>
            </a:r>
          </a:p>
          <a:p>
            <a:pPr marL="285750" indent="-285750">
              <a:buFont typeface="Arial"/>
              <a:buChar char="•"/>
            </a:pPr>
            <a:r>
              <a:rPr lang="en-US" sz="1600" b="1"/>
              <a:t>Precision</a:t>
            </a:r>
          </a:p>
          <a:p>
            <a:pPr marL="742950" lvl="1" indent="-285750">
              <a:buFont typeface="Arial"/>
              <a:buChar char="•"/>
            </a:pPr>
            <a:r>
              <a:rPr lang="en-US" sz="1600"/>
              <a:t>The proportion of people who have Type 2 diabetes and are correctly classified among all respondents who are predicted to have Type 2 diabetes. </a:t>
            </a:r>
          </a:p>
          <a:p>
            <a:pPr marL="285750" indent="-285750">
              <a:buFont typeface="Arial"/>
              <a:buChar char="•"/>
            </a:pPr>
            <a:r>
              <a:rPr lang="en-US" sz="1600" b="1"/>
              <a:t>Recall</a:t>
            </a:r>
          </a:p>
          <a:p>
            <a:pPr marL="742950" lvl="1" indent="-285750">
              <a:buFont typeface="Arial"/>
              <a:buChar char="•"/>
            </a:pPr>
            <a:r>
              <a:rPr lang="en-US" sz="1600"/>
              <a:t>The proportion of respondents who have Type 2 diabetes and are correctly classified among those who have Type 2 diabetes. </a:t>
            </a:r>
          </a:p>
          <a:p>
            <a:pPr marL="285750" indent="-285750">
              <a:buFont typeface="Arial"/>
              <a:buChar char="•"/>
            </a:pPr>
            <a:r>
              <a:rPr lang="en-US" sz="1600" b="1"/>
              <a:t>F1 Score</a:t>
            </a:r>
          </a:p>
          <a:p>
            <a:pPr marL="742950" lvl="1" indent="-285750">
              <a:buFont typeface="Arial"/>
              <a:buChar char="•"/>
            </a:pPr>
            <a:r>
              <a:rPr lang="en-US" sz="1600"/>
              <a:t>The harmonic mean of precision and recall. The value is between 0 and 1 - the closer the score is to 1, the more accurate the model. </a:t>
            </a:r>
          </a:p>
          <a:p>
            <a:pPr marL="285750" indent="-285750">
              <a:buFont typeface="Arial"/>
              <a:buChar char="•"/>
            </a:pPr>
            <a:r>
              <a:rPr lang="en-US" sz="1600" b="1"/>
              <a:t>ROC AUC Score</a:t>
            </a:r>
          </a:p>
          <a:p>
            <a:pPr marL="742950" lvl="1" indent="-285750">
              <a:buFont typeface="Arial"/>
              <a:buChar char="•"/>
            </a:pPr>
            <a:r>
              <a:rPr lang="en-US" sz="1600"/>
              <a:t>The ROC curve plots the True Positive Rate against the False Positive Rate. The closer the curve is to the top left corner, the better the model is. </a:t>
            </a:r>
          </a:p>
          <a:p>
            <a:pPr marL="742950" lvl="1" indent="-285750">
              <a:buFont typeface="Arial"/>
              <a:buChar char="•"/>
            </a:pPr>
            <a:r>
              <a:rPr lang="en-US" sz="1600"/>
              <a:t>AUC stands for Area Under the Curve. The value is between 0 and 1 - the closer the score is to 1, the more accurate the model.  </a:t>
            </a:r>
          </a:p>
          <a:p>
            <a:pPr marL="285750" indent="-285750">
              <a:buFont typeface="Arial"/>
              <a:buChar char="•"/>
            </a:pPr>
            <a:r>
              <a:rPr lang="en-US" sz="1600" b="1"/>
              <a:t>Confusion Matrix</a:t>
            </a:r>
          </a:p>
          <a:p>
            <a:pPr marL="742950" lvl="1" indent="-285750">
              <a:buFont typeface="Arial"/>
              <a:buChar char="•"/>
            </a:pPr>
            <a:r>
              <a:rPr lang="en-US" sz="1600"/>
              <a:t>A table used to describe the performance of a classification model on a set of test data for which the true values are known. </a:t>
            </a:r>
          </a:p>
          <a:p>
            <a:pPr marL="285750" indent="-285750">
              <a:buFont typeface="Arial"/>
              <a:buChar char="•"/>
            </a:pPr>
            <a:r>
              <a:rPr lang="en-US" sz="1600" b="1"/>
              <a:t>Stratified K-Folds Cross-Validation </a:t>
            </a:r>
          </a:p>
          <a:p>
            <a:pPr marL="742950" lvl="1" indent="-285750">
              <a:buFont typeface="Arial"/>
              <a:buChar char="•"/>
            </a:pPr>
            <a:r>
              <a:rPr lang="en-US" sz="1600"/>
              <a:t>Splits the training data into k folds with each fold containing a representative ratio of each class. </a:t>
            </a:r>
          </a:p>
        </p:txBody>
      </p:sp>
    </p:spTree>
    <p:extLst>
      <p:ext uri="{BB962C8B-B14F-4D97-AF65-F5344CB8AC3E}">
        <p14:creationId xmlns:p14="http://schemas.microsoft.com/office/powerpoint/2010/main" val="161648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4B8EB7-1AFA-1B19-8B81-8A2832BD96CB}"/>
              </a:ext>
            </a:extLst>
          </p:cNvPr>
          <p:cNvSpPr>
            <a:spLocks noGrp="1"/>
          </p:cNvSpPr>
          <p:nvPr>
            <p:ph type="title"/>
          </p:nvPr>
        </p:nvSpPr>
        <p:spPr/>
        <p:txBody>
          <a:bodyPr/>
          <a:lstStyle/>
          <a:p>
            <a:r>
              <a:rPr lang="en-US"/>
              <a:t>Performance Metric Equations</a:t>
            </a:r>
          </a:p>
        </p:txBody>
      </p:sp>
      <p:sp>
        <p:nvSpPr>
          <p:cNvPr id="4" name="Footer Placeholder 3">
            <a:extLst>
              <a:ext uri="{FF2B5EF4-FFF2-40B4-BE49-F238E27FC236}">
                <a16:creationId xmlns:a16="http://schemas.microsoft.com/office/drawing/2014/main" id="{461D6677-600E-7058-83A1-ACFC623E0B9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868ED1B-A5C6-93DC-EB98-EA2504E62803}"/>
              </a:ext>
            </a:extLst>
          </p:cNvPr>
          <p:cNvSpPr>
            <a:spLocks noGrp="1"/>
          </p:cNvSpPr>
          <p:nvPr>
            <p:ph type="sldNum" sz="quarter" idx="38"/>
          </p:nvPr>
        </p:nvSpPr>
        <p:spPr/>
        <p:txBody>
          <a:bodyPr/>
          <a:lstStyle/>
          <a:p>
            <a:fld id="{FC1BBE33-A891-48E8-970C-4A8D55F96D53}" type="slidenum">
              <a:rPr lang="en-AU" smtClean="0"/>
              <a:pPr/>
              <a:t>27</a:t>
            </a:fld>
            <a:endParaRPr lang="en-AU"/>
          </a:p>
        </p:txBody>
      </p:sp>
      <p:sp>
        <p:nvSpPr>
          <p:cNvPr id="8" name="TextBox 7">
            <a:extLst>
              <a:ext uri="{FF2B5EF4-FFF2-40B4-BE49-F238E27FC236}">
                <a16:creationId xmlns:a16="http://schemas.microsoft.com/office/drawing/2014/main" id="{900949E1-C6F7-6551-42DE-A4F24F56FC32}"/>
              </a:ext>
            </a:extLst>
          </p:cNvPr>
          <p:cNvSpPr txBox="1"/>
          <p:nvPr/>
        </p:nvSpPr>
        <p:spPr>
          <a:xfrm>
            <a:off x="334851" y="1053923"/>
            <a:ext cx="9987567" cy="221599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gn="l">
              <a:buFont typeface="Arial"/>
              <a:buChar char="•"/>
            </a:pPr>
            <a:r>
              <a:rPr lang="en-US" sz="1600" b="1"/>
              <a:t>Accuracy</a:t>
            </a:r>
          </a:p>
          <a:p>
            <a:pPr marL="742950" lvl="1" indent="-285750">
              <a:buFont typeface="Arial"/>
              <a:buChar char="•"/>
            </a:pPr>
            <a:r>
              <a:rPr lang="en-US" sz="1600"/>
              <a:t>(TP + TN)/(TP + FP + FN + TN)</a:t>
            </a:r>
          </a:p>
          <a:p>
            <a:pPr marL="285750" indent="-285750">
              <a:buFont typeface="Arial"/>
              <a:buChar char="•"/>
            </a:pPr>
            <a:r>
              <a:rPr lang="en-US" sz="1600" b="1"/>
              <a:t>Precision</a:t>
            </a:r>
          </a:p>
          <a:p>
            <a:pPr marL="742950" lvl="1" indent="-285750">
              <a:buFont typeface="Arial"/>
              <a:buChar char="•"/>
            </a:pPr>
            <a:r>
              <a:rPr lang="en-US" sz="1600"/>
              <a:t>TP / (TP + FP)</a:t>
            </a:r>
          </a:p>
          <a:p>
            <a:pPr marL="285750" indent="-285750">
              <a:buFont typeface="Arial"/>
              <a:buChar char="•"/>
            </a:pPr>
            <a:r>
              <a:rPr lang="en-US" sz="1600" b="1"/>
              <a:t>Recall</a:t>
            </a:r>
          </a:p>
          <a:p>
            <a:pPr marL="742950" lvl="1" indent="-285750">
              <a:buFont typeface="Arial"/>
              <a:buChar char="•"/>
            </a:pPr>
            <a:r>
              <a:rPr lang="en-US" sz="1600"/>
              <a:t>TP / (TP + FN)</a:t>
            </a:r>
          </a:p>
          <a:p>
            <a:pPr marL="285750" indent="-285750">
              <a:buFont typeface="Arial"/>
              <a:buChar char="•"/>
            </a:pPr>
            <a:r>
              <a:rPr lang="en-US" sz="1600" b="1"/>
              <a:t>F1 Score</a:t>
            </a:r>
          </a:p>
          <a:p>
            <a:pPr marL="742950" lvl="1" indent="-285750">
              <a:buFont typeface="Arial"/>
              <a:buChar char="•"/>
            </a:pPr>
            <a:r>
              <a:rPr lang="en-US" sz="1600"/>
              <a:t>2 * ((Precision * Recall) / (Precision + Recall))</a:t>
            </a:r>
          </a:p>
          <a:p>
            <a:endParaRPr lang="en-US" sz="1600"/>
          </a:p>
        </p:txBody>
      </p:sp>
    </p:spTree>
    <p:extLst>
      <p:ext uri="{BB962C8B-B14F-4D97-AF65-F5344CB8AC3E}">
        <p14:creationId xmlns:p14="http://schemas.microsoft.com/office/powerpoint/2010/main" val="33706889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p:txBody>
          <a:bodyPr/>
          <a:lstStyle/>
          <a:p>
            <a:r>
              <a:rPr lang="en-US"/>
              <a:t>Confusion Matrix</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28</a:t>
            </a:fld>
            <a:endParaRPr lang="en-AU"/>
          </a:p>
        </p:txBody>
      </p:sp>
      <p:graphicFrame>
        <p:nvGraphicFramePr>
          <p:cNvPr id="6" name="Table 6">
            <a:extLst>
              <a:ext uri="{FF2B5EF4-FFF2-40B4-BE49-F238E27FC236}">
                <a16:creationId xmlns:a16="http://schemas.microsoft.com/office/drawing/2014/main" id="{657CA571-B37F-8192-6C31-7CC481BACE12}"/>
              </a:ext>
            </a:extLst>
          </p:cNvPr>
          <p:cNvGraphicFramePr>
            <a:graphicFrameLocks noGrp="1"/>
          </p:cNvGraphicFramePr>
          <p:nvPr/>
        </p:nvGraphicFramePr>
        <p:xfrm>
          <a:off x="2462440" y="2858122"/>
          <a:ext cx="8168640" cy="1651000"/>
        </p:xfrm>
        <a:graphic>
          <a:graphicData uri="http://schemas.openxmlformats.org/drawingml/2006/table">
            <a:tbl>
              <a:tblPr firstRow="1" bandRow="1">
                <a:tableStyleId>{9D7B26C5-4107-4FEC-AEDC-1716B250A1EF}</a:tableStyleId>
              </a:tblPr>
              <a:tblGrid>
                <a:gridCol w="2722880">
                  <a:extLst>
                    <a:ext uri="{9D8B030D-6E8A-4147-A177-3AD203B41FA5}">
                      <a16:colId xmlns:a16="http://schemas.microsoft.com/office/drawing/2014/main" val="366354396"/>
                    </a:ext>
                  </a:extLst>
                </a:gridCol>
                <a:gridCol w="2722880">
                  <a:extLst>
                    <a:ext uri="{9D8B030D-6E8A-4147-A177-3AD203B41FA5}">
                      <a16:colId xmlns:a16="http://schemas.microsoft.com/office/drawing/2014/main" val="3399295314"/>
                    </a:ext>
                  </a:extLst>
                </a:gridCol>
                <a:gridCol w="2722880">
                  <a:extLst>
                    <a:ext uri="{9D8B030D-6E8A-4147-A177-3AD203B41FA5}">
                      <a16:colId xmlns:a16="http://schemas.microsoft.com/office/drawing/2014/main" val="714487030"/>
                    </a:ext>
                  </a:extLst>
                </a:gridCol>
              </a:tblGrid>
              <a:tr h="370840">
                <a:tc>
                  <a:txBody>
                    <a:bodyPr/>
                    <a:lstStyle/>
                    <a:p>
                      <a:endParaRPr lang="en-US"/>
                    </a:p>
                  </a:txBody>
                  <a:tcPr/>
                </a:tc>
                <a:tc>
                  <a:txBody>
                    <a:bodyPr/>
                    <a:lstStyle/>
                    <a:p>
                      <a:r>
                        <a:rPr lang="en-US"/>
                        <a:t>Don't Have Type 2 Diabetes</a:t>
                      </a:r>
                    </a:p>
                  </a:txBody>
                  <a:tcPr/>
                </a:tc>
                <a:tc>
                  <a:txBody>
                    <a:bodyPr/>
                    <a:lstStyle/>
                    <a:p>
                      <a:r>
                        <a:rPr lang="en-US"/>
                        <a:t>Has Type 2 Diabetes</a:t>
                      </a:r>
                    </a:p>
                  </a:txBody>
                  <a:tcPr/>
                </a:tc>
                <a:extLst>
                  <a:ext uri="{0D108BD9-81ED-4DB2-BD59-A6C34878D82A}">
                    <a16:rowId xmlns:a16="http://schemas.microsoft.com/office/drawing/2014/main" val="732046293"/>
                  </a:ext>
                </a:extLst>
              </a:tr>
              <a:tr h="370840">
                <a:tc>
                  <a:txBody>
                    <a:bodyPr/>
                    <a:lstStyle/>
                    <a:p>
                      <a:r>
                        <a:rPr lang="en-US" b="1"/>
                        <a:t>Doesn't Have Type 2 Diabetes</a:t>
                      </a:r>
                    </a:p>
                  </a:txBody>
                  <a:tcPr/>
                </a:tc>
                <a:tc>
                  <a:txBody>
                    <a:bodyPr/>
                    <a:lstStyle/>
                    <a:p>
                      <a:r>
                        <a:rPr lang="en-US"/>
                        <a:t>True Negative (TN)</a:t>
                      </a:r>
                    </a:p>
                  </a:txBody>
                  <a:tcPr/>
                </a:tc>
                <a:tc>
                  <a:txBody>
                    <a:bodyPr/>
                    <a:lstStyle/>
                    <a:p>
                      <a:r>
                        <a:rPr lang="en-US"/>
                        <a:t>False Positive (FP)</a:t>
                      </a:r>
                    </a:p>
                  </a:txBody>
                  <a:tcPr/>
                </a:tc>
                <a:extLst>
                  <a:ext uri="{0D108BD9-81ED-4DB2-BD59-A6C34878D82A}">
                    <a16:rowId xmlns:a16="http://schemas.microsoft.com/office/drawing/2014/main" val="1673645844"/>
                  </a:ext>
                </a:extLst>
              </a:tr>
              <a:tr h="370840">
                <a:tc>
                  <a:txBody>
                    <a:bodyPr/>
                    <a:lstStyle/>
                    <a:p>
                      <a:r>
                        <a:rPr lang="en-US" b="1"/>
                        <a:t>Has Type 2 Diabetes</a:t>
                      </a:r>
                    </a:p>
                  </a:txBody>
                  <a:tcPr/>
                </a:tc>
                <a:tc>
                  <a:txBody>
                    <a:bodyPr/>
                    <a:lstStyle/>
                    <a:p>
                      <a:r>
                        <a:rPr lang="en-US"/>
                        <a:t>False Negative (FN)</a:t>
                      </a:r>
                    </a:p>
                  </a:txBody>
                  <a:tcPr/>
                </a:tc>
                <a:tc>
                  <a:txBody>
                    <a:bodyPr/>
                    <a:lstStyle/>
                    <a:p>
                      <a:r>
                        <a:rPr lang="en-US"/>
                        <a:t>True Positive (TP)</a:t>
                      </a:r>
                    </a:p>
                  </a:txBody>
                  <a:tcPr/>
                </a:tc>
                <a:extLst>
                  <a:ext uri="{0D108BD9-81ED-4DB2-BD59-A6C34878D82A}">
                    <a16:rowId xmlns:a16="http://schemas.microsoft.com/office/drawing/2014/main" val="3207712324"/>
                  </a:ext>
                </a:extLst>
              </a:tr>
            </a:tbl>
          </a:graphicData>
        </a:graphic>
      </p:graphicFrame>
      <p:sp>
        <p:nvSpPr>
          <p:cNvPr id="7" name="TextBox 6">
            <a:extLst>
              <a:ext uri="{FF2B5EF4-FFF2-40B4-BE49-F238E27FC236}">
                <a16:creationId xmlns:a16="http://schemas.microsoft.com/office/drawing/2014/main" id="{9060FF36-6BAD-5D89-B674-B30EB4B30C66}"/>
              </a:ext>
            </a:extLst>
          </p:cNvPr>
          <p:cNvSpPr txBox="1"/>
          <p:nvPr/>
        </p:nvSpPr>
        <p:spPr>
          <a:xfrm>
            <a:off x="7053330" y="190178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a:t>Predicted</a:t>
            </a:r>
          </a:p>
        </p:txBody>
      </p:sp>
      <p:sp>
        <p:nvSpPr>
          <p:cNvPr id="8" name="TextBox 7">
            <a:extLst>
              <a:ext uri="{FF2B5EF4-FFF2-40B4-BE49-F238E27FC236}">
                <a16:creationId xmlns:a16="http://schemas.microsoft.com/office/drawing/2014/main" id="{C49054DC-CC7E-6CEE-7FCC-E07C0A8AA17B}"/>
              </a:ext>
            </a:extLst>
          </p:cNvPr>
          <p:cNvSpPr txBox="1"/>
          <p:nvPr/>
        </p:nvSpPr>
        <p:spPr>
          <a:xfrm>
            <a:off x="595782" y="3933557"/>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a:t>Actual</a:t>
            </a:r>
          </a:p>
        </p:txBody>
      </p:sp>
    </p:spTree>
    <p:extLst>
      <p:ext uri="{BB962C8B-B14F-4D97-AF65-F5344CB8AC3E}">
        <p14:creationId xmlns:p14="http://schemas.microsoft.com/office/powerpoint/2010/main" val="41650114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p:txBody>
          <a:bodyPr/>
          <a:lstStyle/>
          <a:p>
            <a:r>
              <a:rPr lang="en-US"/>
              <a:t>ROC-AUC Curve of All Models  </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29</a:t>
            </a:fld>
            <a:endParaRPr lang="en-AU"/>
          </a:p>
        </p:txBody>
      </p:sp>
      <p:pic>
        <p:nvPicPr>
          <p:cNvPr id="6" name="Picture 6">
            <a:extLst>
              <a:ext uri="{FF2B5EF4-FFF2-40B4-BE49-F238E27FC236}">
                <a16:creationId xmlns:a16="http://schemas.microsoft.com/office/drawing/2014/main" id="{39714848-66B0-9CA9-1AEB-665AB95C04AA}"/>
              </a:ext>
            </a:extLst>
          </p:cNvPr>
          <p:cNvPicPr>
            <a:picLocks noChangeAspect="1"/>
          </p:cNvPicPr>
          <p:nvPr/>
        </p:nvPicPr>
        <p:blipFill rotWithShape="1">
          <a:blip r:embed="rId2"/>
          <a:srcRect l="8397" t="14479" r="8615" b="5212"/>
          <a:stretch/>
        </p:blipFill>
        <p:spPr>
          <a:xfrm>
            <a:off x="1150514" y="971167"/>
            <a:ext cx="9879154" cy="5398585"/>
          </a:xfrm>
          <a:prstGeom prst="rect">
            <a:avLst/>
          </a:prstGeom>
        </p:spPr>
      </p:pic>
    </p:spTree>
    <p:extLst>
      <p:ext uri="{BB962C8B-B14F-4D97-AF65-F5344CB8AC3E}">
        <p14:creationId xmlns:p14="http://schemas.microsoft.com/office/powerpoint/2010/main" val="1163780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lIns="91440" tIns="0" rIns="91440" bIns="0" anchor="b"/>
          <a:lstStyle/>
          <a:p>
            <a:r>
              <a:rPr lang="en-GB"/>
              <a:t>Copyright © 2022 Accenture. All rights reserved.</a:t>
            </a:r>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441325" cy="707886"/>
          </a:xfrm>
          <a:prstGeom prst="rect">
            <a:avLst/>
          </a:prstGeom>
          <a:noFill/>
        </p:spPr>
        <p:txBody>
          <a:bodyPr wrap="square" rtlCol="0">
            <a:spAutoFit/>
          </a:bodyPr>
          <a:lstStyle/>
          <a:p>
            <a:r>
              <a:rPr lang="en-US" sz="4000" b="1">
                <a:solidFill>
                  <a:schemeClr val="bg1"/>
                </a:solidFill>
                <a:latin typeface="+mj-lt"/>
              </a:rPr>
              <a:t>UC Irvine Relationship</a:t>
            </a:r>
          </a:p>
        </p:txBody>
      </p:sp>
      <p:sp>
        <p:nvSpPr>
          <p:cNvPr id="6" name="TextBox 5">
            <a:extLst>
              <a:ext uri="{FF2B5EF4-FFF2-40B4-BE49-F238E27FC236}">
                <a16:creationId xmlns:a16="http://schemas.microsoft.com/office/drawing/2014/main" id="{BE475FB9-AF91-4EC1-9F3A-802B09F24777}"/>
              </a:ext>
            </a:extLst>
          </p:cNvPr>
          <p:cNvSpPr txBox="1"/>
          <p:nvPr/>
        </p:nvSpPr>
        <p:spPr>
          <a:xfrm>
            <a:off x="1372475" y="3075057"/>
            <a:ext cx="1002862" cy="707886"/>
          </a:xfrm>
          <a:prstGeom prst="rect">
            <a:avLst/>
          </a:prstGeom>
          <a:noFill/>
        </p:spPr>
        <p:txBody>
          <a:bodyPr wrap="square" rtlCol="0">
            <a:spAutoFit/>
          </a:bodyPr>
          <a:lstStyle/>
          <a:p>
            <a:r>
              <a:rPr lang="en-US" sz="4000" b="1">
                <a:solidFill>
                  <a:schemeClr val="bg1">
                    <a:lumMod val="65000"/>
                  </a:schemeClr>
                </a:solidFill>
                <a:latin typeface="+mj-lt"/>
              </a:rPr>
              <a:t>01</a:t>
            </a:r>
          </a:p>
        </p:txBody>
      </p:sp>
      <p:sp>
        <p:nvSpPr>
          <p:cNvPr id="4" name="Slide Number Placeholder 3">
            <a:extLst>
              <a:ext uri="{FF2B5EF4-FFF2-40B4-BE49-F238E27FC236}">
                <a16:creationId xmlns:a16="http://schemas.microsoft.com/office/drawing/2014/main" id="{FCEC42EF-6752-C5DB-DE4A-9293364B65AA}"/>
              </a:ext>
            </a:extLst>
          </p:cNvPr>
          <p:cNvSpPr>
            <a:spLocks noGrp="1"/>
          </p:cNvSpPr>
          <p:nvPr>
            <p:ph type="sldNum" sz="quarter" idx="4"/>
          </p:nvPr>
        </p:nvSpPr>
        <p:spPr/>
        <p:txBody>
          <a:bodyPr/>
          <a:lstStyle/>
          <a:p>
            <a:fld id="{4F9AC08D-23A9-440E-BCB9-AA1E9877CC38}" type="slidenum">
              <a:rPr lang="en-US" smtClean="0"/>
              <a:pPr/>
              <a:t>3</a:t>
            </a:fld>
            <a:endParaRPr lang="en-US"/>
          </a:p>
        </p:txBody>
      </p:sp>
    </p:spTree>
    <p:extLst>
      <p:ext uri="{BB962C8B-B14F-4D97-AF65-F5344CB8AC3E}">
        <p14:creationId xmlns:p14="http://schemas.microsoft.com/office/powerpoint/2010/main" val="3412135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p:txBody>
          <a:bodyPr/>
          <a:lstStyle/>
          <a:p>
            <a:r>
              <a:rPr lang="en-US"/>
              <a:t>Results Without Cross-Validation</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30</a:t>
            </a:fld>
            <a:endParaRPr lang="en-AU"/>
          </a:p>
        </p:txBody>
      </p:sp>
      <p:graphicFrame>
        <p:nvGraphicFramePr>
          <p:cNvPr id="6" name="Table 6">
            <a:extLst>
              <a:ext uri="{FF2B5EF4-FFF2-40B4-BE49-F238E27FC236}">
                <a16:creationId xmlns:a16="http://schemas.microsoft.com/office/drawing/2014/main" id="{FAFF449A-A5AF-11DE-A0F1-44D97B828997}"/>
              </a:ext>
            </a:extLst>
          </p:cNvPr>
          <p:cNvGraphicFramePr>
            <a:graphicFrameLocks noGrp="1"/>
          </p:cNvGraphicFramePr>
          <p:nvPr/>
        </p:nvGraphicFramePr>
        <p:xfrm>
          <a:off x="397098" y="847859"/>
          <a:ext cx="11463519" cy="4764702"/>
        </p:xfrm>
        <a:graphic>
          <a:graphicData uri="http://schemas.openxmlformats.org/drawingml/2006/table">
            <a:tbl>
              <a:tblPr firstRow="1" bandRow="1">
                <a:tableStyleId>{9D7B26C5-4107-4FEC-AEDC-1716B250A1EF}</a:tableStyleId>
              </a:tblPr>
              <a:tblGrid>
                <a:gridCol w="4196366">
                  <a:extLst>
                    <a:ext uri="{9D8B030D-6E8A-4147-A177-3AD203B41FA5}">
                      <a16:colId xmlns:a16="http://schemas.microsoft.com/office/drawing/2014/main" val="99472693"/>
                    </a:ext>
                  </a:extLst>
                </a:gridCol>
                <a:gridCol w="3445979">
                  <a:extLst>
                    <a:ext uri="{9D8B030D-6E8A-4147-A177-3AD203B41FA5}">
                      <a16:colId xmlns:a16="http://schemas.microsoft.com/office/drawing/2014/main" val="2559333890"/>
                    </a:ext>
                  </a:extLst>
                </a:gridCol>
                <a:gridCol w="3821174">
                  <a:extLst>
                    <a:ext uri="{9D8B030D-6E8A-4147-A177-3AD203B41FA5}">
                      <a16:colId xmlns:a16="http://schemas.microsoft.com/office/drawing/2014/main" val="4282529256"/>
                    </a:ext>
                  </a:extLst>
                </a:gridCol>
              </a:tblGrid>
              <a:tr h="471753">
                <a:tc>
                  <a:txBody>
                    <a:bodyPr/>
                    <a:lstStyle/>
                    <a:p>
                      <a:r>
                        <a:rPr lang="en-US" sz="1200"/>
                        <a:t>Model</a:t>
                      </a:r>
                    </a:p>
                  </a:txBody>
                  <a:tcPr/>
                </a:tc>
                <a:tc>
                  <a:txBody>
                    <a:bodyPr/>
                    <a:lstStyle/>
                    <a:p>
                      <a:r>
                        <a:rPr lang="en-US" sz="1200"/>
                        <a:t>F1 Score</a:t>
                      </a:r>
                    </a:p>
                  </a:txBody>
                  <a:tcPr/>
                </a:tc>
                <a:tc>
                  <a:txBody>
                    <a:bodyPr/>
                    <a:lstStyle/>
                    <a:p>
                      <a:r>
                        <a:rPr lang="en-US" sz="1200"/>
                        <a:t>ROC AUC Score</a:t>
                      </a:r>
                    </a:p>
                  </a:txBody>
                  <a:tcPr/>
                </a:tc>
                <a:extLst>
                  <a:ext uri="{0D108BD9-81ED-4DB2-BD59-A6C34878D82A}">
                    <a16:rowId xmlns:a16="http://schemas.microsoft.com/office/drawing/2014/main" val="1335271996"/>
                  </a:ext>
                </a:extLst>
              </a:tr>
              <a:tr h="300507">
                <a:tc>
                  <a:txBody>
                    <a:bodyPr/>
                    <a:lstStyle/>
                    <a:p>
                      <a:r>
                        <a:rPr lang="en-US" sz="1200"/>
                        <a:t>KNN</a:t>
                      </a:r>
                    </a:p>
                  </a:txBody>
                  <a:tcPr/>
                </a:tc>
                <a:tc>
                  <a:txBody>
                    <a:bodyPr/>
                    <a:lstStyle/>
                    <a:p>
                      <a:r>
                        <a:rPr lang="en-US" sz="1200"/>
                        <a:t>0.1075</a:t>
                      </a:r>
                    </a:p>
                  </a:txBody>
                  <a:tcPr/>
                </a:tc>
                <a:tc>
                  <a:txBody>
                    <a:bodyPr/>
                    <a:lstStyle/>
                    <a:p>
                      <a:r>
                        <a:rPr lang="en-US" sz="1200"/>
                        <a:t>0.6075</a:t>
                      </a:r>
                    </a:p>
                  </a:txBody>
                  <a:tcPr/>
                </a:tc>
                <a:extLst>
                  <a:ext uri="{0D108BD9-81ED-4DB2-BD59-A6C34878D82A}">
                    <a16:rowId xmlns:a16="http://schemas.microsoft.com/office/drawing/2014/main" val="2865543359"/>
                  </a:ext>
                </a:extLst>
              </a:tr>
              <a:tr h="289774">
                <a:tc>
                  <a:txBody>
                    <a:bodyPr/>
                    <a:lstStyle/>
                    <a:p>
                      <a:r>
                        <a:rPr lang="en-US" sz="1200"/>
                        <a:t>KNN (SMOTE)</a:t>
                      </a:r>
                    </a:p>
                  </a:txBody>
                  <a:tcPr/>
                </a:tc>
                <a:tc>
                  <a:txBody>
                    <a:bodyPr/>
                    <a:lstStyle/>
                    <a:p>
                      <a:r>
                        <a:rPr lang="en-US" sz="1200"/>
                        <a:t>0.2437</a:t>
                      </a:r>
                    </a:p>
                  </a:txBody>
                  <a:tcPr/>
                </a:tc>
                <a:tc>
                  <a:txBody>
                    <a:bodyPr/>
                    <a:lstStyle/>
                    <a:p>
                      <a:r>
                        <a:rPr lang="en-US" sz="1200"/>
                        <a:t>0.6244</a:t>
                      </a:r>
                    </a:p>
                  </a:txBody>
                  <a:tcPr/>
                </a:tc>
                <a:extLst>
                  <a:ext uri="{0D108BD9-81ED-4DB2-BD59-A6C34878D82A}">
                    <a16:rowId xmlns:a16="http://schemas.microsoft.com/office/drawing/2014/main" val="2846909520"/>
                  </a:ext>
                </a:extLst>
              </a:tr>
              <a:tr h="300507">
                <a:tc>
                  <a:txBody>
                    <a:bodyPr/>
                    <a:lstStyle/>
                    <a:p>
                      <a:r>
                        <a:rPr lang="en-US" sz="1200"/>
                        <a:t>Stochastic Gradient Descent</a:t>
                      </a:r>
                    </a:p>
                  </a:txBody>
                  <a:tcPr/>
                </a:tc>
                <a:tc>
                  <a:txBody>
                    <a:bodyPr/>
                    <a:lstStyle/>
                    <a:p>
                      <a:r>
                        <a:rPr lang="en-US" sz="1200"/>
                        <a:t>0.2370</a:t>
                      </a:r>
                    </a:p>
                  </a:txBody>
                  <a:tcPr/>
                </a:tc>
                <a:tc>
                  <a:txBody>
                    <a:bodyPr/>
                    <a:lstStyle/>
                    <a:p>
                      <a:r>
                        <a:rPr lang="en-US" sz="1200"/>
                        <a:t>0.6592</a:t>
                      </a:r>
                    </a:p>
                  </a:txBody>
                  <a:tcPr/>
                </a:tc>
                <a:extLst>
                  <a:ext uri="{0D108BD9-81ED-4DB2-BD59-A6C34878D82A}">
                    <a16:rowId xmlns:a16="http://schemas.microsoft.com/office/drawing/2014/main" val="2945671814"/>
                  </a:ext>
                </a:extLst>
              </a:tr>
              <a:tr h="289774">
                <a:tc>
                  <a:txBody>
                    <a:bodyPr/>
                    <a:lstStyle/>
                    <a:p>
                      <a:r>
                        <a:rPr lang="en-US" sz="1200"/>
                        <a:t>Stochastic Gradient Descent (Cost-Sensitive Learning) </a:t>
                      </a:r>
                    </a:p>
                  </a:txBody>
                  <a:tcPr/>
                </a:tc>
                <a:tc>
                  <a:txBody>
                    <a:bodyPr/>
                    <a:lstStyle/>
                    <a:p>
                      <a:r>
                        <a:rPr lang="en-US" sz="1200"/>
                        <a:t>0.1083</a:t>
                      </a:r>
                    </a:p>
                  </a:txBody>
                  <a:tcPr/>
                </a:tc>
                <a:tc>
                  <a:txBody>
                    <a:bodyPr/>
                    <a:lstStyle/>
                    <a:p>
                      <a:r>
                        <a:rPr lang="en-US" sz="1200"/>
                        <a:t>0.6196</a:t>
                      </a:r>
                    </a:p>
                  </a:txBody>
                  <a:tcPr/>
                </a:tc>
                <a:extLst>
                  <a:ext uri="{0D108BD9-81ED-4DB2-BD59-A6C34878D82A}">
                    <a16:rowId xmlns:a16="http://schemas.microsoft.com/office/drawing/2014/main" val="3841835265"/>
                  </a:ext>
                </a:extLst>
              </a:tr>
              <a:tr h="300507">
                <a:tc>
                  <a:txBody>
                    <a:bodyPr/>
                    <a:lstStyle/>
                    <a:p>
                      <a:r>
                        <a:rPr lang="en-US" sz="1200"/>
                        <a:t>Stochastic Gradient Descent (SMOTE)</a:t>
                      </a:r>
                    </a:p>
                  </a:txBody>
                  <a:tcPr/>
                </a:tc>
                <a:tc>
                  <a:txBody>
                    <a:bodyPr/>
                    <a:lstStyle/>
                    <a:p>
                      <a:r>
                        <a:rPr lang="en-US" sz="1200"/>
                        <a:t>0.2624</a:t>
                      </a:r>
                    </a:p>
                  </a:txBody>
                  <a:tcPr/>
                </a:tc>
                <a:tc>
                  <a:txBody>
                    <a:bodyPr/>
                    <a:lstStyle/>
                    <a:p>
                      <a:r>
                        <a:rPr lang="en-US" sz="1200"/>
                        <a:t>0.5857</a:t>
                      </a:r>
                    </a:p>
                  </a:txBody>
                  <a:tcPr/>
                </a:tc>
                <a:extLst>
                  <a:ext uri="{0D108BD9-81ED-4DB2-BD59-A6C34878D82A}">
                    <a16:rowId xmlns:a16="http://schemas.microsoft.com/office/drawing/2014/main" val="451403584"/>
                  </a:ext>
                </a:extLst>
              </a:tr>
              <a:tr h="279042">
                <a:tc>
                  <a:txBody>
                    <a:bodyPr/>
                    <a:lstStyle/>
                    <a:p>
                      <a:r>
                        <a:rPr lang="en-US" sz="1200"/>
                        <a:t>Decision Trees</a:t>
                      </a:r>
                    </a:p>
                  </a:txBody>
                  <a:tcPr/>
                </a:tc>
                <a:tc>
                  <a:txBody>
                    <a:bodyPr/>
                    <a:lstStyle/>
                    <a:p>
                      <a:r>
                        <a:rPr lang="en-US" sz="1200"/>
                        <a:t>0.3095</a:t>
                      </a:r>
                    </a:p>
                  </a:txBody>
                  <a:tcPr/>
                </a:tc>
                <a:tc>
                  <a:txBody>
                    <a:bodyPr/>
                    <a:lstStyle/>
                    <a:p>
                      <a:r>
                        <a:rPr lang="en-US" sz="1200"/>
                        <a:t>0.6176</a:t>
                      </a:r>
                    </a:p>
                  </a:txBody>
                  <a:tcPr/>
                </a:tc>
                <a:extLst>
                  <a:ext uri="{0D108BD9-81ED-4DB2-BD59-A6C34878D82A}">
                    <a16:rowId xmlns:a16="http://schemas.microsoft.com/office/drawing/2014/main" val="2968455385"/>
                  </a:ext>
                </a:extLst>
              </a:tr>
              <a:tr h="279042">
                <a:tc>
                  <a:txBody>
                    <a:bodyPr/>
                    <a:lstStyle/>
                    <a:p>
                      <a:pPr lvl="0">
                        <a:buNone/>
                      </a:pPr>
                      <a:r>
                        <a:rPr lang="en-US" sz="1200"/>
                        <a:t>Decision Trees (Cost-Sensitive Learning)</a:t>
                      </a:r>
                    </a:p>
                  </a:txBody>
                  <a:tcPr/>
                </a:tc>
                <a:tc>
                  <a:txBody>
                    <a:bodyPr/>
                    <a:lstStyle/>
                    <a:p>
                      <a:pPr lvl="0">
                        <a:buNone/>
                      </a:pPr>
                      <a:r>
                        <a:rPr lang="en-US" sz="1200"/>
                        <a:t>0.3031</a:t>
                      </a:r>
                    </a:p>
                  </a:txBody>
                  <a:tcPr/>
                </a:tc>
                <a:tc>
                  <a:txBody>
                    <a:bodyPr/>
                    <a:lstStyle/>
                    <a:p>
                      <a:pPr lvl="0">
                        <a:buNone/>
                      </a:pPr>
                      <a:r>
                        <a:rPr lang="en-US" sz="1200"/>
                        <a:t>0.6117</a:t>
                      </a:r>
                    </a:p>
                  </a:txBody>
                  <a:tcPr/>
                </a:tc>
                <a:extLst>
                  <a:ext uri="{0D108BD9-81ED-4DB2-BD59-A6C34878D82A}">
                    <a16:rowId xmlns:a16="http://schemas.microsoft.com/office/drawing/2014/main" val="2944422997"/>
                  </a:ext>
                </a:extLst>
              </a:tr>
              <a:tr h="375633">
                <a:tc>
                  <a:txBody>
                    <a:bodyPr/>
                    <a:lstStyle/>
                    <a:p>
                      <a:pPr lvl="0">
                        <a:buNone/>
                      </a:pPr>
                      <a:r>
                        <a:rPr lang="en-US" sz="1200"/>
                        <a:t>Decision Trees (SMOTE)</a:t>
                      </a:r>
                    </a:p>
                  </a:txBody>
                  <a:tcPr/>
                </a:tc>
                <a:tc>
                  <a:txBody>
                    <a:bodyPr/>
                    <a:lstStyle/>
                    <a:p>
                      <a:pPr lvl="0">
                        <a:buNone/>
                      </a:pPr>
                      <a:r>
                        <a:rPr lang="en-US" sz="1200"/>
                        <a:t>0.3074</a:t>
                      </a:r>
                    </a:p>
                  </a:txBody>
                  <a:tcPr/>
                </a:tc>
                <a:tc>
                  <a:txBody>
                    <a:bodyPr/>
                    <a:lstStyle/>
                    <a:p>
                      <a:pPr lvl="0">
                        <a:buNone/>
                      </a:pPr>
                      <a:r>
                        <a:rPr lang="en-US" sz="1200"/>
                        <a:t>0.6171</a:t>
                      </a:r>
                    </a:p>
                  </a:txBody>
                  <a:tcPr/>
                </a:tc>
                <a:extLst>
                  <a:ext uri="{0D108BD9-81ED-4DB2-BD59-A6C34878D82A}">
                    <a16:rowId xmlns:a16="http://schemas.microsoft.com/office/drawing/2014/main" val="2307139412"/>
                  </a:ext>
                </a:extLst>
              </a:tr>
              <a:tr h="375633">
                <a:tc>
                  <a:txBody>
                    <a:bodyPr/>
                    <a:lstStyle/>
                    <a:p>
                      <a:pPr lvl="0">
                        <a:buNone/>
                      </a:pPr>
                      <a:r>
                        <a:rPr lang="en-US" sz="1200"/>
                        <a:t>Random Forest</a:t>
                      </a:r>
                      <a:endParaRPr lang="en-US"/>
                    </a:p>
                  </a:txBody>
                  <a:tcPr/>
                </a:tc>
                <a:tc>
                  <a:txBody>
                    <a:bodyPr/>
                    <a:lstStyle/>
                    <a:p>
                      <a:pPr lvl="0">
                        <a:buNone/>
                      </a:pPr>
                      <a:r>
                        <a:rPr lang="en-US" sz="1200"/>
                        <a:t>0.0952</a:t>
                      </a:r>
                    </a:p>
                  </a:txBody>
                  <a:tcPr/>
                </a:tc>
                <a:tc>
                  <a:txBody>
                    <a:bodyPr/>
                    <a:lstStyle/>
                    <a:p>
                      <a:pPr lvl="0">
                        <a:buNone/>
                      </a:pPr>
                      <a:r>
                        <a:rPr lang="en-US" sz="1200"/>
                        <a:t>0.8556</a:t>
                      </a:r>
                    </a:p>
                  </a:txBody>
                  <a:tcPr/>
                </a:tc>
                <a:extLst>
                  <a:ext uri="{0D108BD9-81ED-4DB2-BD59-A6C34878D82A}">
                    <a16:rowId xmlns:a16="http://schemas.microsoft.com/office/drawing/2014/main" val="1163339941"/>
                  </a:ext>
                </a:extLst>
              </a:tr>
              <a:tr h="375633">
                <a:tc>
                  <a:txBody>
                    <a:bodyPr/>
                    <a:lstStyle/>
                    <a:p>
                      <a:pPr lvl="0">
                        <a:buNone/>
                      </a:pPr>
                      <a:r>
                        <a:rPr lang="en-US" sz="1200"/>
                        <a:t>Random Forest (Cost-Sensitive Learning)</a:t>
                      </a:r>
                      <a:endParaRPr lang="en-US"/>
                    </a:p>
                  </a:txBody>
                  <a:tcPr/>
                </a:tc>
                <a:tc>
                  <a:txBody>
                    <a:bodyPr/>
                    <a:lstStyle/>
                    <a:p>
                      <a:pPr lvl="0">
                        <a:buNone/>
                      </a:pPr>
                      <a:r>
                        <a:rPr lang="en-US" sz="1200"/>
                        <a:t>0.0913</a:t>
                      </a:r>
                    </a:p>
                  </a:txBody>
                  <a:tcPr/>
                </a:tc>
                <a:tc>
                  <a:txBody>
                    <a:bodyPr/>
                    <a:lstStyle/>
                    <a:p>
                      <a:pPr lvl="0">
                        <a:buNone/>
                      </a:pPr>
                      <a:r>
                        <a:rPr lang="en-US" sz="1200"/>
                        <a:t>0.8597</a:t>
                      </a:r>
                    </a:p>
                  </a:txBody>
                  <a:tcPr/>
                </a:tc>
                <a:extLst>
                  <a:ext uri="{0D108BD9-81ED-4DB2-BD59-A6C34878D82A}">
                    <a16:rowId xmlns:a16="http://schemas.microsoft.com/office/drawing/2014/main" val="346701065"/>
                  </a:ext>
                </a:extLst>
              </a:tr>
              <a:tr h="375633">
                <a:tc>
                  <a:txBody>
                    <a:bodyPr/>
                    <a:lstStyle/>
                    <a:p>
                      <a:r>
                        <a:rPr lang="en-US" sz="1200"/>
                        <a:t>Random Forest (SMOTE)</a:t>
                      </a:r>
                      <a:endParaRPr lang="en-US"/>
                    </a:p>
                  </a:txBody>
                  <a:tcPr/>
                </a:tc>
                <a:tc>
                  <a:txBody>
                    <a:bodyPr/>
                    <a:lstStyle/>
                    <a:p>
                      <a:r>
                        <a:rPr lang="en-US" sz="1200"/>
                        <a:t>0.1481</a:t>
                      </a:r>
                    </a:p>
                  </a:txBody>
                  <a:tcPr/>
                </a:tc>
                <a:tc>
                  <a:txBody>
                    <a:bodyPr/>
                    <a:lstStyle/>
                    <a:p>
                      <a:r>
                        <a:rPr lang="en-US" sz="1200"/>
                        <a:t>0.8554</a:t>
                      </a:r>
                    </a:p>
                  </a:txBody>
                  <a:tcPr/>
                </a:tc>
                <a:extLst>
                  <a:ext uri="{0D108BD9-81ED-4DB2-BD59-A6C34878D82A}">
                    <a16:rowId xmlns:a16="http://schemas.microsoft.com/office/drawing/2014/main" val="776797622"/>
                  </a:ext>
                </a:extLst>
              </a:tr>
              <a:tr h="375632">
                <a:tc>
                  <a:txBody>
                    <a:bodyPr/>
                    <a:lstStyle/>
                    <a:p>
                      <a:pPr lvl="0">
                        <a:buNone/>
                      </a:pPr>
                      <a:r>
                        <a:rPr lang="en-US" sz="1200" err="1"/>
                        <a:t>XGBoost</a:t>
                      </a:r>
                    </a:p>
                  </a:txBody>
                  <a:tcPr/>
                </a:tc>
                <a:tc>
                  <a:txBody>
                    <a:bodyPr/>
                    <a:lstStyle/>
                    <a:p>
                      <a:pPr lvl="0">
                        <a:buNone/>
                      </a:pPr>
                      <a:r>
                        <a:rPr lang="en-US" sz="1200"/>
                        <a:t>0.3522</a:t>
                      </a:r>
                    </a:p>
                  </a:txBody>
                  <a:tcPr/>
                </a:tc>
                <a:tc>
                  <a:txBody>
                    <a:bodyPr/>
                    <a:lstStyle/>
                    <a:p>
                      <a:pPr lvl="0">
                        <a:buNone/>
                      </a:pPr>
                      <a:r>
                        <a:rPr lang="en-US" sz="1200"/>
                        <a:t>0.8782</a:t>
                      </a:r>
                    </a:p>
                  </a:txBody>
                  <a:tcPr/>
                </a:tc>
                <a:extLst>
                  <a:ext uri="{0D108BD9-81ED-4DB2-BD59-A6C34878D82A}">
                    <a16:rowId xmlns:a16="http://schemas.microsoft.com/office/drawing/2014/main" val="3775609738"/>
                  </a:ext>
                </a:extLst>
              </a:tr>
              <a:tr h="375632">
                <a:tc>
                  <a:txBody>
                    <a:bodyPr/>
                    <a:lstStyle/>
                    <a:p>
                      <a:pPr lvl="0">
                        <a:buNone/>
                      </a:pPr>
                      <a:r>
                        <a:rPr lang="en-US" sz="1200" err="1"/>
                        <a:t>XGBoost</a:t>
                      </a:r>
                      <a:r>
                        <a:rPr lang="en-US" sz="1200"/>
                        <a:t> (SMOTE)</a:t>
                      </a:r>
                    </a:p>
                  </a:txBody>
                  <a:tcPr/>
                </a:tc>
                <a:tc>
                  <a:txBody>
                    <a:bodyPr/>
                    <a:lstStyle/>
                    <a:p>
                      <a:pPr lvl="0">
                        <a:buNone/>
                      </a:pPr>
                      <a:r>
                        <a:rPr lang="en-US" sz="1200"/>
                        <a:t>0.3605</a:t>
                      </a:r>
                    </a:p>
                  </a:txBody>
                  <a:tcPr/>
                </a:tc>
                <a:tc>
                  <a:txBody>
                    <a:bodyPr/>
                    <a:lstStyle/>
                    <a:p>
                      <a:pPr lvl="0">
                        <a:buNone/>
                      </a:pPr>
                      <a:r>
                        <a:rPr lang="en-US" sz="1200"/>
                        <a:t>0.8781</a:t>
                      </a:r>
                    </a:p>
                  </a:txBody>
                  <a:tcPr/>
                </a:tc>
                <a:extLst>
                  <a:ext uri="{0D108BD9-81ED-4DB2-BD59-A6C34878D82A}">
                    <a16:rowId xmlns:a16="http://schemas.microsoft.com/office/drawing/2014/main" val="221214440"/>
                  </a:ext>
                </a:extLst>
              </a:tr>
            </a:tbl>
          </a:graphicData>
        </a:graphic>
      </p:graphicFrame>
    </p:spTree>
    <p:extLst>
      <p:ext uri="{BB962C8B-B14F-4D97-AF65-F5344CB8AC3E}">
        <p14:creationId xmlns:p14="http://schemas.microsoft.com/office/powerpoint/2010/main" val="19044228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769EC-CB9B-8FE2-6E13-13A6ED0E8B9B}"/>
              </a:ext>
            </a:extLst>
          </p:cNvPr>
          <p:cNvSpPr>
            <a:spLocks noGrp="1"/>
          </p:cNvSpPr>
          <p:nvPr>
            <p:ph type="title"/>
          </p:nvPr>
        </p:nvSpPr>
        <p:spPr/>
        <p:txBody>
          <a:bodyPr/>
          <a:lstStyle/>
          <a:p>
            <a:r>
              <a:rPr lang="en-US"/>
              <a:t>Results With Cross-Validation</a:t>
            </a:r>
          </a:p>
        </p:txBody>
      </p:sp>
      <p:sp>
        <p:nvSpPr>
          <p:cNvPr id="4" name="Footer Placeholder 3">
            <a:extLst>
              <a:ext uri="{FF2B5EF4-FFF2-40B4-BE49-F238E27FC236}">
                <a16:creationId xmlns:a16="http://schemas.microsoft.com/office/drawing/2014/main" id="{10DD79BA-8FA2-F405-A9BC-19C7FE7F0EFE}"/>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54B3CA4A-DE38-D931-80BD-68ECBF87DFF9}"/>
              </a:ext>
            </a:extLst>
          </p:cNvPr>
          <p:cNvSpPr>
            <a:spLocks noGrp="1"/>
          </p:cNvSpPr>
          <p:nvPr>
            <p:ph type="sldNum" sz="quarter" idx="38"/>
          </p:nvPr>
        </p:nvSpPr>
        <p:spPr/>
        <p:txBody>
          <a:bodyPr/>
          <a:lstStyle/>
          <a:p>
            <a:fld id="{FC1BBE33-A891-48E8-970C-4A8D55F96D53}" type="slidenum">
              <a:rPr lang="en-AU" smtClean="0"/>
              <a:pPr/>
              <a:t>31</a:t>
            </a:fld>
            <a:endParaRPr lang="en-AU"/>
          </a:p>
        </p:txBody>
      </p:sp>
      <p:graphicFrame>
        <p:nvGraphicFramePr>
          <p:cNvPr id="6" name="Table 6">
            <a:extLst>
              <a:ext uri="{FF2B5EF4-FFF2-40B4-BE49-F238E27FC236}">
                <a16:creationId xmlns:a16="http://schemas.microsoft.com/office/drawing/2014/main" id="{FAFF449A-A5AF-11DE-A0F1-44D97B828997}"/>
              </a:ext>
            </a:extLst>
          </p:cNvPr>
          <p:cNvGraphicFramePr>
            <a:graphicFrameLocks noGrp="1"/>
          </p:cNvGraphicFramePr>
          <p:nvPr/>
        </p:nvGraphicFramePr>
        <p:xfrm>
          <a:off x="397098" y="847859"/>
          <a:ext cx="11463519" cy="4764702"/>
        </p:xfrm>
        <a:graphic>
          <a:graphicData uri="http://schemas.openxmlformats.org/drawingml/2006/table">
            <a:tbl>
              <a:tblPr firstRow="1" bandRow="1">
                <a:tableStyleId>{9D7B26C5-4107-4FEC-AEDC-1716B250A1EF}</a:tableStyleId>
              </a:tblPr>
              <a:tblGrid>
                <a:gridCol w="4196366">
                  <a:extLst>
                    <a:ext uri="{9D8B030D-6E8A-4147-A177-3AD203B41FA5}">
                      <a16:colId xmlns:a16="http://schemas.microsoft.com/office/drawing/2014/main" val="99472693"/>
                    </a:ext>
                  </a:extLst>
                </a:gridCol>
                <a:gridCol w="3445979">
                  <a:extLst>
                    <a:ext uri="{9D8B030D-6E8A-4147-A177-3AD203B41FA5}">
                      <a16:colId xmlns:a16="http://schemas.microsoft.com/office/drawing/2014/main" val="2559333890"/>
                    </a:ext>
                  </a:extLst>
                </a:gridCol>
                <a:gridCol w="3821174">
                  <a:extLst>
                    <a:ext uri="{9D8B030D-6E8A-4147-A177-3AD203B41FA5}">
                      <a16:colId xmlns:a16="http://schemas.microsoft.com/office/drawing/2014/main" val="4282529256"/>
                    </a:ext>
                  </a:extLst>
                </a:gridCol>
              </a:tblGrid>
              <a:tr h="471753">
                <a:tc>
                  <a:txBody>
                    <a:bodyPr/>
                    <a:lstStyle/>
                    <a:p>
                      <a:r>
                        <a:rPr lang="en-US" sz="1200"/>
                        <a:t>Model</a:t>
                      </a:r>
                    </a:p>
                  </a:txBody>
                  <a:tcPr/>
                </a:tc>
                <a:tc>
                  <a:txBody>
                    <a:bodyPr/>
                    <a:lstStyle/>
                    <a:p>
                      <a:r>
                        <a:rPr lang="en-US" sz="1200"/>
                        <a:t>F1 Score</a:t>
                      </a:r>
                    </a:p>
                  </a:txBody>
                  <a:tcPr/>
                </a:tc>
                <a:tc>
                  <a:txBody>
                    <a:bodyPr/>
                    <a:lstStyle/>
                    <a:p>
                      <a:r>
                        <a:rPr lang="en-US" sz="1200"/>
                        <a:t>ROC AUC Score</a:t>
                      </a:r>
                    </a:p>
                  </a:txBody>
                  <a:tcPr/>
                </a:tc>
                <a:extLst>
                  <a:ext uri="{0D108BD9-81ED-4DB2-BD59-A6C34878D82A}">
                    <a16:rowId xmlns:a16="http://schemas.microsoft.com/office/drawing/2014/main" val="1335271996"/>
                  </a:ext>
                </a:extLst>
              </a:tr>
              <a:tr h="300507">
                <a:tc>
                  <a:txBody>
                    <a:bodyPr/>
                    <a:lstStyle/>
                    <a:p>
                      <a:r>
                        <a:rPr lang="en-US" sz="1200"/>
                        <a:t>KNN</a:t>
                      </a:r>
                    </a:p>
                  </a:txBody>
                  <a:tcPr/>
                </a:tc>
                <a:tc>
                  <a:txBody>
                    <a:bodyPr/>
                    <a:lstStyle/>
                    <a:p>
                      <a:r>
                        <a:rPr lang="en-US" sz="1200"/>
                        <a:t>0.8841</a:t>
                      </a:r>
                    </a:p>
                  </a:txBody>
                  <a:tcPr/>
                </a:tc>
                <a:tc>
                  <a:txBody>
                    <a:bodyPr/>
                    <a:lstStyle/>
                    <a:p>
                      <a:r>
                        <a:rPr lang="en-US" sz="1200"/>
                        <a:t>0.6041</a:t>
                      </a:r>
                    </a:p>
                  </a:txBody>
                  <a:tcPr/>
                </a:tc>
                <a:extLst>
                  <a:ext uri="{0D108BD9-81ED-4DB2-BD59-A6C34878D82A}">
                    <a16:rowId xmlns:a16="http://schemas.microsoft.com/office/drawing/2014/main" val="2865543359"/>
                  </a:ext>
                </a:extLst>
              </a:tr>
              <a:tr h="289774">
                <a:tc>
                  <a:txBody>
                    <a:bodyPr/>
                    <a:lstStyle/>
                    <a:p>
                      <a:r>
                        <a:rPr lang="en-US" sz="1200"/>
                        <a:t>KNN (SMOTE)</a:t>
                      </a:r>
                    </a:p>
                  </a:txBody>
                  <a:tcPr/>
                </a:tc>
                <a:tc>
                  <a:txBody>
                    <a:bodyPr/>
                    <a:lstStyle/>
                    <a:p>
                      <a:r>
                        <a:rPr lang="en-US" sz="1200"/>
                        <a:t>0.6704</a:t>
                      </a:r>
                    </a:p>
                  </a:txBody>
                  <a:tcPr/>
                </a:tc>
                <a:tc>
                  <a:txBody>
                    <a:bodyPr/>
                    <a:lstStyle/>
                    <a:p>
                      <a:r>
                        <a:rPr lang="en-US" sz="1200"/>
                        <a:t>0.6221</a:t>
                      </a:r>
                    </a:p>
                  </a:txBody>
                  <a:tcPr/>
                </a:tc>
                <a:extLst>
                  <a:ext uri="{0D108BD9-81ED-4DB2-BD59-A6C34878D82A}">
                    <a16:rowId xmlns:a16="http://schemas.microsoft.com/office/drawing/2014/main" val="2846909520"/>
                  </a:ext>
                </a:extLst>
              </a:tr>
              <a:tr h="300507">
                <a:tc>
                  <a:txBody>
                    <a:bodyPr/>
                    <a:lstStyle/>
                    <a:p>
                      <a:r>
                        <a:rPr lang="en-US" sz="1200"/>
                        <a:t>Stochastic Gradient Descent</a:t>
                      </a:r>
                    </a:p>
                  </a:txBody>
                  <a:tcPr/>
                </a:tc>
                <a:tc>
                  <a:txBody>
                    <a:bodyPr/>
                    <a:lstStyle/>
                    <a:p>
                      <a:r>
                        <a:rPr lang="en-US" sz="1200"/>
                        <a:t>0.7178</a:t>
                      </a:r>
                    </a:p>
                  </a:txBody>
                  <a:tcPr/>
                </a:tc>
                <a:tc>
                  <a:txBody>
                    <a:bodyPr/>
                    <a:lstStyle/>
                    <a:p>
                      <a:r>
                        <a:rPr lang="en-US" sz="1200"/>
                        <a:t>0.6872</a:t>
                      </a:r>
                    </a:p>
                  </a:txBody>
                  <a:tcPr/>
                </a:tc>
                <a:extLst>
                  <a:ext uri="{0D108BD9-81ED-4DB2-BD59-A6C34878D82A}">
                    <a16:rowId xmlns:a16="http://schemas.microsoft.com/office/drawing/2014/main" val="2945671814"/>
                  </a:ext>
                </a:extLst>
              </a:tr>
              <a:tr h="289774">
                <a:tc>
                  <a:txBody>
                    <a:bodyPr/>
                    <a:lstStyle/>
                    <a:p>
                      <a:r>
                        <a:rPr lang="en-US" sz="1200"/>
                        <a:t>Stochastic Gradient Descent (Cost-Sensitive Learning) </a:t>
                      </a:r>
                    </a:p>
                  </a:txBody>
                  <a:tcPr/>
                </a:tc>
                <a:tc>
                  <a:txBody>
                    <a:bodyPr/>
                    <a:lstStyle/>
                    <a:p>
                      <a:r>
                        <a:rPr lang="en-US" sz="1200"/>
                        <a:t>0.7665</a:t>
                      </a:r>
                    </a:p>
                  </a:txBody>
                  <a:tcPr/>
                </a:tc>
                <a:tc>
                  <a:txBody>
                    <a:bodyPr/>
                    <a:lstStyle/>
                    <a:p>
                      <a:r>
                        <a:rPr lang="en-US" sz="1200"/>
                        <a:t>0.7139</a:t>
                      </a:r>
                    </a:p>
                  </a:txBody>
                  <a:tcPr/>
                </a:tc>
                <a:extLst>
                  <a:ext uri="{0D108BD9-81ED-4DB2-BD59-A6C34878D82A}">
                    <a16:rowId xmlns:a16="http://schemas.microsoft.com/office/drawing/2014/main" val="3841835265"/>
                  </a:ext>
                </a:extLst>
              </a:tr>
              <a:tr h="300507">
                <a:tc>
                  <a:txBody>
                    <a:bodyPr/>
                    <a:lstStyle/>
                    <a:p>
                      <a:r>
                        <a:rPr lang="en-US" sz="1200"/>
                        <a:t>Stochastic Gradient Descent (SMOTE)</a:t>
                      </a:r>
                    </a:p>
                  </a:txBody>
                  <a:tcPr/>
                </a:tc>
                <a:tc>
                  <a:txBody>
                    <a:bodyPr/>
                    <a:lstStyle/>
                    <a:p>
                      <a:r>
                        <a:rPr lang="en-US" sz="1200"/>
                        <a:t>0.8181</a:t>
                      </a:r>
                    </a:p>
                  </a:txBody>
                  <a:tcPr/>
                </a:tc>
                <a:tc>
                  <a:txBody>
                    <a:bodyPr/>
                    <a:lstStyle/>
                    <a:p>
                      <a:r>
                        <a:rPr lang="en-US" sz="1200"/>
                        <a:t>0.7283</a:t>
                      </a:r>
                    </a:p>
                  </a:txBody>
                  <a:tcPr/>
                </a:tc>
                <a:extLst>
                  <a:ext uri="{0D108BD9-81ED-4DB2-BD59-A6C34878D82A}">
                    <a16:rowId xmlns:a16="http://schemas.microsoft.com/office/drawing/2014/main" val="451403584"/>
                  </a:ext>
                </a:extLst>
              </a:tr>
              <a:tr h="279042">
                <a:tc>
                  <a:txBody>
                    <a:bodyPr/>
                    <a:lstStyle/>
                    <a:p>
                      <a:r>
                        <a:rPr lang="en-US" sz="1200"/>
                        <a:t>Decision Trees</a:t>
                      </a:r>
                    </a:p>
                  </a:txBody>
                  <a:tcPr/>
                </a:tc>
                <a:tc>
                  <a:txBody>
                    <a:bodyPr/>
                    <a:lstStyle/>
                    <a:p>
                      <a:r>
                        <a:rPr lang="en-US" sz="1200"/>
                        <a:t>0.8468</a:t>
                      </a:r>
                    </a:p>
                  </a:txBody>
                  <a:tcPr/>
                </a:tc>
                <a:tc>
                  <a:txBody>
                    <a:bodyPr/>
                    <a:lstStyle/>
                    <a:p>
                      <a:r>
                        <a:rPr lang="en-US" sz="1200"/>
                        <a:t>0.6140</a:t>
                      </a:r>
                    </a:p>
                  </a:txBody>
                  <a:tcPr/>
                </a:tc>
                <a:extLst>
                  <a:ext uri="{0D108BD9-81ED-4DB2-BD59-A6C34878D82A}">
                    <a16:rowId xmlns:a16="http://schemas.microsoft.com/office/drawing/2014/main" val="2968455385"/>
                  </a:ext>
                </a:extLst>
              </a:tr>
              <a:tr h="279042">
                <a:tc>
                  <a:txBody>
                    <a:bodyPr/>
                    <a:lstStyle/>
                    <a:p>
                      <a:pPr lvl="0">
                        <a:buNone/>
                      </a:pPr>
                      <a:r>
                        <a:rPr lang="en-US" sz="1200"/>
                        <a:t>Decision Trees (Cost-Sensitive Learning)</a:t>
                      </a:r>
                    </a:p>
                  </a:txBody>
                  <a:tcPr/>
                </a:tc>
                <a:tc>
                  <a:txBody>
                    <a:bodyPr/>
                    <a:lstStyle/>
                    <a:p>
                      <a:pPr lvl="0">
                        <a:buNone/>
                      </a:pPr>
                      <a:r>
                        <a:rPr lang="en-US" sz="1200"/>
                        <a:t>0.8510</a:t>
                      </a:r>
                    </a:p>
                  </a:txBody>
                  <a:tcPr/>
                </a:tc>
                <a:tc>
                  <a:txBody>
                    <a:bodyPr/>
                    <a:lstStyle/>
                    <a:p>
                      <a:pPr lvl="0">
                        <a:buNone/>
                      </a:pPr>
                      <a:r>
                        <a:rPr lang="en-US" sz="1200"/>
                        <a:t>0.6076</a:t>
                      </a:r>
                    </a:p>
                  </a:txBody>
                  <a:tcPr/>
                </a:tc>
                <a:extLst>
                  <a:ext uri="{0D108BD9-81ED-4DB2-BD59-A6C34878D82A}">
                    <a16:rowId xmlns:a16="http://schemas.microsoft.com/office/drawing/2014/main" val="2944422997"/>
                  </a:ext>
                </a:extLst>
              </a:tr>
              <a:tr h="375633">
                <a:tc>
                  <a:txBody>
                    <a:bodyPr/>
                    <a:lstStyle/>
                    <a:p>
                      <a:pPr lvl="0">
                        <a:buNone/>
                      </a:pPr>
                      <a:r>
                        <a:rPr lang="en-US" sz="1200"/>
                        <a:t>Decision Trees (SMOTE)</a:t>
                      </a:r>
                    </a:p>
                  </a:txBody>
                  <a:tcPr/>
                </a:tc>
                <a:tc>
                  <a:txBody>
                    <a:bodyPr/>
                    <a:lstStyle/>
                    <a:p>
                      <a:pPr lvl="0">
                        <a:buNone/>
                      </a:pPr>
                      <a:r>
                        <a:rPr lang="en-US" sz="1200"/>
                        <a:t>0.8460</a:t>
                      </a:r>
                    </a:p>
                  </a:txBody>
                  <a:tcPr/>
                </a:tc>
                <a:tc>
                  <a:txBody>
                    <a:bodyPr/>
                    <a:lstStyle/>
                    <a:p>
                      <a:pPr lvl="0">
                        <a:buNone/>
                      </a:pPr>
                      <a:r>
                        <a:rPr lang="en-US" sz="1200"/>
                        <a:t>0.6169</a:t>
                      </a:r>
                    </a:p>
                  </a:txBody>
                  <a:tcPr/>
                </a:tc>
                <a:extLst>
                  <a:ext uri="{0D108BD9-81ED-4DB2-BD59-A6C34878D82A}">
                    <a16:rowId xmlns:a16="http://schemas.microsoft.com/office/drawing/2014/main" val="2307139412"/>
                  </a:ext>
                </a:extLst>
              </a:tr>
              <a:tr h="375633">
                <a:tc>
                  <a:txBody>
                    <a:bodyPr/>
                    <a:lstStyle/>
                    <a:p>
                      <a:pPr lvl="0">
                        <a:buNone/>
                      </a:pPr>
                      <a:r>
                        <a:rPr lang="en-US" sz="1200"/>
                        <a:t>Random Forest</a:t>
                      </a:r>
                      <a:endParaRPr lang="en-US"/>
                    </a:p>
                  </a:txBody>
                  <a:tcPr/>
                </a:tc>
                <a:tc>
                  <a:txBody>
                    <a:bodyPr/>
                    <a:lstStyle/>
                    <a:p>
                      <a:pPr lvl="0">
                        <a:buNone/>
                      </a:pPr>
                      <a:r>
                        <a:rPr lang="en-US" sz="1200"/>
                        <a:t>0.8961</a:t>
                      </a:r>
                    </a:p>
                  </a:txBody>
                  <a:tcPr/>
                </a:tc>
                <a:tc>
                  <a:txBody>
                    <a:bodyPr/>
                    <a:lstStyle/>
                    <a:p>
                      <a:pPr lvl="0">
                        <a:buNone/>
                      </a:pPr>
                      <a:r>
                        <a:rPr lang="en-US" sz="1200"/>
                        <a:t>0.8533</a:t>
                      </a:r>
                    </a:p>
                  </a:txBody>
                  <a:tcPr/>
                </a:tc>
                <a:extLst>
                  <a:ext uri="{0D108BD9-81ED-4DB2-BD59-A6C34878D82A}">
                    <a16:rowId xmlns:a16="http://schemas.microsoft.com/office/drawing/2014/main" val="1163339941"/>
                  </a:ext>
                </a:extLst>
              </a:tr>
              <a:tr h="375633">
                <a:tc>
                  <a:txBody>
                    <a:bodyPr/>
                    <a:lstStyle/>
                    <a:p>
                      <a:pPr lvl="0">
                        <a:buNone/>
                      </a:pPr>
                      <a:r>
                        <a:rPr lang="en-US" sz="1200"/>
                        <a:t>Random Forest (Cost-Sensitive Learning)</a:t>
                      </a:r>
                      <a:endParaRPr lang="en-US"/>
                    </a:p>
                  </a:txBody>
                  <a:tcPr/>
                </a:tc>
                <a:tc>
                  <a:txBody>
                    <a:bodyPr/>
                    <a:lstStyle/>
                    <a:p>
                      <a:pPr lvl="0">
                        <a:buNone/>
                      </a:pPr>
                      <a:r>
                        <a:rPr lang="en-US" sz="1200"/>
                        <a:t>0.8957</a:t>
                      </a:r>
                    </a:p>
                  </a:txBody>
                  <a:tcPr/>
                </a:tc>
                <a:tc>
                  <a:txBody>
                    <a:bodyPr/>
                    <a:lstStyle/>
                    <a:p>
                      <a:pPr lvl="0">
                        <a:buNone/>
                      </a:pPr>
                      <a:r>
                        <a:rPr lang="en-US" sz="1200"/>
                        <a:t>0.8582</a:t>
                      </a:r>
                    </a:p>
                  </a:txBody>
                  <a:tcPr/>
                </a:tc>
                <a:extLst>
                  <a:ext uri="{0D108BD9-81ED-4DB2-BD59-A6C34878D82A}">
                    <a16:rowId xmlns:a16="http://schemas.microsoft.com/office/drawing/2014/main" val="346701065"/>
                  </a:ext>
                </a:extLst>
              </a:tr>
              <a:tr h="375633">
                <a:tc>
                  <a:txBody>
                    <a:bodyPr/>
                    <a:lstStyle/>
                    <a:p>
                      <a:r>
                        <a:rPr lang="en-US" sz="1200"/>
                        <a:t>Random Forest (SMOTE)</a:t>
                      </a:r>
                      <a:endParaRPr lang="en-US"/>
                    </a:p>
                  </a:txBody>
                  <a:tcPr/>
                </a:tc>
                <a:tc>
                  <a:txBody>
                    <a:bodyPr/>
                    <a:lstStyle/>
                    <a:p>
                      <a:r>
                        <a:rPr lang="en-US" sz="1200"/>
                        <a:t>0.8960</a:t>
                      </a:r>
                    </a:p>
                  </a:txBody>
                  <a:tcPr/>
                </a:tc>
                <a:tc>
                  <a:txBody>
                    <a:bodyPr/>
                    <a:lstStyle/>
                    <a:p>
                      <a:r>
                        <a:rPr lang="en-US" sz="1200"/>
                        <a:t>0.8524</a:t>
                      </a:r>
                    </a:p>
                  </a:txBody>
                  <a:tcPr/>
                </a:tc>
                <a:extLst>
                  <a:ext uri="{0D108BD9-81ED-4DB2-BD59-A6C34878D82A}">
                    <a16:rowId xmlns:a16="http://schemas.microsoft.com/office/drawing/2014/main" val="776797622"/>
                  </a:ext>
                </a:extLst>
              </a:tr>
              <a:tr h="375632">
                <a:tc>
                  <a:txBody>
                    <a:bodyPr/>
                    <a:lstStyle/>
                    <a:p>
                      <a:pPr lvl="0">
                        <a:buNone/>
                      </a:pPr>
                      <a:r>
                        <a:rPr lang="en-US" sz="1200" err="1"/>
                        <a:t>XGBoost</a:t>
                      </a:r>
                    </a:p>
                  </a:txBody>
                  <a:tcPr/>
                </a:tc>
                <a:tc>
                  <a:txBody>
                    <a:bodyPr/>
                    <a:lstStyle/>
                    <a:p>
                      <a:pPr lvl="0">
                        <a:buNone/>
                      </a:pPr>
                      <a:r>
                        <a:rPr lang="en-US" sz="1200"/>
                        <a:t>0.8982</a:t>
                      </a:r>
                    </a:p>
                  </a:txBody>
                  <a:tcPr/>
                </a:tc>
                <a:tc>
                  <a:txBody>
                    <a:bodyPr/>
                    <a:lstStyle/>
                    <a:p>
                      <a:pPr lvl="0">
                        <a:buNone/>
                      </a:pPr>
                      <a:r>
                        <a:rPr lang="en-US" sz="1200"/>
                        <a:t>0.8744</a:t>
                      </a:r>
                    </a:p>
                  </a:txBody>
                  <a:tcPr/>
                </a:tc>
                <a:extLst>
                  <a:ext uri="{0D108BD9-81ED-4DB2-BD59-A6C34878D82A}">
                    <a16:rowId xmlns:a16="http://schemas.microsoft.com/office/drawing/2014/main" val="3775609738"/>
                  </a:ext>
                </a:extLst>
              </a:tr>
              <a:tr h="375632">
                <a:tc>
                  <a:txBody>
                    <a:bodyPr/>
                    <a:lstStyle/>
                    <a:p>
                      <a:pPr lvl="0">
                        <a:buNone/>
                      </a:pPr>
                      <a:r>
                        <a:rPr lang="en-US" sz="1200" err="1"/>
                        <a:t>XGBoost</a:t>
                      </a:r>
                      <a:r>
                        <a:rPr lang="en-US" sz="1200"/>
                        <a:t> (SMOTE)</a:t>
                      </a:r>
                    </a:p>
                  </a:txBody>
                  <a:tcPr/>
                </a:tc>
                <a:tc>
                  <a:txBody>
                    <a:bodyPr/>
                    <a:lstStyle/>
                    <a:p>
                      <a:pPr lvl="0">
                        <a:buNone/>
                      </a:pPr>
                      <a:r>
                        <a:rPr lang="en-US" sz="1200"/>
                        <a:t>0.8981</a:t>
                      </a:r>
                    </a:p>
                  </a:txBody>
                  <a:tcPr/>
                </a:tc>
                <a:tc>
                  <a:txBody>
                    <a:bodyPr/>
                    <a:lstStyle/>
                    <a:p>
                      <a:pPr lvl="0">
                        <a:buNone/>
                      </a:pPr>
                      <a:r>
                        <a:rPr lang="en-US" sz="1200"/>
                        <a:t>0.8749</a:t>
                      </a:r>
                    </a:p>
                  </a:txBody>
                  <a:tcPr/>
                </a:tc>
                <a:extLst>
                  <a:ext uri="{0D108BD9-81ED-4DB2-BD59-A6C34878D82A}">
                    <a16:rowId xmlns:a16="http://schemas.microsoft.com/office/drawing/2014/main" val="221214440"/>
                  </a:ext>
                </a:extLst>
              </a:tr>
            </a:tbl>
          </a:graphicData>
        </a:graphic>
      </p:graphicFrame>
    </p:spTree>
    <p:extLst>
      <p:ext uri="{BB962C8B-B14F-4D97-AF65-F5344CB8AC3E}">
        <p14:creationId xmlns:p14="http://schemas.microsoft.com/office/powerpoint/2010/main" val="30380946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32</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Features Not Included</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graphicFrame>
        <p:nvGraphicFramePr>
          <p:cNvPr id="11" name="Table 11">
            <a:extLst>
              <a:ext uri="{FF2B5EF4-FFF2-40B4-BE49-F238E27FC236}">
                <a16:creationId xmlns:a16="http://schemas.microsoft.com/office/drawing/2014/main" id="{F74EA413-3D71-E2C8-779E-503541830F45}"/>
              </a:ext>
            </a:extLst>
          </p:cNvPr>
          <p:cNvGraphicFramePr>
            <a:graphicFrameLocks noGrp="1"/>
          </p:cNvGraphicFramePr>
          <p:nvPr/>
        </p:nvGraphicFramePr>
        <p:xfrm>
          <a:off x="999507" y="1266700"/>
          <a:ext cx="10316118" cy="4888249"/>
        </p:xfrm>
        <a:graphic>
          <a:graphicData uri="http://schemas.openxmlformats.org/drawingml/2006/table">
            <a:tbl>
              <a:tblPr firstRow="1" bandRow="1">
                <a:tableStyleId>{5C22544A-7EE6-4342-B048-85BDC9FD1C3A}</a:tableStyleId>
              </a:tblPr>
              <a:tblGrid>
                <a:gridCol w="3438706">
                  <a:extLst>
                    <a:ext uri="{9D8B030D-6E8A-4147-A177-3AD203B41FA5}">
                      <a16:colId xmlns:a16="http://schemas.microsoft.com/office/drawing/2014/main" val="2937422798"/>
                    </a:ext>
                  </a:extLst>
                </a:gridCol>
                <a:gridCol w="3438706">
                  <a:extLst>
                    <a:ext uri="{9D8B030D-6E8A-4147-A177-3AD203B41FA5}">
                      <a16:colId xmlns:a16="http://schemas.microsoft.com/office/drawing/2014/main" val="1810389957"/>
                    </a:ext>
                  </a:extLst>
                </a:gridCol>
                <a:gridCol w="3438706">
                  <a:extLst>
                    <a:ext uri="{9D8B030D-6E8A-4147-A177-3AD203B41FA5}">
                      <a16:colId xmlns:a16="http://schemas.microsoft.com/office/drawing/2014/main" val="3217495895"/>
                    </a:ext>
                  </a:extLst>
                </a:gridCol>
              </a:tblGrid>
              <a:tr h="424566">
                <a:tc>
                  <a:txBody>
                    <a:bodyPr/>
                    <a:lstStyle/>
                    <a:p>
                      <a:r>
                        <a:rPr lang="en-US" sz="1100"/>
                        <a:t>Variable</a:t>
                      </a:r>
                    </a:p>
                  </a:txBody>
                  <a:tcPr/>
                </a:tc>
                <a:tc>
                  <a:txBody>
                    <a:bodyPr/>
                    <a:lstStyle/>
                    <a:p>
                      <a:r>
                        <a:rPr lang="en-US" sz="1100"/>
                        <a:t>Label</a:t>
                      </a:r>
                    </a:p>
                  </a:txBody>
                  <a:tcPr/>
                </a:tc>
                <a:tc>
                  <a:txBody>
                    <a:bodyPr/>
                    <a:lstStyle/>
                    <a:p>
                      <a:r>
                        <a:rPr lang="en-US" sz="1100"/>
                        <a:t>Reason</a:t>
                      </a:r>
                    </a:p>
                  </a:txBody>
                  <a:tcPr/>
                </a:tc>
                <a:extLst>
                  <a:ext uri="{0D108BD9-81ED-4DB2-BD59-A6C34878D82A}">
                    <a16:rowId xmlns:a16="http://schemas.microsoft.com/office/drawing/2014/main" val="2548864310"/>
                  </a:ext>
                </a:extLst>
              </a:tr>
              <a:tr h="424566">
                <a:tc>
                  <a:txBody>
                    <a:bodyPr/>
                    <a:lstStyle/>
                    <a:p>
                      <a:r>
                        <a:rPr lang="en-US" sz="1100"/>
                        <a:t>PUF1Y_ID</a:t>
                      </a:r>
                    </a:p>
                  </a:txBody>
                  <a:tcPr/>
                </a:tc>
                <a:tc>
                  <a:txBody>
                    <a:bodyPr/>
                    <a:lstStyle/>
                    <a:p>
                      <a:r>
                        <a:rPr lang="en-US" sz="1100"/>
                        <a:t>Public Use File ID</a:t>
                      </a:r>
                    </a:p>
                  </a:txBody>
                  <a:tcPr/>
                </a:tc>
                <a:tc>
                  <a:txBody>
                    <a:bodyPr/>
                    <a:lstStyle/>
                    <a:p>
                      <a:r>
                        <a:rPr lang="en-US" sz="1100"/>
                        <a:t>Participant's ID</a:t>
                      </a:r>
                    </a:p>
                  </a:txBody>
                  <a:tcPr/>
                </a:tc>
                <a:extLst>
                  <a:ext uri="{0D108BD9-81ED-4DB2-BD59-A6C34878D82A}">
                    <a16:rowId xmlns:a16="http://schemas.microsoft.com/office/drawing/2014/main" val="3489741510"/>
                  </a:ext>
                </a:extLst>
              </a:tr>
              <a:tr h="493415">
                <a:tc>
                  <a:txBody>
                    <a:bodyPr/>
                    <a:lstStyle/>
                    <a:p>
                      <a:r>
                        <a:rPr lang="en-US" sz="1100"/>
                        <a:t>AB111</a:t>
                      </a:r>
                    </a:p>
                  </a:txBody>
                  <a:tcPr/>
                </a:tc>
                <a:tc>
                  <a:txBody>
                    <a:bodyPr/>
                    <a:lstStyle/>
                    <a:p>
                      <a:r>
                        <a:rPr lang="en-US" sz="1100"/>
                        <a:t>Admitted to Hospital Overnight or Longer for</a:t>
                      </a:r>
                      <a:endParaRPr lang="en-US"/>
                    </a:p>
                    <a:p>
                      <a:pPr lvl="0">
                        <a:buNone/>
                      </a:pPr>
                      <a:r>
                        <a:rPr lang="en-US" sz="1100"/>
                        <a:t>Diabetes Past 12 Months</a:t>
                      </a:r>
                    </a:p>
                  </a:txBody>
                  <a:tcPr/>
                </a:tc>
                <a:tc>
                  <a:txBody>
                    <a:bodyPr/>
                    <a:lstStyle/>
                    <a:p>
                      <a:r>
                        <a:rPr lang="en-US" sz="1100"/>
                        <a:t>Universe = Adults who have diabetes</a:t>
                      </a:r>
                    </a:p>
                  </a:txBody>
                  <a:tcPr/>
                </a:tc>
                <a:extLst>
                  <a:ext uri="{0D108BD9-81ED-4DB2-BD59-A6C34878D82A}">
                    <a16:rowId xmlns:a16="http://schemas.microsoft.com/office/drawing/2014/main" val="145739671"/>
                  </a:ext>
                </a:extLst>
              </a:tr>
              <a:tr h="424566">
                <a:tc>
                  <a:txBody>
                    <a:bodyPr/>
                    <a:lstStyle/>
                    <a:p>
                      <a:pPr lvl="0">
                        <a:buNone/>
                      </a:pPr>
                      <a:r>
                        <a:rPr lang="en-US" sz="1100"/>
                        <a:t>AB23_P1</a:t>
                      </a:r>
                    </a:p>
                  </a:txBody>
                  <a:tcPr/>
                </a:tc>
                <a:tc>
                  <a:txBody>
                    <a:bodyPr/>
                    <a:lstStyle/>
                    <a:p>
                      <a:r>
                        <a:rPr lang="en-US" sz="1100"/>
                        <a:t>Age First Told Have Diabetes</a:t>
                      </a:r>
                    </a:p>
                  </a:txBody>
                  <a:tcPr/>
                </a:tc>
                <a:tc>
                  <a:txBody>
                    <a:bodyPr/>
                    <a:lstStyle/>
                    <a:p>
                      <a:r>
                        <a:rPr lang="en-US" sz="1100"/>
                        <a:t>Universe = Adults who have diabetes</a:t>
                      </a:r>
                    </a:p>
                  </a:txBody>
                  <a:tcPr/>
                </a:tc>
                <a:extLst>
                  <a:ext uri="{0D108BD9-81ED-4DB2-BD59-A6C34878D82A}">
                    <a16:rowId xmlns:a16="http://schemas.microsoft.com/office/drawing/2014/main" val="1610771471"/>
                  </a:ext>
                </a:extLst>
              </a:tr>
              <a:tr h="424566">
                <a:tc>
                  <a:txBody>
                    <a:bodyPr/>
                    <a:lstStyle/>
                    <a:p>
                      <a:pPr lvl="0">
                        <a:buNone/>
                      </a:pPr>
                      <a:r>
                        <a:rPr lang="en-US" sz="1100"/>
                        <a:t>AB114_P1</a:t>
                      </a:r>
                    </a:p>
                  </a:txBody>
                  <a:tcPr/>
                </a:tc>
                <a:tc>
                  <a:txBody>
                    <a:bodyPr/>
                    <a:lstStyle/>
                    <a:p>
                      <a:r>
                        <a:rPr lang="en-US" sz="1100"/>
                        <a:t>Confidence to Control and Manage Diabetes</a:t>
                      </a:r>
                    </a:p>
                  </a:txBody>
                  <a:tcPr/>
                </a:tc>
                <a:tc>
                  <a:txBody>
                    <a:bodyPr/>
                    <a:lstStyle/>
                    <a:p>
                      <a:r>
                        <a:rPr lang="en-US" sz="1100"/>
                        <a:t>Universe = Adults who have diabetes</a:t>
                      </a:r>
                    </a:p>
                  </a:txBody>
                  <a:tcPr/>
                </a:tc>
                <a:extLst>
                  <a:ext uri="{0D108BD9-81ED-4DB2-BD59-A6C34878D82A}">
                    <a16:rowId xmlns:a16="http://schemas.microsoft.com/office/drawing/2014/main" val="523674886"/>
                  </a:ext>
                </a:extLst>
              </a:tr>
              <a:tr h="688486">
                <a:tc>
                  <a:txBody>
                    <a:bodyPr/>
                    <a:lstStyle/>
                    <a:p>
                      <a:pPr lvl="0">
                        <a:buNone/>
                      </a:pPr>
                      <a:r>
                        <a:rPr lang="en-US" sz="1100"/>
                        <a:t>AJ82</a:t>
                      </a:r>
                    </a:p>
                  </a:txBody>
                  <a:tcPr/>
                </a:tc>
                <a:tc>
                  <a:txBody>
                    <a:bodyPr/>
                    <a:lstStyle/>
                    <a:p>
                      <a:r>
                        <a:rPr lang="en-US" sz="1100"/>
                        <a:t>Delayed Prescription for Diabetes</a:t>
                      </a:r>
                    </a:p>
                  </a:txBody>
                  <a:tcPr/>
                </a:tc>
                <a:tc>
                  <a:txBody>
                    <a:bodyPr/>
                    <a:lstStyle/>
                    <a:p>
                      <a:r>
                        <a:rPr lang="en-US" sz="1100"/>
                        <a:t>Universe = Adults who have diabetes who cited code/lack of insurance as reason for delay in</a:t>
                      </a:r>
                      <a:endParaRPr lang="en-US"/>
                    </a:p>
                    <a:p>
                      <a:pPr lvl="0">
                        <a:buNone/>
                      </a:pPr>
                      <a:r>
                        <a:rPr lang="en-US" sz="1100"/>
                        <a:t>getting prescribed medicine</a:t>
                      </a:r>
                    </a:p>
                  </a:txBody>
                  <a:tcPr/>
                </a:tc>
                <a:extLst>
                  <a:ext uri="{0D108BD9-81ED-4DB2-BD59-A6C34878D82A}">
                    <a16:rowId xmlns:a16="http://schemas.microsoft.com/office/drawing/2014/main" val="3433535344"/>
                  </a:ext>
                </a:extLst>
              </a:tr>
              <a:tr h="424566">
                <a:tc>
                  <a:txBody>
                    <a:bodyPr/>
                    <a:lstStyle/>
                    <a:p>
                      <a:r>
                        <a:rPr lang="en-US" sz="1100"/>
                        <a:t>AB22V2</a:t>
                      </a:r>
                    </a:p>
                  </a:txBody>
                  <a:tcPr/>
                </a:tc>
                <a:tc>
                  <a:txBody>
                    <a:bodyPr/>
                    <a:lstStyle/>
                    <a:p>
                      <a:r>
                        <a:rPr lang="en-US" sz="1100"/>
                        <a:t>Doctor Ever Told Have Diabetes</a:t>
                      </a:r>
                    </a:p>
                  </a:txBody>
                  <a:tcPr/>
                </a:tc>
                <a:tc>
                  <a:txBody>
                    <a:bodyPr/>
                    <a:lstStyle/>
                    <a:p>
                      <a:r>
                        <a:rPr lang="en-US" sz="1100"/>
                        <a:t>May imply the participant already has diabetes</a:t>
                      </a:r>
                    </a:p>
                  </a:txBody>
                  <a:tcPr/>
                </a:tc>
                <a:extLst>
                  <a:ext uri="{0D108BD9-81ED-4DB2-BD59-A6C34878D82A}">
                    <a16:rowId xmlns:a16="http://schemas.microsoft.com/office/drawing/2014/main" val="1934771517"/>
                  </a:ext>
                </a:extLst>
              </a:tr>
              <a:tr h="493415">
                <a:tc>
                  <a:txBody>
                    <a:bodyPr/>
                    <a:lstStyle/>
                    <a:p>
                      <a:pPr lvl="0">
                        <a:buNone/>
                      </a:pPr>
                      <a:r>
                        <a:rPr lang="en-US" sz="1100"/>
                        <a:t>DIABETES</a:t>
                      </a:r>
                    </a:p>
                  </a:txBody>
                  <a:tcPr/>
                </a:tc>
                <a:tc>
                  <a:txBody>
                    <a:bodyPr/>
                    <a:lstStyle/>
                    <a:p>
                      <a:pPr lvl="0">
                        <a:buNone/>
                      </a:pPr>
                      <a:r>
                        <a:rPr lang="en-US" sz="1100"/>
                        <a:t>Doctor Ever Told Have Diabetes (Non-Gestational)</a:t>
                      </a:r>
                    </a:p>
                  </a:txBody>
                  <a:tcPr/>
                </a:tc>
                <a:tc>
                  <a:txBody>
                    <a:bodyPr/>
                    <a:lstStyle/>
                    <a:p>
                      <a:pPr lvl="0">
                        <a:buNone/>
                      </a:pPr>
                      <a:r>
                        <a:rPr lang="en-US" sz="1100"/>
                        <a:t>May imply the participant already has diabetes</a:t>
                      </a:r>
                    </a:p>
                  </a:txBody>
                  <a:tcPr/>
                </a:tc>
                <a:extLst>
                  <a:ext uri="{0D108BD9-81ED-4DB2-BD59-A6C34878D82A}">
                    <a16:rowId xmlns:a16="http://schemas.microsoft.com/office/drawing/2014/main" val="3931680057"/>
                  </a:ext>
                </a:extLst>
              </a:tr>
              <a:tr h="493415">
                <a:tc>
                  <a:txBody>
                    <a:bodyPr/>
                    <a:lstStyle/>
                    <a:p>
                      <a:r>
                        <a:rPr lang="en-US" sz="1100"/>
                        <a:t>AB81</a:t>
                      </a:r>
                    </a:p>
                  </a:txBody>
                  <a:tcPr/>
                </a:tc>
                <a:tc>
                  <a:txBody>
                    <a:bodyPr/>
                    <a:lstStyle/>
                    <a:p>
                      <a:r>
                        <a:rPr lang="en-US" sz="1100"/>
                        <a:t>Doctor Told Had Diabetes Only During Pregnancy</a:t>
                      </a:r>
                    </a:p>
                  </a:txBody>
                  <a:tcPr/>
                </a:tc>
                <a:tc>
                  <a:txBody>
                    <a:bodyPr/>
                    <a:lstStyle/>
                    <a:p>
                      <a:r>
                        <a:rPr lang="en-US" sz="1100"/>
                        <a:t>May imply the participant already has diabetes at </a:t>
                      </a:r>
                      <a:endParaRPr lang="en-US"/>
                    </a:p>
                    <a:p>
                      <a:pPr lvl="0">
                        <a:buNone/>
                      </a:pPr>
                      <a:r>
                        <a:rPr lang="en-US" sz="1100"/>
                        <a:t>the time of pregnancy</a:t>
                      </a:r>
                      <a:endParaRPr lang="en-US"/>
                    </a:p>
                  </a:txBody>
                  <a:tcPr/>
                </a:tc>
                <a:extLst>
                  <a:ext uri="{0D108BD9-81ED-4DB2-BD59-A6C34878D82A}">
                    <a16:rowId xmlns:a16="http://schemas.microsoft.com/office/drawing/2014/main" val="3597979318"/>
                  </a:ext>
                </a:extLst>
              </a:tr>
              <a:tr h="596688">
                <a:tc>
                  <a:txBody>
                    <a:bodyPr/>
                    <a:lstStyle/>
                    <a:p>
                      <a:pPr lvl="0">
                        <a:buNone/>
                      </a:pPr>
                      <a:r>
                        <a:rPr lang="en-US" sz="1100"/>
                        <a:t>AB113</a:t>
                      </a:r>
                    </a:p>
                  </a:txBody>
                  <a:tcPr/>
                </a:tc>
                <a:tc>
                  <a:txBody>
                    <a:bodyPr/>
                    <a:lstStyle/>
                    <a:p>
                      <a:pPr lvl="0">
                        <a:buNone/>
                      </a:pPr>
                      <a:r>
                        <a:rPr lang="en-US" sz="1100"/>
                        <a:t>Have Written Copy of Diabetes Care Plan</a:t>
                      </a:r>
                    </a:p>
                  </a:txBody>
                  <a:tcPr/>
                </a:tc>
                <a:tc>
                  <a:txBody>
                    <a:bodyPr/>
                    <a:lstStyle/>
                    <a:p>
                      <a:pPr lvl="0">
                        <a:buNone/>
                      </a:pPr>
                      <a:r>
                        <a:rPr lang="en-US" sz="1100"/>
                        <a:t>Universe = Adults who have diabetes and medical providers developed diabetes care plan</a:t>
                      </a:r>
                    </a:p>
                  </a:txBody>
                  <a:tcPr/>
                </a:tc>
                <a:extLst>
                  <a:ext uri="{0D108BD9-81ED-4DB2-BD59-A6C34878D82A}">
                    <a16:rowId xmlns:a16="http://schemas.microsoft.com/office/drawing/2014/main" val="3684871215"/>
                  </a:ext>
                </a:extLst>
              </a:tr>
            </a:tbl>
          </a:graphicData>
        </a:graphic>
      </p:graphicFrame>
    </p:spTree>
    <p:extLst>
      <p:ext uri="{BB962C8B-B14F-4D97-AF65-F5344CB8AC3E}">
        <p14:creationId xmlns:p14="http://schemas.microsoft.com/office/powerpoint/2010/main" val="2405327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33</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Features Not Included</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graphicFrame>
        <p:nvGraphicFramePr>
          <p:cNvPr id="11" name="Table 11">
            <a:extLst>
              <a:ext uri="{FF2B5EF4-FFF2-40B4-BE49-F238E27FC236}">
                <a16:creationId xmlns:a16="http://schemas.microsoft.com/office/drawing/2014/main" id="{F74EA413-3D71-E2C8-779E-503541830F45}"/>
              </a:ext>
            </a:extLst>
          </p:cNvPr>
          <p:cNvGraphicFramePr>
            <a:graphicFrameLocks noGrp="1"/>
          </p:cNvGraphicFramePr>
          <p:nvPr/>
        </p:nvGraphicFramePr>
        <p:xfrm>
          <a:off x="999507" y="1266700"/>
          <a:ext cx="10316118" cy="4890403"/>
        </p:xfrm>
        <a:graphic>
          <a:graphicData uri="http://schemas.openxmlformats.org/drawingml/2006/table">
            <a:tbl>
              <a:tblPr firstRow="1" bandRow="1">
                <a:tableStyleId>{5C22544A-7EE6-4342-B048-85BDC9FD1C3A}</a:tableStyleId>
              </a:tblPr>
              <a:tblGrid>
                <a:gridCol w="3438706">
                  <a:extLst>
                    <a:ext uri="{9D8B030D-6E8A-4147-A177-3AD203B41FA5}">
                      <a16:colId xmlns:a16="http://schemas.microsoft.com/office/drawing/2014/main" val="2937422798"/>
                    </a:ext>
                  </a:extLst>
                </a:gridCol>
                <a:gridCol w="3438706">
                  <a:extLst>
                    <a:ext uri="{9D8B030D-6E8A-4147-A177-3AD203B41FA5}">
                      <a16:colId xmlns:a16="http://schemas.microsoft.com/office/drawing/2014/main" val="1810389957"/>
                    </a:ext>
                  </a:extLst>
                </a:gridCol>
                <a:gridCol w="3438706">
                  <a:extLst>
                    <a:ext uri="{9D8B030D-6E8A-4147-A177-3AD203B41FA5}">
                      <a16:colId xmlns:a16="http://schemas.microsoft.com/office/drawing/2014/main" val="3217495895"/>
                    </a:ext>
                  </a:extLst>
                </a:gridCol>
              </a:tblGrid>
              <a:tr h="424566">
                <a:tc>
                  <a:txBody>
                    <a:bodyPr/>
                    <a:lstStyle/>
                    <a:p>
                      <a:r>
                        <a:rPr lang="en-US" sz="1100"/>
                        <a:t>Variable</a:t>
                      </a:r>
                    </a:p>
                  </a:txBody>
                  <a:tcPr/>
                </a:tc>
                <a:tc>
                  <a:txBody>
                    <a:bodyPr/>
                    <a:lstStyle/>
                    <a:p>
                      <a:r>
                        <a:rPr lang="en-US" sz="1100"/>
                        <a:t>Label</a:t>
                      </a:r>
                    </a:p>
                  </a:txBody>
                  <a:tcPr/>
                </a:tc>
                <a:tc>
                  <a:txBody>
                    <a:bodyPr/>
                    <a:lstStyle/>
                    <a:p>
                      <a:r>
                        <a:rPr lang="en-US" sz="1100"/>
                        <a:t>Reason</a:t>
                      </a:r>
                    </a:p>
                  </a:txBody>
                  <a:tcPr/>
                </a:tc>
                <a:extLst>
                  <a:ext uri="{0D108BD9-81ED-4DB2-BD59-A6C34878D82A}">
                    <a16:rowId xmlns:a16="http://schemas.microsoft.com/office/drawing/2014/main" val="2548864310"/>
                  </a:ext>
                </a:extLst>
              </a:tr>
              <a:tr h="424566">
                <a:tc>
                  <a:txBody>
                    <a:bodyPr/>
                    <a:lstStyle/>
                    <a:p>
                      <a:r>
                        <a:rPr lang="en-US" sz="1100"/>
                        <a:t>AB112</a:t>
                      </a:r>
                    </a:p>
                  </a:txBody>
                  <a:tcPr/>
                </a:tc>
                <a:tc>
                  <a:txBody>
                    <a:bodyPr/>
                    <a:lstStyle/>
                    <a:p>
                      <a:r>
                        <a:rPr lang="en-US" sz="1100"/>
                        <a:t>Medical Providers Develop Diabetes Care Plan</a:t>
                      </a:r>
                    </a:p>
                  </a:txBody>
                  <a:tcPr/>
                </a:tc>
                <a:tc>
                  <a:txBody>
                    <a:bodyPr/>
                    <a:lstStyle/>
                    <a:p>
                      <a:pPr lvl="0">
                        <a:buNone/>
                      </a:pPr>
                      <a:r>
                        <a:rPr lang="en-US" sz="1100" b="0" i="0" u="none" strike="noStrike" noProof="0">
                          <a:latin typeface="Graphik"/>
                        </a:rPr>
                        <a:t>Universe = Adults who have diabetes</a:t>
                      </a:r>
                      <a:endParaRPr lang="en-US" sz="1100"/>
                    </a:p>
                  </a:txBody>
                  <a:tcPr/>
                </a:tc>
                <a:extLst>
                  <a:ext uri="{0D108BD9-81ED-4DB2-BD59-A6C34878D82A}">
                    <a16:rowId xmlns:a16="http://schemas.microsoft.com/office/drawing/2014/main" val="3489741510"/>
                  </a:ext>
                </a:extLst>
              </a:tr>
              <a:tr h="493415">
                <a:tc>
                  <a:txBody>
                    <a:bodyPr/>
                    <a:lstStyle/>
                    <a:p>
                      <a:r>
                        <a:rPr lang="en-US" sz="1100"/>
                        <a:t>AB51_P1</a:t>
                      </a:r>
                    </a:p>
                  </a:txBody>
                  <a:tcPr/>
                </a:tc>
                <a:tc>
                  <a:txBody>
                    <a:bodyPr/>
                    <a:lstStyle/>
                    <a:p>
                      <a:r>
                        <a:rPr lang="en-US" sz="1100"/>
                        <a:t>Type 1 or Type 2 Diabetes</a:t>
                      </a:r>
                    </a:p>
                  </a:txBody>
                  <a:tcPr/>
                </a:tc>
                <a:tc>
                  <a:txBody>
                    <a:bodyPr/>
                    <a:lstStyle/>
                    <a:p>
                      <a:r>
                        <a:rPr lang="en-US" sz="1100"/>
                        <a:t>Universe = Adults who have diabetes</a:t>
                      </a:r>
                    </a:p>
                  </a:txBody>
                  <a:tcPr/>
                </a:tc>
                <a:extLst>
                  <a:ext uri="{0D108BD9-81ED-4DB2-BD59-A6C34878D82A}">
                    <a16:rowId xmlns:a16="http://schemas.microsoft.com/office/drawing/2014/main" val="145739671"/>
                  </a:ext>
                </a:extLst>
              </a:tr>
              <a:tr h="424566">
                <a:tc>
                  <a:txBody>
                    <a:bodyPr/>
                    <a:lstStyle/>
                    <a:p>
                      <a:pPr lvl="0">
                        <a:buNone/>
                      </a:pPr>
                      <a:r>
                        <a:rPr lang="en-US" sz="1100"/>
                        <a:t>AB110_P</a:t>
                      </a:r>
                    </a:p>
                  </a:txBody>
                  <a:tcPr/>
                </a:tc>
                <a:tc>
                  <a:txBody>
                    <a:bodyPr/>
                    <a:lstStyle/>
                    <a:p>
                      <a:r>
                        <a:rPr lang="en-US" sz="1100"/>
                        <a:t>Visited ER for Diabetes Because Unable to See </a:t>
                      </a:r>
                      <a:endParaRPr lang="en-US"/>
                    </a:p>
                    <a:p>
                      <a:pPr lvl="0">
                        <a:buNone/>
                      </a:pPr>
                      <a:r>
                        <a:rPr lang="en-US" sz="1100"/>
                        <a:t>Own DR</a:t>
                      </a:r>
                    </a:p>
                  </a:txBody>
                  <a:tcPr/>
                </a:tc>
                <a:tc>
                  <a:txBody>
                    <a:bodyPr/>
                    <a:lstStyle/>
                    <a:p>
                      <a:r>
                        <a:rPr lang="en-US" sz="1100"/>
                        <a:t>Universe = Adults who have diabetes</a:t>
                      </a:r>
                    </a:p>
                  </a:txBody>
                  <a:tcPr/>
                </a:tc>
                <a:extLst>
                  <a:ext uri="{0D108BD9-81ED-4DB2-BD59-A6C34878D82A}">
                    <a16:rowId xmlns:a16="http://schemas.microsoft.com/office/drawing/2014/main" val="1610771471"/>
                  </a:ext>
                </a:extLst>
              </a:tr>
              <a:tr h="424566">
                <a:tc>
                  <a:txBody>
                    <a:bodyPr/>
                    <a:lstStyle/>
                    <a:p>
                      <a:pPr lvl="0">
                        <a:buNone/>
                      </a:pPr>
                      <a:r>
                        <a:rPr lang="en-US" sz="1100"/>
                        <a:t>AB109</a:t>
                      </a:r>
                    </a:p>
                  </a:txBody>
                  <a:tcPr/>
                </a:tc>
                <a:tc>
                  <a:txBody>
                    <a:bodyPr/>
                    <a:lstStyle/>
                    <a:p>
                      <a:r>
                        <a:rPr lang="en-US" sz="1100"/>
                        <a:t>Visited ER for Diabetes in Past 12 Months</a:t>
                      </a:r>
                    </a:p>
                  </a:txBody>
                  <a:tcPr/>
                </a:tc>
                <a:tc>
                  <a:txBody>
                    <a:bodyPr/>
                    <a:lstStyle/>
                    <a:p>
                      <a:r>
                        <a:rPr lang="en-US" sz="1100"/>
                        <a:t>Universe = Adults who have diabetes</a:t>
                      </a:r>
                    </a:p>
                  </a:txBody>
                  <a:tcPr/>
                </a:tc>
                <a:extLst>
                  <a:ext uri="{0D108BD9-81ED-4DB2-BD59-A6C34878D82A}">
                    <a16:rowId xmlns:a16="http://schemas.microsoft.com/office/drawing/2014/main" val="523674886"/>
                  </a:ext>
                </a:extLst>
              </a:tr>
              <a:tr h="688486">
                <a:tc>
                  <a:txBody>
                    <a:bodyPr/>
                    <a:lstStyle/>
                    <a:p>
                      <a:pPr lvl="0">
                        <a:buNone/>
                      </a:pPr>
                      <a:r>
                        <a:rPr lang="en-US" sz="1100"/>
                        <a:t>AB24</a:t>
                      </a:r>
                    </a:p>
                  </a:txBody>
                  <a:tcPr/>
                </a:tc>
                <a:tc>
                  <a:txBody>
                    <a:bodyPr/>
                    <a:lstStyle/>
                    <a:p>
                      <a:r>
                        <a:rPr lang="en-US" sz="1100"/>
                        <a:t>Currently Taking Insulin</a:t>
                      </a:r>
                    </a:p>
                  </a:txBody>
                  <a:tcPr/>
                </a:tc>
                <a:tc>
                  <a:txBody>
                    <a:bodyPr/>
                    <a:lstStyle/>
                    <a:p>
                      <a:pPr lvl="0">
                        <a:buNone/>
                      </a:pPr>
                      <a:r>
                        <a:rPr lang="en-US" sz="1100" b="0" i="0" u="none" strike="noStrike" noProof="0">
                          <a:latin typeface="Graphik"/>
                        </a:rPr>
                        <a:t>Universe = Adults who have diabetes</a:t>
                      </a:r>
                      <a:endParaRPr lang="en-US" b="0" i="0" u="none" strike="noStrike" noProof="0">
                        <a:latin typeface="Graphik"/>
                      </a:endParaRPr>
                    </a:p>
                  </a:txBody>
                  <a:tcPr/>
                </a:tc>
                <a:extLst>
                  <a:ext uri="{0D108BD9-81ED-4DB2-BD59-A6C34878D82A}">
                    <a16:rowId xmlns:a16="http://schemas.microsoft.com/office/drawing/2014/main" val="3433535344"/>
                  </a:ext>
                </a:extLst>
              </a:tr>
              <a:tr h="424566">
                <a:tc>
                  <a:txBody>
                    <a:bodyPr/>
                    <a:lstStyle/>
                    <a:p>
                      <a:r>
                        <a:rPr lang="en-US" sz="1100"/>
                        <a:t>DIAMED</a:t>
                      </a:r>
                    </a:p>
                  </a:txBody>
                  <a:tcPr/>
                </a:tc>
                <a:tc>
                  <a:txBody>
                    <a:bodyPr/>
                    <a:lstStyle/>
                    <a:p>
                      <a:r>
                        <a:rPr lang="en-US" sz="1100"/>
                        <a:t>Taking Insulin or Pills</a:t>
                      </a:r>
                    </a:p>
                  </a:txBody>
                  <a:tcPr/>
                </a:tc>
                <a:tc>
                  <a:txBody>
                    <a:bodyPr/>
                    <a:lstStyle/>
                    <a:p>
                      <a:pPr lvl="0">
                        <a:buNone/>
                      </a:pPr>
                      <a:r>
                        <a:rPr lang="en-US" sz="1100" b="0" i="0" u="none" strike="noStrike" noProof="0">
                          <a:latin typeface="Graphik"/>
                        </a:rPr>
                        <a:t>Universe = Adults who have diabetes</a:t>
                      </a:r>
                    </a:p>
                  </a:txBody>
                  <a:tcPr/>
                </a:tc>
                <a:extLst>
                  <a:ext uri="{0D108BD9-81ED-4DB2-BD59-A6C34878D82A}">
                    <a16:rowId xmlns:a16="http://schemas.microsoft.com/office/drawing/2014/main" val="1934771517"/>
                  </a:ext>
                </a:extLst>
              </a:tr>
              <a:tr h="493415">
                <a:tc>
                  <a:txBody>
                    <a:bodyPr/>
                    <a:lstStyle/>
                    <a:p>
                      <a:pPr lvl="0">
                        <a:buNone/>
                      </a:pPr>
                      <a:r>
                        <a:rPr lang="en-US" sz="1100"/>
                        <a:t>AB25</a:t>
                      </a:r>
                    </a:p>
                  </a:txBody>
                  <a:tcPr/>
                </a:tc>
                <a:tc>
                  <a:txBody>
                    <a:bodyPr/>
                    <a:lstStyle/>
                    <a:p>
                      <a:pPr lvl="0">
                        <a:buNone/>
                      </a:pPr>
                      <a:r>
                        <a:rPr lang="en-US" sz="1100"/>
                        <a:t>Currently Taking Diabetic Pills to Lower Blood </a:t>
                      </a:r>
                      <a:endParaRPr lang="en-US"/>
                    </a:p>
                    <a:p>
                      <a:pPr lvl="0">
                        <a:buNone/>
                      </a:pPr>
                      <a:r>
                        <a:rPr lang="en-US" sz="1100"/>
                        <a:t>Sugar</a:t>
                      </a:r>
                    </a:p>
                  </a:txBody>
                  <a:tcPr/>
                </a:tc>
                <a:tc>
                  <a:txBody>
                    <a:bodyPr/>
                    <a:lstStyle/>
                    <a:p>
                      <a:pPr lvl="0">
                        <a:buNone/>
                      </a:pPr>
                      <a:r>
                        <a:rPr lang="en-US" sz="1100" b="0" i="0" u="none" strike="noStrike" noProof="0">
                          <a:latin typeface="Graphik"/>
                        </a:rPr>
                        <a:t>Universe = Adults who have diabetes</a:t>
                      </a:r>
                    </a:p>
                  </a:txBody>
                  <a:tcPr/>
                </a:tc>
                <a:extLst>
                  <a:ext uri="{0D108BD9-81ED-4DB2-BD59-A6C34878D82A}">
                    <a16:rowId xmlns:a16="http://schemas.microsoft.com/office/drawing/2014/main" val="3931680057"/>
                  </a:ext>
                </a:extLst>
              </a:tr>
              <a:tr h="493415">
                <a:tc>
                  <a:txBody>
                    <a:bodyPr/>
                    <a:lstStyle/>
                    <a:p>
                      <a:r>
                        <a:rPr lang="en-US" sz="1100"/>
                        <a:t>AB63</a:t>
                      </a:r>
                    </a:p>
                  </a:txBody>
                  <a:tcPr/>
                </a:tc>
                <a:tc>
                  <a:txBody>
                    <a:bodyPr/>
                    <a:lstStyle/>
                    <a:p>
                      <a:r>
                        <a:rPr lang="en-US" sz="1100"/>
                        <a:t>Last Eye Exam Dilated Pupils</a:t>
                      </a:r>
                    </a:p>
                  </a:txBody>
                  <a:tcPr/>
                </a:tc>
                <a:tc>
                  <a:txBody>
                    <a:bodyPr/>
                    <a:lstStyle/>
                    <a:p>
                      <a:pPr lvl="0">
                        <a:buNone/>
                      </a:pPr>
                      <a:r>
                        <a:rPr lang="en-US" sz="1100" b="0" i="0" u="none" strike="noStrike" noProof="0">
                          <a:latin typeface="Graphik"/>
                        </a:rPr>
                        <a:t>Universe = Adults who have diabetes</a:t>
                      </a:r>
                      <a:endParaRPr lang="en-US" b="0" i="0" u="none" strike="noStrike" noProof="0">
                        <a:latin typeface="Graphik"/>
                      </a:endParaRPr>
                    </a:p>
                  </a:txBody>
                  <a:tcPr/>
                </a:tc>
                <a:extLst>
                  <a:ext uri="{0D108BD9-81ED-4DB2-BD59-A6C34878D82A}">
                    <a16:rowId xmlns:a16="http://schemas.microsoft.com/office/drawing/2014/main" val="3597979318"/>
                  </a:ext>
                </a:extLst>
              </a:tr>
              <a:tr h="596688">
                <a:tc>
                  <a:txBody>
                    <a:bodyPr/>
                    <a:lstStyle/>
                    <a:p>
                      <a:pPr lvl="0">
                        <a:buNone/>
                      </a:pPr>
                      <a:r>
                        <a:rPr lang="en-US" sz="1100"/>
                        <a:t>AB27_P1</a:t>
                      </a:r>
                    </a:p>
                  </a:txBody>
                  <a:tcPr/>
                </a:tc>
                <a:tc>
                  <a:txBody>
                    <a:bodyPr/>
                    <a:lstStyle/>
                    <a:p>
                      <a:pPr lvl="0">
                        <a:buNone/>
                      </a:pPr>
                      <a:r>
                        <a:rPr lang="en-US" sz="1100"/>
                        <a:t>Number of Times Doctor Checked for </a:t>
                      </a:r>
                      <a:endParaRPr lang="en-US"/>
                    </a:p>
                    <a:p>
                      <a:pPr lvl="0">
                        <a:buNone/>
                      </a:pPr>
                      <a:r>
                        <a:rPr lang="en-US" sz="1100"/>
                        <a:t>Hemoglobin A1C Last Year</a:t>
                      </a:r>
                    </a:p>
                  </a:txBody>
                  <a:tcPr/>
                </a:tc>
                <a:tc>
                  <a:txBody>
                    <a:bodyPr/>
                    <a:lstStyle/>
                    <a:p>
                      <a:pPr lvl="0">
                        <a:buNone/>
                      </a:pPr>
                      <a:r>
                        <a:rPr lang="en-US" sz="1100"/>
                        <a:t>Universe = Adults who have diabetes and medical providers developed diabetes care plan</a:t>
                      </a:r>
                    </a:p>
                  </a:txBody>
                  <a:tcPr/>
                </a:tc>
                <a:extLst>
                  <a:ext uri="{0D108BD9-81ED-4DB2-BD59-A6C34878D82A}">
                    <a16:rowId xmlns:a16="http://schemas.microsoft.com/office/drawing/2014/main" val="3684871215"/>
                  </a:ext>
                </a:extLst>
              </a:tr>
            </a:tbl>
          </a:graphicData>
        </a:graphic>
      </p:graphicFrame>
    </p:spTree>
    <p:extLst>
      <p:ext uri="{BB962C8B-B14F-4D97-AF65-F5344CB8AC3E}">
        <p14:creationId xmlns:p14="http://schemas.microsoft.com/office/powerpoint/2010/main" val="2370905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34</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Features Not Included</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graphicFrame>
        <p:nvGraphicFramePr>
          <p:cNvPr id="11" name="Table 11">
            <a:extLst>
              <a:ext uri="{FF2B5EF4-FFF2-40B4-BE49-F238E27FC236}">
                <a16:creationId xmlns:a16="http://schemas.microsoft.com/office/drawing/2014/main" id="{F74EA413-3D71-E2C8-779E-503541830F45}"/>
              </a:ext>
            </a:extLst>
          </p:cNvPr>
          <p:cNvGraphicFramePr>
            <a:graphicFrameLocks noGrp="1"/>
          </p:cNvGraphicFramePr>
          <p:nvPr/>
        </p:nvGraphicFramePr>
        <p:xfrm>
          <a:off x="959923" y="1810986"/>
          <a:ext cx="10316118" cy="4075346"/>
        </p:xfrm>
        <a:graphic>
          <a:graphicData uri="http://schemas.openxmlformats.org/drawingml/2006/table">
            <a:tbl>
              <a:tblPr firstRow="1" bandRow="1">
                <a:tableStyleId>{5C22544A-7EE6-4342-B048-85BDC9FD1C3A}</a:tableStyleId>
              </a:tblPr>
              <a:tblGrid>
                <a:gridCol w="3438706">
                  <a:extLst>
                    <a:ext uri="{9D8B030D-6E8A-4147-A177-3AD203B41FA5}">
                      <a16:colId xmlns:a16="http://schemas.microsoft.com/office/drawing/2014/main" val="2937422798"/>
                    </a:ext>
                  </a:extLst>
                </a:gridCol>
                <a:gridCol w="3438706">
                  <a:extLst>
                    <a:ext uri="{9D8B030D-6E8A-4147-A177-3AD203B41FA5}">
                      <a16:colId xmlns:a16="http://schemas.microsoft.com/office/drawing/2014/main" val="1810389957"/>
                    </a:ext>
                  </a:extLst>
                </a:gridCol>
                <a:gridCol w="3438706">
                  <a:extLst>
                    <a:ext uri="{9D8B030D-6E8A-4147-A177-3AD203B41FA5}">
                      <a16:colId xmlns:a16="http://schemas.microsoft.com/office/drawing/2014/main" val="3217495895"/>
                    </a:ext>
                  </a:extLst>
                </a:gridCol>
              </a:tblGrid>
              <a:tr h="424566">
                <a:tc>
                  <a:txBody>
                    <a:bodyPr/>
                    <a:lstStyle/>
                    <a:p>
                      <a:r>
                        <a:rPr lang="en-US" sz="1100"/>
                        <a:t>Variable</a:t>
                      </a:r>
                    </a:p>
                  </a:txBody>
                  <a:tcPr/>
                </a:tc>
                <a:tc>
                  <a:txBody>
                    <a:bodyPr/>
                    <a:lstStyle/>
                    <a:p>
                      <a:r>
                        <a:rPr lang="en-US" sz="1100"/>
                        <a:t>Label</a:t>
                      </a:r>
                    </a:p>
                  </a:txBody>
                  <a:tcPr/>
                </a:tc>
                <a:tc>
                  <a:txBody>
                    <a:bodyPr/>
                    <a:lstStyle/>
                    <a:p>
                      <a:r>
                        <a:rPr lang="en-US" sz="1100"/>
                        <a:t>Reason</a:t>
                      </a:r>
                    </a:p>
                  </a:txBody>
                  <a:tcPr/>
                </a:tc>
                <a:extLst>
                  <a:ext uri="{0D108BD9-81ED-4DB2-BD59-A6C34878D82A}">
                    <a16:rowId xmlns:a16="http://schemas.microsoft.com/office/drawing/2014/main" val="2548864310"/>
                  </a:ext>
                </a:extLst>
              </a:tr>
              <a:tr h="424565">
                <a:tc>
                  <a:txBody>
                    <a:bodyPr/>
                    <a:lstStyle/>
                    <a:p>
                      <a:pPr lvl="0">
                        <a:buNone/>
                      </a:pPr>
                      <a:r>
                        <a:rPr lang="en-US" sz="1100"/>
                        <a:t>AB28_P1</a:t>
                      </a:r>
                    </a:p>
                  </a:txBody>
                  <a:tcPr/>
                </a:tc>
                <a:tc>
                  <a:txBody>
                    <a:bodyPr/>
                    <a:lstStyle/>
                    <a:p>
                      <a:pPr lvl="0">
                        <a:buNone/>
                      </a:pPr>
                      <a:r>
                        <a:rPr lang="en-US" sz="1100"/>
                        <a:t>Number of Times Doctor Checked Feet for Sores </a:t>
                      </a:r>
                      <a:endParaRPr lang="en-US"/>
                    </a:p>
                    <a:p>
                      <a:pPr lvl="0">
                        <a:buNone/>
                      </a:pPr>
                      <a:r>
                        <a:rPr lang="en-US" sz="1100"/>
                        <a:t>Last Year</a:t>
                      </a:r>
                      <a:endParaRPr lang="en-US"/>
                    </a:p>
                  </a:txBody>
                  <a:tcPr/>
                </a:tc>
                <a:tc>
                  <a:txBody>
                    <a:bodyPr/>
                    <a:lstStyle/>
                    <a:p>
                      <a:pPr lvl="0">
                        <a:buNone/>
                      </a:pPr>
                      <a:r>
                        <a:rPr lang="en-US" sz="1100" b="0" i="0" u="none" strike="noStrike" noProof="0">
                          <a:latin typeface="Graphik"/>
                        </a:rPr>
                        <a:t>Universe = Adults who have diabetes</a:t>
                      </a:r>
                      <a:endParaRPr lang="en-US"/>
                    </a:p>
                  </a:txBody>
                  <a:tcPr/>
                </a:tc>
                <a:extLst>
                  <a:ext uri="{0D108BD9-81ED-4DB2-BD59-A6C34878D82A}">
                    <a16:rowId xmlns:a16="http://schemas.microsoft.com/office/drawing/2014/main" val="3489741510"/>
                  </a:ext>
                </a:extLst>
              </a:tr>
              <a:tr h="493414">
                <a:tc>
                  <a:txBody>
                    <a:bodyPr/>
                    <a:lstStyle/>
                    <a:p>
                      <a:pPr lvl="0">
                        <a:buNone/>
                      </a:pPr>
                      <a:r>
                        <a:rPr lang="en-US" sz="1100"/>
                        <a:t>AB26_P1</a:t>
                      </a:r>
                      <a:endParaRPr lang="en-US"/>
                    </a:p>
                  </a:txBody>
                  <a:tcPr/>
                </a:tc>
                <a:tc>
                  <a:txBody>
                    <a:bodyPr/>
                    <a:lstStyle/>
                    <a:p>
                      <a:pPr lvl="0">
                        <a:buNone/>
                      </a:pPr>
                      <a:r>
                        <a:rPr lang="en-US" sz="1100"/>
                        <a:t>Number of Times Respondent/R's Family/Friend </a:t>
                      </a:r>
                      <a:endParaRPr lang="en-US"/>
                    </a:p>
                    <a:p>
                      <a:pPr lvl="0">
                        <a:buNone/>
                      </a:pPr>
                      <a:r>
                        <a:rPr lang="en-US" sz="1100"/>
                        <a:t>Check Glucose</a:t>
                      </a:r>
                    </a:p>
                  </a:txBody>
                  <a:tcPr/>
                </a:tc>
                <a:tc>
                  <a:txBody>
                    <a:bodyPr/>
                    <a:lstStyle/>
                    <a:p>
                      <a:pPr lvl="0">
                        <a:buNone/>
                      </a:pPr>
                      <a:r>
                        <a:rPr lang="en-US" sz="1100"/>
                        <a:t>Universe = Adults who have diabetes</a:t>
                      </a:r>
                      <a:endParaRPr lang="en-US"/>
                    </a:p>
                  </a:txBody>
                  <a:tcPr/>
                </a:tc>
                <a:extLst>
                  <a:ext uri="{0D108BD9-81ED-4DB2-BD59-A6C34878D82A}">
                    <a16:rowId xmlns:a16="http://schemas.microsoft.com/office/drawing/2014/main" val="145739671"/>
                  </a:ext>
                </a:extLst>
              </a:tr>
              <a:tr h="424565">
                <a:tc>
                  <a:txBody>
                    <a:bodyPr/>
                    <a:lstStyle/>
                    <a:p>
                      <a:pPr lvl="0">
                        <a:buNone/>
                      </a:pPr>
                      <a:r>
                        <a:rPr lang="en-US" sz="1100"/>
                        <a:t>DIABCK_P1</a:t>
                      </a:r>
                    </a:p>
                  </a:txBody>
                  <a:tcPr/>
                </a:tc>
                <a:tc>
                  <a:txBody>
                    <a:bodyPr/>
                    <a:lstStyle/>
                    <a:p>
                      <a:pPr lvl="0">
                        <a:buNone/>
                      </a:pPr>
                      <a:r>
                        <a:rPr lang="en-US" sz="1100"/>
                        <a:t>Number of Times Checking for Glucose/Sugar </a:t>
                      </a:r>
                      <a:endParaRPr lang="en-US"/>
                    </a:p>
                    <a:p>
                      <a:pPr lvl="0">
                        <a:buNone/>
                      </a:pPr>
                      <a:r>
                        <a:rPr lang="en-US" sz="1100"/>
                        <a:t>Per Month</a:t>
                      </a:r>
                      <a:endParaRPr lang="en-US"/>
                    </a:p>
                  </a:txBody>
                  <a:tcPr/>
                </a:tc>
                <a:tc>
                  <a:txBody>
                    <a:bodyPr/>
                    <a:lstStyle/>
                    <a:p>
                      <a:pPr lvl="0">
                        <a:buNone/>
                      </a:pPr>
                      <a:r>
                        <a:rPr lang="en-US" sz="1100"/>
                        <a:t>Universe = Adults who have diabetes or sugar</a:t>
                      </a:r>
                      <a:endParaRPr lang="en-US"/>
                    </a:p>
                    <a:p>
                      <a:pPr lvl="0">
                        <a:buNone/>
                      </a:pPr>
                      <a:r>
                        <a:rPr lang="en-US" sz="1100"/>
                        <a:t>diabetes</a:t>
                      </a:r>
                      <a:endParaRPr lang="en-US"/>
                    </a:p>
                  </a:txBody>
                  <a:tcPr/>
                </a:tc>
                <a:extLst>
                  <a:ext uri="{0D108BD9-81ED-4DB2-BD59-A6C34878D82A}">
                    <a16:rowId xmlns:a16="http://schemas.microsoft.com/office/drawing/2014/main" val="1610771471"/>
                  </a:ext>
                </a:extLst>
              </a:tr>
              <a:tr h="424565">
                <a:tc>
                  <a:txBody>
                    <a:bodyPr/>
                    <a:lstStyle/>
                    <a:p>
                      <a:pPr lvl="0">
                        <a:buNone/>
                      </a:pPr>
                      <a:r>
                        <a:rPr lang="en-US" sz="1100"/>
                        <a:t>AB27_P</a:t>
                      </a:r>
                      <a:endParaRPr lang="en-US"/>
                    </a:p>
                  </a:txBody>
                  <a:tcPr/>
                </a:tc>
                <a:tc>
                  <a:txBody>
                    <a:bodyPr/>
                    <a:lstStyle/>
                    <a:p>
                      <a:pPr lvl="0">
                        <a:buNone/>
                      </a:pPr>
                      <a:r>
                        <a:rPr lang="en-US" sz="1100"/>
                        <a:t>Number of Times Doctor Checked Hemoglobin </a:t>
                      </a:r>
                      <a:endParaRPr lang="en-US"/>
                    </a:p>
                    <a:p>
                      <a:pPr lvl="0">
                        <a:buNone/>
                      </a:pPr>
                      <a:r>
                        <a:rPr lang="en-US" sz="1100"/>
                        <a:t>A1C Last Year</a:t>
                      </a:r>
                      <a:endParaRPr lang="en-US"/>
                    </a:p>
                  </a:txBody>
                  <a:tcPr/>
                </a:tc>
                <a:tc>
                  <a:txBody>
                    <a:bodyPr/>
                    <a:lstStyle/>
                    <a:p>
                      <a:pPr lvl="0">
                        <a:buNone/>
                      </a:pPr>
                      <a:r>
                        <a:rPr lang="en-US" sz="1100"/>
                        <a:t>Universe = Adults who have diabetes</a:t>
                      </a:r>
                      <a:endParaRPr lang="en-US"/>
                    </a:p>
                  </a:txBody>
                  <a:tcPr/>
                </a:tc>
                <a:extLst>
                  <a:ext uri="{0D108BD9-81ED-4DB2-BD59-A6C34878D82A}">
                    <a16:rowId xmlns:a16="http://schemas.microsoft.com/office/drawing/2014/main" val="523674886"/>
                  </a:ext>
                </a:extLst>
              </a:tr>
              <a:tr h="688486">
                <a:tc>
                  <a:txBody>
                    <a:bodyPr/>
                    <a:lstStyle/>
                    <a:p>
                      <a:pPr lvl="0">
                        <a:buNone/>
                      </a:pPr>
                      <a:r>
                        <a:rPr lang="en-US" sz="1100"/>
                        <a:t>AJ80</a:t>
                      </a:r>
                      <a:endParaRPr lang="en-US"/>
                    </a:p>
                  </a:txBody>
                  <a:tcPr/>
                </a:tc>
                <a:tc>
                  <a:txBody>
                    <a:bodyPr/>
                    <a:lstStyle/>
                    <a:p>
                      <a:pPr lvl="0">
                        <a:buNone/>
                      </a:pPr>
                      <a:r>
                        <a:rPr lang="en-US" sz="1100"/>
                        <a:t>Has Someone at Doctor's Office/Clinic Who </a:t>
                      </a:r>
                      <a:endParaRPr lang="en-US"/>
                    </a:p>
                    <a:p>
                      <a:pPr lvl="0">
                        <a:buNone/>
                      </a:pPr>
                      <a:r>
                        <a:rPr lang="en-US" sz="1100"/>
                        <a:t>Helps Coordinate Medical</a:t>
                      </a:r>
                      <a:endParaRPr lang="en-US"/>
                    </a:p>
                  </a:txBody>
                  <a:tcPr/>
                </a:tc>
                <a:tc>
                  <a:txBody>
                    <a:bodyPr/>
                    <a:lstStyle/>
                    <a:p>
                      <a:pPr lvl="0">
                        <a:buNone/>
                      </a:pPr>
                      <a:r>
                        <a:rPr lang="en-US" sz="1100"/>
                        <a:t>Universe = Adults who have usual source of care </a:t>
                      </a:r>
                      <a:endParaRPr lang="en-US"/>
                    </a:p>
                    <a:p>
                      <a:pPr lvl="0">
                        <a:buNone/>
                      </a:pPr>
                      <a:r>
                        <a:rPr lang="en-US" sz="1100"/>
                        <a:t>and has personal doctor and have asthma or</a:t>
                      </a:r>
                    </a:p>
                    <a:p>
                      <a:pPr lvl="0">
                        <a:buNone/>
                      </a:pPr>
                      <a:r>
                        <a:rPr lang="en-US" sz="1100"/>
                        <a:t> diabetes or heart disease</a:t>
                      </a:r>
                      <a:endParaRPr lang="en-US"/>
                    </a:p>
                  </a:txBody>
                  <a:tcPr/>
                </a:tc>
                <a:extLst>
                  <a:ext uri="{0D108BD9-81ED-4DB2-BD59-A6C34878D82A}">
                    <a16:rowId xmlns:a16="http://schemas.microsoft.com/office/drawing/2014/main" val="3433535344"/>
                  </a:ext>
                </a:extLst>
              </a:tr>
              <a:tr h="424565">
                <a:tc>
                  <a:txBody>
                    <a:bodyPr/>
                    <a:lstStyle/>
                    <a:p>
                      <a:pPr lvl="0">
                        <a:buNone/>
                      </a:pPr>
                      <a:r>
                        <a:rPr lang="en-US" sz="1100"/>
                        <a:t>AH102_P</a:t>
                      </a:r>
                      <a:endParaRPr lang="en-US"/>
                    </a:p>
                  </a:txBody>
                  <a:tcPr/>
                </a:tc>
                <a:tc>
                  <a:txBody>
                    <a:bodyPr/>
                    <a:lstStyle/>
                    <a:p>
                      <a:pPr lvl="0">
                        <a:buNone/>
                      </a:pPr>
                      <a:r>
                        <a:rPr lang="en-US" sz="1100"/>
                        <a:t>Number of Nights in Hospital Past 12 Months</a:t>
                      </a:r>
                      <a:endParaRPr lang="en-US"/>
                    </a:p>
                  </a:txBody>
                  <a:tcPr/>
                </a:tc>
                <a:tc>
                  <a:txBody>
                    <a:bodyPr/>
                    <a:lstStyle/>
                    <a:p>
                      <a:pPr lvl="0">
                        <a:buNone/>
                      </a:pPr>
                      <a:r>
                        <a:rPr lang="en-US" sz="1100"/>
                        <a:t>Universe = Adults who were hospitalized for </a:t>
                      </a:r>
                      <a:endParaRPr lang="en-US"/>
                    </a:p>
                    <a:p>
                      <a:pPr lvl="0">
                        <a:buNone/>
                      </a:pPr>
                      <a:r>
                        <a:rPr lang="en-US" sz="1100"/>
                        <a:t>asthma, diabetes or heart disease during the </a:t>
                      </a:r>
                    </a:p>
                    <a:p>
                      <a:pPr lvl="0">
                        <a:buNone/>
                      </a:pPr>
                      <a:r>
                        <a:rPr lang="en-US" sz="1100"/>
                        <a:t>past 12 months</a:t>
                      </a:r>
                      <a:endParaRPr lang="en-US"/>
                    </a:p>
                  </a:txBody>
                  <a:tcPr/>
                </a:tc>
                <a:extLst>
                  <a:ext uri="{0D108BD9-81ED-4DB2-BD59-A6C34878D82A}">
                    <a16:rowId xmlns:a16="http://schemas.microsoft.com/office/drawing/2014/main" val="1934771517"/>
                  </a:ext>
                </a:extLst>
              </a:tr>
              <a:tr h="493414">
                <a:tc>
                  <a:txBody>
                    <a:bodyPr/>
                    <a:lstStyle/>
                    <a:p>
                      <a:pPr lvl="0">
                        <a:buNone/>
                      </a:pPr>
                      <a:r>
                        <a:rPr lang="en-US" sz="1100"/>
                        <a:t>AH102_P1</a:t>
                      </a:r>
                      <a:endParaRPr lang="en-US"/>
                    </a:p>
                  </a:txBody>
                  <a:tcPr/>
                </a:tc>
                <a:tc>
                  <a:txBody>
                    <a:bodyPr/>
                    <a:lstStyle/>
                    <a:p>
                      <a:pPr lvl="0">
                        <a:buNone/>
                      </a:pPr>
                      <a:r>
                        <a:rPr lang="en-US" sz="1100"/>
                        <a:t>Number of Nights in Hospital Past 12 Months</a:t>
                      </a:r>
                      <a:endParaRPr lang="en-US"/>
                    </a:p>
                  </a:txBody>
                  <a:tcPr/>
                </a:tc>
                <a:tc>
                  <a:txBody>
                    <a:bodyPr/>
                    <a:lstStyle/>
                    <a:p>
                      <a:pPr lvl="0">
                        <a:buNone/>
                      </a:pPr>
                      <a:r>
                        <a:rPr lang="en-US" sz="1100"/>
                        <a:t>Universe = Adults who were hospitalized for </a:t>
                      </a:r>
                      <a:endParaRPr lang="en-US"/>
                    </a:p>
                    <a:p>
                      <a:pPr lvl="0">
                        <a:buNone/>
                      </a:pPr>
                      <a:r>
                        <a:rPr lang="en-US" sz="1100"/>
                        <a:t>asthma, diabetes or heart disease during the </a:t>
                      </a:r>
                    </a:p>
                    <a:p>
                      <a:pPr lvl="0">
                        <a:buNone/>
                      </a:pPr>
                      <a:r>
                        <a:rPr lang="en-US" sz="1100"/>
                        <a:t>past 12 months</a:t>
                      </a:r>
                      <a:endParaRPr lang="en-US"/>
                    </a:p>
                  </a:txBody>
                  <a:tcPr/>
                </a:tc>
                <a:extLst>
                  <a:ext uri="{0D108BD9-81ED-4DB2-BD59-A6C34878D82A}">
                    <a16:rowId xmlns:a16="http://schemas.microsoft.com/office/drawing/2014/main" val="3931680057"/>
                  </a:ext>
                </a:extLst>
              </a:tr>
            </a:tbl>
          </a:graphicData>
        </a:graphic>
      </p:graphicFrame>
    </p:spTree>
    <p:extLst>
      <p:ext uri="{BB962C8B-B14F-4D97-AF65-F5344CB8AC3E}">
        <p14:creationId xmlns:p14="http://schemas.microsoft.com/office/powerpoint/2010/main" val="11430642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2F5A01-3486-4DDA-BF58-1135C0F7E352}"/>
              </a:ext>
            </a:extLst>
          </p:cNvPr>
          <p:cNvSpPr>
            <a:spLocks noGrp="1"/>
          </p:cNvSpPr>
          <p:nvPr>
            <p:ph type="ftr" sz="quarter" idx="37"/>
          </p:nvPr>
        </p:nvSpPr>
        <p:spPr/>
        <p:txBody>
          <a:bodyPr/>
          <a:lstStyle/>
          <a:p>
            <a:r>
              <a:rPr lang="en-AU"/>
              <a:t>Copyright © 2022 Accenture. All rights reserved.</a:t>
            </a:r>
          </a:p>
        </p:txBody>
      </p:sp>
      <p:sp>
        <p:nvSpPr>
          <p:cNvPr id="5" name="Slide Number Placeholder 4">
            <a:extLst>
              <a:ext uri="{FF2B5EF4-FFF2-40B4-BE49-F238E27FC236}">
                <a16:creationId xmlns:a16="http://schemas.microsoft.com/office/drawing/2014/main" id="{02A8988F-31C2-4E49-9EB9-20E8D115EEA2}"/>
              </a:ext>
            </a:extLst>
          </p:cNvPr>
          <p:cNvSpPr>
            <a:spLocks noGrp="1"/>
          </p:cNvSpPr>
          <p:nvPr>
            <p:ph type="sldNum" sz="quarter" idx="38"/>
          </p:nvPr>
        </p:nvSpPr>
        <p:spPr/>
        <p:txBody>
          <a:bodyPr/>
          <a:lstStyle/>
          <a:p>
            <a:fld id="{FC1BBE33-A891-48E8-970C-4A8D55F96D53}" type="slidenum">
              <a:rPr lang="en-AU" smtClean="0"/>
              <a:pPr/>
              <a:t>35</a:t>
            </a:fld>
            <a:endParaRPr lang="en-AU"/>
          </a:p>
        </p:txBody>
      </p:sp>
      <p:sp>
        <p:nvSpPr>
          <p:cNvPr id="67" name="Title 1">
            <a:extLst>
              <a:ext uri="{FF2B5EF4-FFF2-40B4-BE49-F238E27FC236}">
                <a16:creationId xmlns:a16="http://schemas.microsoft.com/office/drawing/2014/main" id="{44BB12FD-2374-40AC-8366-573EED671AF9}"/>
              </a:ext>
            </a:extLst>
          </p:cNvPr>
          <p:cNvSpPr>
            <a:spLocks noGrp="1"/>
          </p:cNvSpPr>
          <p:nvPr>
            <p:ph type="title"/>
          </p:nvPr>
        </p:nvSpPr>
        <p:spPr>
          <a:xfrm>
            <a:off x="305814" y="312433"/>
            <a:ext cx="11361049" cy="403828"/>
          </a:xfrm>
        </p:spPr>
        <p:txBody>
          <a:bodyPr>
            <a:spAutoFit/>
          </a:bodyPr>
          <a:lstStyle/>
          <a:p>
            <a:r>
              <a:rPr lang="en-US"/>
              <a:t>Features Not Included</a:t>
            </a:r>
          </a:p>
        </p:txBody>
      </p:sp>
      <p:sp>
        <p:nvSpPr>
          <p:cNvPr id="68" name="Rectangle 67">
            <a:extLst>
              <a:ext uri="{FF2B5EF4-FFF2-40B4-BE49-F238E27FC236}">
                <a16:creationId xmlns:a16="http://schemas.microsoft.com/office/drawing/2014/main" id="{9469CF9C-6538-47BA-8C2E-A6E6626086F0}"/>
              </a:ext>
            </a:extLst>
          </p:cNvPr>
          <p:cNvSpPr/>
          <p:nvPr/>
        </p:nvSpPr>
        <p:spPr>
          <a:xfrm>
            <a:off x="305813" y="774734"/>
            <a:ext cx="10968437" cy="369332"/>
          </a:xfrm>
          <a:prstGeom prst="rect">
            <a:avLst/>
          </a:prstGeom>
        </p:spPr>
        <p:txBody>
          <a:bodyPr wrap="square" lIns="91440" tIns="45720" rIns="91440" bIns="45720" anchor="t">
            <a:spAutoFit/>
          </a:bodyPr>
          <a:lstStyle/>
          <a:p>
            <a:r>
              <a:rPr lang="en-US"/>
              <a:t>Data is at the heart of AI and data quality is key to successful AI</a:t>
            </a:r>
          </a:p>
        </p:txBody>
      </p:sp>
      <p:graphicFrame>
        <p:nvGraphicFramePr>
          <p:cNvPr id="11" name="Table 11">
            <a:extLst>
              <a:ext uri="{FF2B5EF4-FFF2-40B4-BE49-F238E27FC236}">
                <a16:creationId xmlns:a16="http://schemas.microsoft.com/office/drawing/2014/main" id="{F74EA413-3D71-E2C8-779E-503541830F45}"/>
              </a:ext>
            </a:extLst>
          </p:cNvPr>
          <p:cNvGraphicFramePr>
            <a:graphicFrameLocks noGrp="1"/>
          </p:cNvGraphicFramePr>
          <p:nvPr/>
        </p:nvGraphicFramePr>
        <p:xfrm>
          <a:off x="959923" y="1810986"/>
          <a:ext cx="10316118" cy="2880161"/>
        </p:xfrm>
        <a:graphic>
          <a:graphicData uri="http://schemas.openxmlformats.org/drawingml/2006/table">
            <a:tbl>
              <a:tblPr firstRow="1" bandRow="1">
                <a:tableStyleId>{5C22544A-7EE6-4342-B048-85BDC9FD1C3A}</a:tableStyleId>
              </a:tblPr>
              <a:tblGrid>
                <a:gridCol w="3438706">
                  <a:extLst>
                    <a:ext uri="{9D8B030D-6E8A-4147-A177-3AD203B41FA5}">
                      <a16:colId xmlns:a16="http://schemas.microsoft.com/office/drawing/2014/main" val="2937422798"/>
                    </a:ext>
                  </a:extLst>
                </a:gridCol>
                <a:gridCol w="3438706">
                  <a:extLst>
                    <a:ext uri="{9D8B030D-6E8A-4147-A177-3AD203B41FA5}">
                      <a16:colId xmlns:a16="http://schemas.microsoft.com/office/drawing/2014/main" val="1810389957"/>
                    </a:ext>
                  </a:extLst>
                </a:gridCol>
                <a:gridCol w="3438706">
                  <a:extLst>
                    <a:ext uri="{9D8B030D-6E8A-4147-A177-3AD203B41FA5}">
                      <a16:colId xmlns:a16="http://schemas.microsoft.com/office/drawing/2014/main" val="3217495895"/>
                    </a:ext>
                  </a:extLst>
                </a:gridCol>
              </a:tblGrid>
              <a:tr h="424566">
                <a:tc>
                  <a:txBody>
                    <a:bodyPr/>
                    <a:lstStyle/>
                    <a:p>
                      <a:r>
                        <a:rPr lang="en-US" sz="1100"/>
                        <a:t>Variable</a:t>
                      </a:r>
                    </a:p>
                  </a:txBody>
                  <a:tcPr/>
                </a:tc>
                <a:tc>
                  <a:txBody>
                    <a:bodyPr/>
                    <a:lstStyle/>
                    <a:p>
                      <a:r>
                        <a:rPr lang="en-US" sz="1100"/>
                        <a:t>Label</a:t>
                      </a:r>
                    </a:p>
                  </a:txBody>
                  <a:tcPr/>
                </a:tc>
                <a:tc>
                  <a:txBody>
                    <a:bodyPr/>
                    <a:lstStyle/>
                    <a:p>
                      <a:r>
                        <a:rPr lang="en-US" sz="1100"/>
                        <a:t>Reason</a:t>
                      </a:r>
                    </a:p>
                  </a:txBody>
                  <a:tcPr/>
                </a:tc>
                <a:extLst>
                  <a:ext uri="{0D108BD9-81ED-4DB2-BD59-A6C34878D82A}">
                    <a16:rowId xmlns:a16="http://schemas.microsoft.com/office/drawing/2014/main" val="2548864310"/>
                  </a:ext>
                </a:extLst>
              </a:tr>
              <a:tr h="424565">
                <a:tc>
                  <a:txBody>
                    <a:bodyPr/>
                    <a:lstStyle/>
                    <a:p>
                      <a:pPr lvl="0">
                        <a:buNone/>
                      </a:pPr>
                      <a:r>
                        <a:rPr lang="en-US" sz="1100"/>
                        <a:t>WEIGHK_P</a:t>
                      </a:r>
                    </a:p>
                  </a:txBody>
                  <a:tcPr/>
                </a:tc>
                <a:tc>
                  <a:txBody>
                    <a:bodyPr/>
                    <a:lstStyle/>
                    <a:p>
                      <a:pPr lvl="0">
                        <a:buNone/>
                      </a:pPr>
                      <a:r>
                        <a:rPr lang="en-US" sz="1100"/>
                        <a:t>Weight - KG</a:t>
                      </a:r>
                      <a:endParaRPr lang="en-US"/>
                    </a:p>
                  </a:txBody>
                  <a:tcPr/>
                </a:tc>
                <a:tc>
                  <a:txBody>
                    <a:bodyPr/>
                    <a:lstStyle/>
                    <a:p>
                      <a:pPr lvl="0">
                        <a:buNone/>
                      </a:pPr>
                      <a:r>
                        <a:rPr lang="en-US" sz="1100" b="0" i="0" u="none" strike="noStrike" noProof="0"/>
                        <a:t>Similar feature to another feature in the dataset</a:t>
                      </a:r>
                      <a:endParaRPr lang="en-US"/>
                    </a:p>
                  </a:txBody>
                  <a:tcPr/>
                </a:tc>
                <a:extLst>
                  <a:ext uri="{0D108BD9-81ED-4DB2-BD59-A6C34878D82A}">
                    <a16:rowId xmlns:a16="http://schemas.microsoft.com/office/drawing/2014/main" val="3489741510"/>
                  </a:ext>
                </a:extLst>
              </a:tr>
              <a:tr h="493414">
                <a:tc>
                  <a:txBody>
                    <a:bodyPr/>
                    <a:lstStyle/>
                    <a:p>
                      <a:pPr lvl="0">
                        <a:buNone/>
                      </a:pPr>
                      <a:r>
                        <a:rPr lang="en-US" sz="1100"/>
                        <a:t>WGHTK_P</a:t>
                      </a:r>
                    </a:p>
                  </a:txBody>
                  <a:tcPr/>
                </a:tc>
                <a:tc>
                  <a:txBody>
                    <a:bodyPr/>
                    <a:lstStyle/>
                    <a:p>
                      <a:pPr lvl="0">
                        <a:buNone/>
                      </a:pPr>
                      <a:r>
                        <a:rPr lang="en-US" sz="1100"/>
                        <a:t>Weight - KG</a:t>
                      </a:r>
                    </a:p>
                  </a:txBody>
                  <a:tcPr/>
                </a:tc>
                <a:tc>
                  <a:txBody>
                    <a:bodyPr/>
                    <a:lstStyle/>
                    <a:p>
                      <a:pPr lvl="0">
                        <a:buNone/>
                      </a:pPr>
                      <a:r>
                        <a:rPr lang="en-US" sz="1100" b="0" i="0" u="none" strike="noStrike" noProof="0">
                          <a:latin typeface="Graphik"/>
                        </a:rPr>
                        <a:t>Similar feature to another feature in the dataset</a:t>
                      </a:r>
                      <a:endParaRPr lang="en-US"/>
                    </a:p>
                  </a:txBody>
                  <a:tcPr/>
                </a:tc>
                <a:extLst>
                  <a:ext uri="{0D108BD9-81ED-4DB2-BD59-A6C34878D82A}">
                    <a16:rowId xmlns:a16="http://schemas.microsoft.com/office/drawing/2014/main" val="145739671"/>
                  </a:ext>
                </a:extLst>
              </a:tr>
              <a:tr h="424565">
                <a:tc>
                  <a:txBody>
                    <a:bodyPr/>
                    <a:lstStyle/>
                    <a:p>
                      <a:pPr lvl="0">
                        <a:buNone/>
                      </a:pPr>
                      <a:r>
                        <a:rPr lang="en-US" sz="1100"/>
                        <a:t>HEIGHM_P</a:t>
                      </a:r>
                    </a:p>
                  </a:txBody>
                  <a:tcPr/>
                </a:tc>
                <a:tc>
                  <a:txBody>
                    <a:bodyPr/>
                    <a:lstStyle/>
                    <a:p>
                      <a:pPr lvl="0">
                        <a:buNone/>
                      </a:pPr>
                      <a:r>
                        <a:rPr lang="en-US" sz="1100"/>
                        <a:t>Height - Meters</a:t>
                      </a:r>
                    </a:p>
                  </a:txBody>
                  <a:tcPr/>
                </a:tc>
                <a:tc>
                  <a:txBody>
                    <a:bodyPr/>
                    <a:lstStyle/>
                    <a:p>
                      <a:pPr lvl="0">
                        <a:buNone/>
                      </a:pPr>
                      <a:r>
                        <a:rPr lang="en-US" sz="1100" b="0" i="0" u="none" strike="noStrike" noProof="0">
                          <a:latin typeface="Graphik"/>
                        </a:rPr>
                        <a:t>Similar feature to another feature in the dataset</a:t>
                      </a:r>
                      <a:endParaRPr lang="en-US"/>
                    </a:p>
                  </a:txBody>
                  <a:tcPr/>
                </a:tc>
                <a:extLst>
                  <a:ext uri="{0D108BD9-81ED-4DB2-BD59-A6C34878D82A}">
                    <a16:rowId xmlns:a16="http://schemas.microsoft.com/office/drawing/2014/main" val="1610771471"/>
                  </a:ext>
                </a:extLst>
              </a:tr>
              <a:tr h="424565">
                <a:tc>
                  <a:txBody>
                    <a:bodyPr/>
                    <a:lstStyle/>
                    <a:p>
                      <a:pPr lvl="0">
                        <a:buNone/>
                      </a:pPr>
                      <a:r>
                        <a:rPr lang="en-US" sz="1100"/>
                        <a:t>HGHTM_P</a:t>
                      </a:r>
                      <a:endParaRPr lang="en-US"/>
                    </a:p>
                  </a:txBody>
                  <a:tcPr/>
                </a:tc>
                <a:tc>
                  <a:txBody>
                    <a:bodyPr/>
                    <a:lstStyle/>
                    <a:p>
                      <a:pPr lvl="0">
                        <a:buNone/>
                      </a:pPr>
                      <a:r>
                        <a:rPr lang="en-US" sz="1100"/>
                        <a:t>Height - Meters</a:t>
                      </a:r>
                    </a:p>
                  </a:txBody>
                  <a:tcPr/>
                </a:tc>
                <a:tc>
                  <a:txBody>
                    <a:bodyPr/>
                    <a:lstStyle/>
                    <a:p>
                      <a:pPr lvl="0">
                        <a:buNone/>
                      </a:pPr>
                      <a:r>
                        <a:rPr lang="en-US" sz="1100" b="0" i="0" u="none" strike="noStrike" noProof="0">
                          <a:latin typeface="Graphik"/>
                        </a:rPr>
                        <a:t>Similar feature to another feature in the dataset</a:t>
                      </a:r>
                      <a:endParaRPr lang="en-US"/>
                    </a:p>
                  </a:txBody>
                  <a:tcPr/>
                </a:tc>
                <a:extLst>
                  <a:ext uri="{0D108BD9-81ED-4DB2-BD59-A6C34878D82A}">
                    <a16:rowId xmlns:a16="http://schemas.microsoft.com/office/drawing/2014/main" val="523674886"/>
                  </a:ext>
                </a:extLst>
              </a:tr>
              <a:tr h="688486">
                <a:tc>
                  <a:txBody>
                    <a:bodyPr/>
                    <a:lstStyle/>
                    <a:p>
                      <a:pPr lvl="0">
                        <a:buNone/>
                      </a:pPr>
                      <a:r>
                        <a:rPr lang="en-US" sz="1100"/>
                        <a:t>WHOBMI</a:t>
                      </a:r>
                    </a:p>
                  </a:txBody>
                  <a:tcPr/>
                </a:tc>
                <a:tc>
                  <a:txBody>
                    <a:bodyPr/>
                    <a:lstStyle/>
                    <a:p>
                      <a:pPr lvl="0">
                        <a:buNone/>
                      </a:pPr>
                      <a:r>
                        <a:rPr lang="en-US" sz="1100"/>
                        <a:t>Body Mass Index – WHO Definition</a:t>
                      </a:r>
                      <a:endParaRPr lang="en-US"/>
                    </a:p>
                  </a:txBody>
                  <a:tcPr/>
                </a:tc>
                <a:tc>
                  <a:txBody>
                    <a:bodyPr/>
                    <a:lstStyle/>
                    <a:p>
                      <a:pPr lvl="0">
                        <a:buNone/>
                      </a:pPr>
                      <a:r>
                        <a:rPr lang="en-US" sz="1100"/>
                        <a:t>Similar feature to another feature in the dataset</a:t>
                      </a:r>
                      <a:endParaRPr lang="en-US"/>
                    </a:p>
                  </a:txBody>
                  <a:tcPr/>
                </a:tc>
                <a:extLst>
                  <a:ext uri="{0D108BD9-81ED-4DB2-BD59-A6C34878D82A}">
                    <a16:rowId xmlns:a16="http://schemas.microsoft.com/office/drawing/2014/main" val="3433535344"/>
                  </a:ext>
                </a:extLst>
              </a:tr>
            </a:tbl>
          </a:graphicData>
        </a:graphic>
      </p:graphicFrame>
    </p:spTree>
    <p:extLst>
      <p:ext uri="{BB962C8B-B14F-4D97-AF65-F5344CB8AC3E}">
        <p14:creationId xmlns:p14="http://schemas.microsoft.com/office/powerpoint/2010/main" val="308771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lowchart: Off-page Connector 9">
            <a:extLst>
              <a:ext uri="{FF2B5EF4-FFF2-40B4-BE49-F238E27FC236}">
                <a16:creationId xmlns:a16="http://schemas.microsoft.com/office/drawing/2014/main" id="{E04FAA47-48CD-4AFD-985D-FE8366F2B7FE}"/>
              </a:ext>
            </a:extLst>
          </p:cNvPr>
          <p:cNvSpPr/>
          <p:nvPr/>
        </p:nvSpPr>
        <p:spPr>
          <a:xfrm rot="10800000">
            <a:off x="342288" y="637204"/>
            <a:ext cx="11593369" cy="1366559"/>
          </a:xfrm>
          <a:prstGeom prst="flowChartOffpageConnector">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b="1">
              <a:solidFill>
                <a:schemeClr val="bg1"/>
              </a:solidFill>
              <a:latin typeface="Graphik" panose="020B0503030202060203" pitchFamily="34" charset="77"/>
            </a:endParaRPr>
          </a:p>
        </p:txBody>
      </p:sp>
      <p:sp>
        <p:nvSpPr>
          <p:cNvPr id="6" name="Rectangle 5">
            <a:extLst>
              <a:ext uri="{FF2B5EF4-FFF2-40B4-BE49-F238E27FC236}">
                <a16:creationId xmlns:a16="http://schemas.microsoft.com/office/drawing/2014/main" id="{E50948B7-838F-4D1D-9EBB-166FC8E6C75F}"/>
              </a:ext>
            </a:extLst>
          </p:cNvPr>
          <p:cNvSpPr/>
          <p:nvPr/>
        </p:nvSpPr>
        <p:spPr>
          <a:xfrm>
            <a:off x="344630" y="5196339"/>
            <a:ext cx="11593369" cy="1149969"/>
          </a:xfrm>
          <a:prstGeom prst="rect">
            <a:avLst/>
          </a:prstGeom>
          <a:noFill/>
          <a:ln w="31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a:solidFill>
                  <a:schemeClr val="accent2"/>
                </a:solidFill>
              </a:rPr>
              <a:t>Value</a:t>
            </a:r>
          </a:p>
          <a:p>
            <a:pPr marL="285750" indent="-285750">
              <a:buFont typeface="Arial" panose="020B0604020202020204" pitchFamily="34" charset="0"/>
              <a:buChar char="•"/>
            </a:pPr>
            <a:endParaRPr lang="en-US" sz="1400">
              <a:solidFill>
                <a:schemeClr val="accent2"/>
              </a:solidFill>
            </a:endParaRPr>
          </a:p>
          <a:p>
            <a:pPr algn="ctr"/>
            <a:endParaRPr lang="en-US" sz="1400" b="1">
              <a:solidFill>
                <a:schemeClr val="accent2"/>
              </a:solidFill>
            </a:endParaRPr>
          </a:p>
          <a:p>
            <a:pPr algn="ctr"/>
            <a:endParaRPr lang="en-US" sz="1400">
              <a:solidFill>
                <a:schemeClr val="accent2"/>
              </a:solidFill>
            </a:endParaRPr>
          </a:p>
          <a:p>
            <a:pPr marL="285750" indent="-285750">
              <a:buFont typeface="Arial" panose="020B0604020202020204" pitchFamily="34" charset="0"/>
              <a:buChar char="•"/>
            </a:pPr>
            <a:endParaRPr lang="en-US" sz="1400">
              <a:solidFill>
                <a:schemeClr val="accent2"/>
              </a:solidFill>
            </a:endParaRPr>
          </a:p>
        </p:txBody>
      </p:sp>
      <p:sp>
        <p:nvSpPr>
          <p:cNvPr id="12" name="Rectangle 11">
            <a:extLst>
              <a:ext uri="{FF2B5EF4-FFF2-40B4-BE49-F238E27FC236}">
                <a16:creationId xmlns:a16="http://schemas.microsoft.com/office/drawing/2014/main" id="{9542E550-A3CE-49D0-BA9D-078CFD75AFC9}"/>
              </a:ext>
            </a:extLst>
          </p:cNvPr>
          <p:cNvSpPr/>
          <p:nvPr/>
        </p:nvSpPr>
        <p:spPr>
          <a:xfrm>
            <a:off x="4213453" y="2114753"/>
            <a:ext cx="3855721" cy="3012097"/>
          </a:xfrm>
          <a:prstGeom prst="rect">
            <a:avLst/>
          </a:prstGeom>
          <a:noFill/>
          <a:ln w="31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b="1">
                <a:solidFill>
                  <a:schemeClr val="accent2"/>
                </a:solidFill>
              </a:rPr>
              <a:t>Campus Events</a:t>
            </a:r>
          </a:p>
          <a:p>
            <a:pPr algn="ctr"/>
            <a:endParaRPr lang="en-US" b="1">
              <a:solidFill>
                <a:schemeClr val="accent2"/>
              </a:solidFill>
            </a:endParaRPr>
          </a:p>
          <a:p>
            <a:pPr marL="285750" indent="-285750">
              <a:buFont typeface="Arial" panose="020B0604020202020204" pitchFamily="34" charset="0"/>
              <a:buChar char="•"/>
            </a:pPr>
            <a:r>
              <a:rPr lang="en-US" sz="1400">
                <a:solidFill>
                  <a:schemeClr val="tx1"/>
                </a:solidFill>
              </a:rPr>
              <a:t>Ways to bring influential leaders to campus and encourage thought-provoking conversations and the exchange of ideas. </a:t>
            </a:r>
          </a:p>
          <a:p>
            <a:pPr marL="285750" indent="-285750">
              <a:buFont typeface="Arial" panose="020B0604020202020204" pitchFamily="34" charset="0"/>
              <a:buChar char="•"/>
            </a:pPr>
            <a:r>
              <a:rPr lang="en-US" sz="1400">
                <a:solidFill>
                  <a:schemeClr val="tx1"/>
                </a:solidFill>
              </a:rPr>
              <a:t>Guest Lecturer opportunities available in Merage's MBA and MSBA programs. </a:t>
            </a:r>
          </a:p>
          <a:p>
            <a:pPr marL="285750" indent="-285750">
              <a:buFont typeface="Arial" panose="020B0604020202020204" pitchFamily="34" charset="0"/>
              <a:buChar char="•"/>
            </a:pPr>
            <a:r>
              <a:rPr lang="en-US" sz="1400">
                <a:solidFill>
                  <a:schemeClr val="tx1"/>
                </a:solidFill>
              </a:rPr>
              <a:t>Build a community of UCI Alumni within Accenture to support all the activities.</a:t>
            </a:r>
          </a:p>
          <a:p>
            <a:pPr marL="285750" indent="-285750">
              <a:buFont typeface="Arial" panose="020B0604020202020204" pitchFamily="34" charset="0"/>
              <a:buChar char="•"/>
            </a:pPr>
            <a:endParaRPr lang="en-US" sz="1400">
              <a:solidFill>
                <a:schemeClr val="accent2"/>
              </a:solidFill>
            </a:endParaRPr>
          </a:p>
        </p:txBody>
      </p:sp>
      <p:sp>
        <p:nvSpPr>
          <p:cNvPr id="13" name="Rectangle 12">
            <a:extLst>
              <a:ext uri="{FF2B5EF4-FFF2-40B4-BE49-F238E27FC236}">
                <a16:creationId xmlns:a16="http://schemas.microsoft.com/office/drawing/2014/main" id="{7F647C4B-9B00-4B1A-9F2E-42C4A1E03F9C}"/>
              </a:ext>
            </a:extLst>
          </p:cNvPr>
          <p:cNvSpPr/>
          <p:nvPr/>
        </p:nvSpPr>
        <p:spPr>
          <a:xfrm>
            <a:off x="8202274" y="2114753"/>
            <a:ext cx="3721709" cy="3012097"/>
          </a:xfrm>
          <a:prstGeom prst="rect">
            <a:avLst/>
          </a:prstGeom>
          <a:noFill/>
          <a:ln w="31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b="1">
                <a:solidFill>
                  <a:schemeClr val="accent2"/>
                </a:solidFill>
              </a:rPr>
              <a:t>Capstone Program</a:t>
            </a:r>
          </a:p>
          <a:p>
            <a:pPr algn="ctr"/>
            <a:endParaRPr lang="en-US" b="1">
              <a:solidFill>
                <a:schemeClr val="accent2"/>
              </a:solidFill>
            </a:endParaRPr>
          </a:p>
          <a:p>
            <a:pPr marL="285750" indent="-285750">
              <a:buFont typeface="Arial" panose="020B0604020202020204" pitchFamily="34" charset="0"/>
              <a:buChar char="•"/>
            </a:pPr>
            <a:r>
              <a:rPr lang="en-US" sz="1400">
                <a:solidFill>
                  <a:schemeClr val="tx1"/>
                </a:solidFill>
              </a:rPr>
              <a:t>Accenture sponsors an undergraduate- or graduate-level capstone project in Merage and ICS every Winter Quarter.</a:t>
            </a:r>
          </a:p>
          <a:p>
            <a:pPr marL="285750" indent="-285750">
              <a:buFont typeface="Arial" panose="020B0604020202020204" pitchFamily="34" charset="0"/>
              <a:buChar char="•"/>
            </a:pPr>
            <a:r>
              <a:rPr lang="en-US" sz="1400">
                <a:solidFill>
                  <a:schemeClr val="tx1"/>
                </a:solidFill>
              </a:rPr>
              <a:t>Accenture produces project ideas and students “build” the project over two quarters.</a:t>
            </a:r>
          </a:p>
          <a:p>
            <a:pPr marL="285750" indent="-285750">
              <a:buFont typeface="Arial" panose="020B0604020202020204" pitchFamily="34" charset="0"/>
              <a:buChar char="•"/>
            </a:pPr>
            <a:r>
              <a:rPr lang="en-US" sz="1400">
                <a:solidFill>
                  <a:schemeClr val="tx1"/>
                </a:solidFill>
              </a:rPr>
              <a:t>Student gains hands-on, real-world experience in addition to soft-skills.  </a:t>
            </a:r>
          </a:p>
          <a:p>
            <a:pPr marL="285750" indent="-285750">
              <a:buFont typeface="Arial" panose="020B0604020202020204" pitchFamily="34" charset="0"/>
              <a:buChar char="•"/>
            </a:pPr>
            <a:r>
              <a:rPr lang="en-US" sz="1400">
                <a:solidFill>
                  <a:schemeClr val="tx1"/>
                </a:solidFill>
              </a:rPr>
              <a:t>AI for Good initiative.  </a:t>
            </a:r>
          </a:p>
        </p:txBody>
      </p:sp>
      <p:pic>
        <p:nvPicPr>
          <p:cNvPr id="11" name="Graphic 10">
            <a:extLst>
              <a:ext uri="{FF2B5EF4-FFF2-40B4-BE49-F238E27FC236}">
                <a16:creationId xmlns:a16="http://schemas.microsoft.com/office/drawing/2014/main" id="{89D1547E-0496-4099-9363-7D7448D17A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76177" y="155291"/>
            <a:ext cx="952500" cy="836568"/>
          </a:xfrm>
          <a:prstGeom prst="rect">
            <a:avLst/>
          </a:prstGeom>
        </p:spPr>
      </p:pic>
      <p:sp>
        <p:nvSpPr>
          <p:cNvPr id="33" name="Rectangle 32">
            <a:extLst>
              <a:ext uri="{FF2B5EF4-FFF2-40B4-BE49-F238E27FC236}">
                <a16:creationId xmlns:a16="http://schemas.microsoft.com/office/drawing/2014/main" id="{5EF8DC43-794A-4801-AE40-677F3006D8F6}"/>
              </a:ext>
            </a:extLst>
          </p:cNvPr>
          <p:cNvSpPr/>
          <p:nvPr/>
        </p:nvSpPr>
        <p:spPr>
          <a:xfrm>
            <a:off x="342290" y="2114753"/>
            <a:ext cx="3721709" cy="3012097"/>
          </a:xfrm>
          <a:prstGeom prst="rect">
            <a:avLst/>
          </a:prstGeom>
          <a:noFill/>
          <a:ln w="31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b="1">
                <a:solidFill>
                  <a:schemeClr val="accent2"/>
                </a:solidFill>
              </a:rPr>
              <a:t>Recruitment</a:t>
            </a:r>
          </a:p>
          <a:p>
            <a:pPr algn="ctr"/>
            <a:endParaRPr lang="en-US">
              <a:solidFill>
                <a:schemeClr val="accent2"/>
              </a:solidFill>
            </a:endParaRPr>
          </a:p>
          <a:p>
            <a:pPr marL="285750" indent="-285750">
              <a:buFont typeface="Arial" panose="020B0604020202020204" pitchFamily="34" charset="0"/>
              <a:buChar char="•"/>
            </a:pPr>
            <a:r>
              <a:rPr lang="en-US" sz="1400">
                <a:solidFill>
                  <a:schemeClr val="tx1"/>
                </a:solidFill>
              </a:rPr>
              <a:t>Career fairs and information sessions</a:t>
            </a:r>
          </a:p>
          <a:p>
            <a:r>
              <a:rPr lang="en-US" sz="1400">
                <a:solidFill>
                  <a:schemeClr val="tx1"/>
                </a:solidFill>
              </a:rPr>
              <a:t>      at UCI and specialized schools. </a:t>
            </a:r>
            <a:endParaRPr lang="en-US">
              <a:solidFill>
                <a:schemeClr val="tx1"/>
              </a:solidFill>
            </a:endParaRPr>
          </a:p>
          <a:p>
            <a:pPr marL="285750" indent="-285750">
              <a:buFont typeface="Arial" panose="020B0604020202020204" pitchFamily="34" charset="0"/>
              <a:buChar char="•"/>
            </a:pPr>
            <a:r>
              <a:rPr lang="en-US" sz="1400">
                <a:solidFill>
                  <a:schemeClr val="tx1"/>
                </a:solidFill>
              </a:rPr>
              <a:t>Goal to increase pipeline of diverse</a:t>
            </a:r>
          </a:p>
          <a:p>
            <a:r>
              <a:rPr lang="en-US" sz="1400">
                <a:solidFill>
                  <a:schemeClr val="tx1"/>
                </a:solidFill>
              </a:rPr>
              <a:t>      and quality prospects.</a:t>
            </a:r>
            <a:endParaRPr lang="en-US">
              <a:solidFill>
                <a:schemeClr val="tx1"/>
              </a:solidFill>
            </a:endParaRPr>
          </a:p>
          <a:p>
            <a:pPr marL="285750" indent="-285750">
              <a:buFont typeface="Arial" panose="020B0604020202020204" pitchFamily="34" charset="0"/>
              <a:buChar char="•"/>
            </a:pPr>
            <a:r>
              <a:rPr lang="en-US" sz="1400">
                <a:solidFill>
                  <a:schemeClr val="tx1"/>
                </a:solidFill>
              </a:rPr>
              <a:t>Fall recruitment fair is coming up soon!</a:t>
            </a:r>
          </a:p>
        </p:txBody>
      </p:sp>
      <p:sp>
        <p:nvSpPr>
          <p:cNvPr id="9" name="TextBox 8">
            <a:extLst>
              <a:ext uri="{FF2B5EF4-FFF2-40B4-BE49-F238E27FC236}">
                <a16:creationId xmlns:a16="http://schemas.microsoft.com/office/drawing/2014/main" id="{8D6161A0-BFB9-4FF8-A77B-8B278C0FDCB4}"/>
              </a:ext>
            </a:extLst>
          </p:cNvPr>
          <p:cNvSpPr txBox="1"/>
          <p:nvPr/>
        </p:nvSpPr>
        <p:spPr>
          <a:xfrm>
            <a:off x="493241" y="5550888"/>
            <a:ext cx="1904480" cy="646331"/>
          </a:xfrm>
          <a:prstGeom prst="rect">
            <a:avLst/>
          </a:prstGeom>
          <a:noFill/>
        </p:spPr>
        <p:txBody>
          <a:bodyPr wrap="square" rtlCol="0">
            <a:spAutoFit/>
          </a:bodyPr>
          <a:lstStyle/>
          <a:p>
            <a:pPr algn="ctr"/>
            <a:r>
              <a:rPr lang="en-US" sz="1200"/>
              <a:t>Increase quality pipeline for recruitment</a:t>
            </a:r>
          </a:p>
        </p:txBody>
      </p:sp>
      <p:sp>
        <p:nvSpPr>
          <p:cNvPr id="34" name="TextBox 33">
            <a:extLst>
              <a:ext uri="{FF2B5EF4-FFF2-40B4-BE49-F238E27FC236}">
                <a16:creationId xmlns:a16="http://schemas.microsoft.com/office/drawing/2014/main" id="{CFAA6155-4AA3-40B8-BC6F-9F25A4BF732F}"/>
              </a:ext>
            </a:extLst>
          </p:cNvPr>
          <p:cNvSpPr txBox="1"/>
          <p:nvPr/>
        </p:nvSpPr>
        <p:spPr>
          <a:xfrm>
            <a:off x="3138600" y="5550888"/>
            <a:ext cx="1567297" cy="646331"/>
          </a:xfrm>
          <a:prstGeom prst="rect">
            <a:avLst/>
          </a:prstGeom>
          <a:noFill/>
        </p:spPr>
        <p:txBody>
          <a:bodyPr wrap="square" rtlCol="0">
            <a:spAutoFit/>
          </a:bodyPr>
          <a:lstStyle/>
          <a:p>
            <a:pPr algn="ctr"/>
            <a:r>
              <a:rPr lang="en-US" sz="1200"/>
              <a:t>Create a positive impact in local community</a:t>
            </a:r>
          </a:p>
        </p:txBody>
      </p:sp>
      <p:sp>
        <p:nvSpPr>
          <p:cNvPr id="36" name="TextBox 35">
            <a:extLst>
              <a:ext uri="{FF2B5EF4-FFF2-40B4-BE49-F238E27FC236}">
                <a16:creationId xmlns:a16="http://schemas.microsoft.com/office/drawing/2014/main" id="{7A1F67C5-DFC3-4401-86D4-252704B01424}"/>
              </a:ext>
            </a:extLst>
          </p:cNvPr>
          <p:cNvSpPr txBox="1"/>
          <p:nvPr/>
        </p:nvSpPr>
        <p:spPr>
          <a:xfrm>
            <a:off x="7754952" y="5550888"/>
            <a:ext cx="1567297" cy="830997"/>
          </a:xfrm>
          <a:prstGeom prst="rect">
            <a:avLst/>
          </a:prstGeom>
          <a:noFill/>
        </p:spPr>
        <p:txBody>
          <a:bodyPr wrap="square" rtlCol="0">
            <a:spAutoFit/>
          </a:bodyPr>
          <a:lstStyle/>
          <a:p>
            <a:pPr algn="ctr"/>
            <a:r>
              <a:rPr lang="en-US" sz="1200"/>
              <a:t>Create opportunities to build AI Powered Solutions</a:t>
            </a:r>
          </a:p>
        </p:txBody>
      </p:sp>
      <p:sp>
        <p:nvSpPr>
          <p:cNvPr id="37" name="TextBox 36">
            <a:extLst>
              <a:ext uri="{FF2B5EF4-FFF2-40B4-BE49-F238E27FC236}">
                <a16:creationId xmlns:a16="http://schemas.microsoft.com/office/drawing/2014/main" id="{4C979FDC-B5DC-4266-AA62-C93FA2D4F9F1}"/>
              </a:ext>
            </a:extLst>
          </p:cNvPr>
          <p:cNvSpPr txBox="1"/>
          <p:nvPr/>
        </p:nvSpPr>
        <p:spPr>
          <a:xfrm>
            <a:off x="10063128" y="5550887"/>
            <a:ext cx="1567297" cy="646331"/>
          </a:xfrm>
          <a:prstGeom prst="rect">
            <a:avLst/>
          </a:prstGeom>
          <a:noFill/>
        </p:spPr>
        <p:txBody>
          <a:bodyPr wrap="square" rtlCol="0">
            <a:spAutoFit/>
          </a:bodyPr>
          <a:lstStyle/>
          <a:p>
            <a:pPr algn="ctr"/>
            <a:r>
              <a:rPr lang="en-US" sz="1200"/>
              <a:t>Public speaking events to increase brand awareness</a:t>
            </a:r>
          </a:p>
        </p:txBody>
      </p:sp>
      <p:sp>
        <p:nvSpPr>
          <p:cNvPr id="38" name="TextBox 37">
            <a:extLst>
              <a:ext uri="{FF2B5EF4-FFF2-40B4-BE49-F238E27FC236}">
                <a16:creationId xmlns:a16="http://schemas.microsoft.com/office/drawing/2014/main" id="{AA2C8B33-5FC8-4883-B224-1774487DB1AE}"/>
              </a:ext>
            </a:extLst>
          </p:cNvPr>
          <p:cNvSpPr txBox="1"/>
          <p:nvPr/>
        </p:nvSpPr>
        <p:spPr>
          <a:xfrm>
            <a:off x="5446776" y="5550888"/>
            <a:ext cx="1567297" cy="830997"/>
          </a:xfrm>
          <a:prstGeom prst="rect">
            <a:avLst/>
          </a:prstGeom>
          <a:noFill/>
        </p:spPr>
        <p:txBody>
          <a:bodyPr wrap="square" rtlCol="0">
            <a:spAutoFit/>
          </a:bodyPr>
          <a:lstStyle/>
          <a:p>
            <a:pPr algn="ctr"/>
            <a:r>
              <a:rPr lang="en-US" sz="1200"/>
              <a:t>Work with students to coach the future generation</a:t>
            </a:r>
          </a:p>
        </p:txBody>
      </p:sp>
      <p:cxnSp>
        <p:nvCxnSpPr>
          <p:cNvPr id="3" name="Straight Arrow Connector 2">
            <a:extLst>
              <a:ext uri="{FF2B5EF4-FFF2-40B4-BE49-F238E27FC236}">
                <a16:creationId xmlns:a16="http://schemas.microsoft.com/office/drawing/2014/main" id="{DC3C70AF-FD23-4918-B176-96E007497955}"/>
              </a:ext>
            </a:extLst>
          </p:cNvPr>
          <p:cNvCxnSpPr>
            <a:cxnSpLocks/>
          </p:cNvCxnSpPr>
          <p:nvPr/>
        </p:nvCxnSpPr>
        <p:spPr>
          <a:xfrm>
            <a:off x="832207" y="2489539"/>
            <a:ext cx="10900881"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A98B0F7-8FE2-4155-88CA-375DC3B34781}"/>
              </a:ext>
            </a:extLst>
          </p:cNvPr>
          <p:cNvSpPr txBox="1"/>
          <p:nvPr/>
        </p:nvSpPr>
        <p:spPr>
          <a:xfrm>
            <a:off x="3603743" y="850889"/>
            <a:ext cx="5253361" cy="954107"/>
          </a:xfrm>
          <a:prstGeom prst="rect">
            <a:avLst/>
          </a:prstGeom>
          <a:noFill/>
        </p:spPr>
        <p:txBody>
          <a:bodyPr wrap="none" rtlCol="0">
            <a:spAutoFit/>
          </a:bodyPr>
          <a:lstStyle/>
          <a:p>
            <a:r>
              <a:rPr lang="en-US" sz="2800" b="1">
                <a:solidFill>
                  <a:schemeClr val="tx2">
                    <a:lumMod val="20000"/>
                    <a:lumOff val="80000"/>
                  </a:schemeClr>
                </a:solidFill>
              </a:rPr>
              <a:t>UC Irvine Outreach Program</a:t>
            </a:r>
          </a:p>
          <a:p>
            <a:endParaRPr lang="en-US" sz="2800" b="1">
              <a:solidFill>
                <a:schemeClr val="tx2">
                  <a:lumMod val="20000"/>
                  <a:lumOff val="80000"/>
                </a:schemeClr>
              </a:solidFill>
            </a:endParaRPr>
          </a:p>
        </p:txBody>
      </p:sp>
      <p:sp>
        <p:nvSpPr>
          <p:cNvPr id="7" name="TextBox 6">
            <a:extLst>
              <a:ext uri="{FF2B5EF4-FFF2-40B4-BE49-F238E27FC236}">
                <a16:creationId xmlns:a16="http://schemas.microsoft.com/office/drawing/2014/main" id="{848CDE16-FCA9-4B0A-99C5-8E2C2496C3FC}"/>
              </a:ext>
            </a:extLst>
          </p:cNvPr>
          <p:cNvSpPr txBox="1"/>
          <p:nvPr/>
        </p:nvSpPr>
        <p:spPr>
          <a:xfrm>
            <a:off x="983463" y="1410143"/>
            <a:ext cx="10337927" cy="523220"/>
          </a:xfrm>
          <a:prstGeom prst="rect">
            <a:avLst/>
          </a:prstGeom>
          <a:noFill/>
        </p:spPr>
        <p:txBody>
          <a:bodyPr wrap="square" lIns="91440" tIns="45720" rIns="91440" bIns="45720" rtlCol="0" anchor="t">
            <a:spAutoFit/>
          </a:bodyPr>
          <a:lstStyle/>
          <a:p>
            <a:r>
              <a:rPr lang="en-US" sz="1400">
                <a:solidFill>
                  <a:schemeClr val="tx2">
                    <a:lumMod val="20000"/>
                    <a:lumOff val="80000"/>
                  </a:schemeClr>
                </a:solidFill>
              </a:rPr>
              <a:t>Establish close partnership with a local university for recruiting top talent and working with students on projects, which impact our community and clients and amplify our brand awareness</a:t>
            </a:r>
          </a:p>
        </p:txBody>
      </p:sp>
      <p:pic>
        <p:nvPicPr>
          <p:cNvPr id="2050" name="Picture 2" descr="Recruitment - Free people icons">
            <a:extLst>
              <a:ext uri="{FF2B5EF4-FFF2-40B4-BE49-F238E27FC236}">
                <a16:creationId xmlns:a16="http://schemas.microsoft.com/office/drawing/2014/main" id="{43C15B6C-8B36-44F3-963D-E37D77683B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207" y="207232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ampus Icon - Download Campus Icon 1998375 | Noun Project">
            <a:extLst>
              <a:ext uri="{FF2B5EF4-FFF2-40B4-BE49-F238E27FC236}">
                <a16:creationId xmlns:a16="http://schemas.microsoft.com/office/drawing/2014/main" id="{444DD328-0715-4459-8C9E-77FF603680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05897" y="205127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apstone project Icon - Download capstone project Icon 3382687 | Noun  Project">
            <a:extLst>
              <a:ext uri="{FF2B5EF4-FFF2-40B4-BE49-F238E27FC236}">
                <a16:creationId xmlns:a16="http://schemas.microsoft.com/office/drawing/2014/main" id="{431C24E8-89A1-40A1-90DF-DD048EEE8E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9904" y="207770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130BC61-F891-EE1E-DECE-6061DF73E284}"/>
              </a:ext>
            </a:extLst>
          </p:cNvPr>
          <p:cNvSpPr txBox="1"/>
          <p:nvPr/>
        </p:nvSpPr>
        <p:spPr>
          <a:xfrm>
            <a:off x="9677400" y="6520543"/>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solidFill>
                  <a:schemeClr val="bg1">
                    <a:lumMod val="50000"/>
                  </a:schemeClr>
                </a:solidFill>
              </a:rPr>
              <a:t>Copyright © 2022 Accenture. All rights reserved.</a:t>
            </a:r>
            <a:r>
              <a:rPr lang="en-US" sz="800">
                <a:solidFill>
                  <a:schemeClr val="bg1">
                    <a:lumMod val="50000"/>
                  </a:schemeClr>
                </a:solidFill>
              </a:rPr>
              <a:t>​</a:t>
            </a:r>
          </a:p>
        </p:txBody>
      </p:sp>
    </p:spTree>
    <p:extLst>
      <p:ext uri="{BB962C8B-B14F-4D97-AF65-F5344CB8AC3E}">
        <p14:creationId xmlns:p14="http://schemas.microsoft.com/office/powerpoint/2010/main" val="3174347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66E8B-E654-453E-82DE-A65E571DDBF6}"/>
              </a:ext>
            </a:extLst>
          </p:cNvPr>
          <p:cNvSpPr>
            <a:spLocks noGrp="1"/>
          </p:cNvSpPr>
          <p:nvPr>
            <p:ph type="title"/>
          </p:nvPr>
        </p:nvSpPr>
        <p:spPr/>
        <p:txBody>
          <a:bodyPr/>
          <a:lstStyle/>
          <a:p>
            <a:r>
              <a:rPr lang="en-US"/>
              <a:t>Our Journey</a:t>
            </a:r>
          </a:p>
        </p:txBody>
      </p:sp>
      <p:sp>
        <p:nvSpPr>
          <p:cNvPr id="3" name="Footer Placeholder 2">
            <a:extLst>
              <a:ext uri="{FF2B5EF4-FFF2-40B4-BE49-F238E27FC236}">
                <a16:creationId xmlns:a16="http://schemas.microsoft.com/office/drawing/2014/main" id="{16DCE0AB-9360-4CD9-B2D9-ADCF1A815C14}"/>
              </a:ext>
            </a:extLst>
          </p:cNvPr>
          <p:cNvSpPr>
            <a:spLocks noGrp="1"/>
          </p:cNvSpPr>
          <p:nvPr>
            <p:ph type="ftr" sz="quarter" idx="10"/>
          </p:nvPr>
        </p:nvSpPr>
        <p:spPr/>
        <p:txBody>
          <a:bodyPr/>
          <a:lstStyle/>
          <a:p>
            <a:r>
              <a:rPr lang="en-AU"/>
              <a:t>Copyright © 2022 Accenture. All rights reserved.</a:t>
            </a:r>
          </a:p>
        </p:txBody>
      </p:sp>
      <p:sp>
        <p:nvSpPr>
          <p:cNvPr id="4" name="Slide Number Placeholder 3">
            <a:extLst>
              <a:ext uri="{FF2B5EF4-FFF2-40B4-BE49-F238E27FC236}">
                <a16:creationId xmlns:a16="http://schemas.microsoft.com/office/drawing/2014/main" id="{867871D1-40A0-4FB0-B7BC-3A245108DC76}"/>
              </a:ext>
            </a:extLst>
          </p:cNvPr>
          <p:cNvSpPr>
            <a:spLocks noGrp="1"/>
          </p:cNvSpPr>
          <p:nvPr>
            <p:ph type="sldNum" sz="quarter" idx="11"/>
          </p:nvPr>
        </p:nvSpPr>
        <p:spPr/>
        <p:txBody>
          <a:bodyPr/>
          <a:lstStyle/>
          <a:p>
            <a:fld id="{FC1BBE33-A891-48E8-970C-4A8D55F96D53}" type="slidenum">
              <a:rPr lang="en-AU" smtClean="0"/>
              <a:pPr/>
              <a:t>5</a:t>
            </a:fld>
            <a:endParaRPr lang="en-AU"/>
          </a:p>
        </p:txBody>
      </p:sp>
      <p:grpSp>
        <p:nvGrpSpPr>
          <p:cNvPr id="70" name="Group 69">
            <a:extLst>
              <a:ext uri="{FF2B5EF4-FFF2-40B4-BE49-F238E27FC236}">
                <a16:creationId xmlns:a16="http://schemas.microsoft.com/office/drawing/2014/main" id="{1AE1D831-3144-4BEC-9C8C-02771BF1AEA5}"/>
              </a:ext>
            </a:extLst>
          </p:cNvPr>
          <p:cNvGrpSpPr/>
          <p:nvPr/>
        </p:nvGrpSpPr>
        <p:grpSpPr>
          <a:xfrm>
            <a:off x="925294" y="2102981"/>
            <a:ext cx="9169400" cy="3306765"/>
            <a:chOff x="676300" y="2235201"/>
            <a:chExt cx="9169400" cy="3306765"/>
          </a:xfrm>
        </p:grpSpPr>
        <p:cxnSp>
          <p:nvCxnSpPr>
            <p:cNvPr id="57" name="Straight Connector 56">
              <a:extLst>
                <a:ext uri="{FF2B5EF4-FFF2-40B4-BE49-F238E27FC236}">
                  <a16:creationId xmlns:a16="http://schemas.microsoft.com/office/drawing/2014/main" id="{7E4BF896-A687-4D1F-8832-BF4A10A705D5}"/>
                </a:ext>
              </a:extLst>
            </p:cNvPr>
            <p:cNvCxnSpPr/>
            <p:nvPr/>
          </p:nvCxnSpPr>
          <p:spPr>
            <a:xfrm>
              <a:off x="1041400" y="2235201"/>
              <a:ext cx="8439200" cy="0"/>
            </a:xfrm>
            <a:prstGeom prst="line">
              <a:avLst/>
            </a:prstGeom>
            <a:ln w="76200" cap="rnd">
              <a:solidFill>
                <a:schemeClr val="bg2"/>
              </a:solidFill>
              <a:prstDash val="solid"/>
              <a:bevel/>
            </a:ln>
          </p:spPr>
          <p:style>
            <a:lnRef idx="3">
              <a:schemeClr val="accent3"/>
            </a:lnRef>
            <a:fillRef idx="0">
              <a:schemeClr val="accent3"/>
            </a:fillRef>
            <a:effectRef idx="2">
              <a:schemeClr val="accent3"/>
            </a:effectRef>
            <a:fontRef idx="minor">
              <a:schemeClr val="tx1"/>
            </a:fontRef>
          </p:style>
        </p:cxnSp>
        <p:sp>
          <p:nvSpPr>
            <p:cNvPr id="58" name="Rectangle: Rounded Corners 57">
              <a:extLst>
                <a:ext uri="{FF2B5EF4-FFF2-40B4-BE49-F238E27FC236}">
                  <a16:creationId xmlns:a16="http://schemas.microsoft.com/office/drawing/2014/main" id="{67791606-1C30-4CFB-81E4-0DD354B35E0E}"/>
                </a:ext>
              </a:extLst>
            </p:cNvPr>
            <p:cNvSpPr/>
            <p:nvPr/>
          </p:nvSpPr>
          <p:spPr>
            <a:xfrm>
              <a:off x="8102600" y="2235201"/>
              <a:ext cx="1743100" cy="1652588"/>
            </a:xfrm>
            <a:prstGeom prst="roundRect">
              <a:avLst/>
            </a:prstGeom>
            <a:ln w="76200">
              <a:solidFill>
                <a:schemeClr val="bg2"/>
              </a:solidFill>
              <a:prstDash val="solid"/>
              <a:round/>
              <a:extLst>
                <a:ext uri="{C807C97D-BFC1-408E-A445-0C87EB9F89A2}">
                  <ask:lineSketchStyleProps xmlns:ask="http://schemas.microsoft.com/office/drawing/2018/sketchyshapes" sd="1219033472">
                    <a:custGeom>
                      <a:avLst/>
                      <a:gdLst>
                        <a:gd name="connsiteX0" fmla="*/ 0 w 1743100"/>
                        <a:gd name="connsiteY0" fmla="*/ 275437 h 1652588"/>
                        <a:gd name="connsiteX1" fmla="*/ 275437 w 1743100"/>
                        <a:gd name="connsiteY1" fmla="*/ 0 h 1652588"/>
                        <a:gd name="connsiteX2" fmla="*/ 1467663 w 1743100"/>
                        <a:gd name="connsiteY2" fmla="*/ 0 h 1652588"/>
                        <a:gd name="connsiteX3" fmla="*/ 1743100 w 1743100"/>
                        <a:gd name="connsiteY3" fmla="*/ 275437 h 1652588"/>
                        <a:gd name="connsiteX4" fmla="*/ 1743100 w 1743100"/>
                        <a:gd name="connsiteY4" fmla="*/ 1377151 h 1652588"/>
                        <a:gd name="connsiteX5" fmla="*/ 1467663 w 1743100"/>
                        <a:gd name="connsiteY5" fmla="*/ 1652588 h 1652588"/>
                        <a:gd name="connsiteX6" fmla="*/ 275437 w 1743100"/>
                        <a:gd name="connsiteY6" fmla="*/ 1652588 h 1652588"/>
                        <a:gd name="connsiteX7" fmla="*/ 0 w 1743100"/>
                        <a:gd name="connsiteY7" fmla="*/ 1377151 h 1652588"/>
                        <a:gd name="connsiteX8" fmla="*/ 0 w 1743100"/>
                        <a:gd name="connsiteY8" fmla="*/ 275437 h 165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3100" h="1652588" extrusionOk="0">
                          <a:moveTo>
                            <a:pt x="0" y="275437"/>
                          </a:moveTo>
                          <a:cubicBezTo>
                            <a:pt x="-2911" y="121522"/>
                            <a:pt x="105091" y="6840"/>
                            <a:pt x="275437" y="0"/>
                          </a:cubicBezTo>
                          <a:cubicBezTo>
                            <a:pt x="491458" y="80200"/>
                            <a:pt x="1316908" y="49941"/>
                            <a:pt x="1467663" y="0"/>
                          </a:cubicBezTo>
                          <a:cubicBezTo>
                            <a:pt x="1609639" y="9906"/>
                            <a:pt x="1737759" y="152837"/>
                            <a:pt x="1743100" y="275437"/>
                          </a:cubicBezTo>
                          <a:cubicBezTo>
                            <a:pt x="1662793" y="752353"/>
                            <a:pt x="1753612" y="1149547"/>
                            <a:pt x="1743100" y="1377151"/>
                          </a:cubicBezTo>
                          <a:cubicBezTo>
                            <a:pt x="1760529" y="1531339"/>
                            <a:pt x="1628872" y="1633883"/>
                            <a:pt x="1467663" y="1652588"/>
                          </a:cubicBezTo>
                          <a:cubicBezTo>
                            <a:pt x="1003062" y="1635563"/>
                            <a:pt x="715875" y="1700969"/>
                            <a:pt x="275437" y="1652588"/>
                          </a:cubicBezTo>
                          <a:cubicBezTo>
                            <a:pt x="120820" y="1628772"/>
                            <a:pt x="-7011" y="1539014"/>
                            <a:pt x="0" y="1377151"/>
                          </a:cubicBezTo>
                          <a:cubicBezTo>
                            <a:pt x="89520" y="1151335"/>
                            <a:pt x="77399" y="783375"/>
                            <a:pt x="0" y="275437"/>
                          </a:cubicBezTo>
                          <a:close/>
                        </a:path>
                      </a:pathLst>
                    </a:custGeom>
                    <ask:type>
                      <ask:lineSketchNone/>
                    </ask:type>
                  </ask:lineSketchStyleProps>
                </a:ext>
              </a:extLst>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cxnSp>
          <p:nvCxnSpPr>
            <p:cNvPr id="61" name="Straight Connector 60">
              <a:extLst>
                <a:ext uri="{FF2B5EF4-FFF2-40B4-BE49-F238E27FC236}">
                  <a16:creationId xmlns:a16="http://schemas.microsoft.com/office/drawing/2014/main" id="{FD611908-4D6C-472F-B332-10E071E4B1A3}"/>
                </a:ext>
              </a:extLst>
            </p:cNvPr>
            <p:cNvCxnSpPr/>
            <p:nvPr/>
          </p:nvCxnSpPr>
          <p:spPr>
            <a:xfrm>
              <a:off x="1041400" y="3887789"/>
              <a:ext cx="8439200" cy="0"/>
            </a:xfrm>
            <a:prstGeom prst="line">
              <a:avLst/>
            </a:prstGeom>
            <a:ln w="76200">
              <a:solidFill>
                <a:schemeClr val="bg2"/>
              </a:solidFill>
            </a:ln>
          </p:spPr>
          <p:style>
            <a:lnRef idx="3">
              <a:schemeClr val="accent3"/>
            </a:lnRef>
            <a:fillRef idx="0">
              <a:schemeClr val="accent3"/>
            </a:fillRef>
            <a:effectRef idx="2">
              <a:schemeClr val="accent3"/>
            </a:effectRef>
            <a:fontRef idx="minor">
              <a:schemeClr val="tx1"/>
            </a:fontRef>
          </p:style>
        </p:cxnSp>
        <p:sp>
          <p:nvSpPr>
            <p:cNvPr id="63" name="Rectangle: Rounded Corners 62">
              <a:extLst>
                <a:ext uri="{FF2B5EF4-FFF2-40B4-BE49-F238E27FC236}">
                  <a16:creationId xmlns:a16="http://schemas.microsoft.com/office/drawing/2014/main" id="{AB0DC055-705B-4AB8-A4F4-F8758977C897}"/>
                </a:ext>
              </a:extLst>
            </p:cNvPr>
            <p:cNvSpPr/>
            <p:nvPr/>
          </p:nvSpPr>
          <p:spPr>
            <a:xfrm>
              <a:off x="676300" y="3889378"/>
              <a:ext cx="1743100" cy="1652588"/>
            </a:xfrm>
            <a:prstGeom prst="roundRect">
              <a:avLst/>
            </a:prstGeom>
            <a:ln w="76200">
              <a:solidFill>
                <a:schemeClr val="bg2"/>
              </a:solidFill>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49C40139-EF2B-404D-96D1-4D02305D3AC7}"/>
                </a:ext>
              </a:extLst>
            </p:cNvPr>
            <p:cNvCxnSpPr/>
            <p:nvPr/>
          </p:nvCxnSpPr>
          <p:spPr>
            <a:xfrm>
              <a:off x="1041400" y="5541966"/>
              <a:ext cx="8439200" cy="0"/>
            </a:xfrm>
            <a:prstGeom prst="line">
              <a:avLst/>
            </a:prstGeom>
            <a:ln w="76200">
              <a:solidFill>
                <a:schemeClr val="bg2"/>
              </a:solidFill>
            </a:ln>
          </p:spPr>
          <p:style>
            <a:lnRef idx="3">
              <a:schemeClr val="accent3"/>
            </a:lnRef>
            <a:fillRef idx="0">
              <a:schemeClr val="accent3"/>
            </a:fillRef>
            <a:effectRef idx="2">
              <a:schemeClr val="accent3"/>
            </a:effectRef>
            <a:fontRef idx="minor">
              <a:schemeClr val="tx1"/>
            </a:fontRef>
          </p:style>
        </p:cxnSp>
        <p:sp>
          <p:nvSpPr>
            <p:cNvPr id="65" name="Rectangle 64">
              <a:extLst>
                <a:ext uri="{FF2B5EF4-FFF2-40B4-BE49-F238E27FC236}">
                  <a16:creationId xmlns:a16="http://schemas.microsoft.com/office/drawing/2014/main" id="{52BEFEE0-7A8B-43F3-A8BC-BC8E07514D00}"/>
                </a:ext>
              </a:extLst>
            </p:cNvPr>
            <p:cNvSpPr/>
            <p:nvPr/>
          </p:nvSpPr>
          <p:spPr>
            <a:xfrm>
              <a:off x="7423200" y="2277642"/>
              <a:ext cx="1644600" cy="1572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0C5C07AA-EC80-4D8C-A9F8-F36B1234E2B7}"/>
                </a:ext>
              </a:extLst>
            </p:cNvPr>
            <p:cNvSpPr/>
            <p:nvPr/>
          </p:nvSpPr>
          <p:spPr>
            <a:xfrm>
              <a:off x="1547850" y="3929288"/>
              <a:ext cx="1644600" cy="1572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0C32011B-B1CF-4823-9B9D-B41946E636AD}"/>
                </a:ext>
              </a:extLst>
            </p:cNvPr>
            <p:cNvSpPr/>
            <p:nvPr/>
          </p:nvSpPr>
          <p:spPr>
            <a:xfrm>
              <a:off x="1700250" y="3935784"/>
              <a:ext cx="1644600" cy="1572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2" name="Graphic 71" descr="Marker with solid fill">
            <a:extLst>
              <a:ext uri="{FF2B5EF4-FFF2-40B4-BE49-F238E27FC236}">
                <a16:creationId xmlns:a16="http://schemas.microsoft.com/office/drawing/2014/main" id="{9335C25A-2CB7-4BD0-B9B7-C67DCEAEED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2913" y="1741235"/>
            <a:ext cx="365760" cy="365760"/>
          </a:xfrm>
          <a:prstGeom prst="rect">
            <a:avLst/>
          </a:prstGeom>
        </p:spPr>
      </p:pic>
      <p:pic>
        <p:nvPicPr>
          <p:cNvPr id="75" name="Picture 10" descr="capstone project Icon - Download capstone project Icon 3382687 | Noun  Project">
            <a:extLst>
              <a:ext uri="{FF2B5EF4-FFF2-40B4-BE49-F238E27FC236}">
                <a16:creationId xmlns:a16="http://schemas.microsoft.com/office/drawing/2014/main" id="{F606E778-D37A-4438-978F-D97A98B86A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249" y="2429147"/>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4189DEF1-A87B-4A3A-A53C-8AE1FCBA7973}"/>
              </a:ext>
            </a:extLst>
          </p:cNvPr>
          <p:cNvSpPr txBox="1"/>
          <p:nvPr/>
        </p:nvSpPr>
        <p:spPr>
          <a:xfrm>
            <a:off x="1287136" y="2429147"/>
            <a:ext cx="823648" cy="507831"/>
          </a:xfrm>
          <a:prstGeom prst="rect">
            <a:avLst/>
          </a:prstGeom>
          <a:noFill/>
        </p:spPr>
        <p:txBody>
          <a:bodyPr wrap="square" lIns="0" tIns="0" rIns="0" bIns="0" rtlCol="0">
            <a:spAutoFit/>
          </a:bodyPr>
          <a:lstStyle/>
          <a:p>
            <a:pPr algn="l"/>
            <a:r>
              <a:rPr lang="en-US" sz="1100"/>
              <a:t>Predicting Wildfire in California</a:t>
            </a:r>
          </a:p>
        </p:txBody>
      </p:sp>
      <p:sp>
        <p:nvSpPr>
          <p:cNvPr id="77" name="Rectangle 76">
            <a:extLst>
              <a:ext uri="{FF2B5EF4-FFF2-40B4-BE49-F238E27FC236}">
                <a16:creationId xmlns:a16="http://schemas.microsoft.com/office/drawing/2014/main" id="{D0C54994-48F9-4A95-BE2B-B675EA92F943}"/>
              </a:ext>
            </a:extLst>
          </p:cNvPr>
          <p:cNvSpPr/>
          <p:nvPr/>
        </p:nvSpPr>
        <p:spPr>
          <a:xfrm>
            <a:off x="805945" y="2072756"/>
            <a:ext cx="1098185" cy="369332"/>
          </a:xfrm>
          <a:prstGeom prst="rect">
            <a:avLst/>
          </a:prstGeom>
          <a:noFill/>
        </p:spPr>
        <p:txBody>
          <a:bodyPr wrap="none" lIns="91440" tIns="45720" rIns="91440" bIns="45720" anchor="t">
            <a:spAutoFit/>
          </a:bodyPr>
          <a:lstStyle/>
          <a:p>
            <a:pPr algn="ctr"/>
            <a:r>
              <a:rPr lang="en-US" b="1" spc="50">
                <a:ln w="0"/>
                <a:solidFill>
                  <a:srgbClr val="E0CBFF"/>
                </a:solidFill>
                <a:effectLst>
                  <a:innerShdw blurRad="63500" dist="50800" dir="13500000">
                    <a:srgbClr val="000000">
                      <a:alpha val="50000"/>
                    </a:srgbClr>
                  </a:innerShdw>
                </a:effectLst>
              </a:rPr>
              <a:t>Feb 2021</a:t>
            </a:r>
          </a:p>
        </p:txBody>
      </p:sp>
      <p:grpSp>
        <p:nvGrpSpPr>
          <p:cNvPr id="5" name="Group 4">
            <a:extLst>
              <a:ext uri="{FF2B5EF4-FFF2-40B4-BE49-F238E27FC236}">
                <a16:creationId xmlns:a16="http://schemas.microsoft.com/office/drawing/2014/main" id="{EE9041C0-693F-480E-27AF-9008FB5908A1}"/>
              </a:ext>
            </a:extLst>
          </p:cNvPr>
          <p:cNvGrpSpPr/>
          <p:nvPr/>
        </p:nvGrpSpPr>
        <p:grpSpPr>
          <a:xfrm>
            <a:off x="4613868" y="3420758"/>
            <a:ext cx="1526138" cy="1169587"/>
            <a:chOff x="5498865" y="1741235"/>
            <a:chExt cx="1526138" cy="1169587"/>
          </a:xfrm>
        </p:grpSpPr>
        <p:sp>
          <p:nvSpPr>
            <p:cNvPr id="81" name="Rectangle 80">
              <a:extLst>
                <a:ext uri="{FF2B5EF4-FFF2-40B4-BE49-F238E27FC236}">
                  <a16:creationId xmlns:a16="http://schemas.microsoft.com/office/drawing/2014/main" id="{CC315ECB-A555-4FBA-B8AD-EB7394B2D52E}"/>
                </a:ext>
              </a:extLst>
            </p:cNvPr>
            <p:cNvSpPr/>
            <p:nvPr/>
          </p:nvSpPr>
          <p:spPr>
            <a:xfrm>
              <a:off x="5498865" y="2072756"/>
              <a:ext cx="1311578" cy="369332"/>
            </a:xfrm>
            <a:prstGeom prst="rect">
              <a:avLst/>
            </a:prstGeom>
            <a:noFill/>
          </p:spPr>
          <p:txBody>
            <a:bodyPr wrap="none" lIns="91440" tIns="45720" rIns="91440" bIns="45720" anchor="t">
              <a:spAutoFit/>
            </a:bodyPr>
            <a:lstStyle/>
            <a:p>
              <a:pPr algn="ctr"/>
              <a:r>
                <a:rPr lang="en-US" b="1" spc="50">
                  <a:ln w="0"/>
                  <a:solidFill>
                    <a:srgbClr val="E0CBFF"/>
                  </a:solidFill>
                  <a:effectLst>
                    <a:innerShdw blurRad="63500" dist="50800" dir="13500000">
                      <a:srgbClr val="000000">
                        <a:alpha val="50000"/>
                      </a:srgbClr>
                    </a:innerShdw>
                  </a:effectLst>
                </a:rPr>
                <a:t>Feb 2022</a:t>
              </a:r>
            </a:p>
          </p:txBody>
        </p:sp>
        <p:pic>
          <p:nvPicPr>
            <p:cNvPr id="82" name="Graphic 81" descr="Marker with solid fill">
              <a:extLst>
                <a:ext uri="{FF2B5EF4-FFF2-40B4-BE49-F238E27FC236}">
                  <a16:creationId xmlns:a16="http://schemas.microsoft.com/office/drawing/2014/main" id="{849CBFAB-ED6D-4D22-877C-F94FF43B98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43876" y="1741235"/>
              <a:ext cx="365760" cy="365760"/>
            </a:xfrm>
            <a:prstGeom prst="rect">
              <a:avLst/>
            </a:prstGeom>
          </p:spPr>
        </p:pic>
        <p:sp>
          <p:nvSpPr>
            <p:cNvPr id="84" name="TextBox 83">
              <a:extLst>
                <a:ext uri="{FF2B5EF4-FFF2-40B4-BE49-F238E27FC236}">
                  <a16:creationId xmlns:a16="http://schemas.microsoft.com/office/drawing/2014/main" id="{A388B6A4-AC3D-48C5-91BF-C3C101B8D7BE}"/>
                </a:ext>
              </a:extLst>
            </p:cNvPr>
            <p:cNvSpPr txBox="1"/>
            <p:nvPr/>
          </p:nvSpPr>
          <p:spPr>
            <a:xfrm>
              <a:off x="6020785" y="2402991"/>
              <a:ext cx="1004218" cy="507831"/>
            </a:xfrm>
            <a:prstGeom prst="rect">
              <a:avLst/>
            </a:prstGeom>
            <a:noFill/>
          </p:spPr>
          <p:txBody>
            <a:bodyPr wrap="square" lIns="0" tIns="0" rIns="0" bIns="0" rtlCol="0">
              <a:spAutoFit/>
            </a:bodyPr>
            <a:lstStyle/>
            <a:p>
              <a:pPr algn="l"/>
              <a:r>
                <a:rPr lang="en-US" sz="1100"/>
                <a:t>Recruitment Information Session </a:t>
              </a:r>
            </a:p>
          </p:txBody>
        </p:sp>
        <p:pic>
          <p:nvPicPr>
            <p:cNvPr id="85" name="Picture 2" descr="Recruitment - Free people icons">
              <a:extLst>
                <a:ext uri="{FF2B5EF4-FFF2-40B4-BE49-F238E27FC236}">
                  <a16:creationId xmlns:a16="http://schemas.microsoft.com/office/drawing/2014/main" id="{48446007-34C7-45A6-BE21-28D3A1472B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3898" y="2402991"/>
              <a:ext cx="365760" cy="365760"/>
            </a:xfrm>
            <a:prstGeom prst="rect">
              <a:avLst/>
            </a:prstGeom>
            <a:noFill/>
            <a:extLst>
              <a:ext uri="{909E8E84-426E-40DD-AFC4-6F175D3DCCD1}">
                <a14:hiddenFill xmlns:a14="http://schemas.microsoft.com/office/drawing/2010/main">
                  <a:solidFill>
                    <a:srgbClr val="FFFFFF"/>
                  </a:solidFill>
                </a14:hiddenFill>
              </a:ext>
            </a:extLst>
          </p:spPr>
        </p:pic>
      </p:grpSp>
      <p:sp>
        <p:nvSpPr>
          <p:cNvPr id="88" name="Rectangle 87">
            <a:extLst>
              <a:ext uri="{FF2B5EF4-FFF2-40B4-BE49-F238E27FC236}">
                <a16:creationId xmlns:a16="http://schemas.microsoft.com/office/drawing/2014/main" id="{765F3155-FF94-40D6-B040-EB8DF37B7BA4}"/>
              </a:ext>
            </a:extLst>
          </p:cNvPr>
          <p:cNvSpPr/>
          <p:nvPr/>
        </p:nvSpPr>
        <p:spPr>
          <a:xfrm>
            <a:off x="8234557" y="2072756"/>
            <a:ext cx="1140953" cy="369332"/>
          </a:xfrm>
          <a:prstGeom prst="rect">
            <a:avLst/>
          </a:prstGeom>
          <a:noFill/>
        </p:spPr>
        <p:txBody>
          <a:bodyPr wrap="none" lIns="91440" tIns="45720" rIns="91440" bIns="45720" anchor="t">
            <a:spAutoFit/>
          </a:bodyPr>
          <a:lstStyle/>
          <a:p>
            <a:pPr algn="ctr"/>
            <a:r>
              <a:rPr lang="en-US" b="1" spc="50">
                <a:ln w="0"/>
                <a:solidFill>
                  <a:srgbClr val="E0CBFF"/>
                </a:solidFill>
                <a:effectLst>
                  <a:innerShdw blurRad="63500" dist="50800" dir="13500000">
                    <a:srgbClr val="000000">
                      <a:alpha val="50000"/>
                    </a:srgbClr>
                  </a:innerShdw>
                </a:effectLst>
              </a:rPr>
              <a:t>Nov 2021</a:t>
            </a:r>
          </a:p>
        </p:txBody>
      </p:sp>
      <p:sp>
        <p:nvSpPr>
          <p:cNvPr id="89" name="TextBox 88">
            <a:extLst>
              <a:ext uri="{FF2B5EF4-FFF2-40B4-BE49-F238E27FC236}">
                <a16:creationId xmlns:a16="http://schemas.microsoft.com/office/drawing/2014/main" id="{4471AC22-E9CC-4D38-AEBE-776BE571CA02}"/>
              </a:ext>
            </a:extLst>
          </p:cNvPr>
          <p:cNvSpPr txBox="1"/>
          <p:nvPr/>
        </p:nvSpPr>
        <p:spPr>
          <a:xfrm>
            <a:off x="8575388" y="2442088"/>
            <a:ext cx="1482812" cy="507831"/>
          </a:xfrm>
          <a:prstGeom prst="rect">
            <a:avLst/>
          </a:prstGeom>
          <a:noFill/>
        </p:spPr>
        <p:txBody>
          <a:bodyPr wrap="square" lIns="0" tIns="0" rIns="0" bIns="0" rtlCol="0">
            <a:spAutoFit/>
          </a:bodyPr>
          <a:lstStyle/>
          <a:p>
            <a:pPr algn="l"/>
            <a:r>
              <a:rPr lang="en-US" sz="1100"/>
              <a:t>Guest Lecturer for Graduate Students Machine Learning </a:t>
            </a:r>
          </a:p>
        </p:txBody>
      </p:sp>
      <p:grpSp>
        <p:nvGrpSpPr>
          <p:cNvPr id="8" name="Group 7">
            <a:extLst>
              <a:ext uri="{FF2B5EF4-FFF2-40B4-BE49-F238E27FC236}">
                <a16:creationId xmlns:a16="http://schemas.microsoft.com/office/drawing/2014/main" id="{128948AD-ABCD-3E83-0D16-F525295AC13E}"/>
              </a:ext>
            </a:extLst>
          </p:cNvPr>
          <p:cNvGrpSpPr/>
          <p:nvPr/>
        </p:nvGrpSpPr>
        <p:grpSpPr>
          <a:xfrm>
            <a:off x="8232581" y="3395785"/>
            <a:ext cx="1355308" cy="1372776"/>
            <a:chOff x="1363125" y="3404961"/>
            <a:chExt cx="1355308" cy="1372776"/>
          </a:xfrm>
        </p:grpSpPr>
        <p:pic>
          <p:nvPicPr>
            <p:cNvPr id="86" name="Graphic 85" descr="Marker with solid fill">
              <a:extLst>
                <a:ext uri="{FF2B5EF4-FFF2-40B4-BE49-F238E27FC236}">
                  <a16:creationId xmlns:a16="http://schemas.microsoft.com/office/drawing/2014/main" id="{069A414D-2AD9-47CF-B07C-85EAAE7752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7120" y="3404961"/>
              <a:ext cx="365760" cy="365760"/>
            </a:xfrm>
            <a:prstGeom prst="rect">
              <a:avLst/>
            </a:prstGeom>
          </p:spPr>
        </p:pic>
        <p:sp>
          <p:nvSpPr>
            <p:cNvPr id="91" name="Rectangle 90">
              <a:extLst>
                <a:ext uri="{FF2B5EF4-FFF2-40B4-BE49-F238E27FC236}">
                  <a16:creationId xmlns:a16="http://schemas.microsoft.com/office/drawing/2014/main" id="{D8B87499-2958-48CF-83FF-4157510580D4}"/>
                </a:ext>
              </a:extLst>
            </p:cNvPr>
            <p:cNvSpPr/>
            <p:nvPr/>
          </p:nvSpPr>
          <p:spPr>
            <a:xfrm>
              <a:off x="1368662" y="3738323"/>
              <a:ext cx="1311578" cy="369332"/>
            </a:xfrm>
            <a:prstGeom prst="rect">
              <a:avLst/>
            </a:prstGeom>
            <a:noFill/>
          </p:spPr>
          <p:txBody>
            <a:bodyPr wrap="none" lIns="91440" tIns="45720" rIns="91440" bIns="45720">
              <a:spAutoFit/>
            </a:bodyPr>
            <a:lstStyle/>
            <a:p>
              <a:pPr algn="ctr"/>
              <a:r>
                <a:rPr lang="en-US" b="1" spc="50">
                  <a:ln w="0"/>
                  <a:solidFill>
                    <a:schemeClr val="accent3">
                      <a:lumMod val="60000"/>
                      <a:lumOff val="40000"/>
                    </a:schemeClr>
                  </a:solidFill>
                  <a:effectLst>
                    <a:innerShdw blurRad="63500" dist="50800" dir="13500000">
                      <a:srgbClr val="000000">
                        <a:alpha val="50000"/>
                      </a:srgbClr>
                    </a:innerShdw>
                  </a:effectLst>
                </a:rPr>
                <a:t>Feb 2022</a:t>
              </a:r>
            </a:p>
          </p:txBody>
        </p:sp>
        <p:pic>
          <p:nvPicPr>
            <p:cNvPr id="94" name="Picture 10" descr="capstone project Icon - Download capstone project Icon 3382687 | Noun  Project">
              <a:extLst>
                <a:ext uri="{FF2B5EF4-FFF2-40B4-BE49-F238E27FC236}">
                  <a16:creationId xmlns:a16="http://schemas.microsoft.com/office/drawing/2014/main" id="{6AE11FD0-DD51-4B49-A826-DC36BC0FAF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3125" y="4100629"/>
              <a:ext cx="390533" cy="365760"/>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a16="http://schemas.microsoft.com/office/drawing/2014/main" id="{420BBE12-6037-44D9-86A4-760B9B72E1F5}"/>
                </a:ext>
              </a:extLst>
            </p:cNvPr>
            <p:cNvSpPr txBox="1"/>
            <p:nvPr/>
          </p:nvSpPr>
          <p:spPr>
            <a:xfrm>
              <a:off x="1878492" y="4100629"/>
              <a:ext cx="839941" cy="677108"/>
            </a:xfrm>
            <a:prstGeom prst="rect">
              <a:avLst/>
            </a:prstGeom>
            <a:noFill/>
          </p:spPr>
          <p:txBody>
            <a:bodyPr wrap="square" lIns="0" tIns="0" rIns="0" bIns="0" rtlCol="0">
              <a:spAutoFit/>
            </a:bodyPr>
            <a:lstStyle/>
            <a:p>
              <a:pPr algn="l"/>
              <a:r>
                <a:rPr lang="en-US" sz="1100"/>
                <a:t>Predicting Risk for Diabetes in California</a:t>
              </a:r>
            </a:p>
          </p:txBody>
        </p:sp>
      </p:grpSp>
      <p:pic>
        <p:nvPicPr>
          <p:cNvPr id="102" name="Picture 6" descr="Campus Icon - Download Campus Icon 1998375 | Noun Project">
            <a:extLst>
              <a:ext uri="{FF2B5EF4-FFF2-40B4-BE49-F238E27FC236}">
                <a16:creationId xmlns:a16="http://schemas.microsoft.com/office/drawing/2014/main" id="{94E42C80-0469-4DA7-9E8E-338C613046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3134" y="2443097"/>
            <a:ext cx="365760" cy="36576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12F6484A-4B80-EDF5-FDFB-AD85D9E52AFF}"/>
              </a:ext>
            </a:extLst>
          </p:cNvPr>
          <p:cNvGrpSpPr/>
          <p:nvPr/>
        </p:nvGrpSpPr>
        <p:grpSpPr>
          <a:xfrm>
            <a:off x="4527747" y="1725526"/>
            <a:ext cx="1482264" cy="1210260"/>
            <a:chOff x="3288953" y="1741235"/>
            <a:chExt cx="1482264" cy="1210260"/>
          </a:xfrm>
        </p:grpSpPr>
        <p:sp>
          <p:nvSpPr>
            <p:cNvPr id="78" name="Rectangle 77">
              <a:extLst>
                <a:ext uri="{FF2B5EF4-FFF2-40B4-BE49-F238E27FC236}">
                  <a16:creationId xmlns:a16="http://schemas.microsoft.com/office/drawing/2014/main" id="{73B0ACAE-E435-42B9-8A2E-E36FB1EA9A57}"/>
                </a:ext>
              </a:extLst>
            </p:cNvPr>
            <p:cNvSpPr/>
            <p:nvPr/>
          </p:nvSpPr>
          <p:spPr>
            <a:xfrm>
              <a:off x="3373049" y="2072756"/>
              <a:ext cx="1101584" cy="369332"/>
            </a:xfrm>
            <a:prstGeom prst="rect">
              <a:avLst/>
            </a:prstGeom>
            <a:noFill/>
          </p:spPr>
          <p:txBody>
            <a:bodyPr wrap="none" lIns="91440" tIns="45720" rIns="91440" bIns="45720" anchor="t">
              <a:spAutoFit/>
            </a:bodyPr>
            <a:lstStyle/>
            <a:p>
              <a:pPr algn="ctr"/>
              <a:r>
                <a:rPr lang="en-US" b="1" spc="50">
                  <a:ln w="0"/>
                  <a:solidFill>
                    <a:srgbClr val="E0CBFF"/>
                  </a:solidFill>
                  <a:effectLst>
                    <a:innerShdw blurRad="63500" dist="50800" dir="13500000">
                      <a:srgbClr val="000000">
                        <a:alpha val="50000"/>
                      </a:srgbClr>
                    </a:innerShdw>
                  </a:effectLst>
                </a:rPr>
                <a:t>Apr 2021</a:t>
              </a:r>
            </a:p>
          </p:txBody>
        </p:sp>
        <p:sp>
          <p:nvSpPr>
            <p:cNvPr id="79" name="TextBox 78">
              <a:extLst>
                <a:ext uri="{FF2B5EF4-FFF2-40B4-BE49-F238E27FC236}">
                  <a16:creationId xmlns:a16="http://schemas.microsoft.com/office/drawing/2014/main" id="{D5D13338-5EA2-4989-BADC-5237303E5DDC}"/>
                </a:ext>
              </a:extLst>
            </p:cNvPr>
            <p:cNvSpPr txBox="1"/>
            <p:nvPr/>
          </p:nvSpPr>
          <p:spPr>
            <a:xfrm>
              <a:off x="3719210" y="2443664"/>
              <a:ext cx="1052007" cy="507831"/>
            </a:xfrm>
            <a:prstGeom prst="rect">
              <a:avLst/>
            </a:prstGeom>
            <a:noFill/>
          </p:spPr>
          <p:txBody>
            <a:bodyPr wrap="square" lIns="0" tIns="0" rIns="0" bIns="0" rtlCol="0">
              <a:spAutoFit/>
            </a:bodyPr>
            <a:lstStyle/>
            <a:p>
              <a:pPr algn="l"/>
              <a:r>
                <a:rPr lang="en-US" sz="1100"/>
                <a:t>Merage Analytics Club Speaker Event</a:t>
              </a:r>
            </a:p>
          </p:txBody>
        </p:sp>
        <p:pic>
          <p:nvPicPr>
            <p:cNvPr id="80" name="Picture 6" descr="Campus Icon - Download Campus Icon 1998375 | Noun Project">
              <a:extLst>
                <a:ext uri="{FF2B5EF4-FFF2-40B4-BE49-F238E27FC236}">
                  <a16:creationId xmlns:a16="http://schemas.microsoft.com/office/drawing/2014/main" id="{F611EB9E-2D7A-4412-B827-3B35B0B91D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8953" y="241869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 name="Graphic 104" descr="Marker with solid fill">
              <a:extLst>
                <a:ext uri="{FF2B5EF4-FFF2-40B4-BE49-F238E27FC236}">
                  <a16:creationId xmlns:a16="http://schemas.microsoft.com/office/drawing/2014/main" id="{C73CB9FC-9958-46B0-8A60-907F9CBB66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12535" y="1741235"/>
              <a:ext cx="365760" cy="365760"/>
            </a:xfrm>
            <a:prstGeom prst="rect">
              <a:avLst/>
            </a:prstGeom>
          </p:spPr>
        </p:pic>
      </p:grpSp>
      <p:pic>
        <p:nvPicPr>
          <p:cNvPr id="106" name="Graphic 105" descr="Marker with solid fill">
            <a:extLst>
              <a:ext uri="{FF2B5EF4-FFF2-40B4-BE49-F238E27FC236}">
                <a16:creationId xmlns:a16="http://schemas.microsoft.com/office/drawing/2014/main" id="{50D21C8D-BE62-4608-AA8F-B833111DC6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75388" y="1741235"/>
            <a:ext cx="365760" cy="365760"/>
          </a:xfrm>
          <a:prstGeom prst="rect">
            <a:avLst/>
          </a:prstGeom>
        </p:spPr>
      </p:pic>
      <p:grpSp>
        <p:nvGrpSpPr>
          <p:cNvPr id="7" name="Group 6">
            <a:extLst>
              <a:ext uri="{FF2B5EF4-FFF2-40B4-BE49-F238E27FC236}">
                <a16:creationId xmlns:a16="http://schemas.microsoft.com/office/drawing/2014/main" id="{82E0EC82-9BD3-552B-4C51-CB9D83323B17}"/>
              </a:ext>
            </a:extLst>
          </p:cNvPr>
          <p:cNvGrpSpPr/>
          <p:nvPr/>
        </p:nvGrpSpPr>
        <p:grpSpPr>
          <a:xfrm>
            <a:off x="1241788" y="3411368"/>
            <a:ext cx="1580767" cy="1402767"/>
            <a:chOff x="3273841" y="3374970"/>
            <a:chExt cx="1580767" cy="1402767"/>
          </a:xfrm>
        </p:grpSpPr>
        <p:sp>
          <p:nvSpPr>
            <p:cNvPr id="99" name="Rectangle 98">
              <a:extLst>
                <a:ext uri="{FF2B5EF4-FFF2-40B4-BE49-F238E27FC236}">
                  <a16:creationId xmlns:a16="http://schemas.microsoft.com/office/drawing/2014/main" id="{9E3BDCA4-DE5C-4D3F-B128-A01A90B36CC8}"/>
                </a:ext>
              </a:extLst>
            </p:cNvPr>
            <p:cNvSpPr/>
            <p:nvPr/>
          </p:nvSpPr>
          <p:spPr>
            <a:xfrm>
              <a:off x="3273841" y="3738323"/>
              <a:ext cx="1356462" cy="369332"/>
            </a:xfrm>
            <a:prstGeom prst="rect">
              <a:avLst/>
            </a:prstGeom>
            <a:noFill/>
          </p:spPr>
          <p:txBody>
            <a:bodyPr wrap="none" lIns="91440" tIns="45720" rIns="91440" bIns="45720">
              <a:spAutoFit/>
            </a:bodyPr>
            <a:lstStyle/>
            <a:p>
              <a:pPr algn="ctr"/>
              <a:r>
                <a:rPr lang="en-US" b="1" spc="50">
                  <a:ln w="0"/>
                  <a:solidFill>
                    <a:schemeClr val="accent3">
                      <a:lumMod val="60000"/>
                      <a:lumOff val="40000"/>
                    </a:schemeClr>
                  </a:solidFill>
                  <a:effectLst>
                    <a:innerShdw blurRad="63500" dist="50800" dir="13500000">
                      <a:srgbClr val="000000">
                        <a:alpha val="50000"/>
                      </a:srgbClr>
                    </a:innerShdw>
                  </a:effectLst>
                </a:rPr>
                <a:t>July 2022</a:t>
              </a:r>
            </a:p>
          </p:txBody>
        </p:sp>
        <p:sp>
          <p:nvSpPr>
            <p:cNvPr id="103" name="TextBox 102">
              <a:extLst>
                <a:ext uri="{FF2B5EF4-FFF2-40B4-BE49-F238E27FC236}">
                  <a16:creationId xmlns:a16="http://schemas.microsoft.com/office/drawing/2014/main" id="{460C2061-9F28-426B-8507-681A15923463}"/>
                </a:ext>
              </a:extLst>
            </p:cNvPr>
            <p:cNvSpPr txBox="1"/>
            <p:nvPr/>
          </p:nvSpPr>
          <p:spPr>
            <a:xfrm>
              <a:off x="3850390" y="4100629"/>
              <a:ext cx="1004218" cy="677108"/>
            </a:xfrm>
            <a:prstGeom prst="rect">
              <a:avLst/>
            </a:prstGeom>
            <a:noFill/>
          </p:spPr>
          <p:txBody>
            <a:bodyPr wrap="square" lIns="0" tIns="0" rIns="0" bIns="0" rtlCol="0">
              <a:spAutoFit/>
            </a:bodyPr>
            <a:lstStyle/>
            <a:p>
              <a:pPr algn="l"/>
              <a:r>
                <a:rPr lang="en-US" sz="1100"/>
                <a:t>Entry-Level Applications Promoted to UCI</a:t>
              </a:r>
            </a:p>
          </p:txBody>
        </p:sp>
        <p:pic>
          <p:nvPicPr>
            <p:cNvPr id="104" name="Picture 2" descr="Recruitment - Free people icons">
              <a:extLst>
                <a:ext uri="{FF2B5EF4-FFF2-40B4-BE49-F238E27FC236}">
                  <a16:creationId xmlns:a16="http://schemas.microsoft.com/office/drawing/2014/main" id="{310A22DC-9623-4CD9-8573-FC424C5698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2227" y="410062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7" name="Graphic 106" descr="Marker with solid fill">
              <a:extLst>
                <a:ext uri="{FF2B5EF4-FFF2-40B4-BE49-F238E27FC236}">
                  <a16:creationId xmlns:a16="http://schemas.microsoft.com/office/drawing/2014/main" id="{60DE8B29-108C-4ECF-B900-88DBB80729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50411" y="3374970"/>
              <a:ext cx="365760" cy="365760"/>
            </a:xfrm>
            <a:prstGeom prst="rect">
              <a:avLst/>
            </a:prstGeom>
          </p:spPr>
        </p:pic>
      </p:grpSp>
      <p:grpSp>
        <p:nvGrpSpPr>
          <p:cNvPr id="10" name="Group 9">
            <a:extLst>
              <a:ext uri="{FF2B5EF4-FFF2-40B4-BE49-F238E27FC236}">
                <a16:creationId xmlns:a16="http://schemas.microsoft.com/office/drawing/2014/main" id="{797A365C-9971-68E3-F578-D2E1A9A26AE6}"/>
              </a:ext>
            </a:extLst>
          </p:cNvPr>
          <p:cNvGrpSpPr/>
          <p:nvPr/>
        </p:nvGrpSpPr>
        <p:grpSpPr>
          <a:xfrm>
            <a:off x="1286459" y="5057549"/>
            <a:ext cx="2007281" cy="1205276"/>
            <a:chOff x="1286459" y="5057549"/>
            <a:chExt cx="2007281" cy="1205276"/>
          </a:xfrm>
        </p:grpSpPr>
        <p:pic>
          <p:nvPicPr>
            <p:cNvPr id="108" name="Graphic 107" descr="Marker with solid fill">
              <a:extLst>
                <a:ext uri="{FF2B5EF4-FFF2-40B4-BE49-F238E27FC236}">
                  <a16:creationId xmlns:a16="http://schemas.microsoft.com/office/drawing/2014/main" id="{49CB2A21-46CF-4941-8329-474D67A42A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0354" y="5057549"/>
              <a:ext cx="365760" cy="365760"/>
            </a:xfrm>
            <a:prstGeom prst="rect">
              <a:avLst/>
            </a:prstGeom>
          </p:spPr>
        </p:pic>
        <p:sp>
          <p:nvSpPr>
            <p:cNvPr id="109" name="Rectangle 108">
              <a:extLst>
                <a:ext uri="{FF2B5EF4-FFF2-40B4-BE49-F238E27FC236}">
                  <a16:creationId xmlns:a16="http://schemas.microsoft.com/office/drawing/2014/main" id="{750FC2C8-6586-4555-9B04-000509007EC1}"/>
                </a:ext>
              </a:extLst>
            </p:cNvPr>
            <p:cNvSpPr/>
            <p:nvPr/>
          </p:nvSpPr>
          <p:spPr>
            <a:xfrm>
              <a:off x="1286459" y="5381053"/>
              <a:ext cx="2007281" cy="369332"/>
            </a:xfrm>
            <a:prstGeom prst="rect">
              <a:avLst/>
            </a:prstGeom>
            <a:noFill/>
          </p:spPr>
          <p:txBody>
            <a:bodyPr wrap="none" lIns="91440" tIns="45720" rIns="91440" bIns="45720">
              <a:spAutoFit/>
            </a:bodyPr>
            <a:lstStyle/>
            <a:p>
              <a:pPr algn="ctr"/>
              <a:r>
                <a:rPr lang="en-US" b="1" spc="50">
                  <a:ln w="0"/>
                  <a:solidFill>
                    <a:schemeClr val="tx2">
                      <a:lumMod val="60000"/>
                      <a:lumOff val="40000"/>
                    </a:schemeClr>
                  </a:solidFill>
                  <a:effectLst>
                    <a:innerShdw blurRad="63500" dist="50800" dir="13500000">
                      <a:srgbClr val="000000">
                        <a:alpha val="50000"/>
                      </a:srgbClr>
                    </a:innerShdw>
                  </a:effectLst>
                </a:rPr>
                <a:t>Oct – Dec 2022</a:t>
              </a:r>
            </a:p>
          </p:txBody>
        </p:sp>
        <p:sp>
          <p:nvSpPr>
            <p:cNvPr id="112" name="TextBox 111">
              <a:extLst>
                <a:ext uri="{FF2B5EF4-FFF2-40B4-BE49-F238E27FC236}">
                  <a16:creationId xmlns:a16="http://schemas.microsoft.com/office/drawing/2014/main" id="{57741D93-4C0E-4E3E-AFB3-D1713D73924F}"/>
                </a:ext>
              </a:extLst>
            </p:cNvPr>
            <p:cNvSpPr txBox="1"/>
            <p:nvPr/>
          </p:nvSpPr>
          <p:spPr>
            <a:xfrm>
              <a:off x="1878103" y="5754994"/>
              <a:ext cx="1004218" cy="507831"/>
            </a:xfrm>
            <a:prstGeom prst="rect">
              <a:avLst/>
            </a:prstGeom>
            <a:noFill/>
          </p:spPr>
          <p:txBody>
            <a:bodyPr wrap="square" lIns="0" tIns="0" rIns="0" bIns="0" rtlCol="0">
              <a:spAutoFit/>
            </a:bodyPr>
            <a:lstStyle/>
            <a:p>
              <a:pPr algn="l"/>
              <a:r>
                <a:rPr lang="en-US" sz="1100"/>
                <a:t>Fall Recruitment Events</a:t>
              </a:r>
            </a:p>
          </p:txBody>
        </p:sp>
        <p:pic>
          <p:nvPicPr>
            <p:cNvPr id="113" name="Picture 2" descr="Recruitment - Free people icons">
              <a:extLst>
                <a:ext uri="{FF2B5EF4-FFF2-40B4-BE49-F238E27FC236}">
                  <a16:creationId xmlns:a16="http://schemas.microsoft.com/office/drawing/2014/main" id="{B204DA60-DD06-432F-A945-D62A02C83E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9940" y="5754994"/>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43B40F2C-8B2D-C5F2-1F81-6A01326337F5}"/>
              </a:ext>
            </a:extLst>
          </p:cNvPr>
          <p:cNvGrpSpPr/>
          <p:nvPr/>
        </p:nvGrpSpPr>
        <p:grpSpPr>
          <a:xfrm>
            <a:off x="4487356" y="5057549"/>
            <a:ext cx="1652649" cy="1374553"/>
            <a:chOff x="1374722" y="5057549"/>
            <a:chExt cx="1652649" cy="1374553"/>
          </a:xfrm>
        </p:grpSpPr>
        <p:pic>
          <p:nvPicPr>
            <p:cNvPr id="56" name="Graphic 55" descr="Marker with solid fill">
              <a:extLst>
                <a:ext uri="{FF2B5EF4-FFF2-40B4-BE49-F238E27FC236}">
                  <a16:creationId xmlns:a16="http://schemas.microsoft.com/office/drawing/2014/main" id="{EC91B604-DCCA-0BB7-1E9E-6B8D5D7CEF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0354" y="5057549"/>
              <a:ext cx="365760" cy="365760"/>
            </a:xfrm>
            <a:prstGeom prst="rect">
              <a:avLst/>
            </a:prstGeom>
          </p:spPr>
        </p:pic>
        <p:sp>
          <p:nvSpPr>
            <p:cNvPr id="59" name="Rectangle 58">
              <a:extLst>
                <a:ext uri="{FF2B5EF4-FFF2-40B4-BE49-F238E27FC236}">
                  <a16:creationId xmlns:a16="http://schemas.microsoft.com/office/drawing/2014/main" id="{ED57CA0E-74F3-BA20-001B-9315A1B4BEC8}"/>
                </a:ext>
              </a:extLst>
            </p:cNvPr>
            <p:cNvSpPr/>
            <p:nvPr/>
          </p:nvSpPr>
          <p:spPr>
            <a:xfrm>
              <a:off x="1374722" y="5390911"/>
              <a:ext cx="1285929" cy="369332"/>
            </a:xfrm>
            <a:prstGeom prst="rect">
              <a:avLst/>
            </a:prstGeom>
            <a:noFill/>
          </p:spPr>
          <p:txBody>
            <a:bodyPr wrap="none" lIns="91440" tIns="45720" rIns="91440" bIns="45720">
              <a:spAutoFit/>
            </a:bodyPr>
            <a:lstStyle/>
            <a:p>
              <a:pPr algn="ctr"/>
              <a:r>
                <a:rPr lang="en-US" b="1" spc="50">
                  <a:ln w="0"/>
                  <a:solidFill>
                    <a:schemeClr val="tx2">
                      <a:lumMod val="60000"/>
                      <a:lumOff val="40000"/>
                    </a:schemeClr>
                  </a:solidFill>
                  <a:effectLst>
                    <a:innerShdw blurRad="63500" dist="50800" dir="13500000">
                      <a:srgbClr val="000000">
                        <a:alpha val="50000"/>
                      </a:srgbClr>
                    </a:innerShdw>
                  </a:effectLst>
                </a:rPr>
                <a:t>Jan 2023</a:t>
              </a:r>
            </a:p>
          </p:txBody>
        </p:sp>
        <p:sp>
          <p:nvSpPr>
            <p:cNvPr id="60" name="TextBox 59">
              <a:extLst>
                <a:ext uri="{FF2B5EF4-FFF2-40B4-BE49-F238E27FC236}">
                  <a16:creationId xmlns:a16="http://schemas.microsoft.com/office/drawing/2014/main" id="{14A7477C-BF75-AAFA-8E78-1D9C61458DD6}"/>
                </a:ext>
              </a:extLst>
            </p:cNvPr>
            <p:cNvSpPr txBox="1"/>
            <p:nvPr/>
          </p:nvSpPr>
          <p:spPr>
            <a:xfrm>
              <a:off x="1878102" y="5754994"/>
              <a:ext cx="1149269" cy="677108"/>
            </a:xfrm>
            <a:prstGeom prst="rect">
              <a:avLst/>
            </a:prstGeom>
            <a:noFill/>
          </p:spPr>
          <p:txBody>
            <a:bodyPr wrap="square" lIns="0" tIns="0" rIns="0" bIns="0" rtlCol="0">
              <a:spAutoFit/>
            </a:bodyPr>
            <a:lstStyle/>
            <a:p>
              <a:pPr algn="l"/>
              <a:r>
                <a:rPr lang="en-US" sz="1100"/>
                <a:t>Student Leadership Program Engagements</a:t>
              </a:r>
            </a:p>
          </p:txBody>
        </p:sp>
        <p:pic>
          <p:nvPicPr>
            <p:cNvPr id="62" name="Picture 2" descr="Recruitment - Free people icons">
              <a:extLst>
                <a:ext uri="{FF2B5EF4-FFF2-40B4-BE49-F238E27FC236}">
                  <a16:creationId xmlns:a16="http://schemas.microsoft.com/office/drawing/2014/main" id="{CC6E92F9-1061-90F1-B55C-DC02065BB9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9940" y="5754994"/>
              <a:ext cx="365760" cy="3657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a:extLst>
              <a:ext uri="{FF2B5EF4-FFF2-40B4-BE49-F238E27FC236}">
                <a16:creationId xmlns:a16="http://schemas.microsoft.com/office/drawing/2014/main" id="{F724FBDB-0114-269E-BEC8-C375A5C85386}"/>
              </a:ext>
            </a:extLst>
          </p:cNvPr>
          <p:cNvGrpSpPr/>
          <p:nvPr/>
        </p:nvGrpSpPr>
        <p:grpSpPr>
          <a:xfrm>
            <a:off x="7148284" y="5057549"/>
            <a:ext cx="2139530" cy="1063205"/>
            <a:chOff x="1281748" y="5057549"/>
            <a:chExt cx="2139530" cy="1063205"/>
          </a:xfrm>
        </p:grpSpPr>
        <p:pic>
          <p:nvPicPr>
            <p:cNvPr id="87" name="Graphic 86" descr="Marker with solid fill">
              <a:extLst>
                <a:ext uri="{FF2B5EF4-FFF2-40B4-BE49-F238E27FC236}">
                  <a16:creationId xmlns:a16="http://schemas.microsoft.com/office/drawing/2014/main" id="{D918579F-874C-AFEA-D14D-07ED8BF0C3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0354" y="5057549"/>
              <a:ext cx="365760" cy="365760"/>
            </a:xfrm>
            <a:prstGeom prst="rect">
              <a:avLst/>
            </a:prstGeom>
          </p:spPr>
        </p:pic>
        <p:sp>
          <p:nvSpPr>
            <p:cNvPr id="90" name="Rectangle 89">
              <a:extLst>
                <a:ext uri="{FF2B5EF4-FFF2-40B4-BE49-F238E27FC236}">
                  <a16:creationId xmlns:a16="http://schemas.microsoft.com/office/drawing/2014/main" id="{A00DCA03-5382-D894-C439-7D1107FEC302}"/>
                </a:ext>
              </a:extLst>
            </p:cNvPr>
            <p:cNvSpPr/>
            <p:nvPr/>
          </p:nvSpPr>
          <p:spPr>
            <a:xfrm>
              <a:off x="1281748" y="5390911"/>
              <a:ext cx="1471878" cy="369332"/>
            </a:xfrm>
            <a:prstGeom prst="rect">
              <a:avLst/>
            </a:prstGeom>
            <a:noFill/>
          </p:spPr>
          <p:txBody>
            <a:bodyPr wrap="none" lIns="91440" tIns="45720" rIns="91440" bIns="45720">
              <a:spAutoFit/>
            </a:bodyPr>
            <a:lstStyle/>
            <a:p>
              <a:pPr algn="ctr"/>
              <a:r>
                <a:rPr lang="en-US" b="1" spc="50">
                  <a:ln w="0"/>
                  <a:solidFill>
                    <a:schemeClr val="tx2">
                      <a:lumMod val="60000"/>
                      <a:lumOff val="40000"/>
                    </a:schemeClr>
                  </a:solidFill>
                  <a:effectLst>
                    <a:innerShdw blurRad="63500" dist="50800" dir="13500000">
                      <a:srgbClr val="000000">
                        <a:alpha val="50000"/>
                      </a:srgbClr>
                    </a:innerShdw>
                  </a:effectLst>
                </a:rPr>
                <a:t>April 2023</a:t>
              </a:r>
            </a:p>
          </p:txBody>
        </p:sp>
        <p:sp>
          <p:nvSpPr>
            <p:cNvPr id="92" name="TextBox 91">
              <a:extLst>
                <a:ext uri="{FF2B5EF4-FFF2-40B4-BE49-F238E27FC236}">
                  <a16:creationId xmlns:a16="http://schemas.microsoft.com/office/drawing/2014/main" id="{3D385372-0C8F-4E87-3A22-F8CF7E4635CC}"/>
                </a:ext>
              </a:extLst>
            </p:cNvPr>
            <p:cNvSpPr txBox="1"/>
            <p:nvPr/>
          </p:nvSpPr>
          <p:spPr>
            <a:xfrm>
              <a:off x="1878102" y="5754994"/>
              <a:ext cx="1543176" cy="338554"/>
            </a:xfrm>
            <a:prstGeom prst="rect">
              <a:avLst/>
            </a:prstGeom>
            <a:noFill/>
          </p:spPr>
          <p:txBody>
            <a:bodyPr wrap="square" lIns="0" tIns="0" rIns="0" bIns="0" rtlCol="0">
              <a:spAutoFit/>
            </a:bodyPr>
            <a:lstStyle/>
            <a:p>
              <a:pPr algn="l"/>
              <a:r>
                <a:rPr lang="en-US" sz="1100"/>
                <a:t>Spring Recruitment </a:t>
              </a:r>
            </a:p>
            <a:p>
              <a:pPr algn="l"/>
              <a:r>
                <a:rPr lang="en-US" sz="1100"/>
                <a:t>(if demand exists)</a:t>
              </a:r>
            </a:p>
          </p:txBody>
        </p:sp>
        <p:pic>
          <p:nvPicPr>
            <p:cNvPr id="93" name="Picture 2" descr="Recruitment - Free people icons">
              <a:extLst>
                <a:ext uri="{FF2B5EF4-FFF2-40B4-BE49-F238E27FC236}">
                  <a16:creationId xmlns:a16="http://schemas.microsoft.com/office/drawing/2014/main" id="{4DE0F70A-76F1-DFC5-7AB7-867907BD7D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9940" y="5754994"/>
              <a:ext cx="365760" cy="3657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260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4C31DC5F-E3FA-A53E-D81E-6D4E9B0D70E5}"/>
              </a:ext>
            </a:extLst>
          </p:cNvPr>
          <p:cNvGrpSpPr/>
          <p:nvPr/>
        </p:nvGrpSpPr>
        <p:grpSpPr>
          <a:xfrm>
            <a:off x="162275" y="3793678"/>
            <a:ext cx="1588892" cy="1962722"/>
            <a:chOff x="506004" y="3849832"/>
            <a:chExt cx="1588892" cy="1962722"/>
          </a:xfrm>
        </p:grpSpPr>
        <p:pic>
          <p:nvPicPr>
            <p:cNvPr id="26" name="Picture 25">
              <a:extLst>
                <a:ext uri="{FF2B5EF4-FFF2-40B4-BE49-F238E27FC236}">
                  <a16:creationId xmlns:a16="http://schemas.microsoft.com/office/drawing/2014/main" id="{51EBAF58-726F-9A48-86DD-4307ACC90802}"/>
                </a:ext>
              </a:extLst>
            </p:cNvPr>
            <p:cNvPicPr>
              <a:picLocks noChangeAspect="1"/>
            </p:cNvPicPr>
            <p:nvPr/>
          </p:nvPicPr>
          <p:blipFill>
            <a:blip r:embed="rId3"/>
            <a:stretch>
              <a:fillRect/>
            </a:stretch>
          </p:blipFill>
          <p:spPr>
            <a:xfrm>
              <a:off x="615334" y="3849832"/>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0" name="Text Placeholder 6">
              <a:extLst>
                <a:ext uri="{FF2B5EF4-FFF2-40B4-BE49-F238E27FC236}">
                  <a16:creationId xmlns:a16="http://schemas.microsoft.com/office/drawing/2014/main" id="{D78B88B0-8483-DF4B-9190-266860251160}"/>
                </a:ext>
              </a:extLst>
            </p:cNvPr>
            <p:cNvSpPr txBox="1">
              <a:spLocks/>
            </p:cNvSpPr>
            <p:nvPr/>
          </p:nvSpPr>
          <p:spPr>
            <a:xfrm>
              <a:off x="506004" y="5441156"/>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err="1">
                  <a:ln>
                    <a:noFill/>
                  </a:ln>
                  <a:solidFill>
                    <a:srgbClr val="FFFFFF"/>
                  </a:solidFill>
                  <a:effectLst/>
                  <a:uLnTx/>
                  <a:uFillTx/>
                  <a:latin typeface="Graphik"/>
                  <a:ea typeface="+mn-ea"/>
                  <a:cs typeface="+mn-cs"/>
                </a:rPr>
                <a:t>Vishrut</a:t>
              </a:r>
              <a:r>
                <a:rPr kumimoji="0" lang="en-US" sz="1200" b="1" i="0" u="none" strike="noStrike" kern="1200" cap="none" spc="0" normalizeH="0" baseline="0" noProof="0">
                  <a:ln>
                    <a:noFill/>
                  </a:ln>
                  <a:solidFill>
                    <a:srgbClr val="FFFFFF"/>
                  </a:solidFill>
                  <a:effectLst/>
                  <a:uLnTx/>
                  <a:uFillTx/>
                  <a:latin typeface="Graphik"/>
                  <a:ea typeface="+mn-ea"/>
                  <a:cs typeface="+mn-cs"/>
                </a:rPr>
                <a:t> </a:t>
              </a:r>
              <a:r>
                <a:rPr kumimoji="0" lang="en-US" sz="1200" b="1" i="0" u="none" strike="noStrike" kern="1200" cap="none" spc="0" normalizeH="0" baseline="0" noProof="0" err="1">
                  <a:ln>
                    <a:noFill/>
                  </a:ln>
                  <a:solidFill>
                    <a:srgbClr val="FFFFFF"/>
                  </a:solidFill>
                  <a:effectLst/>
                  <a:uLnTx/>
                  <a:uFillTx/>
                  <a:latin typeface="Graphik"/>
                  <a:ea typeface="+mn-ea"/>
                  <a:cs typeface="+mn-cs"/>
                </a:rPr>
                <a:t>Chokshi</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AAI Resources West</a:t>
              </a:r>
            </a:p>
          </p:txBody>
        </p:sp>
      </p:grpSp>
      <p:sp>
        <p:nvSpPr>
          <p:cNvPr id="16" name="Title 1">
            <a:extLst>
              <a:ext uri="{FF2B5EF4-FFF2-40B4-BE49-F238E27FC236}">
                <a16:creationId xmlns:a16="http://schemas.microsoft.com/office/drawing/2014/main" id="{A0A768BF-361C-1F3A-AFD3-1C834E983753}"/>
              </a:ext>
            </a:extLst>
          </p:cNvPr>
          <p:cNvSpPr txBox="1">
            <a:spLocks/>
          </p:cNvSpPr>
          <p:nvPr/>
        </p:nvSpPr>
        <p:spPr>
          <a:xfrm>
            <a:off x="339724" y="312433"/>
            <a:ext cx="10028239" cy="777600"/>
          </a:xfrm>
          <a:prstGeom prst="rect">
            <a:avLst/>
          </a:prstGeom>
        </p:spPr>
        <p:txBody>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solidFill>
                  <a:schemeClr val="bg1"/>
                </a:solidFill>
              </a:rPr>
              <a:t>Our Team</a:t>
            </a:r>
          </a:p>
        </p:txBody>
      </p:sp>
      <p:grpSp>
        <p:nvGrpSpPr>
          <p:cNvPr id="18" name="Group 17">
            <a:extLst>
              <a:ext uri="{FF2B5EF4-FFF2-40B4-BE49-F238E27FC236}">
                <a16:creationId xmlns:a16="http://schemas.microsoft.com/office/drawing/2014/main" id="{EA5C7F95-081F-67FC-B378-C33664DFD9B1}"/>
              </a:ext>
            </a:extLst>
          </p:cNvPr>
          <p:cNvGrpSpPr/>
          <p:nvPr/>
        </p:nvGrpSpPr>
        <p:grpSpPr>
          <a:xfrm>
            <a:off x="3986236" y="966978"/>
            <a:ext cx="1588892" cy="1962722"/>
            <a:chOff x="230394" y="3602406"/>
            <a:chExt cx="1588892" cy="1962722"/>
          </a:xfrm>
        </p:grpSpPr>
        <p:pic>
          <p:nvPicPr>
            <p:cNvPr id="19" name="Picture 18">
              <a:extLst>
                <a:ext uri="{FF2B5EF4-FFF2-40B4-BE49-F238E27FC236}">
                  <a16:creationId xmlns:a16="http://schemas.microsoft.com/office/drawing/2014/main" id="{E0DD5639-4C66-2488-F9E3-55D14082EAC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9724" y="3602406"/>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Text Placeholder 6">
              <a:extLst>
                <a:ext uri="{FF2B5EF4-FFF2-40B4-BE49-F238E27FC236}">
                  <a16:creationId xmlns:a16="http://schemas.microsoft.com/office/drawing/2014/main" id="{D47091EF-289D-7FC8-814D-053BBFEC4C4E}"/>
                </a:ext>
              </a:extLst>
            </p:cNvPr>
            <p:cNvSpPr txBox="1">
              <a:spLocks/>
            </p:cNvSpPr>
            <p:nvPr/>
          </p:nvSpPr>
          <p:spPr>
            <a:xfrm>
              <a:off x="230394" y="5193730"/>
              <a:ext cx="1588892" cy="371398"/>
            </a:xfrm>
            <a:prstGeom prst="rect">
              <a:avLst/>
            </a:prstGeom>
          </p:spPr>
          <p:txBody>
            <a:bodyPr vert="horz" lIns="0" tIns="0" rIns="0" bIns="0" rtlCol="0">
              <a:norm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Martin Hodgett</a:t>
              </a:r>
            </a:p>
          </p:txBody>
        </p:sp>
      </p:grpSp>
      <p:grpSp>
        <p:nvGrpSpPr>
          <p:cNvPr id="22" name="Group 21">
            <a:extLst>
              <a:ext uri="{FF2B5EF4-FFF2-40B4-BE49-F238E27FC236}">
                <a16:creationId xmlns:a16="http://schemas.microsoft.com/office/drawing/2014/main" id="{2431B3E1-6914-5FFD-B1F4-DB636F1776F6}"/>
              </a:ext>
            </a:extLst>
          </p:cNvPr>
          <p:cNvGrpSpPr/>
          <p:nvPr/>
        </p:nvGrpSpPr>
        <p:grpSpPr>
          <a:xfrm>
            <a:off x="6725091" y="966978"/>
            <a:ext cx="1588892" cy="1962722"/>
            <a:chOff x="230394" y="3602406"/>
            <a:chExt cx="1588892" cy="1962722"/>
          </a:xfrm>
        </p:grpSpPr>
        <p:pic>
          <p:nvPicPr>
            <p:cNvPr id="23" name="Picture 22">
              <a:extLst>
                <a:ext uri="{FF2B5EF4-FFF2-40B4-BE49-F238E27FC236}">
                  <a16:creationId xmlns:a16="http://schemas.microsoft.com/office/drawing/2014/main" id="{8F8E57F1-E4A8-4224-FBD5-955E68F458F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39724" y="3602406"/>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4" name="Text Placeholder 6">
              <a:extLst>
                <a:ext uri="{FF2B5EF4-FFF2-40B4-BE49-F238E27FC236}">
                  <a16:creationId xmlns:a16="http://schemas.microsoft.com/office/drawing/2014/main" id="{621A114B-48D4-F323-7B75-93185B711DCC}"/>
                </a:ext>
              </a:extLst>
            </p:cNvPr>
            <p:cNvSpPr txBox="1">
              <a:spLocks/>
            </p:cNvSpPr>
            <p:nvPr/>
          </p:nvSpPr>
          <p:spPr>
            <a:xfrm>
              <a:off x="230394" y="5193730"/>
              <a:ext cx="1588892" cy="371398"/>
            </a:xfrm>
            <a:prstGeom prst="rect">
              <a:avLst/>
            </a:prstGeom>
          </p:spPr>
          <p:txBody>
            <a:bodyPr vert="horz" lIns="0" tIns="0" rIns="0" bIns="0" rtlCol="0">
              <a:norm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bg1"/>
                  </a:solidFill>
                  <a:effectLst/>
                  <a:uLnTx/>
                  <a:uFillTx/>
                  <a:latin typeface="Graphik"/>
                  <a:ea typeface="+mn-ea"/>
                  <a:cs typeface="+mn-cs"/>
                </a:rPr>
                <a:t>Manish Dasaur</a:t>
              </a:r>
            </a:p>
          </p:txBody>
        </p:sp>
      </p:grpSp>
      <p:grpSp>
        <p:nvGrpSpPr>
          <p:cNvPr id="34" name="Group 33">
            <a:extLst>
              <a:ext uri="{FF2B5EF4-FFF2-40B4-BE49-F238E27FC236}">
                <a16:creationId xmlns:a16="http://schemas.microsoft.com/office/drawing/2014/main" id="{1272069E-89D7-FC4E-4BAE-09BDAD020651}"/>
              </a:ext>
            </a:extLst>
          </p:cNvPr>
          <p:cNvGrpSpPr/>
          <p:nvPr/>
        </p:nvGrpSpPr>
        <p:grpSpPr>
          <a:xfrm>
            <a:off x="2217987" y="3773877"/>
            <a:ext cx="1588892" cy="1962722"/>
            <a:chOff x="2592887" y="3849832"/>
            <a:chExt cx="1588892" cy="1962722"/>
          </a:xfrm>
        </p:grpSpPr>
        <p:pic>
          <p:nvPicPr>
            <p:cNvPr id="3" name="Picture 2" descr="A person with long hair&#10;&#10;Description automatically generated with low confidence">
              <a:extLst>
                <a:ext uri="{FF2B5EF4-FFF2-40B4-BE49-F238E27FC236}">
                  <a16:creationId xmlns:a16="http://schemas.microsoft.com/office/drawing/2014/main" id="{48704190-F1E6-4756-8BB4-A162248236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06490" y="3849832"/>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5" name="Text Placeholder 6">
              <a:extLst>
                <a:ext uri="{FF2B5EF4-FFF2-40B4-BE49-F238E27FC236}">
                  <a16:creationId xmlns:a16="http://schemas.microsoft.com/office/drawing/2014/main" id="{2CD896EF-C476-F549-102D-83F430835C56}"/>
                </a:ext>
              </a:extLst>
            </p:cNvPr>
            <p:cNvSpPr txBox="1">
              <a:spLocks/>
            </p:cNvSpPr>
            <p:nvPr/>
          </p:nvSpPr>
          <p:spPr>
            <a:xfrm>
              <a:off x="2592887" y="5441156"/>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Shawna Tuli</a:t>
              </a: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lang="en-US" sz="1200">
                  <a:solidFill>
                    <a:srgbClr val="FFFFFF"/>
                  </a:solidFill>
                  <a:latin typeface="Graphik"/>
                </a:rPr>
                <a:t>AAI Microsoft West</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grpSp>
      <p:grpSp>
        <p:nvGrpSpPr>
          <p:cNvPr id="35" name="Group 34">
            <a:extLst>
              <a:ext uri="{FF2B5EF4-FFF2-40B4-BE49-F238E27FC236}">
                <a16:creationId xmlns:a16="http://schemas.microsoft.com/office/drawing/2014/main" id="{81654B1A-7B54-00C9-000C-018D89FFD682}"/>
              </a:ext>
            </a:extLst>
          </p:cNvPr>
          <p:cNvGrpSpPr/>
          <p:nvPr/>
        </p:nvGrpSpPr>
        <p:grpSpPr>
          <a:xfrm>
            <a:off x="4273699" y="3761745"/>
            <a:ext cx="1588892" cy="1962722"/>
            <a:chOff x="5030757" y="3849832"/>
            <a:chExt cx="1588892" cy="1962722"/>
          </a:xfrm>
        </p:grpSpPr>
        <p:pic>
          <p:nvPicPr>
            <p:cNvPr id="6" name="Picture 5" descr="A picture containing person, outdoor, person, standing&#10;&#10;Description automatically generated">
              <a:extLst>
                <a:ext uri="{FF2B5EF4-FFF2-40B4-BE49-F238E27FC236}">
                  <a16:creationId xmlns:a16="http://schemas.microsoft.com/office/drawing/2014/main" id="{32790B71-C40B-4F32-BB6B-88BFF4CDB432}"/>
                </a:ext>
              </a:extLst>
            </p:cNvPr>
            <p:cNvPicPr>
              <a:picLocks noChangeAspect="1"/>
            </p:cNvPicPr>
            <p:nvPr/>
          </p:nvPicPr>
          <p:blipFill rotWithShape="1">
            <a:blip r:embed="rId7">
              <a:extLst>
                <a:ext uri="{28A0092B-C50C-407E-A947-70E740481C1C}">
                  <a14:useLocalDpi xmlns:a14="http://schemas.microsoft.com/office/drawing/2010/main" val="0"/>
                </a:ext>
              </a:extLst>
            </a:blip>
            <a:srcRect l="10138" t="8518" r="15418" b="39879"/>
            <a:stretch/>
          </p:blipFill>
          <p:spPr>
            <a:xfrm>
              <a:off x="5134910" y="3849832"/>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7" name="Text Placeholder 6">
              <a:extLst>
                <a:ext uri="{FF2B5EF4-FFF2-40B4-BE49-F238E27FC236}">
                  <a16:creationId xmlns:a16="http://schemas.microsoft.com/office/drawing/2014/main" id="{010FCB5E-E4E5-A7CD-A842-DCBB7062F673}"/>
                </a:ext>
              </a:extLst>
            </p:cNvPr>
            <p:cNvSpPr txBox="1">
              <a:spLocks/>
            </p:cNvSpPr>
            <p:nvPr/>
          </p:nvSpPr>
          <p:spPr>
            <a:xfrm>
              <a:off x="5030757" y="5441156"/>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Jeff Lu</a:t>
              </a: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lang="en-US" sz="1200">
                  <a:solidFill>
                    <a:srgbClr val="FFFFFF"/>
                  </a:solidFill>
                  <a:latin typeface="Graphik"/>
                </a:rPr>
                <a:t>T&amp;O West</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grpSp>
      <p:grpSp>
        <p:nvGrpSpPr>
          <p:cNvPr id="36" name="Group 35">
            <a:extLst>
              <a:ext uri="{FF2B5EF4-FFF2-40B4-BE49-F238E27FC236}">
                <a16:creationId xmlns:a16="http://schemas.microsoft.com/office/drawing/2014/main" id="{98C5E972-DDF4-26DA-7D12-4CDA53BECAB0}"/>
              </a:ext>
            </a:extLst>
          </p:cNvPr>
          <p:cNvGrpSpPr/>
          <p:nvPr/>
        </p:nvGrpSpPr>
        <p:grpSpPr>
          <a:xfrm>
            <a:off x="6329411" y="3755453"/>
            <a:ext cx="1588892" cy="1956882"/>
            <a:chOff x="7114487" y="3849832"/>
            <a:chExt cx="1588892" cy="1956882"/>
          </a:xfrm>
        </p:grpSpPr>
        <p:pic>
          <p:nvPicPr>
            <p:cNvPr id="9" name="Picture 8">
              <a:extLst>
                <a:ext uri="{FF2B5EF4-FFF2-40B4-BE49-F238E27FC236}">
                  <a16:creationId xmlns:a16="http://schemas.microsoft.com/office/drawing/2014/main" id="{F4D5E5C8-FD49-5BA2-285A-4811460046CC}"/>
                </a:ext>
              </a:extLst>
            </p:cNvPr>
            <p:cNvPicPr>
              <a:picLocks noChangeAspect="1"/>
            </p:cNvPicPr>
            <p:nvPr/>
          </p:nvPicPr>
          <p:blipFill>
            <a:blip r:embed="rId8">
              <a:extLst>
                <a:ext uri="{28A0092B-C50C-407E-A947-70E740481C1C}">
                  <a14:useLocalDpi xmlns:a14="http://schemas.microsoft.com/office/drawing/2010/main" val="0"/>
                </a:ext>
              </a:extLst>
            </a:blip>
            <a:srcRect t="455" b="455"/>
            <a:stretch/>
          </p:blipFill>
          <p:spPr>
            <a:xfrm>
              <a:off x="7220665" y="3849832"/>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8" name="Text Placeholder 6">
              <a:extLst>
                <a:ext uri="{FF2B5EF4-FFF2-40B4-BE49-F238E27FC236}">
                  <a16:creationId xmlns:a16="http://schemas.microsoft.com/office/drawing/2014/main" id="{C66FECE5-4075-093C-CE90-93FADCEA329B}"/>
                </a:ext>
              </a:extLst>
            </p:cNvPr>
            <p:cNvSpPr txBox="1">
              <a:spLocks/>
            </p:cNvSpPr>
            <p:nvPr/>
          </p:nvSpPr>
          <p:spPr>
            <a:xfrm>
              <a:off x="7114487" y="5435316"/>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Niles </a:t>
              </a:r>
              <a:r>
                <a:rPr kumimoji="0" lang="en-US" sz="1200" b="1" i="0" u="none" strike="noStrike" kern="1200" cap="none" spc="0" normalizeH="0" baseline="0" noProof="0" err="1">
                  <a:ln>
                    <a:noFill/>
                  </a:ln>
                  <a:solidFill>
                    <a:srgbClr val="FFFFFF"/>
                  </a:solidFill>
                  <a:effectLst/>
                  <a:uLnTx/>
                  <a:uFillTx/>
                  <a:latin typeface="Graphik"/>
                  <a:ea typeface="+mn-ea"/>
                  <a:cs typeface="+mn-cs"/>
                </a:rPr>
                <a:t>Hanov</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lang="en-US" sz="1200">
                  <a:solidFill>
                    <a:srgbClr val="FFFFFF"/>
                  </a:solidFill>
                  <a:latin typeface="Graphik"/>
                </a:rPr>
                <a:t>AAI DS &amp; ML West</a:t>
              </a:r>
            </a:p>
          </p:txBody>
        </p:sp>
      </p:grpSp>
      <p:grpSp>
        <p:nvGrpSpPr>
          <p:cNvPr id="37" name="Group 36">
            <a:extLst>
              <a:ext uri="{FF2B5EF4-FFF2-40B4-BE49-F238E27FC236}">
                <a16:creationId xmlns:a16="http://schemas.microsoft.com/office/drawing/2014/main" id="{79F1BD60-8852-FE57-5ADB-B090D8443D43}"/>
              </a:ext>
            </a:extLst>
          </p:cNvPr>
          <p:cNvGrpSpPr/>
          <p:nvPr/>
        </p:nvGrpSpPr>
        <p:grpSpPr>
          <a:xfrm>
            <a:off x="8385123" y="3793678"/>
            <a:ext cx="1588892" cy="1956883"/>
            <a:chOff x="9201847" y="3849831"/>
            <a:chExt cx="1588892" cy="1956883"/>
          </a:xfrm>
        </p:grpSpPr>
        <p:pic>
          <p:nvPicPr>
            <p:cNvPr id="12" name="Picture 11">
              <a:extLst>
                <a:ext uri="{FF2B5EF4-FFF2-40B4-BE49-F238E27FC236}">
                  <a16:creationId xmlns:a16="http://schemas.microsoft.com/office/drawing/2014/main" id="{34D20331-48C6-EC77-63E1-5761FA3B5E7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9306420" y="3849831"/>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9" name="Text Placeholder 6">
              <a:extLst>
                <a:ext uri="{FF2B5EF4-FFF2-40B4-BE49-F238E27FC236}">
                  <a16:creationId xmlns:a16="http://schemas.microsoft.com/office/drawing/2014/main" id="{424A1C6D-9B5F-D602-8345-3B10FBB5678C}"/>
                </a:ext>
              </a:extLst>
            </p:cNvPr>
            <p:cNvSpPr txBox="1">
              <a:spLocks/>
            </p:cNvSpPr>
            <p:nvPr/>
          </p:nvSpPr>
          <p:spPr>
            <a:xfrm>
              <a:off x="9201847" y="5435316"/>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Ella Liang</a:t>
              </a: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lang="en-US" sz="1200">
                  <a:solidFill>
                    <a:srgbClr val="FFFFFF"/>
                  </a:solidFill>
                  <a:latin typeface="Graphik"/>
                </a:rPr>
                <a:t>CDP West</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grpSp>
      <p:grpSp>
        <p:nvGrpSpPr>
          <p:cNvPr id="17" name="Group 16">
            <a:extLst>
              <a:ext uri="{FF2B5EF4-FFF2-40B4-BE49-F238E27FC236}">
                <a16:creationId xmlns:a16="http://schemas.microsoft.com/office/drawing/2014/main" id="{FDD1C1D8-6050-F60B-8D9C-AE338B1668FA}"/>
              </a:ext>
            </a:extLst>
          </p:cNvPr>
          <p:cNvGrpSpPr/>
          <p:nvPr/>
        </p:nvGrpSpPr>
        <p:grpSpPr>
          <a:xfrm>
            <a:off x="10440833" y="3775251"/>
            <a:ext cx="1588892" cy="1956883"/>
            <a:chOff x="10953263" y="3937686"/>
            <a:chExt cx="1588892" cy="1956883"/>
          </a:xfrm>
        </p:grpSpPr>
        <p:pic>
          <p:nvPicPr>
            <p:cNvPr id="31" name="Picture 30">
              <a:extLst>
                <a:ext uri="{FF2B5EF4-FFF2-40B4-BE49-F238E27FC236}">
                  <a16:creationId xmlns:a16="http://schemas.microsoft.com/office/drawing/2014/main" id="{52E64BC8-0A79-C167-BC68-DE1CB4E85F93}"/>
                </a:ext>
              </a:extLst>
            </p:cNvPr>
            <p:cNvPicPr>
              <a:picLocks noChangeAspect="1"/>
            </p:cNvPicPr>
            <p:nvPr/>
          </p:nvPicPr>
          <p:blipFill>
            <a:blip r:embed="rId10">
              <a:extLst>
                <a:ext uri="{28A0092B-C50C-407E-A947-70E740481C1C}">
                  <a14:useLocalDpi xmlns:a14="http://schemas.microsoft.com/office/drawing/2010/main" val="0"/>
                </a:ext>
              </a:extLst>
            </a:blip>
            <a:srcRect t="16481" b="16481"/>
            <a:stretch/>
          </p:blipFill>
          <p:spPr>
            <a:xfrm>
              <a:off x="11057836" y="3937686"/>
              <a:ext cx="1379746" cy="1379746"/>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2" name="Text Placeholder 6">
              <a:extLst>
                <a:ext uri="{FF2B5EF4-FFF2-40B4-BE49-F238E27FC236}">
                  <a16:creationId xmlns:a16="http://schemas.microsoft.com/office/drawing/2014/main" id="{D7182AFE-6017-10B7-D628-30BFB7072928}"/>
                </a:ext>
              </a:extLst>
            </p:cNvPr>
            <p:cNvSpPr txBox="1">
              <a:spLocks/>
            </p:cNvSpPr>
            <p:nvPr/>
          </p:nvSpPr>
          <p:spPr>
            <a:xfrm>
              <a:off x="10953263" y="5523171"/>
              <a:ext cx="1588892" cy="371398"/>
            </a:xfrm>
            <a:prstGeom prst="rect">
              <a:avLst/>
            </a:prstGeom>
          </p:spPr>
          <p:txBody>
            <a:bodyPr vert="horz" lIns="0" tIns="0" rIns="0" bIns="0" rtlCol="0">
              <a:noAutofit/>
            </a:bodyPr>
            <a:lstStyle>
              <a:lvl1pPr marL="0" indent="0" algn="l" defTabSz="914377" rtl="0" eaLnBrk="1" latinLnBrk="0" hangingPunct="1">
                <a:lnSpc>
                  <a:spcPct val="90000"/>
                </a:lnSpc>
                <a:spcBef>
                  <a:spcPts val="120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0" indent="0" algn="l" defTabSz="914377"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n-lt"/>
                  <a:ea typeface="+mn-ea"/>
                  <a:cs typeface="+mn-cs"/>
                </a:defRPr>
              </a:lvl2pPr>
              <a:lvl3pPr marL="180975" indent="-180975" algn="l" defTabSz="914377" rtl="0" eaLnBrk="1" latinLnBrk="0" hangingPunct="1">
                <a:lnSpc>
                  <a:spcPct val="90000"/>
                </a:lnSpc>
                <a:spcBef>
                  <a:spcPts val="1200"/>
                </a:spcBef>
                <a:spcAft>
                  <a:spcPts val="1200"/>
                </a:spcAft>
                <a:buFont typeface="Arial" panose="020B0604020202020204" pitchFamily="34" charset="0"/>
                <a:buChar char="•"/>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Graphik"/>
                  <a:ea typeface="+mn-ea"/>
                  <a:cs typeface="+mn-cs"/>
                </a:rPr>
                <a:t>Nicole Deacon</a:t>
              </a:r>
            </a:p>
            <a:p>
              <a:pPr marL="0" marR="0" lvl="0" indent="0" algn="ctr" defTabSz="914377" rtl="0" eaLnBrk="1" fontAlgn="auto" latinLnBrk="0" hangingPunct="1">
                <a:lnSpc>
                  <a:spcPct val="90000"/>
                </a:lnSpc>
                <a:spcBef>
                  <a:spcPts val="1200"/>
                </a:spcBef>
                <a:spcAft>
                  <a:spcPts val="1200"/>
                </a:spcAft>
                <a:buClrTx/>
                <a:buSzTx/>
                <a:buFont typeface="Arial" panose="020B0604020202020204" pitchFamily="34" charset="0"/>
                <a:buNone/>
                <a:tabLst/>
                <a:defRPr/>
              </a:pPr>
              <a:r>
                <a:rPr lang="en-US" sz="1200">
                  <a:solidFill>
                    <a:srgbClr val="FFFFFF"/>
                  </a:solidFill>
                  <a:latin typeface="Graphik"/>
                </a:rPr>
                <a:t>CDP West</a:t>
              </a:r>
              <a:endParaRPr kumimoji="0" lang="en-US" sz="1200" b="1" i="0" u="none" strike="noStrike" kern="1200" cap="none" spc="0" normalizeH="0" baseline="0" noProof="0">
                <a:ln>
                  <a:noFill/>
                </a:ln>
                <a:solidFill>
                  <a:srgbClr val="FFFFFF"/>
                </a:solidFill>
                <a:effectLst/>
                <a:uLnTx/>
                <a:uFillTx/>
                <a:latin typeface="Graphik"/>
                <a:ea typeface="+mn-ea"/>
                <a:cs typeface="+mn-cs"/>
              </a:endParaRPr>
            </a:p>
          </p:txBody>
        </p:sp>
      </p:grpSp>
    </p:spTree>
    <p:extLst>
      <p:ext uri="{BB962C8B-B14F-4D97-AF65-F5344CB8AC3E}">
        <p14:creationId xmlns:p14="http://schemas.microsoft.com/office/powerpoint/2010/main" val="3391416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B0D97-8972-418B-A6CF-0E27BE30AD4B}"/>
              </a:ext>
            </a:extLst>
          </p:cNvPr>
          <p:cNvSpPr>
            <a:spLocks noGrp="1"/>
          </p:cNvSpPr>
          <p:nvPr>
            <p:ph type="ftr" sz="quarter" idx="16"/>
          </p:nvPr>
        </p:nvSpPr>
        <p:spPr/>
        <p:txBody>
          <a:bodyPr/>
          <a:lstStyle/>
          <a:p>
            <a:r>
              <a:rPr lang="en-GB"/>
              <a:t>Copyright © 2022 Accenture. All rights reserved.</a:t>
            </a:r>
          </a:p>
        </p:txBody>
      </p:sp>
      <p:sp>
        <p:nvSpPr>
          <p:cNvPr id="3" name="Slide Number Placeholder 2">
            <a:extLst>
              <a:ext uri="{FF2B5EF4-FFF2-40B4-BE49-F238E27FC236}">
                <a16:creationId xmlns:a16="http://schemas.microsoft.com/office/drawing/2014/main" id="{304EEE27-A466-473E-8708-A9E787D2E72D}"/>
              </a:ext>
            </a:extLst>
          </p:cNvPr>
          <p:cNvSpPr>
            <a:spLocks noGrp="1"/>
          </p:cNvSpPr>
          <p:nvPr>
            <p:ph type="sldNum" sz="quarter" idx="4"/>
          </p:nvPr>
        </p:nvSpPr>
        <p:spPr/>
        <p:txBody>
          <a:bodyPr/>
          <a:lstStyle/>
          <a:p>
            <a:fld id="{4F9AC08D-23A9-440E-BCB9-AA1E9877CC38}" type="slidenum">
              <a:rPr lang="en-US" smtClean="0"/>
              <a:pPr/>
              <a:t>7</a:t>
            </a:fld>
            <a:endParaRPr lang="en-US"/>
          </a:p>
        </p:txBody>
      </p:sp>
      <p:sp>
        <p:nvSpPr>
          <p:cNvPr id="5" name="TextBox 4">
            <a:extLst>
              <a:ext uri="{FF2B5EF4-FFF2-40B4-BE49-F238E27FC236}">
                <a16:creationId xmlns:a16="http://schemas.microsoft.com/office/drawing/2014/main" id="{48D9D79C-0A5B-4938-B246-10CCDBB4B765}"/>
              </a:ext>
            </a:extLst>
          </p:cNvPr>
          <p:cNvSpPr txBox="1"/>
          <p:nvPr/>
        </p:nvSpPr>
        <p:spPr>
          <a:xfrm>
            <a:off x="2375337" y="3075057"/>
            <a:ext cx="7441325" cy="707886"/>
          </a:xfrm>
          <a:prstGeom prst="rect">
            <a:avLst/>
          </a:prstGeom>
          <a:noFill/>
        </p:spPr>
        <p:txBody>
          <a:bodyPr wrap="square" rtlCol="0">
            <a:spAutoFit/>
          </a:bodyPr>
          <a:lstStyle/>
          <a:p>
            <a:r>
              <a:rPr lang="en-US" sz="4000" b="1">
                <a:solidFill>
                  <a:schemeClr val="bg1"/>
                </a:solidFill>
                <a:latin typeface="+mj-lt"/>
              </a:rPr>
              <a:t>Context</a:t>
            </a:r>
          </a:p>
        </p:txBody>
      </p:sp>
      <p:sp>
        <p:nvSpPr>
          <p:cNvPr id="6" name="TextBox 5">
            <a:extLst>
              <a:ext uri="{FF2B5EF4-FFF2-40B4-BE49-F238E27FC236}">
                <a16:creationId xmlns:a16="http://schemas.microsoft.com/office/drawing/2014/main" id="{BE475FB9-AF91-4EC1-9F3A-802B09F24777}"/>
              </a:ext>
            </a:extLst>
          </p:cNvPr>
          <p:cNvSpPr txBox="1"/>
          <p:nvPr/>
        </p:nvSpPr>
        <p:spPr>
          <a:xfrm>
            <a:off x="1372475" y="3075057"/>
            <a:ext cx="1002862" cy="707886"/>
          </a:xfrm>
          <a:prstGeom prst="rect">
            <a:avLst/>
          </a:prstGeom>
          <a:noFill/>
        </p:spPr>
        <p:txBody>
          <a:bodyPr wrap="square" rtlCol="0">
            <a:spAutoFit/>
          </a:bodyPr>
          <a:lstStyle/>
          <a:p>
            <a:r>
              <a:rPr lang="en-US" sz="4000" b="1">
                <a:solidFill>
                  <a:schemeClr val="bg1">
                    <a:lumMod val="65000"/>
                  </a:schemeClr>
                </a:solidFill>
                <a:latin typeface="+mj-lt"/>
              </a:rPr>
              <a:t>02</a:t>
            </a:r>
          </a:p>
        </p:txBody>
      </p:sp>
    </p:spTree>
    <p:extLst>
      <p:ext uri="{BB962C8B-B14F-4D97-AF65-F5344CB8AC3E}">
        <p14:creationId xmlns:p14="http://schemas.microsoft.com/office/powerpoint/2010/main" val="837970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A75EC02-DF9F-FD42-8531-089EB492E74E}"/>
              </a:ext>
            </a:extLst>
          </p:cNvPr>
          <p:cNvSpPr>
            <a:spLocks noGrp="1"/>
          </p:cNvSpPr>
          <p:nvPr>
            <p:ph type="body" sz="quarter" idx="36"/>
          </p:nvPr>
        </p:nvSpPr>
        <p:spPr>
          <a:xfrm>
            <a:off x="8672510" y="1418406"/>
            <a:ext cx="2914650" cy="3446672"/>
          </a:xfrm>
        </p:spPr>
        <p:txBody>
          <a:bodyPr/>
          <a:lstStyle/>
          <a:p>
            <a:pPr>
              <a:lnSpc>
                <a:spcPct val="90000"/>
              </a:lnSpc>
              <a:spcBef>
                <a:spcPts val="0"/>
              </a:spcBef>
            </a:pPr>
            <a:r>
              <a:rPr lang="en-GB" sz="1800" b="1">
                <a:latin typeface="+mj-lt"/>
              </a:rPr>
              <a:t>This community challenge led us to asking two key questions:</a:t>
            </a:r>
          </a:p>
          <a:p>
            <a:pPr marL="457200" indent="-457200">
              <a:lnSpc>
                <a:spcPct val="90000"/>
              </a:lnSpc>
              <a:spcBef>
                <a:spcPts val="0"/>
              </a:spcBef>
              <a:buFont typeface="+mj-lt"/>
              <a:buAutoNum type="arabicPeriod"/>
            </a:pPr>
            <a:endParaRPr lang="en-GB" sz="1800" b="1">
              <a:latin typeface="+mj-lt"/>
            </a:endParaRPr>
          </a:p>
          <a:p>
            <a:pPr>
              <a:lnSpc>
                <a:spcPct val="90000"/>
              </a:lnSpc>
              <a:spcBef>
                <a:spcPts val="0"/>
              </a:spcBef>
            </a:pPr>
            <a:endParaRPr lang="en-US" sz="1800" b="1">
              <a:latin typeface="+mj-lt"/>
            </a:endParaRPr>
          </a:p>
        </p:txBody>
      </p:sp>
      <p:sp>
        <p:nvSpPr>
          <p:cNvPr id="5" name="Text Placeholder 4">
            <a:extLst>
              <a:ext uri="{FF2B5EF4-FFF2-40B4-BE49-F238E27FC236}">
                <a16:creationId xmlns:a16="http://schemas.microsoft.com/office/drawing/2014/main" id="{3D05A3B3-A892-6146-81FC-7B83894938E8}"/>
              </a:ext>
            </a:extLst>
          </p:cNvPr>
          <p:cNvSpPr>
            <a:spLocks noGrp="1"/>
          </p:cNvSpPr>
          <p:nvPr>
            <p:ph type="body" sz="quarter" idx="35"/>
          </p:nvPr>
        </p:nvSpPr>
        <p:spPr>
          <a:xfrm>
            <a:off x="995979" y="2830235"/>
            <a:ext cx="6024361" cy="2656619"/>
          </a:xfrm>
        </p:spPr>
        <p:txBody>
          <a:bodyPr vert="horz" lIns="0" tIns="0" rIns="0" bIns="0" rtlCol="0" anchor="t">
            <a:noAutofit/>
          </a:bodyPr>
          <a:lstStyle/>
          <a:p>
            <a:pPr>
              <a:spcBef>
                <a:spcPts val="0"/>
              </a:spcBef>
            </a:pPr>
            <a:r>
              <a:rPr lang="en-US">
                <a:latin typeface="+mj-lt"/>
              </a:rPr>
              <a:t>California’s diabetes epidemic:</a:t>
            </a:r>
          </a:p>
          <a:p>
            <a:pPr marL="285750" indent="-285750">
              <a:spcBef>
                <a:spcPts val="0"/>
              </a:spcBef>
              <a:buFont typeface="Arial" panose="020B0604020202020204" pitchFamily="34" charset="0"/>
              <a:buChar char="•"/>
            </a:pPr>
            <a:r>
              <a:rPr lang="en-US" b="0">
                <a:latin typeface="+mj-lt"/>
                <a:ea typeface="Roboto"/>
                <a:cs typeface="Arial"/>
              </a:rPr>
              <a:t>Approximately 3,209,418 people in California, or 10.5% of the adult population, have diagnosed diabetes.</a:t>
            </a:r>
          </a:p>
          <a:p>
            <a:pPr marL="285750" indent="-285750">
              <a:spcBef>
                <a:spcPts val="0"/>
              </a:spcBef>
              <a:buFont typeface="Arial" panose="020B0604020202020204" pitchFamily="34" charset="0"/>
              <a:buChar char="•"/>
            </a:pPr>
            <a:r>
              <a:rPr lang="en-US" b="0">
                <a:latin typeface="+mj-lt"/>
                <a:ea typeface="Roboto"/>
                <a:cs typeface="Arial"/>
              </a:rPr>
              <a:t>An additional 884,000 people in California have diabetes but don’t know it, greatly increasing their health risk.</a:t>
            </a:r>
          </a:p>
          <a:p>
            <a:pPr marL="285750" indent="-285750">
              <a:spcBef>
                <a:spcPts val="0"/>
              </a:spcBef>
              <a:buFont typeface="Arial" panose="020B0604020202020204" pitchFamily="34" charset="0"/>
              <a:buChar char="•"/>
            </a:pPr>
            <a:r>
              <a:rPr lang="en-US" b="0">
                <a:latin typeface="+mj-lt"/>
                <a:ea typeface="Roboto"/>
                <a:cs typeface="Arial"/>
              </a:rPr>
              <a:t>Nearly half of adults in California have prediabetes or undiagnosed diabetes.</a:t>
            </a:r>
            <a:endParaRPr lang="en-US" sz="1400" b="0">
              <a:latin typeface="+mj-lt"/>
            </a:endParaRPr>
          </a:p>
        </p:txBody>
      </p:sp>
      <p:sp>
        <p:nvSpPr>
          <p:cNvPr id="6" name="Title 5">
            <a:extLst>
              <a:ext uri="{FF2B5EF4-FFF2-40B4-BE49-F238E27FC236}">
                <a16:creationId xmlns:a16="http://schemas.microsoft.com/office/drawing/2014/main" id="{733BD974-A236-1547-AC69-AF841FFDC211}"/>
              </a:ext>
            </a:extLst>
          </p:cNvPr>
          <p:cNvSpPr>
            <a:spLocks noGrp="1"/>
          </p:cNvSpPr>
          <p:nvPr>
            <p:ph type="title"/>
          </p:nvPr>
        </p:nvSpPr>
        <p:spPr>
          <a:xfrm>
            <a:off x="995979" y="1418406"/>
            <a:ext cx="6024361" cy="1322652"/>
          </a:xfrm>
        </p:spPr>
        <p:txBody>
          <a:bodyPr/>
          <a:lstStyle/>
          <a:p>
            <a:r>
              <a:rPr lang="en-US" sz="3200"/>
              <a:t>Over </a:t>
            </a:r>
            <a:r>
              <a:rPr lang="en-US" sz="3200">
                <a:solidFill>
                  <a:schemeClr val="accent2"/>
                </a:solidFill>
              </a:rPr>
              <a:t>34 million Americans have diabetes</a:t>
            </a:r>
            <a:r>
              <a:rPr lang="en-US" sz="3200"/>
              <a:t> and face its</a:t>
            </a:r>
            <a:br>
              <a:rPr lang="en-US" sz="3200"/>
            </a:br>
            <a:r>
              <a:rPr lang="en-US" sz="3200"/>
              <a:t>devastating consequences.</a:t>
            </a:r>
          </a:p>
        </p:txBody>
      </p:sp>
      <p:sp>
        <p:nvSpPr>
          <p:cNvPr id="7" name="Rectangle 6">
            <a:extLst>
              <a:ext uri="{FF2B5EF4-FFF2-40B4-BE49-F238E27FC236}">
                <a16:creationId xmlns:a16="http://schemas.microsoft.com/office/drawing/2014/main" id="{94E1C4BF-2991-F94B-87B2-0CCC23BD7088}"/>
              </a:ext>
            </a:extLst>
          </p:cNvPr>
          <p:cNvSpPr/>
          <p:nvPr/>
        </p:nvSpPr>
        <p:spPr>
          <a:xfrm>
            <a:off x="9175823" y="2457543"/>
            <a:ext cx="2653957" cy="2834622"/>
          </a:xfrm>
          <a:prstGeom prst="rect">
            <a:avLst/>
          </a:prstGeom>
        </p:spPr>
        <p:txBody>
          <a:bodyPr wrap="square" lIns="91440" tIns="45720" rIns="91440" bIns="4572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Graphik"/>
                <a:ea typeface="+mn-ea"/>
                <a:cs typeface="+mn-cs"/>
              </a:rPr>
              <a:t>How can we employ a data and AI based approach to identify and predict diabetes as a first step towards prevention?  </a:t>
            </a:r>
          </a:p>
          <a:p>
            <a:pPr marL="359410" marR="0" lvl="0" indent="-359410" algn="l" defTabSz="914400" rtl="0" eaLnBrk="1" fontAlgn="auto" latinLnBrk="0" hangingPunct="1">
              <a:lnSpc>
                <a:spcPct val="90000"/>
              </a:lnSpc>
              <a:spcBef>
                <a:spcPts val="0"/>
              </a:spcBef>
              <a:spcAft>
                <a:spcPts val="0"/>
              </a:spcAft>
              <a:buClrTx/>
              <a:buSzTx/>
              <a:buFont typeface="+mj-lt"/>
              <a:buAutoNum type="arabicPeriod"/>
              <a:tabLst/>
              <a:defRPr/>
            </a:pPr>
            <a:endParaRPr lang="en-GB" sz="1800" b="1" i="0" u="none" strike="noStrike" kern="1200" cap="none" spc="0" normalizeH="0" baseline="0" noProof="0">
              <a:ln>
                <a:noFill/>
              </a:ln>
              <a:solidFill>
                <a:srgbClr val="FFFFFF"/>
              </a:solidFill>
              <a:effectLst/>
              <a:uLnTx/>
              <a:uFillTx/>
              <a:latin typeface="Graphik"/>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Graphik"/>
                <a:ea typeface="+mn-ea"/>
                <a:cs typeface="+mn-cs"/>
              </a:rPr>
              <a:t>How can we turn this study and predictive model into a </a:t>
            </a:r>
            <a:r>
              <a:rPr lang="en-GB" b="1">
                <a:solidFill>
                  <a:srgbClr val="FFFFFF"/>
                </a:solidFill>
                <a:latin typeface="Graphik"/>
              </a:rPr>
              <a:t>research-based</a:t>
            </a:r>
            <a:r>
              <a:rPr kumimoji="0" lang="en-GB" sz="1800" b="1" i="0" u="none" strike="noStrike" kern="1200" cap="none" spc="0" normalizeH="0" baseline="0" noProof="0">
                <a:ln>
                  <a:noFill/>
                </a:ln>
                <a:solidFill>
                  <a:srgbClr val="FFFFFF"/>
                </a:solidFill>
                <a:effectLst/>
                <a:uLnTx/>
                <a:uFillTx/>
                <a:latin typeface="Graphik"/>
                <a:ea typeface="+mn-ea"/>
                <a:cs typeface="+mn-cs"/>
              </a:rPr>
              <a:t> credential?</a:t>
            </a:r>
          </a:p>
        </p:txBody>
      </p:sp>
      <p:grpSp>
        <p:nvGrpSpPr>
          <p:cNvPr id="10" name="Group 9">
            <a:extLst>
              <a:ext uri="{FF2B5EF4-FFF2-40B4-BE49-F238E27FC236}">
                <a16:creationId xmlns:a16="http://schemas.microsoft.com/office/drawing/2014/main" id="{FBC14A4B-8F4D-604D-A673-EE6B903C33C9}"/>
              </a:ext>
            </a:extLst>
          </p:cNvPr>
          <p:cNvGrpSpPr/>
          <p:nvPr/>
        </p:nvGrpSpPr>
        <p:grpSpPr>
          <a:xfrm>
            <a:off x="8672511" y="2516769"/>
            <a:ext cx="514350" cy="465449"/>
            <a:chOff x="8743951" y="1920563"/>
            <a:chExt cx="514350" cy="465449"/>
          </a:xfrm>
        </p:grpSpPr>
        <p:sp>
          <p:nvSpPr>
            <p:cNvPr id="8" name="Text Placeholder 2">
              <a:extLst>
                <a:ext uri="{FF2B5EF4-FFF2-40B4-BE49-F238E27FC236}">
                  <a16:creationId xmlns:a16="http://schemas.microsoft.com/office/drawing/2014/main" id="{4D2A7AC9-7341-7E41-9934-2CB7447C5331}"/>
                </a:ext>
              </a:extLst>
            </p:cNvPr>
            <p:cNvSpPr txBox="1">
              <a:spLocks/>
            </p:cNvSpPr>
            <p:nvPr/>
          </p:nvSpPr>
          <p:spPr>
            <a:xfrm>
              <a:off x="8901113" y="1980689"/>
              <a:ext cx="357188" cy="405323"/>
            </a:xfrm>
            <a:prstGeom prst="rect">
              <a:avLst/>
            </a:prstGeom>
          </p:spPr>
          <p:txBody>
            <a:bodyPr vert="horz" lIns="0" tIns="0" rIns="0" bIns="0" rtlCol="0" anchor="t">
              <a:noAutofit/>
            </a:bodyPr>
            <a:lstStyle>
              <a:lvl1pPr marL="0" indent="0" algn="l" rtl="0" eaLnBrk="1" fontAlgn="base" hangingPunct="1">
                <a:lnSpc>
                  <a:spcPct val="100000"/>
                </a:lnSpc>
                <a:spcBef>
                  <a:spcPts val="600"/>
                </a:spcBef>
                <a:spcAft>
                  <a:spcPct val="0"/>
                </a:spcAft>
                <a:buFont typeface="Arial" pitchFamily="34" charset="0"/>
                <a:buNone/>
                <a:defRPr sz="1400" b="0" i="0" kern="1200">
                  <a:solidFill>
                    <a:schemeClr val="bg1"/>
                  </a:solidFill>
                  <a:latin typeface="+mn-lt"/>
                  <a:ea typeface="Roboto" panose="02000000000000000000" pitchFamily="2" charset="0"/>
                  <a:cs typeface="Arial" panose="020B0604020202020204" pitchFamily="34" charset="0"/>
                </a:defRPr>
              </a:lvl1pPr>
              <a:lvl2pPr marL="215957"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0"/>
                </a:spcBef>
                <a:spcAft>
                  <a:spcPct val="0"/>
                </a:spcAft>
                <a:buClrTx/>
                <a:buSzTx/>
                <a:buFont typeface="Arial" pitchFamily="34" charset="0"/>
                <a:buNone/>
                <a:tabLst/>
                <a:defRPr/>
              </a:pPr>
              <a:r>
                <a:rPr kumimoji="0" lang="en-US" sz="2000" b="1" i="0" u="none" strike="noStrike" kern="1200" cap="none" spc="0" normalizeH="0" baseline="0" noProof="0">
                  <a:ln>
                    <a:noFill/>
                  </a:ln>
                  <a:solidFill>
                    <a:srgbClr val="FFFFFF"/>
                  </a:solidFill>
                  <a:effectLst/>
                  <a:uLnTx/>
                  <a:uFillTx/>
                  <a:latin typeface="Graphik"/>
                  <a:cs typeface="Arial" panose="020B0604020202020204" pitchFamily="34" charset="0"/>
                </a:rPr>
                <a:t>1</a:t>
              </a:r>
            </a:p>
          </p:txBody>
        </p:sp>
        <p:sp>
          <p:nvSpPr>
            <p:cNvPr id="9" name="Rectangle 8">
              <a:extLst>
                <a:ext uri="{FF2B5EF4-FFF2-40B4-BE49-F238E27FC236}">
                  <a16:creationId xmlns:a16="http://schemas.microsoft.com/office/drawing/2014/main" id="{D4352D86-0047-6D46-80D0-64BA2E2232C2}"/>
                </a:ext>
              </a:extLst>
            </p:cNvPr>
            <p:cNvSpPr/>
            <p:nvPr/>
          </p:nvSpPr>
          <p:spPr>
            <a:xfrm>
              <a:off x="8743951" y="1920563"/>
              <a:ext cx="443840" cy="405323"/>
            </a:xfrm>
            <a:prstGeom prst="rect">
              <a:avLst/>
            </a:prstGeom>
            <a:noFill/>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grpSp>
      <p:grpSp>
        <p:nvGrpSpPr>
          <p:cNvPr id="11" name="Group 10">
            <a:extLst>
              <a:ext uri="{FF2B5EF4-FFF2-40B4-BE49-F238E27FC236}">
                <a16:creationId xmlns:a16="http://schemas.microsoft.com/office/drawing/2014/main" id="{9D048CAB-0834-0741-AA9D-C12A1C8E62D6}"/>
              </a:ext>
            </a:extLst>
          </p:cNvPr>
          <p:cNvGrpSpPr/>
          <p:nvPr/>
        </p:nvGrpSpPr>
        <p:grpSpPr>
          <a:xfrm>
            <a:off x="8672511" y="4278049"/>
            <a:ext cx="514350" cy="465449"/>
            <a:chOff x="8743951" y="1920563"/>
            <a:chExt cx="514350" cy="465449"/>
          </a:xfrm>
        </p:grpSpPr>
        <p:sp>
          <p:nvSpPr>
            <p:cNvPr id="12" name="Text Placeholder 2">
              <a:extLst>
                <a:ext uri="{FF2B5EF4-FFF2-40B4-BE49-F238E27FC236}">
                  <a16:creationId xmlns:a16="http://schemas.microsoft.com/office/drawing/2014/main" id="{5CFD8E82-7B04-6043-B5FB-15254A793C16}"/>
                </a:ext>
              </a:extLst>
            </p:cNvPr>
            <p:cNvSpPr txBox="1">
              <a:spLocks/>
            </p:cNvSpPr>
            <p:nvPr/>
          </p:nvSpPr>
          <p:spPr>
            <a:xfrm>
              <a:off x="8901113" y="1980689"/>
              <a:ext cx="357188" cy="405323"/>
            </a:xfrm>
            <a:prstGeom prst="rect">
              <a:avLst/>
            </a:prstGeom>
          </p:spPr>
          <p:txBody>
            <a:bodyPr vert="horz" lIns="0" tIns="0" rIns="0" bIns="0" rtlCol="0" anchor="t">
              <a:noAutofit/>
            </a:bodyPr>
            <a:lstStyle>
              <a:lvl1pPr marL="0" indent="0" algn="l" rtl="0" eaLnBrk="1" fontAlgn="base" hangingPunct="1">
                <a:lnSpc>
                  <a:spcPct val="100000"/>
                </a:lnSpc>
                <a:spcBef>
                  <a:spcPts val="600"/>
                </a:spcBef>
                <a:spcAft>
                  <a:spcPct val="0"/>
                </a:spcAft>
                <a:buFont typeface="Arial" pitchFamily="34" charset="0"/>
                <a:buNone/>
                <a:defRPr sz="1400" b="0" i="0" kern="1200">
                  <a:solidFill>
                    <a:schemeClr val="bg1"/>
                  </a:solidFill>
                  <a:latin typeface="+mn-lt"/>
                  <a:ea typeface="Roboto" panose="02000000000000000000" pitchFamily="2" charset="0"/>
                  <a:cs typeface="Arial" panose="020B0604020202020204" pitchFamily="34" charset="0"/>
                </a:defRPr>
              </a:lvl1pPr>
              <a:lvl2pPr marL="215957"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2pPr>
              <a:lvl3pPr marL="431914" indent="-215957" algn="l" rtl="0" eaLnBrk="1" fontAlgn="base" hangingPunct="1">
                <a:lnSpc>
                  <a:spcPct val="100000"/>
                </a:lnSpc>
                <a:spcBef>
                  <a:spcPts val="600"/>
                </a:spcBef>
                <a:spcAft>
                  <a:spcPct val="0"/>
                </a:spcAft>
                <a:buFont typeface="Arial" pitchFamily="34" charset="0"/>
                <a:buChar char="‒"/>
                <a:tabLst/>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3pPr>
              <a:lvl4pPr marL="611878"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4pPr>
              <a:lvl5pPr marL="863827" indent="-215957" algn="l" rtl="0" eaLnBrk="1" fontAlgn="base" hangingPunct="1">
                <a:lnSpc>
                  <a:spcPct val="100000"/>
                </a:lnSpc>
                <a:spcBef>
                  <a:spcPts val="600"/>
                </a:spcBef>
                <a:spcAft>
                  <a:spcPct val="0"/>
                </a:spcAft>
                <a:buFont typeface="Arial" pitchFamily="34" charset="0"/>
                <a:buChar char="‒"/>
                <a:defRPr sz="1800" b="1" i="0" kern="1200">
                  <a:solidFill>
                    <a:schemeClr val="accent1"/>
                  </a:solidFill>
                  <a:latin typeface="Graphik" panose="020B0503030202060203" pitchFamily="34" charset="77"/>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0"/>
                </a:spcBef>
                <a:spcAft>
                  <a:spcPct val="0"/>
                </a:spcAft>
                <a:buClrTx/>
                <a:buSzTx/>
                <a:buFont typeface="Arial" pitchFamily="34" charset="0"/>
                <a:buNone/>
                <a:tabLst/>
                <a:defRPr/>
              </a:pPr>
              <a:r>
                <a:rPr kumimoji="0" lang="en-US" sz="2000" b="1" i="0" u="none" strike="noStrike" kern="1200" cap="none" spc="0" normalizeH="0" baseline="0" noProof="0">
                  <a:ln>
                    <a:noFill/>
                  </a:ln>
                  <a:solidFill>
                    <a:srgbClr val="FFFFFF"/>
                  </a:solidFill>
                  <a:effectLst/>
                  <a:uLnTx/>
                  <a:uFillTx/>
                  <a:latin typeface="Graphik"/>
                  <a:cs typeface="Arial" panose="020B0604020202020204" pitchFamily="34" charset="0"/>
                </a:rPr>
                <a:t>2</a:t>
              </a:r>
            </a:p>
          </p:txBody>
        </p:sp>
        <p:sp>
          <p:nvSpPr>
            <p:cNvPr id="13" name="Rectangle 12">
              <a:extLst>
                <a:ext uri="{FF2B5EF4-FFF2-40B4-BE49-F238E27FC236}">
                  <a16:creationId xmlns:a16="http://schemas.microsoft.com/office/drawing/2014/main" id="{D53BB2B7-665F-5742-AFB1-899C9601A323}"/>
                </a:ext>
              </a:extLst>
            </p:cNvPr>
            <p:cNvSpPr/>
            <p:nvPr/>
          </p:nvSpPr>
          <p:spPr>
            <a:xfrm>
              <a:off x="8743951" y="1920563"/>
              <a:ext cx="443840" cy="405323"/>
            </a:xfrm>
            <a:prstGeom prst="rect">
              <a:avLst/>
            </a:prstGeom>
            <a:noFill/>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a:ea typeface="+mn-ea"/>
                <a:cs typeface="+mn-cs"/>
              </a:endParaRPr>
            </a:p>
          </p:txBody>
        </p:sp>
      </p:grpSp>
      <p:sp>
        <p:nvSpPr>
          <p:cNvPr id="14" name="Footer Placeholder 1">
            <a:extLst>
              <a:ext uri="{FF2B5EF4-FFF2-40B4-BE49-F238E27FC236}">
                <a16:creationId xmlns:a16="http://schemas.microsoft.com/office/drawing/2014/main" id="{79CF421D-FE91-41DB-7DEF-EB9DF337E631}"/>
              </a:ext>
            </a:extLst>
          </p:cNvPr>
          <p:cNvSpPr txBox="1">
            <a:spLocks/>
          </p:cNvSpPr>
          <p:nvPr/>
        </p:nvSpPr>
        <p:spPr>
          <a:xfrm>
            <a:off x="8302974" y="6364605"/>
            <a:ext cx="3733634" cy="270112"/>
          </a:xfrm>
          <a:prstGeom prst="rect">
            <a:avLst/>
          </a:prstGeom>
        </p:spPr>
        <p:txBody>
          <a:bodyPr tIns="0" bIns="0" anchor="b"/>
          <a:lstStyle>
            <a:defPPr>
              <a:defRPr lang="en-US"/>
            </a:defPPr>
            <a:lvl1pPr marL="0" algn="r" defTabSz="914400" rtl="0" eaLnBrk="1" latinLnBrk="0" hangingPunct="1">
              <a:defRPr sz="800" kern="1200">
                <a:solidFill>
                  <a:schemeClr val="bg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Copyright © 2022 Accenture. All rights reserved.</a:t>
            </a:r>
          </a:p>
        </p:txBody>
      </p:sp>
      <p:sp>
        <p:nvSpPr>
          <p:cNvPr id="16" name="Slide Number Placeholder 15">
            <a:extLst>
              <a:ext uri="{FF2B5EF4-FFF2-40B4-BE49-F238E27FC236}">
                <a16:creationId xmlns:a16="http://schemas.microsoft.com/office/drawing/2014/main" id="{E0CAB90B-D4F1-8D6E-C9BE-9A0B8BB2A3F6}"/>
              </a:ext>
            </a:extLst>
          </p:cNvPr>
          <p:cNvSpPr>
            <a:spLocks noGrp="1"/>
          </p:cNvSpPr>
          <p:nvPr>
            <p:ph type="sldNum" sz="quarter" idx="4"/>
          </p:nvPr>
        </p:nvSpPr>
        <p:spPr/>
        <p:txBody>
          <a:bodyPr/>
          <a:lstStyle/>
          <a:p>
            <a:fld id="{4F9AC08D-23A9-440E-BCB9-AA1E9877CC38}" type="slidenum">
              <a:rPr lang="en-US" smtClean="0"/>
              <a:pPr/>
              <a:t>8</a:t>
            </a:fld>
            <a:endParaRPr lang="en-US"/>
          </a:p>
        </p:txBody>
      </p:sp>
    </p:spTree>
    <p:extLst>
      <p:ext uri="{BB962C8B-B14F-4D97-AF65-F5344CB8AC3E}">
        <p14:creationId xmlns:p14="http://schemas.microsoft.com/office/powerpoint/2010/main" val="2850392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88010F-FC69-4CF6-9AC8-5862DF2BEBDC}"/>
              </a:ext>
            </a:extLst>
          </p:cNvPr>
          <p:cNvSpPr>
            <a:spLocks noGrp="1"/>
          </p:cNvSpPr>
          <p:nvPr>
            <p:ph type="body" sz="quarter" idx="36"/>
          </p:nvPr>
        </p:nvSpPr>
        <p:spPr>
          <a:xfrm>
            <a:off x="339724" y="807744"/>
            <a:ext cx="10027707" cy="453183"/>
          </a:xfrm>
        </p:spPr>
        <p:txBody>
          <a:bodyPr/>
          <a:lstStyle/>
          <a:p>
            <a:r>
              <a:rPr lang="en-US" b="0">
                <a:solidFill>
                  <a:schemeClr val="accent2"/>
                </a:solidFill>
              </a:rPr>
              <a:t>Undergraduate Senior Capstone Project Design and Development</a:t>
            </a:r>
          </a:p>
        </p:txBody>
      </p:sp>
      <p:sp>
        <p:nvSpPr>
          <p:cNvPr id="3" name="Title 2">
            <a:extLst>
              <a:ext uri="{FF2B5EF4-FFF2-40B4-BE49-F238E27FC236}">
                <a16:creationId xmlns:a16="http://schemas.microsoft.com/office/drawing/2014/main" id="{FE16E638-CC1B-4FD2-A065-1672288BADF9}"/>
              </a:ext>
            </a:extLst>
          </p:cNvPr>
          <p:cNvSpPr>
            <a:spLocks noGrp="1"/>
          </p:cNvSpPr>
          <p:nvPr>
            <p:ph type="title"/>
          </p:nvPr>
        </p:nvSpPr>
        <p:spPr/>
        <p:txBody>
          <a:bodyPr/>
          <a:lstStyle/>
          <a:p>
            <a:r>
              <a:rPr lang="en-US" sz="3150">
                <a:ea typeface="Roboto Black"/>
                <a:cs typeface="Arial"/>
              </a:rPr>
              <a:t>UC Irvine Data Science Capstone Course</a:t>
            </a:r>
          </a:p>
        </p:txBody>
      </p:sp>
      <p:sp>
        <p:nvSpPr>
          <p:cNvPr id="4" name="Footer Placeholder 3">
            <a:extLst>
              <a:ext uri="{FF2B5EF4-FFF2-40B4-BE49-F238E27FC236}">
                <a16:creationId xmlns:a16="http://schemas.microsoft.com/office/drawing/2014/main" id="{EEF6FC43-4422-4B57-945C-AC8A549439FA}"/>
              </a:ext>
            </a:extLst>
          </p:cNvPr>
          <p:cNvSpPr>
            <a:spLocks noGrp="1"/>
          </p:cNvSpPr>
          <p:nvPr>
            <p:ph type="ftr" sz="quarter" idx="37"/>
          </p:nvPr>
        </p:nvSpPr>
        <p:spPr/>
        <p:txBody>
          <a:bodyPr lIns="91440" tIns="0" rIns="91440" bIns="0" anchor="b"/>
          <a:lstStyle/>
          <a:p>
            <a:r>
              <a:rPr lang="en-AU"/>
              <a:t>Copyright © 2022 Accenture. All rights reserved.</a:t>
            </a:r>
          </a:p>
        </p:txBody>
      </p:sp>
      <p:sp>
        <p:nvSpPr>
          <p:cNvPr id="5" name="Slide Number Placeholder 4">
            <a:extLst>
              <a:ext uri="{FF2B5EF4-FFF2-40B4-BE49-F238E27FC236}">
                <a16:creationId xmlns:a16="http://schemas.microsoft.com/office/drawing/2014/main" id="{BD0DE772-7E24-4068-8956-32BA01946AD2}"/>
              </a:ext>
            </a:extLst>
          </p:cNvPr>
          <p:cNvSpPr>
            <a:spLocks noGrp="1"/>
          </p:cNvSpPr>
          <p:nvPr>
            <p:ph type="sldNum" sz="quarter" idx="38"/>
          </p:nvPr>
        </p:nvSpPr>
        <p:spPr/>
        <p:txBody>
          <a:bodyPr/>
          <a:lstStyle/>
          <a:p>
            <a:fld id="{FC1BBE33-A891-48E8-970C-4A8D55F96D53}" type="slidenum">
              <a:rPr lang="en-AU" smtClean="0"/>
              <a:pPr/>
              <a:t>9</a:t>
            </a:fld>
            <a:endParaRPr lang="en-AU"/>
          </a:p>
        </p:txBody>
      </p:sp>
      <p:sp>
        <p:nvSpPr>
          <p:cNvPr id="6" name="TextBox 5">
            <a:extLst>
              <a:ext uri="{FF2B5EF4-FFF2-40B4-BE49-F238E27FC236}">
                <a16:creationId xmlns:a16="http://schemas.microsoft.com/office/drawing/2014/main" id="{FF47A320-413B-4B1A-A35E-90385949D7CC}"/>
              </a:ext>
            </a:extLst>
          </p:cNvPr>
          <p:cNvSpPr txBox="1"/>
          <p:nvPr/>
        </p:nvSpPr>
        <p:spPr bwMode="gray">
          <a:xfrm>
            <a:off x="9785523" y="1740181"/>
            <a:ext cx="1901376" cy="1415131"/>
          </a:xfrm>
          <a:prstGeom prst="rect">
            <a:avLst/>
          </a:prstGeom>
          <a:noFill/>
          <a:ln w="25400" cap="flat" cmpd="sng" algn="ctr">
            <a:noFill/>
            <a:prstDash val="solid"/>
          </a:ln>
          <a:effectLst/>
        </p:spPr>
        <p:txBody>
          <a:bodyPr wrap="square" lIns="0" tIns="0" rIns="0" bIns="0" rtlCol="0" anchor="t">
            <a:sp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lvl="0" algn="r" defTabSz="913851">
              <a:lnSpc>
                <a:spcPct val="100000"/>
              </a:lnSpc>
              <a:defRPr/>
            </a:pPr>
            <a:r>
              <a:rPr kumimoji="0" lang="en-US" sz="2799" b="1" i="0" u="none" strike="noStrike" kern="0" cap="all" spc="0" normalizeH="0" baseline="0" noProof="0">
                <a:ln>
                  <a:noFill/>
                </a:ln>
                <a:solidFill>
                  <a:srgbClr val="A100FF"/>
                </a:solidFill>
                <a:effectLst/>
                <a:uLnTx/>
                <a:uFillTx/>
                <a:latin typeface="Graphik Black" panose="020B0A03030202060203" pitchFamily="34" charset="0"/>
                <a:ea typeface="Roboto Medium" panose="02000000000000000000" pitchFamily="2" charset="0"/>
                <a:cs typeface="Arial" panose="020B0604020202020204" pitchFamily="34" charset="0"/>
                <a:sym typeface="Arial"/>
              </a:rPr>
              <a:t>42</a:t>
            </a:r>
          </a:p>
          <a:p>
            <a:pPr lvl="0" algn="r" defTabSz="913851">
              <a:lnSpc>
                <a:spcPct val="100000"/>
              </a:lnSpc>
              <a:defRPr/>
            </a:pPr>
            <a:r>
              <a:rPr lang="en-US" sz="1599" b="0" spc="-20">
                <a:solidFill>
                  <a:srgbClr val="000000"/>
                </a:solidFill>
                <a:latin typeface="Graphik" panose="020B0503030202060203" pitchFamily="34" charset="0"/>
                <a:ea typeface="Graphik" charset="0"/>
                <a:cs typeface="Graphik" charset="0"/>
                <a:sym typeface="Arial"/>
              </a:rPr>
              <a:t>Undergraduate Computer Science students enrolled in course</a:t>
            </a:r>
            <a:endParaRPr kumimoji="0" lang="en-AU" sz="1599" b="0" i="0" u="none" strike="noStrike" kern="0" cap="none" spc="-20" normalizeH="0" baseline="0" noProof="0">
              <a:ln>
                <a:noFill/>
              </a:ln>
              <a:solidFill>
                <a:srgbClr val="000000"/>
              </a:solidFill>
              <a:effectLst/>
              <a:uLnTx/>
              <a:uFillTx/>
              <a:latin typeface="Graphik" panose="020B0503030202060203" pitchFamily="34" charset="0"/>
              <a:ea typeface="Graphik" charset="0"/>
              <a:cs typeface="Graphik" charset="0"/>
              <a:sym typeface="Arial"/>
            </a:endParaRPr>
          </a:p>
        </p:txBody>
      </p:sp>
      <p:sp>
        <p:nvSpPr>
          <p:cNvPr id="7" name="TextBox 6">
            <a:extLst>
              <a:ext uri="{FF2B5EF4-FFF2-40B4-BE49-F238E27FC236}">
                <a16:creationId xmlns:a16="http://schemas.microsoft.com/office/drawing/2014/main" id="{24F64691-AA92-46D8-A9BD-75DFBC5D28EF}"/>
              </a:ext>
            </a:extLst>
          </p:cNvPr>
          <p:cNvSpPr txBox="1"/>
          <p:nvPr/>
        </p:nvSpPr>
        <p:spPr bwMode="gray">
          <a:xfrm>
            <a:off x="873667" y="3681767"/>
            <a:ext cx="1571686" cy="1845890"/>
          </a:xfrm>
          <a:prstGeom prst="rect">
            <a:avLst/>
          </a:prstGeom>
          <a:noFill/>
          <a:ln w="25400" cap="flat" cmpd="sng" algn="ctr">
            <a:noFill/>
            <a:prstDash val="solid"/>
          </a:ln>
          <a:effectLst/>
        </p:spPr>
        <p:txBody>
          <a:bodyPr wrap="square" lIns="0" tIns="0" rIns="0" bIns="0" rtlCol="0" anchor="t">
            <a:sp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marL="0" marR="0" lvl="0" indent="0" algn="r" defTabSz="913851" rtl="0" eaLnBrk="0" fontAlgn="auto" latinLnBrk="0" hangingPunct="0">
              <a:lnSpc>
                <a:spcPct val="100000"/>
              </a:lnSpc>
              <a:spcBef>
                <a:spcPts val="0"/>
              </a:spcBef>
              <a:spcAft>
                <a:spcPts val="0"/>
              </a:spcAft>
              <a:buClrTx/>
              <a:buSzTx/>
              <a:buFontTx/>
              <a:buNone/>
              <a:tabLst/>
              <a:defRPr/>
            </a:pPr>
            <a:r>
              <a:rPr kumimoji="0" lang="en-US" sz="2799" b="1" i="0" u="none" strike="noStrike" kern="0" cap="all" spc="0" normalizeH="0" baseline="0" noProof="0">
                <a:ln>
                  <a:noFill/>
                </a:ln>
                <a:solidFill>
                  <a:srgbClr val="A100FF"/>
                </a:solidFill>
                <a:effectLst/>
                <a:uLnTx/>
                <a:uFillTx/>
                <a:latin typeface="Graphik Black" panose="020B0A03030202060203" pitchFamily="34" charset="0"/>
                <a:ea typeface="Graphik Black" charset="0"/>
                <a:cs typeface="Graphik Black" charset="0"/>
                <a:sym typeface="Arial"/>
              </a:rPr>
              <a:t>Feb 21 – June 26</a:t>
            </a:r>
            <a:r>
              <a:rPr kumimoji="0" lang="en-US" sz="2799" b="1" i="0" u="none" strike="noStrike" kern="0" cap="all" spc="0" normalizeH="0" baseline="0" noProof="0">
                <a:ln>
                  <a:noFill/>
                </a:ln>
                <a:solidFill>
                  <a:srgbClr val="7030A0"/>
                </a:solidFill>
                <a:effectLst/>
                <a:uLnTx/>
                <a:uFillTx/>
                <a:latin typeface="Graphik Black" panose="020B0A03030202060203" pitchFamily="34" charset="0"/>
                <a:ea typeface="Graphik Black" charset="0"/>
                <a:cs typeface="Graphik Black" charset="0"/>
                <a:sym typeface="Arial"/>
              </a:rPr>
              <a:t> </a:t>
            </a:r>
          </a:p>
          <a:p>
            <a:pPr algn="r" defTabSz="913851" eaLnBrk="1" hangingPunct="1">
              <a:lnSpc>
                <a:spcPct val="100000"/>
              </a:lnSpc>
              <a:defRPr/>
            </a:pPr>
            <a:r>
              <a:rPr lang="en-US" sz="1550" b="0" spc="-20">
                <a:solidFill>
                  <a:srgbClr val="000000"/>
                </a:solidFill>
                <a:latin typeface="Graphik"/>
                <a:ea typeface="Graphik" charset="0"/>
                <a:cs typeface="Graphik" charset="0"/>
                <a:sym typeface="Arial"/>
              </a:rPr>
              <a:t>Starting our engagement with students on Feb 16th</a:t>
            </a:r>
            <a:endParaRPr kumimoji="0" lang="en-AU" sz="1550" b="0" i="0" u="none" strike="noStrike" kern="0" cap="none" spc="-20" normalizeH="0" baseline="0" noProof="0">
              <a:ln>
                <a:noFill/>
              </a:ln>
              <a:solidFill>
                <a:srgbClr val="000000"/>
              </a:solidFill>
              <a:effectLst/>
              <a:uLnTx/>
              <a:uFillTx/>
              <a:latin typeface="Graphik"/>
              <a:ea typeface="Graphik" charset="0"/>
              <a:cs typeface="Graphik" charset="0"/>
              <a:sym typeface="Arial"/>
            </a:endParaRPr>
          </a:p>
        </p:txBody>
      </p:sp>
      <p:sp>
        <p:nvSpPr>
          <p:cNvPr id="8" name="Rectangle 7">
            <a:extLst>
              <a:ext uri="{FF2B5EF4-FFF2-40B4-BE49-F238E27FC236}">
                <a16:creationId xmlns:a16="http://schemas.microsoft.com/office/drawing/2014/main" id="{044D5E7D-A259-4B9C-AD9D-CDC97D6A7076}"/>
              </a:ext>
            </a:extLst>
          </p:cNvPr>
          <p:cNvSpPr/>
          <p:nvPr/>
        </p:nvSpPr>
        <p:spPr>
          <a:xfrm>
            <a:off x="2988505" y="1740181"/>
            <a:ext cx="5804103" cy="2895320"/>
          </a:xfrm>
          <a:prstGeom prst="rect">
            <a:avLst/>
          </a:prstGeom>
          <a:noFill/>
          <a:ln>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36000" tIns="0" rIns="36000" bIns="0" rtlCol="0" anchor="ctr"/>
          <a:lstStyle/>
          <a:p>
            <a:pPr lvl="0" algn="ctr" defTabSz="913851">
              <a:lnSpc>
                <a:spcPct val="90000"/>
              </a:lnSpc>
              <a:defRPr/>
            </a:pPr>
            <a:r>
              <a:rPr lang="en-US" sz="2800">
                <a:solidFill>
                  <a:prstClr val="black">
                    <a:lumMod val="65000"/>
                    <a:lumOff val="35000"/>
                  </a:prstClr>
                </a:solidFill>
                <a:latin typeface="Graphik Black" panose="020B0A03030202060203" pitchFamily="34" charset="0"/>
                <a:ea typeface="Graphik Black" charset="0"/>
                <a:cs typeface="Graphik Black" charset="0"/>
                <a:sym typeface="Arial"/>
              </a:rPr>
              <a:t>This course allows senior students to solve a substantial real-world problem. </a:t>
            </a:r>
          </a:p>
          <a:p>
            <a:pPr lvl="0" algn="ctr" defTabSz="913851">
              <a:lnSpc>
                <a:spcPct val="90000"/>
              </a:lnSpc>
              <a:defRPr/>
            </a:pPr>
            <a:endParaRPr lang="en-US" sz="2800">
              <a:solidFill>
                <a:prstClr val="black">
                  <a:lumMod val="65000"/>
                  <a:lumOff val="35000"/>
                </a:prstClr>
              </a:solidFill>
              <a:latin typeface="Graphik Black" panose="020B0A03030202060203" pitchFamily="34" charset="0"/>
              <a:ea typeface="Graphik Black" charset="0"/>
              <a:cs typeface="Graphik Black" charset="0"/>
              <a:sym typeface="Arial"/>
            </a:endParaRPr>
          </a:p>
          <a:p>
            <a:pPr lvl="0" algn="ctr" defTabSz="913851">
              <a:lnSpc>
                <a:spcPct val="90000"/>
              </a:lnSpc>
              <a:defRPr/>
            </a:pPr>
            <a:r>
              <a:rPr lang="en-US" sz="2800">
                <a:solidFill>
                  <a:prstClr val="black">
                    <a:lumMod val="65000"/>
                    <a:lumOff val="35000"/>
                  </a:prstClr>
                </a:solidFill>
                <a:latin typeface="Graphik Black" panose="020B0A03030202060203" pitchFamily="34" charset="0"/>
                <a:ea typeface="Graphik Black" charset="0"/>
                <a:cs typeface="Graphik Black" charset="0"/>
                <a:sym typeface="Arial"/>
              </a:rPr>
              <a:t>Accenture is a sponsor to a project which helps our local community and people.</a:t>
            </a:r>
          </a:p>
        </p:txBody>
      </p:sp>
      <p:sp>
        <p:nvSpPr>
          <p:cNvPr id="9" name="TextBox 8">
            <a:extLst>
              <a:ext uri="{FF2B5EF4-FFF2-40B4-BE49-F238E27FC236}">
                <a16:creationId xmlns:a16="http://schemas.microsoft.com/office/drawing/2014/main" id="{368C26F3-1AB7-4122-A632-B22011BA73D9}"/>
              </a:ext>
            </a:extLst>
          </p:cNvPr>
          <p:cNvSpPr txBox="1"/>
          <p:nvPr/>
        </p:nvSpPr>
        <p:spPr bwMode="gray">
          <a:xfrm>
            <a:off x="9800059" y="3681767"/>
            <a:ext cx="1989351" cy="1415131"/>
          </a:xfrm>
          <a:prstGeom prst="rect">
            <a:avLst/>
          </a:prstGeom>
          <a:noFill/>
          <a:ln w="25400" cap="flat" cmpd="sng" algn="ctr">
            <a:noFill/>
            <a:prstDash val="solid"/>
          </a:ln>
          <a:effectLst/>
        </p:spPr>
        <p:txBody>
          <a:bodyPr wrap="square" lIns="0" tIns="0" rIns="0" bIns="0" rtlCol="0" anchor="t">
            <a:sp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lvl="0" algn="r" defTabSz="913851">
              <a:lnSpc>
                <a:spcPct val="100000"/>
              </a:lnSpc>
              <a:defRPr/>
            </a:pPr>
            <a:r>
              <a:rPr lang="en-US" sz="2799" cap="all">
                <a:solidFill>
                  <a:srgbClr val="A100FF"/>
                </a:solidFill>
                <a:latin typeface="Graphik Black" panose="020B0A03030202060203" pitchFamily="34" charset="0"/>
                <a:ea typeface="Graphik Black" charset="0"/>
                <a:cs typeface="Graphik Black" charset="0"/>
                <a:sym typeface="Arial"/>
              </a:rPr>
              <a:t>50%</a:t>
            </a:r>
          </a:p>
          <a:p>
            <a:pPr lvl="0" algn="r" defTabSz="913851">
              <a:lnSpc>
                <a:spcPct val="100000"/>
              </a:lnSpc>
              <a:defRPr/>
            </a:pPr>
            <a:r>
              <a:rPr lang="en-US" sz="1599" b="0" spc="-20">
                <a:solidFill>
                  <a:srgbClr val="000000"/>
                </a:solidFill>
                <a:latin typeface="Graphik" panose="020B0503030202060203" pitchFamily="34" charset="0"/>
                <a:ea typeface="Graphik" charset="0"/>
                <a:cs typeface="Graphik" charset="0"/>
                <a:sym typeface="Arial"/>
              </a:rPr>
              <a:t>Computer Science  students are minority, female or first-generation</a:t>
            </a:r>
            <a:endParaRPr kumimoji="0" lang="en-GB" sz="1599" b="0" i="0" u="none" strike="noStrike" kern="0" cap="none" spc="-20" normalizeH="0" baseline="0" noProof="0">
              <a:ln>
                <a:noFill/>
              </a:ln>
              <a:solidFill>
                <a:srgbClr val="000000"/>
              </a:solidFill>
              <a:effectLst/>
              <a:uLnTx/>
              <a:uFillTx/>
              <a:latin typeface="Graphik" panose="020B0503030202060203" pitchFamily="34" charset="0"/>
              <a:ea typeface="Graphik" charset="0"/>
              <a:cs typeface="Graphik" charset="0"/>
              <a:sym typeface="Arial"/>
            </a:endParaRPr>
          </a:p>
        </p:txBody>
      </p:sp>
      <p:sp>
        <p:nvSpPr>
          <p:cNvPr id="10" name="TextBox 9">
            <a:extLst>
              <a:ext uri="{FF2B5EF4-FFF2-40B4-BE49-F238E27FC236}">
                <a16:creationId xmlns:a16="http://schemas.microsoft.com/office/drawing/2014/main" id="{6096C05A-F08C-4464-85DC-F46D725EA18A}"/>
              </a:ext>
            </a:extLst>
          </p:cNvPr>
          <p:cNvSpPr txBox="1"/>
          <p:nvPr/>
        </p:nvSpPr>
        <p:spPr bwMode="gray">
          <a:xfrm>
            <a:off x="882497" y="1740181"/>
            <a:ext cx="1571686" cy="1138773"/>
          </a:xfrm>
          <a:prstGeom prst="rect">
            <a:avLst/>
          </a:prstGeom>
          <a:noFill/>
          <a:ln w="25400" cap="flat" cmpd="sng" algn="ctr">
            <a:noFill/>
            <a:prstDash val="solid"/>
          </a:ln>
          <a:effectLst/>
        </p:spPr>
        <p:txBody>
          <a:bodyPr wrap="square" lIns="0" tIns="0" rIns="0" bIns="0" rtlCol="0" anchor="t">
            <a:spAutoFit/>
          </a:bodyPr>
          <a:lstStyle>
            <a:defPPr>
              <a:defRPr lang="en-US"/>
            </a:defPPr>
            <a:lvl1pPr eaLnBrk="0" fontAlgn="auto" hangingPunct="0">
              <a:lnSpc>
                <a:spcPct val="80000"/>
              </a:lnSpc>
              <a:spcBef>
                <a:spcPts val="0"/>
              </a:spcBef>
              <a:spcAft>
                <a:spcPts val="0"/>
              </a:spcAft>
              <a:defRPr sz="2000" b="1" kern="0">
                <a:solidFill>
                  <a:prstClr val="black">
                    <a:lumMod val="85000"/>
                    <a:lumOff val="15000"/>
                  </a:prstClr>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pPr algn="r" defTabSz="913851">
              <a:lnSpc>
                <a:spcPct val="100000"/>
              </a:lnSpc>
              <a:defRPr/>
            </a:pPr>
            <a:r>
              <a:rPr lang="en-US" sz="2750" cap="all">
                <a:solidFill>
                  <a:srgbClr val="A100FF"/>
                </a:solidFill>
                <a:latin typeface="Graphik Black"/>
                <a:ea typeface="Graphik Black" charset="0"/>
                <a:cs typeface="Graphik Black" charset="0"/>
                <a:sym typeface="Arial"/>
              </a:rPr>
              <a:t>14 weeks</a:t>
            </a:r>
            <a:endParaRPr kumimoji="0" lang="en-US" sz="2799" b="1" i="0" u="none" strike="noStrike" kern="0" cap="all" spc="0" normalizeH="0" baseline="0" noProof="0">
              <a:ln>
                <a:noFill/>
              </a:ln>
              <a:solidFill>
                <a:srgbClr val="A100FF"/>
              </a:solidFill>
              <a:effectLst/>
              <a:uLnTx/>
              <a:uFillTx/>
              <a:latin typeface="Graphik Black" panose="020B0A03030202060203" pitchFamily="34" charset="0"/>
              <a:ea typeface="Graphik Black" charset="0"/>
              <a:cs typeface="Graphik Black" charset="0"/>
              <a:sym typeface="Arial"/>
            </a:endParaRPr>
          </a:p>
          <a:p>
            <a:pPr algn="r" defTabSz="913851" eaLnBrk="1" hangingPunct="1">
              <a:lnSpc>
                <a:spcPct val="100000"/>
              </a:lnSpc>
              <a:defRPr/>
            </a:pPr>
            <a:r>
              <a:rPr kumimoji="0" lang="en-AU" sz="1550" b="0" i="0" u="none" strike="noStrike" kern="0" cap="none" spc="-20" normalizeH="0" baseline="0" noProof="0">
                <a:ln>
                  <a:noFill/>
                </a:ln>
                <a:solidFill>
                  <a:srgbClr val="000000"/>
                </a:solidFill>
                <a:effectLst/>
                <a:uLnTx/>
                <a:uFillTx/>
                <a:latin typeface="Graphik"/>
                <a:ea typeface="Graphik" charset="0"/>
                <a:cs typeface="Graphik" charset="0"/>
                <a:sym typeface="Arial"/>
              </a:rPr>
              <a:t>Project-based </a:t>
            </a:r>
            <a:r>
              <a:rPr lang="en-AU" sz="1550" b="0" spc="-20">
                <a:solidFill>
                  <a:srgbClr val="000000"/>
                </a:solidFill>
                <a:latin typeface="Graphik"/>
                <a:ea typeface="Graphik" charset="0"/>
                <a:cs typeface="Graphik" charset="0"/>
                <a:sym typeface="Arial"/>
              </a:rPr>
              <a:t>course</a:t>
            </a:r>
            <a:r>
              <a:rPr kumimoji="0" lang="en-AU" sz="1550" b="0" i="0" u="none" strike="noStrike" kern="0" cap="none" spc="-20" normalizeH="0" baseline="0" noProof="0">
                <a:ln>
                  <a:noFill/>
                </a:ln>
                <a:solidFill>
                  <a:srgbClr val="000000"/>
                </a:solidFill>
                <a:effectLst/>
                <a:uLnTx/>
                <a:uFillTx/>
                <a:latin typeface="Graphik"/>
                <a:ea typeface="Graphik" charset="0"/>
                <a:cs typeface="Graphik" charset="0"/>
                <a:sym typeface="Arial"/>
              </a:rPr>
              <a:t> for </a:t>
            </a:r>
            <a:r>
              <a:rPr lang="en-AU" sz="1550" b="0" spc="-20">
                <a:solidFill>
                  <a:srgbClr val="000000"/>
                </a:solidFill>
                <a:latin typeface="Graphik"/>
                <a:ea typeface="Graphik" charset="0"/>
                <a:cs typeface="Graphik" charset="0"/>
                <a:sym typeface="Arial"/>
              </a:rPr>
              <a:t>capstone students</a:t>
            </a:r>
            <a:endParaRPr lang="en-AU" sz="1550" b="0" i="0" u="none" strike="noStrike" kern="0" cap="none" spc="-20" normalizeH="0" baseline="0" noProof="0">
              <a:ln>
                <a:noFill/>
              </a:ln>
              <a:solidFill>
                <a:srgbClr val="000000"/>
              </a:solidFill>
              <a:effectLst/>
              <a:uLnTx/>
              <a:uFillTx/>
              <a:latin typeface="Graphik"/>
              <a:ea typeface="Graphik" charset="0"/>
              <a:cs typeface="Graphik" charset="0"/>
            </a:endParaRPr>
          </a:p>
        </p:txBody>
      </p:sp>
      <p:pic>
        <p:nvPicPr>
          <p:cNvPr id="11" name="Graphic 10">
            <a:extLst>
              <a:ext uri="{FF2B5EF4-FFF2-40B4-BE49-F238E27FC236}">
                <a16:creationId xmlns:a16="http://schemas.microsoft.com/office/drawing/2014/main" id="{881D698F-23BA-4245-9885-CFFB07F6C6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1503" y="3681767"/>
            <a:ext cx="435930" cy="444312"/>
          </a:xfrm>
          <a:prstGeom prst="rect">
            <a:avLst/>
          </a:prstGeom>
        </p:spPr>
      </p:pic>
      <p:pic>
        <p:nvPicPr>
          <p:cNvPr id="12" name="Graphic 11">
            <a:extLst>
              <a:ext uri="{FF2B5EF4-FFF2-40B4-BE49-F238E27FC236}">
                <a16:creationId xmlns:a16="http://schemas.microsoft.com/office/drawing/2014/main" id="{8E63BBB8-9C78-4842-A2A7-68956E201D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9374" y="1740181"/>
            <a:ext cx="420188" cy="420188"/>
          </a:xfrm>
          <a:prstGeom prst="rect">
            <a:avLst/>
          </a:prstGeom>
        </p:spPr>
      </p:pic>
      <p:pic>
        <p:nvPicPr>
          <p:cNvPr id="13" name="Graphic 12">
            <a:extLst>
              <a:ext uri="{FF2B5EF4-FFF2-40B4-BE49-F238E27FC236}">
                <a16:creationId xmlns:a16="http://schemas.microsoft.com/office/drawing/2014/main" id="{8694DAF6-DA3E-45E9-896B-37FD77C833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26931" y="1740181"/>
            <a:ext cx="333375" cy="428625"/>
          </a:xfrm>
          <a:prstGeom prst="rect">
            <a:avLst/>
          </a:prstGeom>
        </p:spPr>
      </p:pic>
      <p:pic>
        <p:nvPicPr>
          <p:cNvPr id="14" name="Graphic 13">
            <a:extLst>
              <a:ext uri="{FF2B5EF4-FFF2-40B4-BE49-F238E27FC236}">
                <a16:creationId xmlns:a16="http://schemas.microsoft.com/office/drawing/2014/main" id="{D9BD2D5D-6ADF-43F5-9256-B441492B7F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326931" y="3681767"/>
            <a:ext cx="458592" cy="458592"/>
          </a:xfrm>
          <a:prstGeom prst="rect">
            <a:avLst/>
          </a:prstGeom>
        </p:spPr>
      </p:pic>
      <p:sp>
        <p:nvSpPr>
          <p:cNvPr id="15" name="TextBox 14">
            <a:extLst>
              <a:ext uri="{FF2B5EF4-FFF2-40B4-BE49-F238E27FC236}">
                <a16:creationId xmlns:a16="http://schemas.microsoft.com/office/drawing/2014/main" id="{A0C9AFE1-C6B5-44B1-BCC5-D8DF7BEF8C01}"/>
              </a:ext>
            </a:extLst>
          </p:cNvPr>
          <p:cNvSpPr txBox="1"/>
          <p:nvPr/>
        </p:nvSpPr>
        <p:spPr>
          <a:xfrm>
            <a:off x="2988505" y="4942260"/>
            <a:ext cx="5901495" cy="1107996"/>
          </a:xfrm>
          <a:prstGeom prst="rect">
            <a:avLst/>
          </a:prstGeom>
          <a:noFill/>
        </p:spPr>
        <p:txBody>
          <a:bodyPr wrap="square" lIns="0" tIns="0" rIns="0" bIns="0" rtlCol="0" anchor="t">
            <a:spAutoFit/>
          </a:bodyPr>
          <a:lstStyle/>
          <a:p>
            <a:r>
              <a:rPr kumimoji="0" lang="en-US" b="0" i="0" u="none" strike="noStrike" kern="1200" cap="none" spc="0" normalizeH="0" baseline="0" noProof="0">
                <a:ln>
                  <a:noFill/>
                </a:ln>
                <a:solidFill>
                  <a:srgbClr val="A100FF"/>
                </a:solidFill>
                <a:effectLst/>
                <a:uLnTx/>
                <a:uFillTx/>
                <a:latin typeface="Graphik Black"/>
                <a:ea typeface="Graphik Black" charset="0"/>
                <a:cs typeface="Graphik Black" charset="0"/>
                <a:sym typeface="Arial"/>
              </a:rPr>
              <a:t>FY 2022 </a:t>
            </a:r>
            <a:r>
              <a:rPr lang="en-US">
                <a:solidFill>
                  <a:srgbClr val="A100FF"/>
                </a:solidFill>
                <a:latin typeface="Graphik Black"/>
                <a:ea typeface="Graphik Black" charset="0"/>
                <a:cs typeface="Graphik Black" charset="0"/>
                <a:sym typeface="Arial"/>
              </a:rPr>
              <a:t>Challenge </a:t>
            </a:r>
            <a:r>
              <a:rPr lang="en-US">
                <a:latin typeface="Graphik Black"/>
                <a:ea typeface="Graphik Black" charset="0"/>
                <a:cs typeface="Graphik Black" charset="0"/>
                <a:sym typeface="Arial"/>
              </a:rPr>
              <a:t>– Predicting Risk of Type 2 Diabetes with AI in California</a:t>
            </a:r>
            <a:br>
              <a:rPr lang="en-US">
                <a:latin typeface="Graphik Black" panose="020B0A03030202060203" pitchFamily="34" charset="0"/>
                <a:ea typeface="Graphik Black" charset="0"/>
                <a:cs typeface="Graphik Black" charset="0"/>
              </a:rPr>
            </a:br>
            <a:r>
              <a:rPr lang="en-US">
                <a:solidFill>
                  <a:srgbClr val="A100FF"/>
                </a:solidFill>
                <a:latin typeface="Graphik Black"/>
                <a:ea typeface="Graphik Black" charset="0"/>
                <a:cs typeface="Graphik Black" charset="0"/>
                <a:sym typeface="Arial"/>
              </a:rPr>
              <a:t>FY 2021 Challenge </a:t>
            </a:r>
            <a:r>
              <a:rPr lang="en-US">
                <a:latin typeface="Graphik Black"/>
                <a:ea typeface="Graphik Black" charset="0"/>
                <a:cs typeface="Graphik Black" charset="0"/>
                <a:sym typeface="Arial"/>
              </a:rPr>
              <a:t>– Predicting Wildfire in California</a:t>
            </a:r>
            <a:endParaRPr kumimoji="0" lang="en-US" b="0" i="0" u="none" strike="noStrike" kern="1200" cap="none" spc="0" normalizeH="0" baseline="0" noProof="0">
              <a:ln>
                <a:noFill/>
              </a:ln>
              <a:effectLst/>
              <a:uLnTx/>
              <a:uFillTx/>
              <a:latin typeface="Graphik Black"/>
              <a:ea typeface="Graphik Black" charset="0"/>
              <a:cs typeface="Graphik Black" charset="0"/>
              <a:sym typeface="Arial"/>
            </a:endParaRPr>
          </a:p>
          <a:p>
            <a:pPr algn="l"/>
            <a:endParaRPr lang="en-US" err="1"/>
          </a:p>
        </p:txBody>
      </p:sp>
    </p:spTree>
    <p:extLst>
      <p:ext uri="{BB962C8B-B14F-4D97-AF65-F5344CB8AC3E}">
        <p14:creationId xmlns:p14="http://schemas.microsoft.com/office/powerpoint/2010/main" val="4139773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heme/theme1.xml><?xml version="1.0" encoding="utf-8"?>
<a:theme xmlns:a="http://schemas.openxmlformats.org/drawingml/2006/main" name="1_Office Theme">
  <a:themeElements>
    <a:clrScheme name="Accenture Core Brand April 2018">
      <a:dk1>
        <a:srgbClr val="000000"/>
      </a:dk1>
      <a:lt1>
        <a:srgbClr val="FFFFFF"/>
      </a:lt1>
      <a:dk2>
        <a:srgbClr val="969696"/>
      </a:dk2>
      <a:lt2>
        <a:srgbClr val="5A5A5A"/>
      </a:lt2>
      <a:accent1>
        <a:srgbClr val="A100FF"/>
      </a:accent1>
      <a:accent2>
        <a:srgbClr val="7500C0"/>
      </a:accent2>
      <a:accent3>
        <a:srgbClr val="460073"/>
      </a:accent3>
      <a:accent4>
        <a:srgbClr val="00BAFF"/>
      </a:accent4>
      <a:accent5>
        <a:srgbClr val="008EFF"/>
      </a:accent5>
      <a:accent6>
        <a:srgbClr val="004DFF"/>
      </a:accent6>
      <a:hlink>
        <a:srgbClr val="5A5A5A"/>
      </a:hlink>
      <a:folHlink>
        <a:srgbClr val="969696"/>
      </a:folHlink>
    </a:clrScheme>
    <a:fontScheme name="Accenture 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AccNEW_Template16x9_Jan 2019.pptx" id="{DA118784-8E18-4EF8-829F-8848A8C663A9}" vid="{231C6410-7B65-4166-BF18-832999165FE0}"/>
    </a:ext>
  </a:extLst>
</a:theme>
</file>

<file path=ppt/theme/theme2.xml><?xml version="1.0" encoding="utf-8"?>
<a:theme xmlns:a="http://schemas.openxmlformats.org/drawingml/2006/main" name="Covid-19 Master">
  <a:themeElements>
    <a:clrScheme name="Acc Core">
      <a:dk1>
        <a:srgbClr val="000000"/>
      </a:dk1>
      <a:lt1>
        <a:srgbClr val="FFFFFF"/>
      </a:lt1>
      <a:dk2>
        <a:srgbClr val="BEBEBE"/>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460073"/>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455C6D2A6A314AAE5C62A22F1015E7" ma:contentTypeVersion="13" ma:contentTypeDescription="Create a new document." ma:contentTypeScope="" ma:versionID="1c74f89f93c9ff0e437149b8ea10daa1">
  <xsd:schema xmlns:xsd="http://www.w3.org/2001/XMLSchema" xmlns:xs="http://www.w3.org/2001/XMLSchema" xmlns:p="http://schemas.microsoft.com/office/2006/metadata/properties" xmlns:ns2="bbccd840-f3ef-4954-96d8-b35f5cf520c1" xmlns:ns3="ef87f214-50e3-410e-83f8-b35c92389835" targetNamespace="http://schemas.microsoft.com/office/2006/metadata/properties" ma:root="true" ma:fieldsID="ea48181bf962493e8e1eb6b1c9d70e33" ns2:_="" ns3:_="">
    <xsd:import namespace="bbccd840-f3ef-4954-96d8-b35f5cf520c1"/>
    <xsd:import namespace="ef87f214-50e3-410e-83f8-b35c923898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ccd840-f3ef-4954-96d8-b35f5cf520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87f214-50e3-410e-83f8-b35c92389835"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5ae6d31-ef83-4832-bc96-35d48fc8a1f2}" ma:internalName="TaxCatchAll" ma:showField="CatchAllData" ma:web="ef87f214-50e3-410e-83f8-b35c9238983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f87f214-50e3-410e-83f8-b35c92389835" xsi:nil="true"/>
    <lcf76f155ced4ddcb4097134ff3c332f xmlns="bbccd840-f3ef-4954-96d8-b35f5cf520c1">
      <Terms xmlns="http://schemas.microsoft.com/office/infopath/2007/PartnerControls"/>
    </lcf76f155ced4ddcb4097134ff3c332f>
    <SharedWithUsers xmlns="ef87f214-50e3-410e-83f8-b35c92389835">
      <UserInfo>
        <DisplayName>Tuli, Shawna</DisplayName>
        <AccountId>11</AccountId>
        <AccountType/>
      </UserInfo>
      <UserInfo>
        <DisplayName>Liang, Ella</DisplayName>
        <AccountId>19</AccountId>
        <AccountType/>
      </UserInfo>
      <UserInfo>
        <DisplayName>Deacon, Nicole</DisplayName>
        <AccountId>20</AccountId>
        <AccountType/>
      </UserInfo>
      <UserInfo>
        <DisplayName>Vu, Jeffrey</DisplayName>
        <AccountId>23</AccountId>
        <AccountType/>
      </UserInfo>
      <UserInfo>
        <DisplayName>Hodgett, Martin H.</DisplayName>
        <AccountId>25</AccountId>
        <AccountType/>
      </UserInfo>
      <UserInfo>
        <DisplayName>Dasaur, Manish</DisplayName>
        <AccountId>26</AccountId>
        <AccountType/>
      </UserInfo>
      <UserInfo>
        <DisplayName>Horn, Michelle</DisplayName>
        <AccountId>28</AccountId>
        <AccountType/>
      </UserInfo>
      <UserInfo>
        <DisplayName>Shahoian, Kristina</DisplayName>
        <AccountId>29</AccountId>
        <AccountType/>
      </UserInfo>
    </SharedWithUsers>
  </documentManagement>
</p:properties>
</file>

<file path=customXml/itemProps1.xml><?xml version="1.0" encoding="utf-8"?>
<ds:datastoreItem xmlns:ds="http://schemas.openxmlformats.org/officeDocument/2006/customXml" ds:itemID="{D02DC6DB-27A7-47B9-AF85-2BBB85379AFD}">
  <ds:schemaRefs>
    <ds:schemaRef ds:uri="http://schemas.microsoft.com/sharepoint/v3/contenttype/forms"/>
  </ds:schemaRefs>
</ds:datastoreItem>
</file>

<file path=customXml/itemProps2.xml><?xml version="1.0" encoding="utf-8"?>
<ds:datastoreItem xmlns:ds="http://schemas.openxmlformats.org/officeDocument/2006/customXml" ds:itemID="{8EE3056A-449F-47D9-B736-EC667CD1BFF0}">
  <ds:schemaRefs>
    <ds:schemaRef ds:uri="bbccd840-f3ef-4954-96d8-b35f5cf520c1"/>
    <ds:schemaRef ds:uri="ef87f214-50e3-410e-83f8-b35c923898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5AD7BE1-59F8-4F53-BEE7-33125BBB6FCD}">
  <ds:schemaRefs>
    <ds:schemaRef ds:uri="bbccd840-f3ef-4954-96d8-b35f5cf520c1"/>
    <ds:schemaRef ds:uri="ef87f214-50e3-410e-83f8-b35c9238983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5</Slides>
  <Notes>5</Notes>
  <HiddenSlides>2</HiddenSlides>
  <ScaleCrop>false</ScaleCrop>
  <HeadingPairs>
    <vt:vector size="4" baseType="variant">
      <vt:variant>
        <vt:lpstr>Theme</vt:lpstr>
      </vt:variant>
      <vt:variant>
        <vt:i4>2</vt:i4>
      </vt:variant>
      <vt:variant>
        <vt:lpstr>Slide Titles</vt:lpstr>
      </vt:variant>
      <vt:variant>
        <vt:i4>35</vt:i4>
      </vt:variant>
    </vt:vector>
  </HeadingPairs>
  <TitlesOfParts>
    <vt:vector size="37" baseType="lpstr">
      <vt:lpstr>1_Office Theme</vt:lpstr>
      <vt:lpstr>Covid-19 Master</vt:lpstr>
      <vt:lpstr>Predicting risk of type 2 diabetes</vt:lpstr>
      <vt:lpstr>PowerPoint Presentation</vt:lpstr>
      <vt:lpstr>PowerPoint Presentation</vt:lpstr>
      <vt:lpstr>PowerPoint Presentation</vt:lpstr>
      <vt:lpstr>Our Journey</vt:lpstr>
      <vt:lpstr>PowerPoint Presentation</vt:lpstr>
      <vt:lpstr>PowerPoint Presentation</vt:lpstr>
      <vt:lpstr>Over 34 million Americans have diabetes and face its devastating consequences.</vt:lpstr>
      <vt:lpstr>UC Irvine Data Science Capstone Course</vt:lpstr>
      <vt:lpstr>PowerPoint Presentation</vt:lpstr>
      <vt:lpstr>Evaluation of Publicly Available Data</vt:lpstr>
      <vt:lpstr>Solution Approach</vt:lpstr>
      <vt:lpstr>PowerPoint Presentation</vt:lpstr>
      <vt:lpstr>Data Preparation</vt:lpstr>
      <vt:lpstr>Exploratory Data Analysis</vt:lpstr>
      <vt:lpstr>Class Imbalance</vt:lpstr>
      <vt:lpstr>Key Outcomes</vt:lpstr>
      <vt:lpstr>BMJ Publication</vt:lpstr>
      <vt:lpstr>PowerPoint Presentation</vt:lpstr>
      <vt:lpstr>How this matters for clients</vt:lpstr>
      <vt:lpstr>PowerPoint Presentation</vt:lpstr>
      <vt:lpstr>Class Imbalance</vt:lpstr>
      <vt:lpstr>Feature Selection </vt:lpstr>
      <vt:lpstr>National </vt:lpstr>
      <vt:lpstr>Models</vt:lpstr>
      <vt:lpstr>Performance Metric Definitions</vt:lpstr>
      <vt:lpstr>Performance Metric Equations</vt:lpstr>
      <vt:lpstr>Confusion Matrix</vt:lpstr>
      <vt:lpstr>ROC-AUC Curve of All Models  </vt:lpstr>
      <vt:lpstr>Results Without Cross-Validation</vt:lpstr>
      <vt:lpstr>Results With Cross-Validation</vt:lpstr>
      <vt:lpstr>Features Not Included</vt:lpstr>
      <vt:lpstr>Features Not Included</vt:lpstr>
      <vt:lpstr>Features Not Included</vt:lpstr>
      <vt:lpstr>Features Not Includ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IALS AI SOLUTION SUMMARY</dc:title>
  <dc:creator>Leung, Chloe C.</dc:creator>
  <cp:revision>2</cp:revision>
  <dcterms:created xsi:type="dcterms:W3CDTF">2020-09-21T06:55:30Z</dcterms:created>
  <dcterms:modified xsi:type="dcterms:W3CDTF">2023-02-23T00:5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455C6D2A6A314AAE5C62A22F1015E7</vt:lpwstr>
  </property>
  <property fmtid="{D5CDD505-2E9C-101B-9397-08002B2CF9AE}" pid="3" name="MSIP_Label_5fae8262-b78e-4366-8929-a5d6aac95320_Enabled">
    <vt:lpwstr>true</vt:lpwstr>
  </property>
  <property fmtid="{D5CDD505-2E9C-101B-9397-08002B2CF9AE}" pid="4" name="MSIP_Label_5fae8262-b78e-4366-8929-a5d6aac95320_SetDate">
    <vt:lpwstr>2022-06-10T21:22:31Z</vt:lpwstr>
  </property>
  <property fmtid="{D5CDD505-2E9C-101B-9397-08002B2CF9AE}" pid="5" name="MSIP_Label_5fae8262-b78e-4366-8929-a5d6aac95320_Method">
    <vt:lpwstr>Standard</vt:lpwstr>
  </property>
  <property fmtid="{D5CDD505-2E9C-101B-9397-08002B2CF9AE}" pid="6" name="MSIP_Label_5fae8262-b78e-4366-8929-a5d6aac95320_Name">
    <vt:lpwstr>5fae8262-b78e-4366-8929-a5d6aac95320</vt:lpwstr>
  </property>
  <property fmtid="{D5CDD505-2E9C-101B-9397-08002B2CF9AE}" pid="7" name="MSIP_Label_5fae8262-b78e-4366-8929-a5d6aac95320_SiteId">
    <vt:lpwstr>e0793d39-0939-496d-b129-198edd916feb</vt:lpwstr>
  </property>
  <property fmtid="{D5CDD505-2E9C-101B-9397-08002B2CF9AE}" pid="8" name="MSIP_Label_5fae8262-b78e-4366-8929-a5d6aac95320_ActionId">
    <vt:lpwstr>9ce96afa-9636-46f6-9000-de040b15d9ac</vt:lpwstr>
  </property>
  <property fmtid="{D5CDD505-2E9C-101B-9397-08002B2CF9AE}" pid="9" name="MSIP_Label_5fae8262-b78e-4366-8929-a5d6aac95320_ContentBits">
    <vt:lpwstr>0</vt:lpwstr>
  </property>
  <property fmtid="{D5CDD505-2E9C-101B-9397-08002B2CF9AE}" pid="10" name="MediaServiceImageTags">
    <vt:lpwstr/>
  </property>
</Properties>
</file>